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notesSlides/notesSlide11.xml" ContentType="application/vnd.openxmlformats-officedocument.presentationml.notesSlide+xml"/>
  <Override PartName="/ppt/charts/chart2.xml" ContentType="application/vnd.openxmlformats-officedocument.drawingml.chart+xml"/>
  <Override PartName="/ppt/notesSlides/notesSlide12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13.xml" ContentType="application/vnd.openxmlformats-officedocument.presentationml.notesSlide+xml"/>
  <Override PartName="/ppt/charts/chart5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6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notesSlides/notesSlide16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14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1.xml" ContentType="application/vnd.openxmlformats-officedocument.drawingml.chart+xml"/>
  <Override PartName="/ppt/tags/tag15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2.xml" ContentType="application/vnd.openxmlformats-officedocument.drawingml.chart+xml"/>
  <Override PartName="/ppt/tags/tag16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3.xml" ContentType="application/vnd.openxmlformats-officedocument.drawingml.chart+xml"/>
  <Override PartName="/ppt/notesSlides/notesSlide20.xml" ContentType="application/vnd.openxmlformats-officedocument.presentationml.notesSlide+xml"/>
  <Override PartName="/ppt/charts/chart14.xml" ContentType="application/vnd.openxmlformats-officedocument.drawingml.chart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51"/>
  </p:notesMasterIdLst>
  <p:handoutMasterIdLst>
    <p:handoutMasterId r:id="rId52"/>
  </p:handoutMasterIdLst>
  <p:sldIdLst>
    <p:sldId id="263" r:id="rId5"/>
    <p:sldId id="273" r:id="rId6"/>
    <p:sldId id="274" r:id="rId7"/>
    <p:sldId id="266" r:id="rId8"/>
    <p:sldId id="275" r:id="rId9"/>
    <p:sldId id="276" r:id="rId10"/>
    <p:sldId id="277" r:id="rId11"/>
    <p:sldId id="278" r:id="rId12"/>
    <p:sldId id="279" r:id="rId13"/>
    <p:sldId id="280" r:id="rId14"/>
    <p:sldId id="281" r:id="rId15"/>
    <p:sldId id="282" r:id="rId16"/>
    <p:sldId id="283" r:id="rId17"/>
    <p:sldId id="284" r:id="rId18"/>
    <p:sldId id="285" r:id="rId19"/>
    <p:sldId id="286" r:id="rId20"/>
    <p:sldId id="287" r:id="rId21"/>
    <p:sldId id="288" r:id="rId22"/>
    <p:sldId id="289" r:id="rId23"/>
    <p:sldId id="290" r:id="rId24"/>
    <p:sldId id="291" r:id="rId25"/>
    <p:sldId id="292" r:id="rId26"/>
    <p:sldId id="293" r:id="rId27"/>
    <p:sldId id="294" r:id="rId28"/>
    <p:sldId id="295" r:id="rId29"/>
    <p:sldId id="296" r:id="rId30"/>
    <p:sldId id="297" r:id="rId31"/>
    <p:sldId id="298" r:id="rId32"/>
    <p:sldId id="300" r:id="rId33"/>
    <p:sldId id="299" r:id="rId34"/>
    <p:sldId id="301" r:id="rId35"/>
    <p:sldId id="302" r:id="rId36"/>
    <p:sldId id="303" r:id="rId37"/>
    <p:sldId id="304" r:id="rId38"/>
    <p:sldId id="305" r:id="rId39"/>
    <p:sldId id="309" r:id="rId40"/>
    <p:sldId id="307" r:id="rId41"/>
    <p:sldId id="308" r:id="rId42"/>
    <p:sldId id="306" r:id="rId43"/>
    <p:sldId id="310" r:id="rId44"/>
    <p:sldId id="311" r:id="rId45"/>
    <p:sldId id="312" r:id="rId46"/>
    <p:sldId id="315" r:id="rId47"/>
    <p:sldId id="313" r:id="rId48"/>
    <p:sldId id="314" r:id="rId49"/>
    <p:sldId id="316" r:id="rId5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E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226" autoAdjust="0"/>
  </p:normalViewPr>
  <p:slideViewPr>
    <p:cSldViewPr snapToGrid="0" snapToObjects="1">
      <p:cViewPr varScale="1">
        <p:scale>
          <a:sx n="102" d="100"/>
          <a:sy n="102" d="100"/>
        </p:scale>
        <p:origin x="894" y="96"/>
      </p:cViewPr>
      <p:guideLst>
        <p:guide orient="horz" pos="2183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88"/>
    </p:cViewPr>
  </p:sorterViewPr>
  <p:notesViewPr>
    <p:cSldViewPr snapToGrid="0" snapToObjects="1">
      <p:cViewPr varScale="1">
        <p:scale>
          <a:sx n="86" d="100"/>
          <a:sy n="86" d="100"/>
        </p:scale>
        <p:origin x="978" y="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1-4DC9-418F-998A-1B7FD5E282B9}"/>
              </c:ext>
            </c:extLst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4DC9-418F-998A-1B7FD5E282B9}"/>
              </c:ext>
            </c:extLst>
          </c:dPt>
          <c:dPt>
            <c:idx val="2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4DC9-418F-998A-1B7FD5E282B9}"/>
              </c:ext>
            </c:extLst>
          </c:dPt>
          <c:dPt>
            <c:idx val="3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4DC9-418F-998A-1B7FD5E282B9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400" b="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DC9-418F-998A-1B7FD5E282B9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400" b="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4DC9-418F-998A-1B7FD5E282B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A</c:v>
                </c:pt>
                <c:pt idx="1">
                  <c:v>B</c:v>
                </c:pt>
                <c:pt idx="2">
                  <c:v>C</c:v>
                </c:pt>
                <c:pt idx="3">
                  <c:v>D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DC9-418F-998A-1B7FD5E282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82015488231804035"/>
          <c:y val="0.34676537304872757"/>
          <c:w val="5.6280537387098831E-2"/>
          <c:h val="0.26752652554025336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145991329981683E-2"/>
          <c:y val="5.1703001968503935E-2"/>
          <c:w val="0.90226760133447959"/>
          <c:h val="0.85618257874015746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solidFill>
              <a:srgbClr val="00B0F0"/>
            </a:solidFill>
            <a:ln>
              <a:solidFill>
                <a:schemeClr val="accent1"/>
              </a:solidFill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z="1400" b="0"/>
                      <a:t>Object A</a:t>
                    </a:r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C754-4CF9-BC1B-5EF77050804E}"/>
                </c:ext>
              </c:extLst>
            </c:dLbl>
            <c:dLbl>
              <c:idx val="1"/>
              <c:layout>
                <c:manualLayout>
                  <c:x val="1.7123232262218978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400" b="0" dirty="0"/>
                      <a:t>Object B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C754-4CF9-BC1B-5EF77050804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1400" b="0"/>
                      <a:t>Object C</a:t>
                    </a:r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C754-4CF9-BC1B-5EF77050804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0"/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4</c:f>
              <c:numCache>
                <c:formatCode>General</c:formatCode>
                <c:ptCount val="3"/>
                <c:pt idx="0">
                  <c:v>0.7</c:v>
                </c:pt>
                <c:pt idx="1">
                  <c:v>1.8</c:v>
                </c:pt>
                <c:pt idx="2">
                  <c:v>2.6</c:v>
                </c:pt>
              </c:numCache>
            </c:numRef>
          </c:xVal>
          <c:yVal>
            <c:numRef>
              <c:f>Sheet1!$B$2:$B$4</c:f>
              <c:numCache>
                <c:formatCode>General</c:formatCode>
                <c:ptCount val="3"/>
                <c:pt idx="0">
                  <c:v>2.7</c:v>
                </c:pt>
                <c:pt idx="1">
                  <c:v>3.2</c:v>
                </c:pt>
                <c:pt idx="2">
                  <c:v>0.8</c:v>
                </c:pt>
              </c:numCache>
            </c:numRef>
          </c:yVal>
          <c:bubbleSize>
            <c:numRef>
              <c:f>Sheet1!$C$2:$C$4</c:f>
              <c:numCache>
                <c:formatCode>General</c:formatCode>
                <c:ptCount val="3"/>
                <c:pt idx="0">
                  <c:v>10</c:v>
                </c:pt>
                <c:pt idx="1">
                  <c:v>4</c:v>
                </c:pt>
                <c:pt idx="2">
                  <c:v>8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3-C754-4CF9-BC1B-5EF77050804E}"/>
            </c:ext>
          </c:extLst>
        </c:ser>
        <c:dLbls>
          <c:dLblPos val="r"/>
          <c:showLegendKey val="0"/>
          <c:showVal val="1"/>
          <c:showCatName val="0"/>
          <c:showSerName val="0"/>
          <c:showPercent val="0"/>
          <c:showBubbleSize val="0"/>
        </c:dLbls>
        <c:bubbleScale val="100"/>
        <c:showNegBubbles val="0"/>
        <c:axId val="374350976"/>
        <c:axId val="374358016"/>
      </c:bubbleChart>
      <c:valAx>
        <c:axId val="3743509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374358016"/>
        <c:crosses val="autoZero"/>
        <c:crossBetween val="midCat"/>
      </c:valAx>
      <c:valAx>
        <c:axId val="37435801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374350976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666666666666666E-2"/>
          <c:y val="2.3738872403560832E-2"/>
          <c:w val="0.97638888888888886"/>
          <c:h val="0.9495548961424332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noFill/>
            <a:ln w="25400">
              <a:noFill/>
            </a:ln>
          </c:spPr>
          <c:invertIfNegative val="0"/>
          <c:cat>
            <c:strRef>
              <c:f>Sheet1!$B$1:$I$1</c:f>
              <c:strCache>
                <c:ptCount val="8"/>
                <c:pt idx="0">
                  <c:v>A</c:v>
                </c:pt>
                <c:pt idx="1">
                  <c:v>B</c:v>
                </c:pt>
                <c:pt idx="2">
                  <c:v>C</c:v>
                </c:pt>
                <c:pt idx="3">
                  <c:v>D</c:v>
                </c:pt>
                <c:pt idx="4">
                  <c:v>E</c:v>
                </c:pt>
                <c:pt idx="5">
                  <c:v>F</c:v>
                </c:pt>
                <c:pt idx="6">
                  <c:v>G</c:v>
                </c:pt>
                <c:pt idx="7">
                  <c:v>H</c:v>
                </c:pt>
              </c:strCache>
            </c:strRef>
          </c:cat>
          <c:val>
            <c:numRef>
              <c:f>Sheet1!$B$2:$I$2</c:f>
              <c:numCache>
                <c:formatCode>General</c:formatCode>
                <c:ptCount val="8"/>
                <c:pt idx="1">
                  <c:v>60.000000000006821</c:v>
                </c:pt>
                <c:pt idx="2">
                  <c:v>84.00000000000955</c:v>
                </c:pt>
                <c:pt idx="3">
                  <c:v>256.0000000000291</c:v>
                </c:pt>
                <c:pt idx="4">
                  <c:v>901.00000000010243</c:v>
                </c:pt>
                <c:pt idx="5">
                  <c:v>937.00000000010652</c:v>
                </c:pt>
                <c:pt idx="6">
                  <c:v>2155.00000000024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DB9-40BB-A509-648654652A50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00B0F0"/>
            </a:solidFill>
            <a:ln w="12700">
              <a:noFill/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1.8535986888781305E-3"/>
                  <c:y val="-5.550236665462762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DB9-40BB-A509-648654652A50}"/>
                </c:ext>
              </c:extLst>
            </c:dLbl>
            <c:dLbl>
              <c:idx val="1"/>
              <c:layout>
                <c:manualLayout>
                  <c:x val="0"/>
                  <c:y val="-3.964454761044830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DB9-40BB-A509-648654652A50}"/>
                </c:ext>
              </c:extLst>
            </c:dLbl>
            <c:dLbl>
              <c:idx val="2"/>
              <c:layout>
                <c:manualLayout>
                  <c:x val="0"/>
                  <c:y val="-7.92890952208966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DB9-40BB-A509-648654652A50}"/>
                </c:ext>
              </c:extLst>
            </c:dLbl>
            <c:dLbl>
              <c:idx val="3"/>
              <c:layout>
                <c:manualLayout>
                  <c:x val="3.7071973777562609E-3"/>
                  <c:y val="-0.1387559166365690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DB9-40BB-A509-648654652A50}"/>
                </c:ext>
              </c:extLst>
            </c:dLbl>
            <c:dLbl>
              <c:idx val="4"/>
              <c:layout>
                <c:manualLayout>
                  <c:x val="-1.8535986888781305E-3"/>
                  <c:y val="-3.964454761044830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DB9-40BB-A509-648654652A50}"/>
                </c:ext>
              </c:extLst>
            </c:dLbl>
            <c:dLbl>
              <c:idx val="5"/>
              <c:layout>
                <c:manualLayout>
                  <c:x val="-7.4143947555125218E-3"/>
                  <c:y val="-0.2180450118574657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DB9-40BB-A509-648654652A50}"/>
                </c:ext>
              </c:extLst>
            </c:dLbl>
            <c:dLbl>
              <c:idx val="6"/>
              <c:layout>
                <c:manualLayout>
                  <c:x val="0"/>
                  <c:y val="-0.1365233354986956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DB9-40BB-A509-648654652A50}"/>
                </c:ext>
              </c:extLst>
            </c:dLbl>
            <c:dLbl>
              <c:idx val="7"/>
              <c:layout>
                <c:manualLayout>
                  <c:x val="-1.8535986888781305E-3"/>
                  <c:y val="-0.4514184163595254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DB9-40BB-A509-648654652A5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I$1</c:f>
              <c:strCache>
                <c:ptCount val="8"/>
                <c:pt idx="0">
                  <c:v>A</c:v>
                </c:pt>
                <c:pt idx="1">
                  <c:v>B</c:v>
                </c:pt>
                <c:pt idx="2">
                  <c:v>C</c:v>
                </c:pt>
                <c:pt idx="3">
                  <c:v>D</c:v>
                </c:pt>
                <c:pt idx="4">
                  <c:v>E</c:v>
                </c:pt>
                <c:pt idx="5">
                  <c:v>F</c:v>
                </c:pt>
                <c:pt idx="6">
                  <c:v>G</c:v>
                </c:pt>
                <c:pt idx="7">
                  <c:v>H</c:v>
                </c:pt>
              </c:strCache>
            </c:strRef>
          </c:cat>
          <c:val>
            <c:numRef>
              <c:f>Sheet1!$B$3:$I$3</c:f>
              <c:numCache>
                <c:formatCode>General</c:formatCode>
                <c:ptCount val="8"/>
                <c:pt idx="0">
                  <c:v>60.000000000006821</c:v>
                </c:pt>
                <c:pt idx="1">
                  <c:v>24.000000000002728</c:v>
                </c:pt>
                <c:pt idx="2">
                  <c:v>172.00000000001955</c:v>
                </c:pt>
                <c:pt idx="3">
                  <c:v>645.00000000007333</c:v>
                </c:pt>
                <c:pt idx="4">
                  <c:v>36.000000000004093</c:v>
                </c:pt>
                <c:pt idx="5">
                  <c:v>1218.0000000001385</c:v>
                </c:pt>
                <c:pt idx="6">
                  <c:v>715.00000000008129</c:v>
                </c:pt>
                <c:pt idx="7">
                  <c:v>2870.00000000032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DB9-40BB-A509-648654652A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374510336"/>
        <c:axId val="374511872"/>
      </c:barChart>
      <c:catAx>
        <c:axId val="3745103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700">
            <a:solidFill>
              <a:srgbClr val="808080"/>
            </a:solidFill>
            <a:prstDash val="solid"/>
          </a:ln>
        </c:spPr>
        <c:txPr>
          <a:bodyPr/>
          <a:lstStyle/>
          <a:p>
            <a:pPr>
              <a:defRPr b="0"/>
            </a:pPr>
            <a:endParaRPr lang="en-US"/>
          </a:p>
        </c:txPr>
        <c:crossAx val="374511872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374511872"/>
        <c:scaling>
          <c:orientation val="minMax"/>
          <c:max val="3000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12700">
            <a:solidFill>
              <a:srgbClr val="808080"/>
            </a:solidFill>
            <a:prstDash val="solid"/>
          </a:ln>
        </c:spPr>
        <c:txPr>
          <a:bodyPr/>
          <a:lstStyle/>
          <a:p>
            <a:pPr>
              <a:defRPr b="0"/>
            </a:pPr>
            <a:endParaRPr lang="en-US"/>
          </a:p>
        </c:txPr>
        <c:crossAx val="374510336"/>
        <c:crosses val="autoZero"/>
        <c:crossBetween val="between"/>
        <c:majorUnit val="100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666666666666666E-2"/>
          <c:y val="2.3738872403560832E-2"/>
          <c:w val="0.82645981478316466"/>
          <c:h val="0.94955489614243327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Label 1</c:v>
                </c:pt>
              </c:strCache>
            </c:strRef>
          </c:tx>
          <c:spPr>
            <a:solidFill>
              <a:schemeClr val="accent1"/>
            </a:solidFill>
            <a:ln w="12700">
              <a:noFill/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J$1</c:f>
              <c:strCache>
                <c:ptCount val="9"/>
                <c:pt idx="0">
                  <c:v>A</c:v>
                </c:pt>
                <c:pt idx="1">
                  <c:v>B</c:v>
                </c:pt>
                <c:pt idx="2">
                  <c:v>C</c:v>
                </c:pt>
                <c:pt idx="3">
                  <c:v>D</c:v>
                </c:pt>
                <c:pt idx="4">
                  <c:v>E</c:v>
                </c:pt>
                <c:pt idx="5">
                  <c:v>F</c:v>
                </c:pt>
                <c:pt idx="6">
                  <c:v>G</c:v>
                </c:pt>
                <c:pt idx="7">
                  <c:v>H</c:v>
                </c:pt>
                <c:pt idx="8">
                  <c:v>I</c:v>
                </c:pt>
              </c:strCache>
            </c:strRef>
          </c:cat>
          <c:val>
            <c:numRef>
              <c:f>Sheet1!$B$2:$J$2</c:f>
              <c:numCache>
                <c:formatCode>General</c:formatCode>
                <c:ptCount val="9"/>
                <c:pt idx="0">
                  <c:v>56.000000000006374</c:v>
                </c:pt>
                <c:pt idx="1">
                  <c:v>51.000000000005798</c:v>
                </c:pt>
                <c:pt idx="2">
                  <c:v>52.000000000005912</c:v>
                </c:pt>
                <c:pt idx="3">
                  <c:v>48.000000000005457</c:v>
                </c:pt>
                <c:pt idx="4">
                  <c:v>28.000000000003187</c:v>
                </c:pt>
                <c:pt idx="5">
                  <c:v>41.000000000004661</c:v>
                </c:pt>
                <c:pt idx="6">
                  <c:v>37.000000000004206</c:v>
                </c:pt>
                <c:pt idx="7">
                  <c:v>46.00000000000523</c:v>
                </c:pt>
                <c:pt idx="8">
                  <c:v>30.0000000000034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9D-4F4B-BC23-13C77CF39842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Label 2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12700">
              <a:noFill/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J$1</c:f>
              <c:strCache>
                <c:ptCount val="9"/>
                <c:pt idx="0">
                  <c:v>A</c:v>
                </c:pt>
                <c:pt idx="1">
                  <c:v>B</c:v>
                </c:pt>
                <c:pt idx="2">
                  <c:v>C</c:v>
                </c:pt>
                <c:pt idx="3">
                  <c:v>D</c:v>
                </c:pt>
                <c:pt idx="4">
                  <c:v>E</c:v>
                </c:pt>
                <c:pt idx="5">
                  <c:v>F</c:v>
                </c:pt>
                <c:pt idx="6">
                  <c:v>G</c:v>
                </c:pt>
                <c:pt idx="7">
                  <c:v>H</c:v>
                </c:pt>
                <c:pt idx="8">
                  <c:v>I</c:v>
                </c:pt>
              </c:strCache>
            </c:strRef>
          </c:cat>
          <c:val>
            <c:numRef>
              <c:f>Sheet1!$B$3:$J$3</c:f>
              <c:numCache>
                <c:formatCode>General</c:formatCode>
                <c:ptCount val="9"/>
                <c:pt idx="0">
                  <c:v>33.000000000003759</c:v>
                </c:pt>
                <c:pt idx="1">
                  <c:v>38.00000000000432</c:v>
                </c:pt>
                <c:pt idx="2">
                  <c:v>36.000000000004093</c:v>
                </c:pt>
                <c:pt idx="3">
                  <c:v>40.000000000004547</c:v>
                </c:pt>
                <c:pt idx="4">
                  <c:v>57.000000000006473</c:v>
                </c:pt>
                <c:pt idx="5">
                  <c:v>50.000000000005677</c:v>
                </c:pt>
                <c:pt idx="6">
                  <c:v>49.000000000005571</c:v>
                </c:pt>
                <c:pt idx="7">
                  <c:v>21.000000000002391</c:v>
                </c:pt>
                <c:pt idx="8">
                  <c:v>40.000000000004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9D-4F4B-BC23-13C77CF39842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Label 3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 w="12700">
              <a:noFill/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J$1</c:f>
              <c:strCache>
                <c:ptCount val="9"/>
                <c:pt idx="0">
                  <c:v>A</c:v>
                </c:pt>
                <c:pt idx="1">
                  <c:v>B</c:v>
                </c:pt>
                <c:pt idx="2">
                  <c:v>C</c:v>
                </c:pt>
                <c:pt idx="3">
                  <c:v>D</c:v>
                </c:pt>
                <c:pt idx="4">
                  <c:v>E</c:v>
                </c:pt>
                <c:pt idx="5">
                  <c:v>F</c:v>
                </c:pt>
                <c:pt idx="6">
                  <c:v>G</c:v>
                </c:pt>
                <c:pt idx="7">
                  <c:v>H</c:v>
                </c:pt>
                <c:pt idx="8">
                  <c:v>I</c:v>
                </c:pt>
              </c:strCache>
            </c:strRef>
          </c:cat>
          <c:val>
            <c:numRef>
              <c:f>Sheet1!$B$4:$J$4</c:f>
              <c:numCache>
                <c:formatCode>General</c:formatCode>
                <c:ptCount val="9"/>
                <c:pt idx="0">
                  <c:v>11.000000000001261</c:v>
                </c:pt>
                <c:pt idx="1">
                  <c:v>11.000000000001249</c:v>
                </c:pt>
                <c:pt idx="2">
                  <c:v>12.000000000001364</c:v>
                </c:pt>
                <c:pt idx="3">
                  <c:v>12.000000000001364</c:v>
                </c:pt>
                <c:pt idx="4">
                  <c:v>15.000000000001707</c:v>
                </c:pt>
                <c:pt idx="5">
                  <c:v>9.0000000000010196</c:v>
                </c:pt>
                <c:pt idx="6">
                  <c:v>14.000000000001593</c:v>
                </c:pt>
                <c:pt idx="7">
                  <c:v>33.000000000003745</c:v>
                </c:pt>
                <c:pt idx="8">
                  <c:v>30.0000000000034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B9D-4F4B-BC23-13C77CF398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374456320"/>
        <c:axId val="374457856"/>
      </c:barChart>
      <c:catAx>
        <c:axId val="3744563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700">
            <a:solidFill>
              <a:srgbClr val="808080"/>
            </a:solidFill>
            <a:prstDash val="solid"/>
          </a:ln>
        </c:spPr>
        <c:txPr>
          <a:bodyPr/>
          <a:lstStyle/>
          <a:p>
            <a:pPr>
              <a:defRPr b="0"/>
            </a:pPr>
            <a:endParaRPr lang="en-US"/>
          </a:p>
        </c:txPr>
        <c:crossAx val="374457856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374457856"/>
        <c:scaling>
          <c:orientation val="minMax"/>
          <c:max val="1"/>
          <c:min val="0"/>
        </c:scaling>
        <c:delete val="0"/>
        <c:axPos val="l"/>
        <c:numFmt formatCode="0%" sourceLinked="1"/>
        <c:majorTickMark val="out"/>
        <c:minorTickMark val="none"/>
        <c:tickLblPos val="nextTo"/>
        <c:spPr>
          <a:ln w="12700">
            <a:solidFill>
              <a:srgbClr val="808080"/>
            </a:solidFill>
            <a:prstDash val="solid"/>
          </a:ln>
        </c:spPr>
        <c:txPr>
          <a:bodyPr/>
          <a:lstStyle/>
          <a:p>
            <a:pPr>
              <a:defRPr b="0"/>
            </a:pPr>
            <a:endParaRPr lang="en-US"/>
          </a:p>
        </c:txPr>
        <c:crossAx val="374456320"/>
        <c:crosses val="autoZero"/>
        <c:crossBetween val="between"/>
        <c:majorUnit val="0.25"/>
      </c:valAx>
      <c:spPr>
        <a:noFill/>
        <a:ln w="25400">
          <a:noFill/>
        </a:ln>
      </c:spPr>
    </c:plotArea>
    <c:legend>
      <c:legendPos val="r"/>
      <c:overlay val="0"/>
      <c:txPr>
        <a:bodyPr/>
        <a:lstStyle/>
        <a:p>
          <a:pPr>
            <a:defRPr b="0"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533512064343161E-2"/>
          <c:y val="3.3444816053511704E-2"/>
          <c:w val="0.73981779802244196"/>
          <c:h val="0.9364548494983278"/>
        </c:manualLayout>
      </c:layout>
      <c:areaChart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A</c:v>
                </c:pt>
              </c:strCache>
            </c:strRef>
          </c:tx>
          <c:spPr>
            <a:solidFill>
              <a:schemeClr val="accent2"/>
            </a:solidFill>
            <a:ln w="12699">
              <a:solidFill>
                <a:srgbClr val="808080"/>
              </a:solidFill>
              <a:prstDash val="solid"/>
            </a:ln>
          </c:spPr>
          <c:cat>
            <c:numRef>
              <c:f>Sheet1!$B$1:$P$1</c:f>
              <c:numCache>
                <c:formatCode>General</c:formatCode>
                <c:ptCount val="15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</c:numCache>
            </c:numRef>
          </c:cat>
          <c:val>
            <c:numRef>
              <c:f>Sheet1!$B$2:$P$2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43.000000000004889</c:v>
                </c:pt>
                <c:pt idx="5">
                  <c:v>73.000000000008299</c:v>
                </c:pt>
                <c:pt idx="6">
                  <c:v>28034.000000003187</c:v>
                </c:pt>
                <c:pt idx="7">
                  <c:v>47166.000000005362</c:v>
                </c:pt>
                <c:pt idx="8">
                  <c:v>76121.000000008658</c:v>
                </c:pt>
                <c:pt idx="9">
                  <c:v>95995.000000010914</c:v>
                </c:pt>
                <c:pt idx="10">
                  <c:v>96944.000000011016</c:v>
                </c:pt>
                <c:pt idx="11">
                  <c:v>97884.000000011132</c:v>
                </c:pt>
                <c:pt idx="12">
                  <c:v>98849.000000011234</c:v>
                </c:pt>
                <c:pt idx="13">
                  <c:v>99846.00000001135</c:v>
                </c:pt>
                <c:pt idx="14">
                  <c:v>100829.000000011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32-4905-9BF8-E8A8DE8CE6B0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B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 w="12699">
              <a:solidFill>
                <a:srgbClr val="808080"/>
              </a:solidFill>
              <a:prstDash val="solid"/>
            </a:ln>
          </c:spPr>
          <c:cat>
            <c:numRef>
              <c:f>Sheet1!$B$1:$P$1</c:f>
              <c:numCache>
                <c:formatCode>General</c:formatCode>
                <c:ptCount val="15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</c:numCache>
            </c:numRef>
          </c:cat>
          <c:val>
            <c:numRef>
              <c:f>Sheet1!$B$3:$P$3</c:f>
              <c:numCache>
                <c:formatCode>General</c:formatCode>
                <c:ptCount val="15"/>
                <c:pt idx="0">
                  <c:v>54081.000000006148</c:v>
                </c:pt>
                <c:pt idx="1">
                  <c:v>60339.000000006861</c:v>
                </c:pt>
                <c:pt idx="2">
                  <c:v>68402.000000007771</c:v>
                </c:pt>
                <c:pt idx="3">
                  <c:v>73152.000000008324</c:v>
                </c:pt>
                <c:pt idx="4">
                  <c:v>74012.000000008411</c:v>
                </c:pt>
                <c:pt idx="5">
                  <c:v>74901.000000008513</c:v>
                </c:pt>
                <c:pt idx="6">
                  <c:v>52476.000000005966</c:v>
                </c:pt>
                <c:pt idx="7">
                  <c:v>37507.000000004264</c:v>
                </c:pt>
                <c:pt idx="8">
                  <c:v>15034.00000000171</c:v>
                </c:pt>
                <c:pt idx="9">
                  <c:v>60.000000000006821</c:v>
                </c:pt>
                <c:pt idx="10">
                  <c:v>61.000000000006935</c:v>
                </c:pt>
                <c:pt idx="11">
                  <c:v>62.000000000007049</c:v>
                </c:pt>
                <c:pt idx="12">
                  <c:v>63.000000000007162</c:v>
                </c:pt>
                <c:pt idx="13">
                  <c:v>64.000000000007276</c:v>
                </c:pt>
                <c:pt idx="14">
                  <c:v>65.000000000007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E32-4905-9BF8-E8A8DE8CE6B0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C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 w="12699">
              <a:solidFill>
                <a:srgbClr val="808080"/>
              </a:solidFill>
              <a:prstDash val="solid"/>
            </a:ln>
          </c:spPr>
          <c:cat>
            <c:numRef>
              <c:f>Sheet1!$B$1:$P$1</c:f>
              <c:numCache>
                <c:formatCode>General</c:formatCode>
                <c:ptCount val="15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</c:numCache>
            </c:numRef>
          </c:cat>
          <c:val>
            <c:numRef>
              <c:f>Sheet1!$B$4:$P$4</c:f>
              <c:numCache>
                <c:formatCode>General</c:formatCode>
                <c:ptCount val="15"/>
                <c:pt idx="0">
                  <c:v>12791.000000001453</c:v>
                </c:pt>
                <c:pt idx="1">
                  <c:v>12970.000000001475</c:v>
                </c:pt>
                <c:pt idx="2">
                  <c:v>13151.000000001495</c:v>
                </c:pt>
                <c:pt idx="3">
                  <c:v>13336.000000001517</c:v>
                </c:pt>
                <c:pt idx="4">
                  <c:v>13522.000000001537</c:v>
                </c:pt>
                <c:pt idx="5">
                  <c:v>13712.000000001559</c:v>
                </c:pt>
                <c:pt idx="6">
                  <c:v>9667.0000000010987</c:v>
                </c:pt>
                <c:pt idx="7">
                  <c:v>6971.0000000007922</c:v>
                </c:pt>
                <c:pt idx="8">
                  <c:v>2926.0000000003329</c:v>
                </c:pt>
                <c:pt idx="9">
                  <c:v>230.00000000002615</c:v>
                </c:pt>
                <c:pt idx="10">
                  <c:v>234.0000000000266</c:v>
                </c:pt>
                <c:pt idx="11">
                  <c:v>237.00000000002694</c:v>
                </c:pt>
                <c:pt idx="12">
                  <c:v>241.0000000000274</c:v>
                </c:pt>
                <c:pt idx="13">
                  <c:v>244.00000000002774</c:v>
                </c:pt>
                <c:pt idx="14">
                  <c:v>248.000000000028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E32-4905-9BF8-E8A8DE8CE6B0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D</c:v>
                </c:pt>
              </c:strCache>
            </c:strRef>
          </c:tx>
          <c:spPr>
            <a:solidFill>
              <a:srgbClr val="79A2B3"/>
            </a:solidFill>
            <a:ln w="12699">
              <a:solidFill>
                <a:srgbClr val="808080"/>
              </a:solidFill>
              <a:prstDash val="solid"/>
            </a:ln>
          </c:spPr>
          <c:cat>
            <c:numRef>
              <c:f>Sheet1!$B$1:$P$1</c:f>
              <c:numCache>
                <c:formatCode>General</c:formatCode>
                <c:ptCount val="15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</c:numCache>
            </c:numRef>
          </c:cat>
          <c:val>
            <c:numRef>
              <c:f>Sheet1!$B$5:$P$5</c:f>
              <c:numCache>
                <c:formatCode>General</c:formatCode>
                <c:ptCount val="15"/>
                <c:pt idx="0">
                  <c:v>132.00000000001501</c:v>
                </c:pt>
                <c:pt idx="1">
                  <c:v>134.00000000001523</c:v>
                </c:pt>
                <c:pt idx="2">
                  <c:v>136.00000000001546</c:v>
                </c:pt>
                <c:pt idx="3">
                  <c:v>138.00000000001569</c:v>
                </c:pt>
                <c:pt idx="4">
                  <c:v>140.00000000001592</c:v>
                </c:pt>
                <c:pt idx="5">
                  <c:v>142.00000000001614</c:v>
                </c:pt>
                <c:pt idx="6">
                  <c:v>100.00000000001137</c:v>
                </c:pt>
                <c:pt idx="7">
                  <c:v>71.000000000008072</c:v>
                </c:pt>
                <c:pt idx="8">
                  <c:v>28.000000000003183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E32-4905-9BF8-E8A8DE8CE6B0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E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 w="12699">
              <a:solidFill>
                <a:srgbClr val="808080"/>
              </a:solidFill>
              <a:prstDash val="solid"/>
            </a:ln>
          </c:spPr>
          <c:cat>
            <c:numRef>
              <c:f>Sheet1!$B$1:$P$1</c:f>
              <c:numCache>
                <c:formatCode>General</c:formatCode>
                <c:ptCount val="15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</c:numCache>
            </c:numRef>
          </c:cat>
          <c:val>
            <c:numRef>
              <c:f>Sheet1!$B$6:$P$6</c:f>
              <c:numCache>
                <c:formatCode>General</c:formatCode>
                <c:ptCount val="15"/>
                <c:pt idx="0">
                  <c:v>9905.000000001126</c:v>
                </c:pt>
                <c:pt idx="1">
                  <c:v>10049.000000001142</c:v>
                </c:pt>
                <c:pt idx="2">
                  <c:v>10193.000000001159</c:v>
                </c:pt>
                <c:pt idx="3">
                  <c:v>10336.000000001175</c:v>
                </c:pt>
                <c:pt idx="4">
                  <c:v>10478.000000001191</c:v>
                </c:pt>
                <c:pt idx="5">
                  <c:v>10618.000000001208</c:v>
                </c:pt>
                <c:pt idx="6">
                  <c:v>10770.000000001224</c:v>
                </c:pt>
                <c:pt idx="7">
                  <c:v>10923.000000001242</c:v>
                </c:pt>
                <c:pt idx="8">
                  <c:v>11077.000000001259</c:v>
                </c:pt>
                <c:pt idx="9">
                  <c:v>11231.000000001277</c:v>
                </c:pt>
                <c:pt idx="10">
                  <c:v>11385.000000001295</c:v>
                </c:pt>
                <c:pt idx="11">
                  <c:v>11539.000000001311</c:v>
                </c:pt>
                <c:pt idx="12">
                  <c:v>11692.00000000133</c:v>
                </c:pt>
                <c:pt idx="13">
                  <c:v>11848.000000001346</c:v>
                </c:pt>
                <c:pt idx="14">
                  <c:v>12004.0000000013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E32-4905-9BF8-E8A8DE8CE6B0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F</c:v>
                </c:pt>
              </c:strCache>
            </c:strRef>
          </c:tx>
          <c:spPr>
            <a:solidFill>
              <a:srgbClr val="D2E0E6"/>
            </a:solidFill>
            <a:ln w="12699">
              <a:solidFill>
                <a:srgbClr val="808080"/>
              </a:solidFill>
              <a:prstDash val="solid"/>
            </a:ln>
          </c:spPr>
          <c:cat>
            <c:numRef>
              <c:f>Sheet1!$B$1:$P$1</c:f>
              <c:numCache>
                <c:formatCode>General</c:formatCode>
                <c:ptCount val="15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</c:numCache>
            </c:numRef>
          </c:cat>
          <c:val>
            <c:numRef>
              <c:f>Sheet1!$B$7:$P$7</c:f>
              <c:numCache>
                <c:formatCode>General</c:formatCode>
                <c:ptCount val="15"/>
                <c:pt idx="0">
                  <c:v>23857.000000002714</c:v>
                </c:pt>
                <c:pt idx="1">
                  <c:v>19403.000000002205</c:v>
                </c:pt>
                <c:pt idx="2">
                  <c:v>12666.000000001441</c:v>
                </c:pt>
                <c:pt idx="3">
                  <c:v>8216.000000000935</c:v>
                </c:pt>
                <c:pt idx="4">
                  <c:v>8339.0000000009477</c:v>
                </c:pt>
                <c:pt idx="5">
                  <c:v>8464.0000000009622</c:v>
                </c:pt>
                <c:pt idx="6">
                  <c:v>8556.0000000009732</c:v>
                </c:pt>
                <c:pt idx="7">
                  <c:v>8661.0000000009841</c:v>
                </c:pt>
                <c:pt idx="8">
                  <c:v>8758.000000000995</c:v>
                </c:pt>
                <c:pt idx="9">
                  <c:v>8867.0000000010077</c:v>
                </c:pt>
                <c:pt idx="10">
                  <c:v>9000.0000000010223</c:v>
                </c:pt>
                <c:pt idx="11">
                  <c:v>9134.0000000010386</c:v>
                </c:pt>
                <c:pt idx="12">
                  <c:v>9271.0000000010532</c:v>
                </c:pt>
                <c:pt idx="13">
                  <c:v>9410.0000000010696</c:v>
                </c:pt>
                <c:pt idx="14">
                  <c:v>9551.00000000108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E32-4905-9BF8-E8A8DE8CE6B0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G</c:v>
                </c:pt>
              </c:strCache>
            </c:strRef>
          </c:tx>
          <c:spPr>
            <a:solidFill>
              <a:srgbClr val="908052"/>
            </a:solidFill>
            <a:ln w="12699">
              <a:solidFill>
                <a:srgbClr val="808080"/>
              </a:solidFill>
              <a:prstDash val="solid"/>
            </a:ln>
          </c:spPr>
          <c:cat>
            <c:numRef>
              <c:f>Sheet1!$B$1:$P$1</c:f>
              <c:numCache>
                <c:formatCode>General</c:formatCode>
                <c:ptCount val="15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</c:numCache>
            </c:numRef>
          </c:cat>
          <c:val>
            <c:numRef>
              <c:f>Sheet1!$B$8:$P$8</c:f>
              <c:numCache>
                <c:formatCode>General</c:formatCode>
                <c:ptCount val="15"/>
                <c:pt idx="0">
                  <c:v>2331.0000000002651</c:v>
                </c:pt>
                <c:pt idx="1">
                  <c:v>2356.0000000002678</c:v>
                </c:pt>
                <c:pt idx="2">
                  <c:v>2381.0000000002706</c:v>
                </c:pt>
                <c:pt idx="3">
                  <c:v>2406.0000000002738</c:v>
                </c:pt>
                <c:pt idx="4">
                  <c:v>2431.0000000002765</c:v>
                </c:pt>
                <c:pt idx="5">
                  <c:v>2456.0000000002792</c:v>
                </c:pt>
                <c:pt idx="6">
                  <c:v>2484.0000000002824</c:v>
                </c:pt>
                <c:pt idx="7">
                  <c:v>2510.0000000002856</c:v>
                </c:pt>
                <c:pt idx="8">
                  <c:v>2535.0000000002883</c:v>
                </c:pt>
                <c:pt idx="9">
                  <c:v>2560.000000000291</c:v>
                </c:pt>
                <c:pt idx="10">
                  <c:v>2588.0000000002942</c:v>
                </c:pt>
                <c:pt idx="11">
                  <c:v>2615.0000000002974</c:v>
                </c:pt>
                <c:pt idx="12">
                  <c:v>2643.0000000003006</c:v>
                </c:pt>
                <c:pt idx="13">
                  <c:v>2670.0000000003038</c:v>
                </c:pt>
                <c:pt idx="14">
                  <c:v>2698.00000000030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E32-4905-9BF8-E8A8DE8CE6B0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H</c:v>
                </c:pt>
              </c:strCache>
            </c:strRef>
          </c:tx>
          <c:spPr>
            <a:solidFill>
              <a:srgbClr val="BBAD87"/>
            </a:solidFill>
            <a:ln w="12699">
              <a:solidFill>
                <a:srgbClr val="808080"/>
              </a:solidFill>
              <a:prstDash val="solid"/>
            </a:ln>
          </c:spPr>
          <c:cat>
            <c:numRef>
              <c:f>Sheet1!$B$1:$P$1</c:f>
              <c:numCache>
                <c:formatCode>General</c:formatCode>
                <c:ptCount val="15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</c:numCache>
            </c:numRef>
          </c:cat>
          <c:val>
            <c:numRef>
              <c:f>Sheet1!$B$9:$P$9</c:f>
              <c:numCache>
                <c:formatCode>General</c:formatCode>
                <c:ptCount val="15"/>
                <c:pt idx="0">
                  <c:v>8590.0000000009768</c:v>
                </c:pt>
                <c:pt idx="1">
                  <c:v>8681.0000000009877</c:v>
                </c:pt>
                <c:pt idx="2">
                  <c:v>8765.0000000009968</c:v>
                </c:pt>
                <c:pt idx="3">
                  <c:v>8868.0000000010077</c:v>
                </c:pt>
                <c:pt idx="4">
                  <c:v>8946.0000000010168</c:v>
                </c:pt>
                <c:pt idx="5">
                  <c:v>9030.0000000010259</c:v>
                </c:pt>
                <c:pt idx="6">
                  <c:v>9105.000000001035</c:v>
                </c:pt>
                <c:pt idx="7">
                  <c:v>9185.0000000010441</c:v>
                </c:pt>
                <c:pt idx="8">
                  <c:v>9277.000000001055</c:v>
                </c:pt>
                <c:pt idx="9">
                  <c:v>9366.0000000010641</c:v>
                </c:pt>
                <c:pt idx="10">
                  <c:v>9423.0000000010714</c:v>
                </c:pt>
                <c:pt idx="11">
                  <c:v>9467.0000000010768</c:v>
                </c:pt>
                <c:pt idx="12">
                  <c:v>9545.0000000010859</c:v>
                </c:pt>
                <c:pt idx="13">
                  <c:v>9648.0000000010969</c:v>
                </c:pt>
                <c:pt idx="14">
                  <c:v>9748.00000000110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E32-4905-9BF8-E8A8DE8CE6B0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  <c:pt idx="0">
                  <c:v>I</c:v>
                </c:pt>
              </c:strCache>
            </c:strRef>
          </c:tx>
          <c:spPr>
            <a:solidFill>
              <a:srgbClr val="D8CEB8"/>
            </a:solidFill>
            <a:ln w="12699">
              <a:solidFill>
                <a:srgbClr val="808080"/>
              </a:solidFill>
              <a:prstDash val="solid"/>
            </a:ln>
          </c:spPr>
          <c:cat>
            <c:numRef>
              <c:f>Sheet1!$B$1:$P$1</c:f>
              <c:numCache>
                <c:formatCode>General</c:formatCode>
                <c:ptCount val="15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</c:numCache>
            </c:numRef>
          </c:cat>
          <c:val>
            <c:numRef>
              <c:f>Sheet1!$B$10:$P$10</c:f>
              <c:numCache>
                <c:formatCode>General</c:formatCode>
                <c:ptCount val="15"/>
                <c:pt idx="0">
                  <c:v>6554.0000000007449</c:v>
                </c:pt>
                <c:pt idx="1">
                  <c:v>6653.0000000007567</c:v>
                </c:pt>
                <c:pt idx="2">
                  <c:v>6754.0000000007676</c:v>
                </c:pt>
                <c:pt idx="3">
                  <c:v>6856.0000000007794</c:v>
                </c:pt>
                <c:pt idx="4">
                  <c:v>6921.0000000007867</c:v>
                </c:pt>
                <c:pt idx="5">
                  <c:v>7025.0000000007985</c:v>
                </c:pt>
                <c:pt idx="6">
                  <c:v>6847.0000000007785</c:v>
                </c:pt>
                <c:pt idx="7">
                  <c:v>6827.0000000007758</c:v>
                </c:pt>
                <c:pt idx="8">
                  <c:v>6752.0000000007676</c:v>
                </c:pt>
                <c:pt idx="9">
                  <c:v>6737.0000000007658</c:v>
                </c:pt>
                <c:pt idx="10">
                  <c:v>6839.0000000007776</c:v>
                </c:pt>
                <c:pt idx="11">
                  <c:v>6943.0000000007894</c:v>
                </c:pt>
                <c:pt idx="12">
                  <c:v>7049.0000000008013</c:v>
                </c:pt>
                <c:pt idx="13">
                  <c:v>7156.0000000008131</c:v>
                </c:pt>
                <c:pt idx="14">
                  <c:v>7265.00000000082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E32-4905-9BF8-E8A8DE8CE6B0}"/>
            </c:ext>
          </c:extLst>
        </c:ser>
        <c:ser>
          <c:idx val="9"/>
          <c:order val="9"/>
          <c:tx>
            <c:strRef>
              <c:f>Sheet1!$A$11</c:f>
              <c:strCache>
                <c:ptCount val="1"/>
                <c:pt idx="0">
                  <c:v>J</c:v>
                </c:pt>
              </c:strCache>
            </c:strRef>
          </c:tx>
          <c:spPr>
            <a:solidFill>
              <a:srgbClr val="808080"/>
            </a:solidFill>
            <a:ln w="12699">
              <a:solidFill>
                <a:srgbClr val="808080"/>
              </a:solidFill>
              <a:prstDash val="solid"/>
            </a:ln>
          </c:spPr>
          <c:cat>
            <c:numRef>
              <c:f>Sheet1!$B$1:$P$1</c:f>
              <c:numCache>
                <c:formatCode>General</c:formatCode>
                <c:ptCount val="15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</c:numCache>
            </c:numRef>
          </c:cat>
          <c:val>
            <c:numRef>
              <c:f>Sheet1!$B$11:$P$11</c:f>
              <c:numCache>
                <c:formatCode>General</c:formatCode>
                <c:ptCount val="15"/>
                <c:pt idx="0">
                  <c:v>9905.000000001126</c:v>
                </c:pt>
                <c:pt idx="1">
                  <c:v>10049.000000001142</c:v>
                </c:pt>
                <c:pt idx="2">
                  <c:v>10193.000000001159</c:v>
                </c:pt>
                <c:pt idx="3">
                  <c:v>10336.000000001175</c:v>
                </c:pt>
                <c:pt idx="4">
                  <c:v>10478.000000001191</c:v>
                </c:pt>
                <c:pt idx="5">
                  <c:v>10618.000000001208</c:v>
                </c:pt>
                <c:pt idx="6">
                  <c:v>10770.000000001224</c:v>
                </c:pt>
                <c:pt idx="7">
                  <c:v>10923.000000001242</c:v>
                </c:pt>
                <c:pt idx="8">
                  <c:v>11077.000000001259</c:v>
                </c:pt>
                <c:pt idx="9">
                  <c:v>11231.000000001277</c:v>
                </c:pt>
                <c:pt idx="10">
                  <c:v>11385.000000001295</c:v>
                </c:pt>
                <c:pt idx="11">
                  <c:v>11539.000000001311</c:v>
                </c:pt>
                <c:pt idx="12">
                  <c:v>11692.00000000133</c:v>
                </c:pt>
                <c:pt idx="13">
                  <c:v>11848.000000001346</c:v>
                </c:pt>
                <c:pt idx="14">
                  <c:v>12004.0000000013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E32-4905-9BF8-E8A8DE8CE6B0}"/>
            </c:ext>
          </c:extLst>
        </c:ser>
        <c:ser>
          <c:idx val="10"/>
          <c:order val="10"/>
          <c:tx>
            <c:strRef>
              <c:f>Sheet1!$A$12</c:f>
              <c:strCache>
                <c:ptCount val="1"/>
                <c:pt idx="0">
                  <c:v>K</c:v>
                </c:pt>
              </c:strCache>
            </c:strRef>
          </c:tx>
          <c:spPr>
            <a:solidFill>
              <a:srgbClr val="B2B2B2"/>
            </a:solidFill>
            <a:ln w="12699">
              <a:solidFill>
                <a:srgbClr val="808080"/>
              </a:solidFill>
              <a:prstDash val="solid"/>
            </a:ln>
          </c:spPr>
          <c:cat>
            <c:numRef>
              <c:f>Sheet1!$B$1:$P$1</c:f>
              <c:numCache>
                <c:formatCode>General</c:formatCode>
                <c:ptCount val="15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</c:numCache>
            </c:numRef>
          </c:cat>
          <c:val>
            <c:numRef>
              <c:f>Sheet1!$B$12:$P$12</c:f>
              <c:numCache>
                <c:formatCode>General</c:formatCode>
                <c:ptCount val="15"/>
                <c:pt idx="0">
                  <c:v>23857.000000002714</c:v>
                </c:pt>
                <c:pt idx="1">
                  <c:v>19403.000000002205</c:v>
                </c:pt>
                <c:pt idx="2">
                  <c:v>12666.000000001441</c:v>
                </c:pt>
                <c:pt idx="3">
                  <c:v>8216.000000000935</c:v>
                </c:pt>
                <c:pt idx="4">
                  <c:v>8339.0000000009477</c:v>
                </c:pt>
                <c:pt idx="5">
                  <c:v>8464.0000000009622</c:v>
                </c:pt>
                <c:pt idx="6">
                  <c:v>8556.0000000009732</c:v>
                </c:pt>
                <c:pt idx="7">
                  <c:v>8661.0000000009841</c:v>
                </c:pt>
                <c:pt idx="8">
                  <c:v>8758.000000000995</c:v>
                </c:pt>
                <c:pt idx="9">
                  <c:v>8867.0000000010077</c:v>
                </c:pt>
                <c:pt idx="10">
                  <c:v>9000.0000000010223</c:v>
                </c:pt>
                <c:pt idx="11">
                  <c:v>9134.0000000010386</c:v>
                </c:pt>
                <c:pt idx="12">
                  <c:v>9271.0000000010532</c:v>
                </c:pt>
                <c:pt idx="13">
                  <c:v>9410.0000000010696</c:v>
                </c:pt>
                <c:pt idx="14">
                  <c:v>9551.00000000108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E32-4905-9BF8-E8A8DE8CE6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74723712"/>
        <c:axId val="374725248"/>
      </c:areaChart>
      <c:catAx>
        <c:axId val="3747237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699">
            <a:solidFill>
              <a:srgbClr val="808080"/>
            </a:solidFill>
            <a:prstDash val="solid"/>
          </a:ln>
        </c:spPr>
        <c:txPr>
          <a:bodyPr/>
          <a:lstStyle/>
          <a:p>
            <a:pPr>
              <a:defRPr b="0"/>
            </a:pPr>
            <a:endParaRPr lang="en-US"/>
          </a:p>
        </c:txPr>
        <c:crossAx val="37472524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374725248"/>
        <c:scaling>
          <c:orientation val="minMax"/>
          <c:max val="200000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12699">
            <a:solidFill>
              <a:srgbClr val="808080"/>
            </a:solidFill>
            <a:prstDash val="solid"/>
          </a:ln>
        </c:spPr>
        <c:txPr>
          <a:bodyPr/>
          <a:lstStyle/>
          <a:p>
            <a:pPr>
              <a:defRPr b="0"/>
            </a:pPr>
            <a:endParaRPr lang="en-US"/>
          </a:p>
        </c:txPr>
        <c:crossAx val="374723712"/>
        <c:crosses val="autoZero"/>
        <c:crossBetween val="midCat"/>
        <c:majorUnit val="50000"/>
      </c:valAx>
      <c:spPr>
        <a:noFill/>
        <a:ln w="25399">
          <a:noFill/>
        </a:ln>
      </c:spPr>
    </c:plotArea>
    <c:legend>
      <c:legendPos val="r"/>
      <c:layout>
        <c:manualLayout>
          <c:xMode val="edge"/>
          <c:yMode val="edge"/>
          <c:x val="0.85597029622971177"/>
          <c:y val="9.4029537612305633E-2"/>
          <c:w val="4.289788508347557E-2"/>
          <c:h val="0.68989690125715197"/>
        </c:manualLayout>
      </c:layout>
      <c:overlay val="0"/>
      <c:txPr>
        <a:bodyPr/>
        <a:lstStyle/>
        <a:p>
          <a:pPr>
            <a:defRPr b="0"/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abel 1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cat>
            <c:numRef>
              <c:f>Sheet1!$A$2:$A$21</c:f>
              <c:numCache>
                <c:formatCode>0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</c:numCache>
            </c:num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2</c:v>
                </c:pt>
                <c:pt idx="5">
                  <c:v>3</c:v>
                </c:pt>
                <c:pt idx="6">
                  <c:v>4</c:v>
                </c:pt>
                <c:pt idx="7">
                  <c:v>1</c:v>
                </c:pt>
                <c:pt idx="8">
                  <c:v>4</c:v>
                </c:pt>
                <c:pt idx="9">
                  <c:v>1</c:v>
                </c:pt>
                <c:pt idx="10">
                  <c:v>1</c:v>
                </c:pt>
                <c:pt idx="11">
                  <c:v>3</c:v>
                </c:pt>
                <c:pt idx="12">
                  <c:v>3</c:v>
                </c:pt>
                <c:pt idx="13">
                  <c:v>5</c:v>
                </c:pt>
                <c:pt idx="14">
                  <c:v>5</c:v>
                </c:pt>
                <c:pt idx="15">
                  <c:v>1</c:v>
                </c:pt>
                <c:pt idx="16">
                  <c:v>1</c:v>
                </c:pt>
                <c:pt idx="17">
                  <c:v>2</c:v>
                </c:pt>
                <c:pt idx="18">
                  <c:v>2</c:v>
                </c:pt>
                <c:pt idx="19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8E-493A-BFBA-3B1364BFB1C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abel 2</c:v>
                </c:pt>
              </c:strCache>
            </c:strRef>
          </c:tx>
          <c:spPr>
            <a:ln>
              <a:solidFill>
                <a:schemeClr val="accent3"/>
              </a:solidFill>
            </a:ln>
          </c:spPr>
          <c:marker>
            <c:symbol val="none"/>
          </c:marker>
          <c:cat>
            <c:numRef>
              <c:f>Sheet1!$A$2:$A$21</c:f>
              <c:numCache>
                <c:formatCode>0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</c:numCache>
            </c:numRef>
          </c:cat>
          <c:val>
            <c:numRef>
              <c:f>Sheet1!$C$2:$C$21</c:f>
              <c:numCache>
                <c:formatCode>General</c:formatCode>
                <c:ptCount val="20"/>
                <c:pt idx="0">
                  <c:v>4</c:v>
                </c:pt>
                <c:pt idx="1">
                  <c:v>4</c:v>
                </c:pt>
                <c:pt idx="2">
                  <c:v>5</c:v>
                </c:pt>
                <c:pt idx="3">
                  <c:v>5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4</c:v>
                </c:pt>
                <c:pt idx="8">
                  <c:v>4</c:v>
                </c:pt>
                <c:pt idx="9">
                  <c:v>4</c:v>
                </c:pt>
                <c:pt idx="10">
                  <c:v>5</c:v>
                </c:pt>
                <c:pt idx="11">
                  <c:v>5</c:v>
                </c:pt>
                <c:pt idx="12">
                  <c:v>3</c:v>
                </c:pt>
                <c:pt idx="13">
                  <c:v>4</c:v>
                </c:pt>
                <c:pt idx="14">
                  <c:v>2</c:v>
                </c:pt>
                <c:pt idx="15">
                  <c:v>4</c:v>
                </c:pt>
                <c:pt idx="16">
                  <c:v>5</c:v>
                </c:pt>
                <c:pt idx="17">
                  <c:v>5</c:v>
                </c:pt>
                <c:pt idx="18">
                  <c:v>2</c:v>
                </c:pt>
                <c:pt idx="19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8E-493A-BFBA-3B1364BFB1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74665216"/>
        <c:axId val="374666752"/>
      </c:radarChart>
      <c:catAx>
        <c:axId val="374665216"/>
        <c:scaling>
          <c:orientation val="minMax"/>
        </c:scaling>
        <c:delete val="0"/>
        <c:axPos val="b"/>
        <c:majorGridlines/>
        <c:numFmt formatCode="0" sourceLinked="1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200" b="0"/>
            </a:pPr>
            <a:endParaRPr lang="en-US"/>
          </a:p>
        </c:txPr>
        <c:crossAx val="374666752"/>
        <c:crosses val="autoZero"/>
        <c:auto val="1"/>
        <c:lblAlgn val="ctr"/>
        <c:lblOffset val="100"/>
        <c:noMultiLvlLbl val="0"/>
      </c:catAx>
      <c:valAx>
        <c:axId val="37466675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37466521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5780637900136705"/>
          <c:y val="0.4018268933071889"/>
          <c:w val="0.10794609777657553"/>
          <c:h val="0.12947859987259921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1-3F19-41C8-8EE4-A89F04C6C761}"/>
              </c:ext>
            </c:extLst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3F19-41C8-8EE4-A89F04C6C761}"/>
              </c:ext>
            </c:extLst>
          </c:dPt>
          <c:dPt>
            <c:idx val="2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3F19-41C8-8EE4-A89F04C6C761}"/>
              </c:ext>
            </c:extLst>
          </c:dPt>
          <c:dPt>
            <c:idx val="3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3F19-41C8-8EE4-A89F04C6C761}"/>
              </c:ext>
            </c:extLst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1400" b="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3F19-41C8-8EE4-A89F04C6C761}"/>
                </c:ext>
              </c:extLst>
            </c:dLbl>
            <c:dLbl>
              <c:idx val="1"/>
              <c:spPr/>
              <c:txPr>
                <a:bodyPr/>
                <a:lstStyle/>
                <a:p>
                  <a:pPr>
                    <a:defRPr sz="1400" b="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3F19-41C8-8EE4-A89F04C6C76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A</c:v>
                </c:pt>
                <c:pt idx="1">
                  <c:v>B</c:v>
                </c:pt>
                <c:pt idx="2">
                  <c:v>C</c:v>
                </c:pt>
                <c:pt idx="3">
                  <c:v>D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F19-41C8-8EE4-A89F04C6C7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81905725065616797"/>
          <c:y val="0.32340501968503937"/>
          <c:w val="5.1866377592032255E-2"/>
          <c:h val="0.26078733187351943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One</c:v>
                </c:pt>
                <c:pt idx="1">
                  <c:v>Two</c:v>
                </c:pt>
                <c:pt idx="2">
                  <c:v>Three</c:v>
                </c:pt>
                <c:pt idx="3">
                  <c:v>Fou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E99-41E1-B1DC-63CD202AA9A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One</c:v>
                </c:pt>
                <c:pt idx="1">
                  <c:v>Two</c:v>
                </c:pt>
                <c:pt idx="2">
                  <c:v>Three</c:v>
                </c:pt>
                <c:pt idx="3">
                  <c:v>Four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E99-41E1-B1DC-63CD202AA9A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One</c:v>
                </c:pt>
                <c:pt idx="1">
                  <c:v>Two</c:v>
                </c:pt>
                <c:pt idx="2">
                  <c:v>Three</c:v>
                </c:pt>
                <c:pt idx="3">
                  <c:v>Four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E99-41E1-B1DC-63CD202AA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75313152"/>
        <c:axId val="375314688"/>
      </c:barChart>
      <c:catAx>
        <c:axId val="3753131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375314688"/>
        <c:crosses val="autoZero"/>
        <c:auto val="1"/>
        <c:lblAlgn val="ctr"/>
        <c:lblOffset val="100"/>
        <c:noMultiLvlLbl val="0"/>
      </c:catAx>
      <c:valAx>
        <c:axId val="375314688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375313152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abel 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3-BE3A-443D-9AB2-CFEA553673D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D</c:v>
                </c:pt>
                <c:pt idx="1">
                  <c:v>C</c:v>
                </c:pt>
                <c:pt idx="2">
                  <c:v>B</c:v>
                </c:pt>
                <c:pt idx="3">
                  <c:v>A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3A-443D-9AB2-CFEA553673D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abel 2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D</c:v>
                </c:pt>
                <c:pt idx="1">
                  <c:v>C</c:v>
                </c:pt>
                <c:pt idx="2">
                  <c:v>B</c:v>
                </c:pt>
                <c:pt idx="3">
                  <c:v>A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E3A-443D-9AB2-CFEA553673D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abel 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D</c:v>
                </c:pt>
                <c:pt idx="1">
                  <c:v>C</c:v>
                </c:pt>
                <c:pt idx="2">
                  <c:v>B</c:v>
                </c:pt>
                <c:pt idx="3">
                  <c:v>A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E3A-443D-9AB2-CFEA553673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75411072"/>
        <c:axId val="375412608"/>
      </c:barChart>
      <c:catAx>
        <c:axId val="375411072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375412608"/>
        <c:crosses val="autoZero"/>
        <c:auto val="1"/>
        <c:lblAlgn val="ctr"/>
        <c:lblOffset val="100"/>
        <c:noMultiLvlLbl val="0"/>
      </c:catAx>
      <c:valAx>
        <c:axId val="3754126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375411072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314547081957808"/>
          <c:y val="9.2062039043149149E-2"/>
          <c:w val="0.75204229867777772"/>
          <c:h val="0.8315033773487672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One</c:v>
                </c:pt>
                <c:pt idx="1">
                  <c:v>Two</c:v>
                </c:pt>
                <c:pt idx="2">
                  <c:v>Three</c:v>
                </c:pt>
                <c:pt idx="3">
                  <c:v>Fou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E2-4B51-AFDD-B76CE39EB53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One</c:v>
                </c:pt>
                <c:pt idx="1">
                  <c:v>Two</c:v>
                </c:pt>
                <c:pt idx="2">
                  <c:v>Three</c:v>
                </c:pt>
                <c:pt idx="3">
                  <c:v>Four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EE2-4B51-AFDD-B76CE39EB53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One</c:v>
                </c:pt>
                <c:pt idx="1">
                  <c:v>Two</c:v>
                </c:pt>
                <c:pt idx="2">
                  <c:v>Three</c:v>
                </c:pt>
                <c:pt idx="3">
                  <c:v>Four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EE2-4B51-AFDD-B76CE39EB5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75514624"/>
        <c:axId val="375516160"/>
      </c:barChart>
      <c:catAx>
        <c:axId val="3755146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375516160"/>
        <c:crosses val="autoZero"/>
        <c:auto val="1"/>
        <c:lblAlgn val="ctr"/>
        <c:lblOffset val="100"/>
        <c:noMultiLvlLbl val="0"/>
      </c:catAx>
      <c:valAx>
        <c:axId val="375516160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375514624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925925925925923E-2"/>
          <c:y val="2.364864864864865E-2"/>
          <c:w val="0.92129629629629628"/>
          <c:h val="0.9425675675675675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 w="12699">
              <a:solidFill>
                <a:schemeClr val="bg1">
                  <a:lumMod val="95000"/>
                </a:schemeClr>
              </a:solidFill>
              <a:prstDash val="solid"/>
            </a:ln>
          </c:spPr>
          <c:invertIfNegative val="0"/>
          <c:dPt>
            <c:idx val="8"/>
            <c:invertIfNegative val="0"/>
            <c:bubble3D val="0"/>
            <c:spPr>
              <a:solidFill>
                <a:schemeClr val="accent1"/>
              </a:solidFill>
              <a:ln w="25398">
                <a:solidFill>
                  <a:schemeClr val="bg1">
                    <a:lumMod val="95000"/>
                  </a:schemeClr>
                </a:solidFill>
              </a:ln>
            </c:spPr>
            <c:extLst>
              <c:ext xmlns:c16="http://schemas.microsoft.com/office/drawing/2014/chart" uri="{C3380CC4-5D6E-409C-BE32-E72D297353CC}">
                <c16:uniqueId val="{00000001-58F1-4EB5-BED5-5F99089938C8}"/>
              </c:ext>
            </c:extLst>
          </c:dPt>
          <c:cat>
            <c:numRef>
              <c:f>Sheet1!$B$1:$N$1</c:f>
              <c:numCache>
                <c:formatCode>General</c:formatCode>
                <c:ptCount val="13"/>
                <c:pt idx="0">
                  <c:v>1994</c:v>
                </c:pt>
                <c:pt idx="2">
                  <c:v>1996</c:v>
                </c:pt>
                <c:pt idx="4">
                  <c:v>1998</c:v>
                </c:pt>
                <c:pt idx="6">
                  <c:v>2000</c:v>
                </c:pt>
                <c:pt idx="8">
                  <c:v>2002</c:v>
                </c:pt>
                <c:pt idx="10">
                  <c:v>2004</c:v>
                </c:pt>
                <c:pt idx="12">
                  <c:v>2006</c:v>
                </c:pt>
              </c:numCache>
            </c:numRef>
          </c:cat>
          <c:val>
            <c:numRef>
              <c:f>Sheet1!$B$2:$N$2</c:f>
              <c:numCache>
                <c:formatCode>General</c:formatCode>
                <c:ptCount val="13"/>
                <c:pt idx="0">
                  <c:v>14</c:v>
                </c:pt>
                <c:pt idx="1">
                  <c:v>13</c:v>
                </c:pt>
                <c:pt idx="2">
                  <c:v>16</c:v>
                </c:pt>
                <c:pt idx="3">
                  <c:v>13</c:v>
                </c:pt>
                <c:pt idx="4">
                  <c:v>12</c:v>
                </c:pt>
                <c:pt idx="5">
                  <c:v>16</c:v>
                </c:pt>
                <c:pt idx="6">
                  <c:v>13</c:v>
                </c:pt>
                <c:pt idx="7">
                  <c:v>18.400000000002091</c:v>
                </c:pt>
                <c:pt idx="8">
                  <c:v>19</c:v>
                </c:pt>
                <c:pt idx="9">
                  <c:v>17</c:v>
                </c:pt>
                <c:pt idx="10">
                  <c:v>15</c:v>
                </c:pt>
                <c:pt idx="11">
                  <c:v>18.400000000002091</c:v>
                </c:pt>
                <c:pt idx="1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8F1-4EB5-BED5-5F99089938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74085248"/>
        <c:axId val="174087168"/>
      </c:barChart>
      <c:lineChart>
        <c:grouping val="standard"/>
        <c:varyColors val="0"/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ln w="12699">
              <a:solidFill>
                <a:srgbClr val="FF0000"/>
              </a:solidFill>
              <a:prstDash val="solid"/>
            </a:ln>
          </c:spPr>
          <c:marker>
            <c:symbol val="circle"/>
            <c:size val="5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</c:spPr>
          </c:marker>
          <c:cat>
            <c:numRef>
              <c:f>Sheet1!$B$1:$N$1</c:f>
              <c:numCache>
                <c:formatCode>General</c:formatCode>
                <c:ptCount val="13"/>
                <c:pt idx="0">
                  <c:v>1994</c:v>
                </c:pt>
                <c:pt idx="2">
                  <c:v>1996</c:v>
                </c:pt>
                <c:pt idx="4">
                  <c:v>1998</c:v>
                </c:pt>
                <c:pt idx="6">
                  <c:v>2000</c:v>
                </c:pt>
                <c:pt idx="8">
                  <c:v>2002</c:v>
                </c:pt>
                <c:pt idx="10">
                  <c:v>2004</c:v>
                </c:pt>
                <c:pt idx="12">
                  <c:v>2006</c:v>
                </c:pt>
              </c:numCache>
            </c:numRef>
          </c:cat>
          <c:val>
            <c:numRef>
              <c:f>Sheet1!$B$3:$N$3</c:f>
              <c:numCache>
                <c:formatCode>General</c:formatCode>
                <c:ptCount val="13"/>
                <c:pt idx="0">
                  <c:v>13.71666667000156</c:v>
                </c:pt>
                <c:pt idx="1">
                  <c:v>18.233333330002072</c:v>
                </c:pt>
                <c:pt idx="2">
                  <c:v>11.183333330001272</c:v>
                </c:pt>
                <c:pt idx="3">
                  <c:v>17.266666670001964</c:v>
                </c:pt>
                <c:pt idx="4">
                  <c:v>11.16666667000127</c:v>
                </c:pt>
                <c:pt idx="5">
                  <c:v>14.983333330001704</c:v>
                </c:pt>
                <c:pt idx="6">
                  <c:v>16.500000000001876</c:v>
                </c:pt>
                <c:pt idx="7">
                  <c:v>17.800000000002026</c:v>
                </c:pt>
                <c:pt idx="8">
                  <c:v>16.100000000001831</c:v>
                </c:pt>
                <c:pt idx="9">
                  <c:v>18.633333330002117</c:v>
                </c:pt>
                <c:pt idx="10">
                  <c:v>17.33333333000197</c:v>
                </c:pt>
                <c:pt idx="11">
                  <c:v>17.100000000001945</c:v>
                </c:pt>
                <c:pt idx="12">
                  <c:v>21.2666666700024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8F1-4EB5-BED5-5F99089938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4085248"/>
        <c:axId val="174087168"/>
      </c:lineChart>
      <c:catAx>
        <c:axId val="1740852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699">
            <a:solidFill>
              <a:srgbClr val="808080"/>
            </a:solidFill>
            <a:prstDash val="solid"/>
          </a:ln>
        </c:spPr>
        <c:crossAx val="17408716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74087168"/>
        <c:scaling>
          <c:orientation val="minMax"/>
          <c:max val="28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12699">
            <a:solidFill>
              <a:srgbClr val="808080"/>
            </a:solidFill>
            <a:prstDash val="solid"/>
          </a:ln>
        </c:spPr>
        <c:crossAx val="174085248"/>
        <c:crosses val="autoZero"/>
        <c:crossBetween val="between"/>
        <c:majorUnit val="7"/>
      </c:valAx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887147335423198E-2"/>
          <c:y val="3.3444816053511704E-2"/>
          <c:w val="0.94043887147335425"/>
          <c:h val="0.9364548494983278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Label A</c:v>
                </c:pt>
              </c:strCache>
            </c:strRef>
          </c:tx>
          <c:spPr>
            <a:ln w="12699">
              <a:solidFill>
                <a:schemeClr val="tx2"/>
              </a:solidFill>
              <a:prstDash val="solid"/>
            </a:ln>
          </c:spPr>
          <c:marker>
            <c:symbol val="circle"/>
            <c:size val="5"/>
            <c:spPr>
              <a:solidFill>
                <a:schemeClr val="tx2"/>
              </a:solidFill>
              <a:ln>
                <a:solidFill>
                  <a:schemeClr val="tx2"/>
                </a:solidFill>
              </a:ln>
            </c:spPr>
          </c:marker>
          <c:xVal>
            <c:numRef>
              <c:f>Sheet1!$B$1:$F$1</c:f>
              <c:numCache>
                <c:formatCode>General</c:formatCode>
                <c:ptCount val="5"/>
                <c:pt idx="0">
                  <c:v>2002.0000000004552</c:v>
                </c:pt>
                <c:pt idx="1">
                  <c:v>2003.0000000004557</c:v>
                </c:pt>
                <c:pt idx="2">
                  <c:v>2004.0000000004557</c:v>
                </c:pt>
                <c:pt idx="3">
                  <c:v>2005.0000000004559</c:v>
                </c:pt>
                <c:pt idx="4">
                  <c:v>2006.0000000004561</c:v>
                </c:pt>
              </c:numCache>
            </c:numRef>
          </c:xVal>
          <c:yVal>
            <c:numRef>
              <c:f>Sheet1!$B$2:$F$2</c:f>
              <c:numCache>
                <c:formatCode>General</c:formatCode>
                <c:ptCount val="5"/>
                <c:pt idx="0">
                  <c:v>139.0000000000316</c:v>
                </c:pt>
                <c:pt idx="1">
                  <c:v>133.00000000003024</c:v>
                </c:pt>
                <c:pt idx="2">
                  <c:v>177.00000000004025</c:v>
                </c:pt>
                <c:pt idx="3">
                  <c:v>186.00000000004229</c:v>
                </c:pt>
                <c:pt idx="4">
                  <c:v>227.0000000000516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1624-43C2-9412-3180A8302906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Label B</c:v>
                </c:pt>
              </c:strCache>
            </c:strRef>
          </c:tx>
          <c:spPr>
            <a:ln w="12699">
              <a:solidFill>
                <a:srgbClr val="FF0000"/>
              </a:solidFill>
              <a:prstDash val="solid"/>
            </a:ln>
          </c:spPr>
          <c:marker>
            <c:symbol val="square"/>
            <c:size val="5"/>
            <c:spPr>
              <a:solidFill>
                <a:srgbClr val="FF0000"/>
              </a:solidFill>
              <a:ln>
                <a:solidFill>
                  <a:srgbClr val="FF0000"/>
                </a:solidFill>
                <a:prstDash val="solid"/>
              </a:ln>
            </c:spPr>
          </c:marker>
          <c:xVal>
            <c:numRef>
              <c:f>Sheet1!$B$1:$F$1</c:f>
              <c:numCache>
                <c:formatCode>General</c:formatCode>
                <c:ptCount val="5"/>
                <c:pt idx="0">
                  <c:v>2002.0000000004552</c:v>
                </c:pt>
                <c:pt idx="1">
                  <c:v>2003.0000000004557</c:v>
                </c:pt>
                <c:pt idx="2">
                  <c:v>2004.0000000004557</c:v>
                </c:pt>
                <c:pt idx="3">
                  <c:v>2005.0000000004559</c:v>
                </c:pt>
                <c:pt idx="4">
                  <c:v>2006.0000000004561</c:v>
                </c:pt>
              </c:numCache>
            </c:numRef>
          </c:xVal>
          <c:yVal>
            <c:numRef>
              <c:f>Sheet1!$B$3:$F$3</c:f>
              <c:numCache>
                <c:formatCode>General</c:formatCode>
                <c:ptCount val="5"/>
                <c:pt idx="0">
                  <c:v>100.00000000002274</c:v>
                </c:pt>
                <c:pt idx="1">
                  <c:v>100.00000000002274</c:v>
                </c:pt>
                <c:pt idx="2">
                  <c:v>100.00000000002274</c:v>
                </c:pt>
                <c:pt idx="3">
                  <c:v>122.50000000002785</c:v>
                </c:pt>
                <c:pt idx="4">
                  <c:v>131.0000000000297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1624-43C2-9412-3180A83029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72422144"/>
        <c:axId val="372424064"/>
      </c:scatterChart>
      <c:valAx>
        <c:axId val="372422144"/>
        <c:scaling>
          <c:orientation val="minMax"/>
          <c:max val="2006"/>
          <c:min val="2002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699">
            <a:solidFill>
              <a:srgbClr val="808080"/>
            </a:solidFill>
            <a:prstDash val="solid"/>
          </a:ln>
        </c:spPr>
        <c:txPr>
          <a:bodyPr/>
          <a:lstStyle/>
          <a:p>
            <a:pPr>
              <a:defRPr b="0"/>
            </a:pPr>
            <a:endParaRPr lang="en-US"/>
          </a:p>
        </c:txPr>
        <c:crossAx val="372424064"/>
        <c:crossesAt val="0"/>
        <c:crossBetween val="midCat"/>
        <c:majorUnit val="1"/>
      </c:valAx>
      <c:valAx>
        <c:axId val="372424064"/>
        <c:scaling>
          <c:orientation val="minMax"/>
          <c:max val="250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12699">
            <a:solidFill>
              <a:srgbClr val="808080"/>
            </a:solidFill>
            <a:prstDash val="solid"/>
          </a:ln>
        </c:spPr>
        <c:txPr>
          <a:bodyPr/>
          <a:lstStyle/>
          <a:p>
            <a:pPr>
              <a:defRPr b="0"/>
            </a:pPr>
            <a:endParaRPr lang="en-US"/>
          </a:p>
        </c:txPr>
        <c:crossAx val="372422144"/>
        <c:crossesAt val="2002"/>
        <c:crossBetween val="midCat"/>
        <c:majorUnit val="50"/>
      </c:valAx>
      <c:spPr>
        <a:noFill/>
        <a:ln w="25399">
          <a:noFill/>
        </a:ln>
      </c:spPr>
    </c:plotArea>
    <c:legend>
      <c:legendPos val="r"/>
      <c:layout>
        <c:manualLayout>
          <c:xMode val="edge"/>
          <c:yMode val="edge"/>
          <c:x val="0.73634768352723767"/>
          <c:y val="0.61394539151144578"/>
          <c:w val="0.21246400191855416"/>
          <c:h val="0.18326344696729766"/>
        </c:manualLayout>
      </c:layout>
      <c:overlay val="0"/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787978505411577E-2"/>
          <c:y val="3.2736096976658094E-2"/>
          <c:w val="0.9463806970509383"/>
          <c:h val="0.936454849498327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2"/>
            </a:solidFill>
            <a:ln w="12699">
              <a:noFill/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1.718162994993236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BB0-4916-BFFC-8E20AB3DAD21}"/>
                </c:ext>
              </c:extLst>
            </c:dLbl>
            <c:dLbl>
              <c:idx val="2"/>
              <c:layout>
                <c:manualLayout>
                  <c:x val="0"/>
                  <c:y val="1.718180589748028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993219003137239E-2"/>
                      <c:h val="7.887904521007432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BBB0-4916-BFFC-8E20AB3DAD2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H$1</c:f>
              <c:strCache>
                <c:ptCount val="7"/>
                <c:pt idx="0">
                  <c:v>A</c:v>
                </c:pt>
                <c:pt idx="1">
                  <c:v>B</c:v>
                </c:pt>
                <c:pt idx="2">
                  <c:v>C</c:v>
                </c:pt>
                <c:pt idx="3">
                  <c:v>D</c:v>
                </c:pt>
                <c:pt idx="4">
                  <c:v>F</c:v>
                </c:pt>
                <c:pt idx="5">
                  <c:v>G</c:v>
                </c:pt>
                <c:pt idx="6">
                  <c:v>H</c:v>
                </c:pt>
              </c:strCache>
            </c:strRef>
          </c:cat>
          <c:val>
            <c:numRef>
              <c:f>Sheet1!$B$2:$H$2</c:f>
              <c:numCache>
                <c:formatCode>General</c:formatCode>
                <c:ptCount val="7"/>
                <c:pt idx="0">
                  <c:v>1.0000000000002274</c:v>
                </c:pt>
                <c:pt idx="1">
                  <c:v>3.0000000000006821</c:v>
                </c:pt>
                <c:pt idx="2">
                  <c:v>1.0000000000002274</c:v>
                </c:pt>
                <c:pt idx="3">
                  <c:v>2.0000000000004547</c:v>
                </c:pt>
                <c:pt idx="4">
                  <c:v>12.000000000002728</c:v>
                </c:pt>
                <c:pt idx="5">
                  <c:v>10.000000000002274</c:v>
                </c:pt>
                <c:pt idx="6">
                  <c:v>10.0000000000022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B0-4916-BFFC-8E20AB3DA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372313472"/>
        <c:axId val="372364416"/>
      </c:barChart>
      <c:catAx>
        <c:axId val="3723134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699">
            <a:solidFill>
              <a:srgbClr val="808080"/>
            </a:solidFill>
            <a:prstDash val="solid"/>
          </a:ln>
        </c:spPr>
        <c:txPr>
          <a:bodyPr/>
          <a:lstStyle/>
          <a:p>
            <a:pPr>
              <a:defRPr b="0"/>
            </a:pPr>
            <a:endParaRPr lang="en-US"/>
          </a:p>
        </c:txPr>
        <c:crossAx val="372364416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372364416"/>
        <c:scaling>
          <c:orientation val="minMax"/>
          <c:max val="15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12699">
            <a:solidFill>
              <a:srgbClr val="808080"/>
            </a:solidFill>
            <a:prstDash val="solid"/>
          </a:ln>
        </c:spPr>
        <c:txPr>
          <a:bodyPr/>
          <a:lstStyle/>
          <a:p>
            <a:pPr>
              <a:defRPr b="0"/>
            </a:pPr>
            <a:endParaRPr lang="en-US"/>
          </a:p>
        </c:txPr>
        <c:crossAx val="372313472"/>
        <c:crosses val="autoZero"/>
        <c:crossBetween val="between"/>
        <c:majorUnit val="5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534221683827988E-2"/>
          <c:y val="6.8500246062992126E-2"/>
          <c:w val="0.90727427821522311"/>
          <c:h val="0.84077559055118112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abel2</c:v>
                </c:pt>
              </c:strCache>
            </c:strRef>
          </c:tx>
          <c:spPr>
            <a:ln w="28575">
              <a:noFill/>
            </a:ln>
          </c:spPr>
          <c:marker>
            <c:spPr>
              <a:solidFill>
                <a:schemeClr val="accent1"/>
              </a:solidFill>
              <a:ln>
                <a:noFill/>
              </a:ln>
            </c:spPr>
          </c:marker>
          <c:dLbls>
            <c:delete val="1"/>
          </c:dLbls>
          <c:trendline>
            <c:spPr>
              <a:ln w="28575">
                <a:solidFill>
                  <a:schemeClr val="tx2">
                    <a:lumMod val="60000"/>
                    <a:lumOff val="40000"/>
                  </a:schemeClr>
                </a:solidFill>
                <a:prstDash val="sysDash"/>
              </a:ln>
            </c:spPr>
            <c:trendlineType val="linear"/>
            <c:dispRSqr val="0"/>
            <c:dispEq val="0"/>
          </c:trendline>
          <c:xVal>
            <c:numRef>
              <c:f>Sheet1!$A$2:$A$9</c:f>
              <c:numCache>
                <c:formatCode>General</c:formatCode>
                <c:ptCount val="8"/>
                <c:pt idx="0">
                  <c:v>0.5</c:v>
                </c:pt>
                <c:pt idx="1">
                  <c:v>0.5</c:v>
                </c:pt>
                <c:pt idx="2">
                  <c:v>1</c:v>
                </c:pt>
                <c:pt idx="3">
                  <c:v>1.5</c:v>
                </c:pt>
                <c:pt idx="4">
                  <c:v>1.6</c:v>
                </c:pt>
                <c:pt idx="5">
                  <c:v>3.5</c:v>
                </c:pt>
                <c:pt idx="6">
                  <c:v>2.9</c:v>
                </c:pt>
                <c:pt idx="7">
                  <c:v>5.0999999999999996</c:v>
                </c:pt>
              </c:numCache>
            </c:numRef>
          </c:xVal>
          <c:yVal>
            <c:numRef>
              <c:f>Sheet1!$B$2:$B$9</c:f>
              <c:numCache>
                <c:formatCode>General</c:formatCode>
                <c:ptCount val="8"/>
                <c:pt idx="0">
                  <c:v>0.5</c:v>
                </c:pt>
                <c:pt idx="1">
                  <c:v>0.7</c:v>
                </c:pt>
                <c:pt idx="2">
                  <c:v>1.1000000000000001</c:v>
                </c:pt>
                <c:pt idx="3">
                  <c:v>2.1</c:v>
                </c:pt>
                <c:pt idx="4">
                  <c:v>2.2999999999999998</c:v>
                </c:pt>
                <c:pt idx="5">
                  <c:v>4.9000000000000004</c:v>
                </c:pt>
                <c:pt idx="6">
                  <c:v>3.5</c:v>
                </c:pt>
                <c:pt idx="7">
                  <c:v>7.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E4C9-4A44-A979-CA7A99537B0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373174272"/>
        <c:axId val="373175808"/>
      </c:scatterChart>
      <c:valAx>
        <c:axId val="3731742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373175808"/>
        <c:crosses val="autoZero"/>
        <c:crossBetween val="midCat"/>
      </c:valAx>
      <c:valAx>
        <c:axId val="37317580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373174272"/>
        <c:crosses val="autoZero"/>
        <c:crossBetween val="midCat"/>
      </c:valAx>
    </c:plotArea>
    <c:legend>
      <c:legendPos val="r"/>
      <c:legendEntry>
        <c:idx val="1"/>
        <c:delete val="1"/>
      </c:legendEntry>
      <c:layout>
        <c:manualLayout>
          <c:xMode val="edge"/>
          <c:yMode val="edge"/>
          <c:x val="0.86901680799515446"/>
          <c:y val="0.51018184055118121"/>
          <c:w val="0.11944473046638401"/>
          <c:h val="0.1202613188976378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90A331-7ADD-4391-8CA5-606C9BFD26F5}" type="datetimeFigureOut">
              <a:rPr lang="en-GB" smtClean="0"/>
              <a:t>20/09/2022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NHS Improvem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AE16CE-1862-465F-9912-D0001C1A0F9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506748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2AE991-F138-4FD8-982E-957F3CA6A0F6}" type="datetimeFigureOut">
              <a:rPr lang="en-GB" smtClean="0"/>
              <a:t>20/09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NHS Improve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90AB7D-FC04-41BF-88F7-E47891A0628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901105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69486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16353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10740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58391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11068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01654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33039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10797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354695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827695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90372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682125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062455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283192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707732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3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516548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3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127660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3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326107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3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522124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3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470584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3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065771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3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32536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987315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3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379459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4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564335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4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180756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4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898768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4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124038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4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364209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4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243991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4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80849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79464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96182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55682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57104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09701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27312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9"/>
          <p:cNvSpPr>
            <a:spLocks noGrp="1"/>
          </p:cNvSpPr>
          <p:nvPr>
            <p:ph type="title" hasCustomPrompt="1"/>
          </p:nvPr>
        </p:nvSpPr>
        <p:spPr>
          <a:xfrm>
            <a:off x="449539" y="3660487"/>
            <a:ext cx="7886700" cy="689541"/>
          </a:xfrm>
          <a:prstGeom prst="rect">
            <a:avLst/>
          </a:prstGeom>
        </p:spPr>
        <p:txBody>
          <a:bodyPr/>
          <a:lstStyle>
            <a:lvl1pPr>
              <a:defRPr sz="3600" baseline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3726" y="4364955"/>
            <a:ext cx="6858000" cy="47324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0" i="0" baseline="0">
                <a:solidFill>
                  <a:srgbClr val="005EB8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</p:txBody>
      </p:sp>
      <p:pic>
        <p:nvPicPr>
          <p:cNvPr id="5" name="Content Placeholder 16">
            <a:extLst>
              <a:ext uri="{FF2B5EF4-FFF2-40B4-BE49-F238E27FC236}">
                <a16:creationId xmlns:a16="http://schemas.microsoft.com/office/drawing/2014/main" id="{5FDDE1C8-218E-4901-92BB-E0ADB27DCE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45236"/>
            <a:ext cx="9144000" cy="309465"/>
          </a:xfrm>
          <a:prstGeom prst="rect">
            <a:avLst/>
          </a:prstGeom>
        </p:spPr>
      </p:pic>
      <p:sp>
        <p:nvSpPr>
          <p:cNvPr id="6" name="Text Box 4">
            <a:extLst>
              <a:ext uri="{FF2B5EF4-FFF2-40B4-BE49-F238E27FC236}">
                <a16:creationId xmlns:a16="http://schemas.microsoft.com/office/drawing/2014/main" id="{733EB1D2-9EB5-4BBA-9043-DD9322866AB7}"/>
              </a:ext>
            </a:extLst>
          </p:cNvPr>
          <p:cNvSpPr txBox="1"/>
          <p:nvPr userDrawn="1"/>
        </p:nvSpPr>
        <p:spPr>
          <a:xfrm>
            <a:off x="3747409" y="5792942"/>
            <a:ext cx="1605823" cy="40640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en-GB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HS England</a:t>
            </a:r>
            <a:endParaRPr lang="en-GB" sz="12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D7D6E55-FA8F-4D85-9B8D-E21B13DAE6A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2800" y="291600"/>
            <a:ext cx="953272" cy="720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94DCF8F-92BF-4905-B540-B92A74FF08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BB2473DA-171C-4ECF-9836-C003AC928D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8049" y="2348880"/>
            <a:ext cx="7585254" cy="108012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60363" indent="-184150">
              <a:buFont typeface="Arial" panose="020B0604020202020204" pitchFamily="34" charset="0"/>
              <a:buChar char="•"/>
              <a:defRPr sz="1400"/>
            </a:lvl2pPr>
            <a:lvl3pPr marL="720725" indent="-277813">
              <a:buFont typeface="Courier New" panose="02070309020205020404" pitchFamily="49" charset="0"/>
              <a:buChar char="o"/>
              <a:defRPr sz="140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A27BA0E-5615-414F-841D-2E4636A670E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0697" y="1124744"/>
            <a:ext cx="1259345" cy="1080120"/>
          </a:xfrm>
          <a:prstGeom prst="rect">
            <a:avLst/>
          </a:prstGeom>
          <a:solidFill>
            <a:srgbClr val="005EB8"/>
          </a:solidFill>
          <a:ln>
            <a:noFill/>
          </a:ln>
        </p:spPr>
        <p:txBody>
          <a:bodyPr anchor="ctr"/>
          <a:lstStyle>
            <a:lvl1pPr marL="0" indent="0" algn="ctr">
              <a:spcBef>
                <a:spcPts val="0"/>
              </a:spcBef>
              <a:buNone/>
              <a:defRPr sz="1200" b="1" u="none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Box 1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72A08160-CFEF-4D49-8DEB-921D4394AA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48049" y="1124744"/>
            <a:ext cx="7585254" cy="108012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60363" indent="-184150">
              <a:buFont typeface="Arial" panose="020B0604020202020204" pitchFamily="34" charset="0"/>
              <a:buChar char="•"/>
              <a:defRPr sz="1400"/>
            </a:lvl2pPr>
            <a:lvl3pPr marL="720725" indent="-277813">
              <a:buFont typeface="Courier New" panose="02070309020205020404" pitchFamily="49" charset="0"/>
              <a:buChar char="o"/>
              <a:defRPr sz="140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CB9EF5C-E43A-4DFE-A4FA-3888A94C30B1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0698" y="2348880"/>
            <a:ext cx="1259344" cy="1080120"/>
          </a:xfrm>
          <a:prstGeom prst="rect">
            <a:avLst/>
          </a:prstGeom>
          <a:solidFill>
            <a:srgbClr val="005EB8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None/>
              <a:defRPr sz="1200" b="1" u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Box 2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83C6371E-CA5C-48F3-A61B-C9CF61FF442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48049" y="3573016"/>
            <a:ext cx="7585254" cy="108012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60363" indent="-184150">
              <a:buFont typeface="Arial" panose="020B0604020202020204" pitchFamily="34" charset="0"/>
              <a:buChar char="•"/>
              <a:defRPr sz="1400"/>
            </a:lvl2pPr>
            <a:lvl3pPr marL="720725" indent="-277813">
              <a:buFont typeface="Courier New" panose="02070309020205020404" pitchFamily="49" charset="0"/>
              <a:buChar char="o"/>
              <a:defRPr sz="140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0D45B89-E3B6-4F2A-BFED-8930361477D9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110697" y="3573016"/>
            <a:ext cx="1259345" cy="1080120"/>
          </a:xfrm>
          <a:prstGeom prst="rect">
            <a:avLst/>
          </a:prstGeom>
          <a:solidFill>
            <a:srgbClr val="005EB8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None/>
              <a:defRPr sz="1200" b="1" u="none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Box 3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F5F10815-6758-4E0C-B8E2-68CD063175E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48049" y="4797152"/>
            <a:ext cx="7585253" cy="108012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60363" indent="-184150">
              <a:buFont typeface="Arial" panose="020B0604020202020204" pitchFamily="34" charset="0"/>
              <a:buChar char="•"/>
              <a:defRPr sz="1400"/>
            </a:lvl2pPr>
            <a:lvl3pPr marL="720725" indent="-277813">
              <a:buFont typeface="Courier New" panose="02070309020205020404" pitchFamily="49" charset="0"/>
              <a:buChar char="o"/>
              <a:defRPr sz="140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224C8AB-FC3D-4C1D-A340-69F0E96A0496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110697" y="4797152"/>
            <a:ext cx="1259344" cy="1080120"/>
          </a:xfrm>
          <a:prstGeom prst="rect">
            <a:avLst/>
          </a:prstGeom>
          <a:solidFill>
            <a:srgbClr val="005EB8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None/>
              <a:defRPr sz="1200" b="1" u="none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Box 4</a:t>
            </a:r>
          </a:p>
        </p:txBody>
      </p:sp>
      <p:sp>
        <p:nvSpPr>
          <p:cNvPr id="16" name="Title 10">
            <a:extLst>
              <a:ext uri="{FF2B5EF4-FFF2-40B4-BE49-F238E27FC236}">
                <a16:creationId xmlns:a16="http://schemas.microsoft.com/office/drawing/2014/main" id="{3A9EC18A-3E9B-4F03-8E1C-7799EF85EB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8976" y="219456"/>
            <a:ext cx="7198795" cy="796544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- Narrative title style </a:t>
            </a:r>
            <a:br>
              <a:rPr lang="en-US" dirty="0"/>
            </a:br>
            <a:r>
              <a:rPr lang="en-US" dirty="0"/>
              <a:t>(no more than two lines long)</a:t>
            </a:r>
            <a:endParaRPr lang="en-US" sz="2800" dirty="0">
              <a:solidFill>
                <a:srgbClr val="005EB8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5A7ABDE-8F3F-4B74-B69D-DB76ECF741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3542" y="293024"/>
            <a:ext cx="953272" cy="72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821177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6FA4E7-03C8-44AC-9D36-1FDA60A792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3DD8009-8C71-470C-8673-BED1114C63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3266" y="1578393"/>
            <a:ext cx="4246773" cy="45148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60363" indent="-184150">
              <a:buFont typeface="Arial" panose="020B0604020202020204" pitchFamily="34" charset="0"/>
              <a:buChar char="•"/>
              <a:defRPr sz="1400"/>
            </a:lvl2pPr>
            <a:lvl3pPr marL="720725" indent="-277813">
              <a:buFont typeface="Courier New" panose="02070309020205020404" pitchFamily="49" charset="0"/>
              <a:buChar char="o"/>
              <a:defRPr sz="1400" baseline="0"/>
            </a:lvl3pPr>
          </a:lstStyle>
          <a:p>
            <a:pPr lvl="0"/>
            <a:r>
              <a:rPr lang="en-US" dirty="0"/>
              <a:t>Text box (click to edit text) 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FD99CF1-A51A-4157-B445-FFB5A65B596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83267" y="1010837"/>
            <a:ext cx="4246772" cy="545852"/>
          </a:xfrm>
          <a:prstGeom prst="rect">
            <a:avLst/>
          </a:prstGeom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1600" b="1" i="0" u="none">
                <a:solidFill>
                  <a:srgbClr val="005EB8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  <a:p>
            <a:pPr lvl="0"/>
            <a:r>
              <a:rPr lang="en-US" dirty="0"/>
              <a:t> (max two lines)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3627F78-B9FE-453B-AECD-4D2235DCE4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707768" y="1010837"/>
            <a:ext cx="4247257" cy="545852"/>
          </a:xfrm>
          <a:prstGeom prst="rect">
            <a:avLst/>
          </a:prstGeom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1600" b="1" i="0" u="none" baseline="0">
                <a:solidFill>
                  <a:srgbClr val="005EB8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title for chart/graphic below</a:t>
            </a:r>
          </a:p>
          <a:p>
            <a:pPr lvl="0"/>
            <a:r>
              <a:rPr lang="en-US" dirty="0"/>
              <a:t> (max two lines)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F22509C7-FF1A-4FCE-B48D-194C7477D2C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707769" y="1581493"/>
            <a:ext cx="4247255" cy="4511803"/>
          </a:xfrm>
          <a:prstGeom prst="rect">
            <a:avLst/>
          </a:prstGeom>
        </p:spPr>
        <p:txBody>
          <a:bodyPr/>
          <a:lstStyle>
            <a:lvl1pPr>
              <a:defRPr sz="1400" b="1" baseline="0"/>
            </a:lvl1pPr>
          </a:lstStyle>
          <a:p>
            <a:pPr lvl="0"/>
            <a:r>
              <a:rPr lang="en-US" dirty="0"/>
              <a:t>Click on the icons below to add a table, chart, smart art, picture or other media</a:t>
            </a:r>
            <a:endParaRPr lang="en-GB" dirty="0"/>
          </a:p>
        </p:txBody>
      </p:sp>
      <p:sp>
        <p:nvSpPr>
          <p:cNvPr id="10" name="Title 10">
            <a:extLst>
              <a:ext uri="{FF2B5EF4-FFF2-40B4-BE49-F238E27FC236}">
                <a16:creationId xmlns:a16="http://schemas.microsoft.com/office/drawing/2014/main" id="{8566680A-38CD-43A5-B5EA-8CBDB834A2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8976" y="219456"/>
            <a:ext cx="7198795" cy="796544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- Narrative title style </a:t>
            </a:r>
            <a:br>
              <a:rPr lang="en-US" dirty="0"/>
            </a:br>
            <a:r>
              <a:rPr lang="en-US" dirty="0"/>
              <a:t>(no more than two lines long)</a:t>
            </a:r>
            <a:endParaRPr lang="en-US" sz="2800" dirty="0">
              <a:solidFill>
                <a:srgbClr val="005EB8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16D5FD6-9572-4CCB-A1E8-06724B4C4E22}"/>
              </a:ext>
            </a:extLst>
          </p:cNvPr>
          <p:cNvCxnSpPr/>
          <p:nvPr userDrawn="1"/>
        </p:nvCxnSpPr>
        <p:spPr bwMode="auto">
          <a:xfrm>
            <a:off x="188976" y="1579756"/>
            <a:ext cx="4250734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4ABF0E8-ACEE-4393-BA58-233006DD27CF}"/>
              </a:ext>
            </a:extLst>
          </p:cNvPr>
          <p:cNvCxnSpPr/>
          <p:nvPr userDrawn="1"/>
        </p:nvCxnSpPr>
        <p:spPr bwMode="auto">
          <a:xfrm>
            <a:off x="4705586" y="1581493"/>
            <a:ext cx="4250734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0EFBB1EB-C337-40D3-8FBD-EDE1396CB3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3542" y="293024"/>
            <a:ext cx="953272" cy="72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850790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A63D24-6D31-48F4-83EA-A2AEA2D8E49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D8DE7702-1891-4819-B7F4-5CA548721B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3267" y="1578496"/>
            <a:ext cx="4247740" cy="45148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60363" indent="-184150">
              <a:buFont typeface="Arial" panose="020B0604020202020204" pitchFamily="34" charset="0"/>
              <a:buChar char="•"/>
              <a:defRPr sz="1400"/>
            </a:lvl2pPr>
            <a:lvl3pPr marL="720725" indent="-277813">
              <a:buFont typeface="Courier New" panose="02070309020205020404" pitchFamily="49" charset="0"/>
              <a:buChar char="o"/>
              <a:defRPr sz="1400" baseline="0"/>
            </a:lvl3pPr>
          </a:lstStyle>
          <a:p>
            <a:pPr lvl="0"/>
            <a:r>
              <a:rPr lang="en-US" dirty="0"/>
              <a:t>Text box (click to edit text) 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1852AC9-00A3-4FC8-B7E6-340468EE275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83266" y="1010940"/>
            <a:ext cx="4247741" cy="545852"/>
          </a:xfrm>
          <a:prstGeom prst="rect">
            <a:avLst/>
          </a:prstGeom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1600" b="1" i="0" u="none">
                <a:solidFill>
                  <a:srgbClr val="005EB8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  <a:p>
            <a:pPr lvl="0"/>
            <a:r>
              <a:rPr lang="en-US" dirty="0"/>
              <a:t> (max two lines)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5995662-79FE-44FD-BE4E-9767B802CE9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707769" y="1016000"/>
            <a:ext cx="4247256" cy="545852"/>
          </a:xfrm>
          <a:prstGeom prst="rect">
            <a:avLst/>
          </a:prstGeom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1600" b="1" i="0" u="none" baseline="0">
                <a:solidFill>
                  <a:srgbClr val="005EB8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title for chart/graphic below</a:t>
            </a:r>
          </a:p>
          <a:p>
            <a:pPr lvl="0"/>
            <a:r>
              <a:rPr lang="en-US" dirty="0"/>
              <a:t> (max two lines)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D581D3E8-4F4C-45B1-9924-5B3EDFD9448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707768" y="1582164"/>
            <a:ext cx="4247255" cy="1944687"/>
          </a:xfrm>
          <a:prstGeom prst="rect">
            <a:avLst/>
          </a:prstGeom>
        </p:spPr>
        <p:txBody>
          <a:bodyPr/>
          <a:lstStyle>
            <a:lvl1pPr>
              <a:defRPr sz="1400" b="1" baseline="0"/>
            </a:lvl1pPr>
          </a:lstStyle>
          <a:p>
            <a:pPr lvl="0"/>
            <a:r>
              <a:rPr lang="en-US" dirty="0"/>
              <a:t>Click on the icons below to add a table, chart, smart art, picture or other media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7F85A98-ECAD-4485-81C6-E1C47527626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707284" y="3578076"/>
            <a:ext cx="4247741" cy="545852"/>
          </a:xfrm>
          <a:prstGeom prst="rect">
            <a:avLst/>
          </a:prstGeom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1600" b="1" i="0" u="none" baseline="0">
                <a:solidFill>
                  <a:srgbClr val="005EB8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title for chart/graphic below</a:t>
            </a:r>
          </a:p>
          <a:p>
            <a:pPr lvl="0"/>
            <a:r>
              <a:rPr lang="en-US" dirty="0"/>
              <a:t> (max two lines)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88F4DA3A-DFE5-4F37-BBB5-7E603FAE4C1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707283" y="4144240"/>
            <a:ext cx="4247741" cy="1969836"/>
          </a:xfrm>
          <a:prstGeom prst="rect">
            <a:avLst/>
          </a:prstGeom>
        </p:spPr>
        <p:txBody>
          <a:bodyPr/>
          <a:lstStyle>
            <a:lvl1pPr>
              <a:defRPr sz="1400" b="1" baseline="0"/>
            </a:lvl1pPr>
          </a:lstStyle>
          <a:p>
            <a:pPr lvl="0"/>
            <a:r>
              <a:rPr lang="en-US" dirty="0"/>
              <a:t>Click on the icons below to add a table, chart, smart art, picture or other media</a:t>
            </a:r>
            <a:endParaRPr lang="en-GB" dirty="0"/>
          </a:p>
        </p:txBody>
      </p:sp>
      <p:sp>
        <p:nvSpPr>
          <p:cNvPr id="12" name="Title 10">
            <a:extLst>
              <a:ext uri="{FF2B5EF4-FFF2-40B4-BE49-F238E27FC236}">
                <a16:creationId xmlns:a16="http://schemas.microsoft.com/office/drawing/2014/main" id="{C787B8B4-5594-42BB-8234-606FE9B127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8976" y="219456"/>
            <a:ext cx="7198795" cy="796544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- Narrative title style </a:t>
            </a:r>
            <a:br>
              <a:rPr lang="en-US" dirty="0"/>
            </a:br>
            <a:r>
              <a:rPr lang="en-US" dirty="0"/>
              <a:t>(no more than two lines long)</a:t>
            </a:r>
            <a:endParaRPr lang="en-US" sz="2800" dirty="0">
              <a:solidFill>
                <a:srgbClr val="005EB8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E45EB95-5628-42CA-9533-1AEFD00C7B97}"/>
              </a:ext>
            </a:extLst>
          </p:cNvPr>
          <p:cNvCxnSpPr/>
          <p:nvPr userDrawn="1"/>
        </p:nvCxnSpPr>
        <p:spPr bwMode="auto">
          <a:xfrm>
            <a:off x="188976" y="1579756"/>
            <a:ext cx="4250734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31F61A0-F5BE-4A79-BC43-8A757BF95C37}"/>
              </a:ext>
            </a:extLst>
          </p:cNvPr>
          <p:cNvCxnSpPr/>
          <p:nvPr userDrawn="1"/>
        </p:nvCxnSpPr>
        <p:spPr bwMode="auto">
          <a:xfrm>
            <a:off x="4705387" y="1581826"/>
            <a:ext cx="4250734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544B6AF-0EDB-464A-9919-9307EB040A52}"/>
              </a:ext>
            </a:extLst>
          </p:cNvPr>
          <p:cNvCxnSpPr/>
          <p:nvPr userDrawn="1"/>
        </p:nvCxnSpPr>
        <p:spPr bwMode="auto">
          <a:xfrm>
            <a:off x="4707769" y="4144240"/>
            <a:ext cx="4250734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E254E530-2592-4B63-AF6C-0F985A1EFD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3542" y="293024"/>
            <a:ext cx="953272" cy="72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820864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3152E8-C44E-4579-8469-845847BFAF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4D86091-C003-41D1-97C4-40AA1A461E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8976" y="219456"/>
            <a:ext cx="6567055" cy="611649"/>
          </a:xfrm>
          <a:prstGeom prst="rect">
            <a:avLst/>
          </a:prstGeom>
        </p:spPr>
        <p:txBody>
          <a:bodyPr/>
          <a:lstStyle>
            <a:lvl1pPr>
              <a:defRPr sz="3600" b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nnex (click title to amend)</a:t>
            </a:r>
            <a:endParaRPr lang="en-US" sz="2800" dirty="0">
              <a:solidFill>
                <a:srgbClr val="005EB8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8DD6215-E77C-4664-A5AB-D3120257AD25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83266" y="1628800"/>
            <a:ext cx="7697991" cy="3600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600" b="1" dirty="0" smtClean="0">
                <a:solidFill>
                  <a:srgbClr val="FFFFFF"/>
                </a:solidFill>
                <a:latin typeface="+mn-lt"/>
                <a:cs typeface="Calibri" panose="020F050202020403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1. First item (click to edit)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C854EB4-910A-433A-AD98-6AFDA53A40B9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83265" y="2305675"/>
            <a:ext cx="7697991" cy="360040"/>
          </a:xfrm>
          <a:prstGeom prst="rect">
            <a:avLst/>
          </a:prstGeom>
          <a:noFill/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600" b="1" u="none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2. Second item (click to edit)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25EBB82-5DFC-4FBB-BE6C-7E85FD178D08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183265" y="2982550"/>
            <a:ext cx="7697991" cy="360040"/>
          </a:xfrm>
          <a:prstGeom prst="rect">
            <a:avLst/>
          </a:prstGeom>
          <a:noFill/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600" b="1" u="none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3. Third item (click to edit)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CE7D416-2788-410F-9DAF-66F1BA26BC02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183265" y="3659425"/>
            <a:ext cx="7697991" cy="360040"/>
          </a:xfrm>
          <a:prstGeom prst="rect">
            <a:avLst/>
          </a:prstGeom>
          <a:noFill/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600" b="1" u="none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4. Fourth item (click to edit)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B91B07B-8812-4A69-9085-DB7EA3C832E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183265" y="4336300"/>
            <a:ext cx="7697991" cy="360040"/>
          </a:xfrm>
          <a:prstGeom prst="rect">
            <a:avLst/>
          </a:prstGeom>
          <a:noFill/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600" b="1" u="none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5. Fifth item (click to edit)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8B2248B-6641-498A-B9A5-07EB8335B9C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183265" y="5013176"/>
            <a:ext cx="7697991" cy="360040"/>
          </a:xfrm>
          <a:prstGeom prst="rect">
            <a:avLst/>
          </a:prstGeom>
          <a:noFill/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600" b="1" u="none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6. Sixth item (click to edit)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F64D155-C450-4181-8AD4-F04C792B05EF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708266" y="1628800"/>
            <a:ext cx="1248139" cy="3600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r">
              <a:defRPr lang="en-US" sz="1600" b="1" dirty="0" smtClean="0">
                <a:solidFill>
                  <a:srgbClr val="FFFFFF"/>
                </a:solidFill>
                <a:latin typeface="+mn-lt"/>
                <a:cs typeface="Calibri" panose="020F050202020403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Xx - xx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BA1E7F09-E149-4E9D-80DE-040F09AB55FD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708266" y="2305675"/>
            <a:ext cx="1248139" cy="360040"/>
          </a:xfrm>
          <a:prstGeom prst="rect">
            <a:avLst/>
          </a:prstGeom>
          <a:noFill/>
        </p:spPr>
        <p:txBody>
          <a:bodyPr anchor="ctr"/>
          <a:lstStyle>
            <a:lvl1pPr marL="0" indent="0" algn="r">
              <a:spcBef>
                <a:spcPts val="0"/>
              </a:spcBef>
              <a:buNone/>
              <a:defRPr sz="1600" b="1" u="none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Xx - xx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CB93319-74F1-4BBA-AB31-2D930C9F9736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7708266" y="2982550"/>
            <a:ext cx="1248139" cy="360040"/>
          </a:xfrm>
          <a:prstGeom prst="rect">
            <a:avLst/>
          </a:prstGeom>
          <a:noFill/>
        </p:spPr>
        <p:txBody>
          <a:bodyPr anchor="ctr"/>
          <a:lstStyle>
            <a:lvl1pPr marL="0" indent="0" algn="r">
              <a:spcBef>
                <a:spcPts val="0"/>
              </a:spcBef>
              <a:buNone/>
              <a:defRPr sz="1600" b="1" u="none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Xx - xx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F72103D1-D20D-4D41-A9A3-86D88308DA7C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7708266" y="3659425"/>
            <a:ext cx="1248139" cy="360040"/>
          </a:xfrm>
          <a:prstGeom prst="rect">
            <a:avLst/>
          </a:prstGeom>
          <a:noFill/>
        </p:spPr>
        <p:txBody>
          <a:bodyPr anchor="ctr"/>
          <a:lstStyle>
            <a:lvl1pPr marL="0" indent="0" algn="r">
              <a:spcBef>
                <a:spcPts val="0"/>
              </a:spcBef>
              <a:buNone/>
              <a:defRPr sz="1600" b="1" u="none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Xx - xx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A3E57B2-9700-43D2-AC7C-76275D43BBF4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7708266" y="4336300"/>
            <a:ext cx="1248139" cy="360040"/>
          </a:xfrm>
          <a:prstGeom prst="rect">
            <a:avLst/>
          </a:prstGeom>
          <a:noFill/>
        </p:spPr>
        <p:txBody>
          <a:bodyPr anchor="ctr"/>
          <a:lstStyle>
            <a:lvl1pPr marL="0" indent="0" algn="r">
              <a:spcBef>
                <a:spcPts val="0"/>
              </a:spcBef>
              <a:buNone/>
              <a:defRPr sz="1600" b="1" u="none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Xx - xx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295E2C7-349B-405A-A4E5-D5A6FAEEF089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7708266" y="5013176"/>
            <a:ext cx="1248139" cy="360040"/>
          </a:xfrm>
          <a:prstGeom prst="rect">
            <a:avLst/>
          </a:prstGeom>
          <a:noFill/>
        </p:spPr>
        <p:txBody>
          <a:bodyPr anchor="ctr"/>
          <a:lstStyle>
            <a:lvl1pPr marL="0" indent="0" algn="r">
              <a:spcBef>
                <a:spcPts val="0"/>
              </a:spcBef>
              <a:buNone/>
              <a:defRPr sz="1600" b="1" u="none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Xx - xx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F6CC1AA-053E-473F-8D67-B2374F8CCD7B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7708266" y="1165432"/>
            <a:ext cx="1248139" cy="360040"/>
          </a:xfrm>
          <a:prstGeom prst="rect">
            <a:avLst/>
          </a:prstGeom>
          <a:noFill/>
        </p:spPr>
        <p:txBody>
          <a:bodyPr anchor="ctr"/>
          <a:lstStyle>
            <a:lvl1pPr marL="0" indent="0" algn="r">
              <a:spcBef>
                <a:spcPts val="0"/>
              </a:spcBef>
              <a:buNone/>
              <a:defRPr sz="1600" b="1" u="none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Page No.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AC6F28D-A0EE-4969-A9E0-B81C1F7692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3542" y="293024"/>
            <a:ext cx="953272" cy="72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336664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d slide - standard NH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0"/>
          </p:nvPr>
        </p:nvSpPr>
        <p:spPr>
          <a:xfrm>
            <a:off x="379445" y="1343804"/>
            <a:ext cx="8341567" cy="2244128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291314" y="6372536"/>
            <a:ext cx="6473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34F92BC6-D7C3-584B-87F2-0B845776A5AD}" type="slidenum">
              <a:rPr lang="en-US" sz="120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r>
              <a:rPr lang="en-US" sz="12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200" dirty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</a:t>
            </a:r>
            <a:endParaRPr lang="en-US" sz="1200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90676" y="6333439"/>
            <a:ext cx="5723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chemeClr val="accent3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7" name="Title 10">
            <a:extLst>
              <a:ext uri="{FF2B5EF4-FFF2-40B4-BE49-F238E27FC236}">
                <a16:creationId xmlns:a16="http://schemas.microsoft.com/office/drawing/2014/main" id="{6E6050CD-0BC4-4328-A366-D79C64580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76" y="219456"/>
            <a:ext cx="6567055" cy="611649"/>
          </a:xfrm>
          <a:prstGeom prst="rect">
            <a:avLst/>
          </a:prstGeom>
        </p:spPr>
        <p:txBody>
          <a:bodyPr/>
          <a:lstStyle>
            <a:lvl1pPr>
              <a:defRPr sz="3600" b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US" sz="2800" dirty="0">
              <a:solidFill>
                <a:srgbClr val="005EB8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E586B65-4E5C-4F95-A318-E55B7468278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3542" y="293024"/>
            <a:ext cx="953272" cy="720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d slide - Exec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291314" y="6372536"/>
            <a:ext cx="6473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34F92BC6-D7C3-584B-87F2-0B845776A5AD}" type="slidenum">
              <a:rPr lang="en-US" sz="120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r>
              <a:rPr lang="en-US" sz="12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200" dirty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</a:t>
            </a:r>
            <a:endParaRPr lang="en-US" sz="1200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90676" y="6333439"/>
            <a:ext cx="5723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chemeClr val="accent3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7" name="Title 10">
            <a:extLst>
              <a:ext uri="{FF2B5EF4-FFF2-40B4-BE49-F238E27FC236}">
                <a16:creationId xmlns:a16="http://schemas.microsoft.com/office/drawing/2014/main" id="{6E6050CD-0BC4-4328-A366-D79C64580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8976" y="219456"/>
            <a:ext cx="7198795" cy="796544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- Narrative title style </a:t>
            </a:r>
            <a:br>
              <a:rPr lang="en-US" dirty="0"/>
            </a:br>
            <a:r>
              <a:rPr lang="en-US" dirty="0"/>
              <a:t>(no more than two lines long)</a:t>
            </a:r>
            <a:endParaRPr lang="en-US" sz="2800" dirty="0">
              <a:solidFill>
                <a:srgbClr val="005EB8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254F51CE-8D4F-4ABB-BAD7-294296E056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3266" y="1196752"/>
            <a:ext cx="8713991" cy="9144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60363" indent="-184150">
              <a:buFont typeface="Arial" panose="020B0604020202020204" pitchFamily="34" charset="0"/>
              <a:buChar char="•"/>
              <a:defRPr sz="1400"/>
            </a:lvl2pPr>
            <a:lvl3pPr marL="720725" indent="-277813">
              <a:buFont typeface="Courier New" panose="02070309020205020404" pitchFamily="49" charset="0"/>
              <a:buChar char="o"/>
              <a:defRPr sz="1400" baseline="0"/>
            </a:lvl3pPr>
          </a:lstStyle>
          <a:p>
            <a:pPr lvl="0"/>
            <a:r>
              <a:rPr lang="en-US" dirty="0"/>
              <a:t>Text box (used for Exec summary slides </a:t>
            </a:r>
            <a:r>
              <a:rPr lang="en-US" dirty="0" err="1"/>
              <a:t>etc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9A904E1-5809-430A-B358-87444C49BC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3542" y="293024"/>
            <a:ext cx="953272" cy="72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52629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D4FD3E-D6A8-42BE-B773-34024FC1AB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912C991D-8691-4F5D-91DE-9C29854713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0695" y="1600200"/>
            <a:ext cx="4193663" cy="4493095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60363" indent="-184150">
              <a:buFont typeface="Arial" panose="020B0604020202020204" pitchFamily="34" charset="0"/>
              <a:buChar char="•"/>
              <a:defRPr sz="1400"/>
            </a:lvl2pPr>
            <a:lvl3pPr marL="720725" indent="-277813">
              <a:buFont typeface="Courier New" panose="02070309020205020404" pitchFamily="49" charset="0"/>
              <a:buChar char="o"/>
              <a:defRPr sz="1400" baseline="0"/>
            </a:lvl3pPr>
          </a:lstStyle>
          <a:p>
            <a:pPr lvl="0"/>
            <a:r>
              <a:rPr lang="en-US" dirty="0"/>
              <a:t>Text box (click to edit tex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4FC4F277-788A-46C7-934F-8D496C1EF7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39643" y="1578496"/>
            <a:ext cx="4193661" cy="45148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60363" indent="-184150">
              <a:buFont typeface="Arial" panose="020B0604020202020204" pitchFamily="34" charset="0"/>
              <a:buChar char="•"/>
              <a:defRPr sz="1400"/>
            </a:lvl2pPr>
            <a:lvl3pPr marL="720725" indent="-277813">
              <a:buFont typeface="Courier New" panose="02070309020205020404" pitchFamily="49" charset="0"/>
              <a:buChar char="o"/>
              <a:defRPr sz="1400" baseline="0"/>
            </a:lvl3pPr>
          </a:lstStyle>
          <a:p>
            <a:pPr lvl="0"/>
            <a:r>
              <a:rPr lang="en-US" dirty="0"/>
              <a:t>Text box (click to edit tex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44B9B89-C265-425D-B60B-E836700EE1B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0697" y="1010940"/>
            <a:ext cx="4193662" cy="545852"/>
          </a:xfrm>
          <a:prstGeom prst="rect">
            <a:avLst/>
          </a:prstGeom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1600" b="1" i="0" u="none">
                <a:solidFill>
                  <a:srgbClr val="005EB8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  <a:p>
            <a:pPr lvl="0"/>
            <a:r>
              <a:rPr lang="en-US" dirty="0"/>
              <a:t> (max two lines)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ACE7894-621F-40B5-BA79-3425BA92D50F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39642" y="1010940"/>
            <a:ext cx="4193661" cy="545852"/>
          </a:xfrm>
          <a:prstGeom prst="rect">
            <a:avLst/>
          </a:prstGeom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1600" b="1" i="0" u="none">
                <a:solidFill>
                  <a:srgbClr val="005EB8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  <a:p>
            <a:pPr lvl="0"/>
            <a:r>
              <a:rPr lang="en-US" dirty="0"/>
              <a:t> (max two lines)</a:t>
            </a:r>
          </a:p>
        </p:txBody>
      </p:sp>
      <p:sp>
        <p:nvSpPr>
          <p:cNvPr id="17" name="Title 10">
            <a:extLst>
              <a:ext uri="{FF2B5EF4-FFF2-40B4-BE49-F238E27FC236}">
                <a16:creationId xmlns:a16="http://schemas.microsoft.com/office/drawing/2014/main" id="{E4F1EB4B-A866-4040-A80F-93EBA27F5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8976" y="219456"/>
            <a:ext cx="7198795" cy="796544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- Narrative title style </a:t>
            </a:r>
            <a:br>
              <a:rPr lang="en-US" dirty="0"/>
            </a:br>
            <a:r>
              <a:rPr lang="en-US" dirty="0"/>
              <a:t>(no more than two lines long)</a:t>
            </a:r>
            <a:endParaRPr lang="en-US" sz="2800" dirty="0">
              <a:solidFill>
                <a:srgbClr val="005EB8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689510B-C046-45C8-8CE9-41AB7FA61F2E}"/>
              </a:ext>
            </a:extLst>
          </p:cNvPr>
          <p:cNvCxnSpPr/>
          <p:nvPr userDrawn="1"/>
        </p:nvCxnSpPr>
        <p:spPr bwMode="auto">
          <a:xfrm>
            <a:off x="4839642" y="1578496"/>
            <a:ext cx="4193662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F2D8950-5546-4883-9C36-4CF766D90B90}"/>
              </a:ext>
            </a:extLst>
          </p:cNvPr>
          <p:cNvCxnSpPr/>
          <p:nvPr userDrawn="1"/>
        </p:nvCxnSpPr>
        <p:spPr bwMode="auto">
          <a:xfrm>
            <a:off x="110695" y="1578496"/>
            <a:ext cx="420148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518F3578-60B5-46CE-ABBB-D783CED568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3542" y="293024"/>
            <a:ext cx="953272" cy="72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690865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6C356B6-86BC-4642-B1AC-E8EE23AF6C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70D4727E-2D0A-43CF-8BD0-5DCA6293F6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032" y="1578496"/>
            <a:ext cx="2811014" cy="444279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60363" indent="-184150">
              <a:buFont typeface="Arial" panose="020B0604020202020204" pitchFamily="34" charset="0"/>
              <a:buChar char="•"/>
              <a:defRPr sz="1400"/>
            </a:lvl2pPr>
            <a:lvl3pPr marL="720725" indent="-277813">
              <a:buFont typeface="Courier New" panose="02070309020205020404" pitchFamily="49" charset="0"/>
              <a:buChar char="o"/>
              <a:defRPr sz="1400" baseline="0"/>
            </a:lvl3pPr>
          </a:lstStyle>
          <a:p>
            <a:pPr lvl="0"/>
            <a:r>
              <a:rPr lang="en-US" dirty="0"/>
              <a:t>Text box (click to edit tex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6D17ED4-3C51-4927-95EA-DF56CDB280E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4977" y="1010940"/>
            <a:ext cx="2823069" cy="545852"/>
          </a:xfrm>
          <a:prstGeom prst="rect">
            <a:avLst/>
          </a:prstGeom>
          <a:ln>
            <a:noFill/>
          </a:ln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1200" b="1" u="none">
                <a:solidFill>
                  <a:srgbClr val="005EB8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  <a:p>
            <a:pPr lvl="0"/>
            <a:r>
              <a:rPr lang="en-US" dirty="0"/>
              <a:t> (max two lines)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76409B20-1C34-426A-A26A-EF6FD009B47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71219" y="1578496"/>
            <a:ext cx="2811014" cy="444279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60363" indent="-184150">
              <a:buFont typeface="Arial" panose="020B0604020202020204" pitchFamily="34" charset="0"/>
              <a:buChar char="•"/>
              <a:defRPr sz="1400"/>
            </a:lvl2pPr>
            <a:lvl3pPr marL="720725" indent="-277813">
              <a:buFont typeface="Courier New" panose="02070309020205020404" pitchFamily="49" charset="0"/>
              <a:buChar char="o"/>
              <a:defRPr sz="1400" baseline="0"/>
            </a:lvl3pPr>
          </a:lstStyle>
          <a:p>
            <a:pPr lvl="0"/>
            <a:r>
              <a:rPr lang="en-US" dirty="0"/>
              <a:t>Text box (click to edit tex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6D29248-0401-42CB-9FE5-8AFD09A8451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3171218" y="1010940"/>
            <a:ext cx="2811015" cy="545852"/>
          </a:xfrm>
          <a:prstGeom prst="rect">
            <a:avLst/>
          </a:prstGeom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1200" b="1" u="none">
                <a:solidFill>
                  <a:srgbClr val="005EB8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  <a:p>
            <a:pPr lvl="0"/>
            <a:r>
              <a:rPr lang="en-US" dirty="0"/>
              <a:t> (max two lines)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3BFD6768-1907-4F12-AF59-2F607B4192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8009" y="1578496"/>
            <a:ext cx="2811014" cy="444279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60363" indent="-184150">
              <a:buFont typeface="Arial" panose="020B0604020202020204" pitchFamily="34" charset="0"/>
              <a:buChar char="•"/>
              <a:defRPr sz="1400"/>
            </a:lvl2pPr>
            <a:lvl3pPr marL="720725" indent="-277813">
              <a:buFont typeface="Courier New" panose="02070309020205020404" pitchFamily="49" charset="0"/>
              <a:buChar char="o"/>
              <a:defRPr sz="1400" baseline="0"/>
            </a:lvl3pPr>
          </a:lstStyle>
          <a:p>
            <a:pPr lvl="0"/>
            <a:r>
              <a:rPr lang="en-US" dirty="0"/>
              <a:t>Text box (click to edit tex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50613D8-AC31-4643-81AF-1B1EABFD4136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228008" y="1010940"/>
            <a:ext cx="2811015" cy="545852"/>
          </a:xfrm>
          <a:prstGeom prst="rect">
            <a:avLst/>
          </a:prstGeom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1200" b="1" u="none">
                <a:solidFill>
                  <a:srgbClr val="005EB8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  <a:p>
            <a:pPr lvl="0"/>
            <a:r>
              <a:rPr lang="en-US" dirty="0"/>
              <a:t> (max two lines)</a:t>
            </a:r>
          </a:p>
        </p:txBody>
      </p:sp>
      <p:sp>
        <p:nvSpPr>
          <p:cNvPr id="13" name="Title 10">
            <a:extLst>
              <a:ext uri="{FF2B5EF4-FFF2-40B4-BE49-F238E27FC236}">
                <a16:creationId xmlns:a16="http://schemas.microsoft.com/office/drawing/2014/main" id="{FEEA48E9-D0EA-482A-8A26-B34678D8C4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8976" y="219456"/>
            <a:ext cx="7198795" cy="796544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- Narrative title style </a:t>
            </a:r>
            <a:br>
              <a:rPr lang="en-US" dirty="0"/>
            </a:br>
            <a:r>
              <a:rPr lang="en-US" dirty="0"/>
              <a:t>(no more than two lines long)</a:t>
            </a:r>
            <a:endParaRPr lang="en-US" sz="2800" dirty="0">
              <a:solidFill>
                <a:srgbClr val="005EB8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CEC05AD-9DBF-4BEB-B092-75FDA7D3DBB6}"/>
              </a:ext>
            </a:extLst>
          </p:cNvPr>
          <p:cNvCxnSpPr/>
          <p:nvPr userDrawn="1"/>
        </p:nvCxnSpPr>
        <p:spPr bwMode="auto">
          <a:xfrm>
            <a:off x="6228008" y="1578496"/>
            <a:ext cx="2805296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FC5FE8E-5F6E-495E-B713-B1FC419D5C11}"/>
              </a:ext>
            </a:extLst>
          </p:cNvPr>
          <p:cNvCxnSpPr/>
          <p:nvPr userDrawn="1"/>
        </p:nvCxnSpPr>
        <p:spPr bwMode="auto">
          <a:xfrm>
            <a:off x="3171218" y="1578496"/>
            <a:ext cx="2811646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06FD19D-8641-48E0-9BB4-F2AF595F184F}"/>
              </a:ext>
            </a:extLst>
          </p:cNvPr>
          <p:cNvCxnSpPr/>
          <p:nvPr userDrawn="1"/>
        </p:nvCxnSpPr>
        <p:spPr bwMode="auto">
          <a:xfrm>
            <a:off x="116371" y="1578496"/>
            <a:ext cx="2805296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139A3E7E-426F-4A79-84BC-D855687DB8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3542" y="293024"/>
            <a:ext cx="953272" cy="72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02997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A8D44F-14F0-48D2-8823-294278B8A3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5C579698-BCD9-4599-97E3-646BF3FE89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713" y="1599952"/>
            <a:ext cx="2153793" cy="447708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 b="1"/>
            </a:lvl1pPr>
            <a:lvl2pPr marL="360363" indent="-184150">
              <a:buFont typeface="Arial" panose="020B0604020202020204" pitchFamily="34" charset="0"/>
              <a:buChar char="•"/>
              <a:defRPr sz="1200"/>
            </a:lvl2pPr>
            <a:lvl3pPr marL="720725" indent="-277813">
              <a:buFont typeface="Courier New" panose="02070309020205020404" pitchFamily="49" charset="0"/>
              <a:buChar char="o"/>
              <a:defRPr sz="1200" baseline="0"/>
            </a:lvl3pPr>
          </a:lstStyle>
          <a:p>
            <a:pPr lvl="0"/>
            <a:r>
              <a:rPr lang="en-US" dirty="0"/>
              <a:t>Text box (click to edit tex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6E39CEC-1F14-43BE-86E6-3A19507F67B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3712" y="1020966"/>
            <a:ext cx="2153793" cy="545852"/>
          </a:xfrm>
          <a:prstGeom prst="rect">
            <a:avLst/>
          </a:prstGeom>
          <a:ln>
            <a:noFill/>
          </a:ln>
        </p:spPr>
        <p:txBody>
          <a:bodyPr anchor="b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u="none">
                <a:solidFill>
                  <a:srgbClr val="005EB8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subtitle</a:t>
            </a:r>
          </a:p>
          <a:p>
            <a:pPr lvl="0"/>
            <a:r>
              <a:rPr lang="en-US" dirty="0"/>
              <a:t> (max two lines)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C5DA3B0A-D3FE-411D-A45E-D1F1EAA28A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67668" y="1599952"/>
            <a:ext cx="2153792" cy="446565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 b="1"/>
            </a:lvl1pPr>
            <a:lvl2pPr marL="360363" indent="-184150">
              <a:buFont typeface="Arial" panose="020B0604020202020204" pitchFamily="34" charset="0"/>
              <a:buChar char="•"/>
              <a:defRPr sz="1200"/>
            </a:lvl2pPr>
            <a:lvl3pPr marL="720725" indent="-277813">
              <a:buFont typeface="Courier New" panose="02070309020205020404" pitchFamily="49" charset="0"/>
              <a:buChar char="o"/>
              <a:defRPr sz="1200" baseline="0"/>
            </a:lvl3pPr>
          </a:lstStyle>
          <a:p>
            <a:pPr lvl="0"/>
            <a:r>
              <a:rPr lang="en-US" dirty="0"/>
              <a:t>Text box (click to edit tex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D8DC432-9796-4DD4-9A74-2716899D770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367667" y="1020966"/>
            <a:ext cx="2153793" cy="545852"/>
          </a:xfrm>
          <a:prstGeom prst="rect">
            <a:avLst/>
          </a:prstGeom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1200" b="1" u="none">
                <a:solidFill>
                  <a:srgbClr val="005EB8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  <a:p>
            <a:pPr lvl="0"/>
            <a:r>
              <a:rPr lang="en-US" dirty="0"/>
              <a:t> (max two lines)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850CEF94-A32E-4A2E-AB6C-CF9ECADD805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76036" y="1599952"/>
            <a:ext cx="2154251" cy="446565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 b="1"/>
            </a:lvl1pPr>
            <a:lvl2pPr marL="360363" indent="-184150">
              <a:buFont typeface="Arial" panose="020B0604020202020204" pitchFamily="34" charset="0"/>
              <a:buChar char="•"/>
              <a:defRPr sz="1200"/>
            </a:lvl2pPr>
            <a:lvl3pPr marL="720725" indent="-277813">
              <a:buFont typeface="Courier New" panose="02070309020205020404" pitchFamily="49" charset="0"/>
              <a:buChar char="o"/>
              <a:defRPr sz="1200" baseline="0"/>
            </a:lvl3pPr>
          </a:lstStyle>
          <a:p>
            <a:pPr lvl="0"/>
            <a:r>
              <a:rPr lang="en-US" dirty="0"/>
              <a:t>Text box (click to edit tex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7292095-308E-43FB-9AA9-2E0D23FABCF3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875578" y="1020966"/>
            <a:ext cx="2154710" cy="545852"/>
          </a:xfrm>
          <a:prstGeom prst="rect">
            <a:avLst/>
          </a:prstGeom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1200" b="1" u="none">
                <a:solidFill>
                  <a:srgbClr val="005EB8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  <a:p>
            <a:pPr lvl="0"/>
            <a:r>
              <a:rPr lang="en-US" dirty="0"/>
              <a:t> (max two lines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C00FA2C-7553-41F0-8CFB-6B5B06E27AB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1622" y="1599953"/>
            <a:ext cx="2154251" cy="447708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 b="1"/>
            </a:lvl1pPr>
            <a:lvl2pPr marL="360363" indent="-184150">
              <a:buFont typeface="Arial" panose="020B0604020202020204" pitchFamily="34" charset="0"/>
              <a:buChar char="•"/>
              <a:defRPr sz="1200"/>
            </a:lvl2pPr>
            <a:lvl3pPr marL="720725" indent="-277813">
              <a:buFont typeface="Courier New" panose="02070309020205020404" pitchFamily="49" charset="0"/>
              <a:buChar char="o"/>
              <a:defRPr sz="1200" baseline="0"/>
            </a:lvl3pPr>
          </a:lstStyle>
          <a:p>
            <a:pPr lvl="0"/>
            <a:r>
              <a:rPr lang="en-US" dirty="0"/>
              <a:t>Text box (click to edit tex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EA2BA19-3828-49BA-89BF-C00044CF017F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621622" y="1020966"/>
            <a:ext cx="2153793" cy="545852"/>
          </a:xfrm>
          <a:prstGeom prst="rect">
            <a:avLst/>
          </a:prstGeom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1200" b="1" u="none">
                <a:solidFill>
                  <a:srgbClr val="005EB8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  <a:p>
            <a:pPr lvl="0"/>
            <a:r>
              <a:rPr lang="en-US" dirty="0"/>
              <a:t> (max two lines)</a:t>
            </a:r>
          </a:p>
        </p:txBody>
      </p:sp>
      <p:sp>
        <p:nvSpPr>
          <p:cNvPr id="14" name="Title 10">
            <a:extLst>
              <a:ext uri="{FF2B5EF4-FFF2-40B4-BE49-F238E27FC236}">
                <a16:creationId xmlns:a16="http://schemas.microsoft.com/office/drawing/2014/main" id="{37331779-6943-4148-97BB-9A4A0D8CAF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8976" y="219456"/>
            <a:ext cx="7198795" cy="796544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- Narrative title style </a:t>
            </a:r>
            <a:br>
              <a:rPr lang="en-US" dirty="0"/>
            </a:br>
            <a:r>
              <a:rPr lang="en-US" dirty="0"/>
              <a:t>(no more than two lines long)</a:t>
            </a:r>
            <a:endParaRPr lang="en-US" sz="2800" dirty="0">
              <a:solidFill>
                <a:srgbClr val="005EB8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C2A2586-293C-498C-9B17-C8710033D866}"/>
              </a:ext>
            </a:extLst>
          </p:cNvPr>
          <p:cNvCxnSpPr/>
          <p:nvPr userDrawn="1"/>
        </p:nvCxnSpPr>
        <p:spPr bwMode="auto">
          <a:xfrm>
            <a:off x="6876036" y="1578496"/>
            <a:ext cx="2157268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A47E173-ED37-4F27-9459-70631CEE869D}"/>
              </a:ext>
            </a:extLst>
          </p:cNvPr>
          <p:cNvCxnSpPr/>
          <p:nvPr userDrawn="1"/>
        </p:nvCxnSpPr>
        <p:spPr bwMode="auto">
          <a:xfrm>
            <a:off x="4617739" y="1578019"/>
            <a:ext cx="2157268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B433C82-A618-45C7-BF01-00F743CDB210}"/>
              </a:ext>
            </a:extLst>
          </p:cNvPr>
          <p:cNvCxnSpPr/>
          <p:nvPr userDrawn="1"/>
        </p:nvCxnSpPr>
        <p:spPr bwMode="auto">
          <a:xfrm>
            <a:off x="2364634" y="1579756"/>
            <a:ext cx="2157268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D1BCCAC-C8B3-44A7-8AA8-45D83FB8582C}"/>
              </a:ext>
            </a:extLst>
          </p:cNvPr>
          <p:cNvCxnSpPr/>
          <p:nvPr userDrawn="1"/>
        </p:nvCxnSpPr>
        <p:spPr bwMode="auto">
          <a:xfrm>
            <a:off x="111529" y="1581493"/>
            <a:ext cx="2157268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7AF7737B-788B-4CF5-90F6-A5A235A4F4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3542" y="293024"/>
            <a:ext cx="953272" cy="72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44006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(squa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D4FD3E-D6A8-42BE-B773-34024FC1AB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912C991D-8691-4F5D-91DE-9C29854713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0695" y="1600201"/>
            <a:ext cx="4193663" cy="2105909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 b="1"/>
            </a:lvl1pPr>
            <a:lvl2pPr marL="360363" indent="-184150">
              <a:buFont typeface="Arial" panose="020B0604020202020204" pitchFamily="34" charset="0"/>
              <a:buChar char="•"/>
              <a:defRPr sz="1200"/>
            </a:lvl2pPr>
            <a:lvl3pPr marL="720725" indent="-277813">
              <a:buFont typeface="Courier New" panose="02070309020205020404" pitchFamily="49" charset="0"/>
              <a:buChar char="o"/>
              <a:defRPr sz="1200" baseline="0"/>
            </a:lvl3pPr>
          </a:lstStyle>
          <a:p>
            <a:pPr lvl="0"/>
            <a:r>
              <a:rPr lang="en-US" dirty="0"/>
              <a:t>Text box (click to edit tex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4FC4F277-788A-46C7-934F-8D496C1EF7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39643" y="1578495"/>
            <a:ext cx="4193661" cy="2127615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 b="1"/>
            </a:lvl1pPr>
            <a:lvl2pPr marL="360363" indent="-184150">
              <a:buFont typeface="Arial" panose="020B0604020202020204" pitchFamily="34" charset="0"/>
              <a:buChar char="•"/>
              <a:defRPr sz="1200"/>
            </a:lvl2pPr>
            <a:lvl3pPr marL="720725" indent="-277813">
              <a:buFont typeface="Courier New" panose="02070309020205020404" pitchFamily="49" charset="0"/>
              <a:buChar char="o"/>
              <a:defRPr sz="1200" baseline="0"/>
            </a:lvl3pPr>
          </a:lstStyle>
          <a:p>
            <a:pPr lvl="0"/>
            <a:r>
              <a:rPr lang="en-US" dirty="0"/>
              <a:t>Text box (click to edit tex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44B9B89-C265-425D-B60B-E836700EE1B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0697" y="1010940"/>
            <a:ext cx="4193662" cy="545852"/>
          </a:xfrm>
          <a:prstGeom prst="rect">
            <a:avLst/>
          </a:prstGeom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1600" b="1" i="0" u="none">
                <a:solidFill>
                  <a:srgbClr val="005EB8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  <a:p>
            <a:pPr lvl="0"/>
            <a:r>
              <a:rPr lang="en-US" dirty="0"/>
              <a:t> (max two lines)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ACE7894-621F-40B5-BA79-3425BA92D50F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39642" y="1010940"/>
            <a:ext cx="4193661" cy="545852"/>
          </a:xfrm>
          <a:prstGeom prst="rect">
            <a:avLst/>
          </a:prstGeom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1600" b="1" i="0" u="none">
                <a:solidFill>
                  <a:srgbClr val="005EB8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  <a:p>
            <a:pPr lvl="0"/>
            <a:r>
              <a:rPr lang="en-US" dirty="0"/>
              <a:t> (max two lines)</a:t>
            </a:r>
          </a:p>
        </p:txBody>
      </p:sp>
      <p:sp>
        <p:nvSpPr>
          <p:cNvPr id="17" name="Title 10">
            <a:extLst>
              <a:ext uri="{FF2B5EF4-FFF2-40B4-BE49-F238E27FC236}">
                <a16:creationId xmlns:a16="http://schemas.microsoft.com/office/drawing/2014/main" id="{E4F1EB4B-A866-4040-A80F-93EBA27F5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8976" y="219456"/>
            <a:ext cx="7198795" cy="796544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- Narrative title style </a:t>
            </a:r>
            <a:br>
              <a:rPr lang="en-US" dirty="0"/>
            </a:br>
            <a:r>
              <a:rPr lang="en-US" dirty="0"/>
              <a:t>(no more than two lines long)</a:t>
            </a:r>
            <a:endParaRPr lang="en-US" sz="2800" dirty="0">
              <a:solidFill>
                <a:srgbClr val="005EB8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689510B-C046-45C8-8CE9-41AB7FA61F2E}"/>
              </a:ext>
            </a:extLst>
          </p:cNvPr>
          <p:cNvCxnSpPr/>
          <p:nvPr userDrawn="1"/>
        </p:nvCxnSpPr>
        <p:spPr bwMode="auto">
          <a:xfrm>
            <a:off x="4839642" y="1578496"/>
            <a:ext cx="4193662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F2D8950-5546-4883-9C36-4CF766D90B90}"/>
              </a:ext>
            </a:extLst>
          </p:cNvPr>
          <p:cNvCxnSpPr/>
          <p:nvPr userDrawn="1"/>
        </p:nvCxnSpPr>
        <p:spPr bwMode="auto">
          <a:xfrm>
            <a:off x="110695" y="1578496"/>
            <a:ext cx="420148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3CF05B64-F65E-4E22-B2B0-D9C7666085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0694" y="4315694"/>
            <a:ext cx="4193663" cy="203806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 b="1"/>
            </a:lvl1pPr>
            <a:lvl2pPr marL="360363" indent="-184150">
              <a:buFont typeface="Arial" panose="020B0604020202020204" pitchFamily="34" charset="0"/>
              <a:buChar char="•"/>
              <a:defRPr sz="1200"/>
            </a:lvl2pPr>
            <a:lvl3pPr marL="720725" indent="-277813">
              <a:buFont typeface="Courier New" panose="02070309020205020404" pitchFamily="49" charset="0"/>
              <a:buChar char="o"/>
              <a:defRPr sz="1200" baseline="0"/>
            </a:lvl3pPr>
          </a:lstStyle>
          <a:p>
            <a:pPr lvl="0"/>
            <a:r>
              <a:rPr lang="en-US" dirty="0"/>
              <a:t>Text box (click to edit tex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0DE60A-031C-4C3B-A382-0F0AAA31F84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0696" y="3726433"/>
            <a:ext cx="4193662" cy="545852"/>
          </a:xfrm>
          <a:prstGeom prst="rect">
            <a:avLst/>
          </a:prstGeom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1600" b="1" i="0" u="none">
                <a:solidFill>
                  <a:srgbClr val="005EB8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  <a:p>
            <a:pPr lvl="0"/>
            <a:r>
              <a:rPr lang="en-US" dirty="0"/>
              <a:t> (max two lines)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59DD4E-0DF6-40EF-9593-4D244D6E8311}"/>
              </a:ext>
            </a:extLst>
          </p:cNvPr>
          <p:cNvCxnSpPr/>
          <p:nvPr userDrawn="1"/>
        </p:nvCxnSpPr>
        <p:spPr bwMode="auto">
          <a:xfrm>
            <a:off x="110694" y="4293989"/>
            <a:ext cx="420148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BFF015E3-A742-43A7-81AF-498A6089F6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39643" y="4295372"/>
            <a:ext cx="4193661" cy="2058385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 b="1"/>
            </a:lvl1pPr>
            <a:lvl2pPr marL="360363" indent="-184150">
              <a:buFont typeface="Arial" panose="020B0604020202020204" pitchFamily="34" charset="0"/>
              <a:buChar char="•"/>
              <a:defRPr sz="1200"/>
            </a:lvl2pPr>
            <a:lvl3pPr marL="720725" indent="-277813">
              <a:buFont typeface="Courier New" panose="02070309020205020404" pitchFamily="49" charset="0"/>
              <a:buChar char="o"/>
              <a:defRPr sz="1200" baseline="0"/>
            </a:lvl3pPr>
          </a:lstStyle>
          <a:p>
            <a:pPr lvl="0"/>
            <a:r>
              <a:rPr lang="en-US" dirty="0"/>
              <a:t>Text box (click to edit tex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550ECB8-4D88-44CD-A2F1-7547FB0E803B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839642" y="3727817"/>
            <a:ext cx="4193661" cy="545852"/>
          </a:xfrm>
          <a:prstGeom prst="rect">
            <a:avLst/>
          </a:prstGeom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1600" b="1" i="0" u="none">
                <a:solidFill>
                  <a:srgbClr val="005EB8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  <a:p>
            <a:pPr lvl="0"/>
            <a:r>
              <a:rPr lang="en-US" dirty="0"/>
              <a:t> (max two lines)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2D3CDE3-B4CF-4A27-8576-44C130BE9C9A}"/>
              </a:ext>
            </a:extLst>
          </p:cNvPr>
          <p:cNvCxnSpPr/>
          <p:nvPr userDrawn="1"/>
        </p:nvCxnSpPr>
        <p:spPr bwMode="auto">
          <a:xfrm>
            <a:off x="4839642" y="4295373"/>
            <a:ext cx="4193662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1" name="Picture 20">
            <a:extLst>
              <a:ext uri="{FF2B5EF4-FFF2-40B4-BE49-F238E27FC236}">
                <a16:creationId xmlns:a16="http://schemas.microsoft.com/office/drawing/2014/main" id="{26B2DC70-11CE-4E20-B50B-C41FA1FD6D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3542" y="293024"/>
            <a:ext cx="953272" cy="72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34600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F8B888-6D4A-4829-B28B-B9D02FA9E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26526E2D-8C41-4D7F-981B-A8F7DAF287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8050" y="3645024"/>
            <a:ext cx="7585253" cy="237626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60363" indent="-184150">
              <a:buFont typeface="Arial" panose="020B0604020202020204" pitchFamily="34" charset="0"/>
              <a:buChar char="•"/>
              <a:defRPr sz="1400"/>
            </a:lvl2pPr>
            <a:lvl3pPr marL="720725" indent="-277813">
              <a:buFont typeface="Courier New" panose="02070309020205020404" pitchFamily="49" charset="0"/>
              <a:buChar char="o"/>
              <a:defRPr sz="140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F164922-8B19-4012-9904-394DF2E0F64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0698" y="1124744"/>
            <a:ext cx="1259344" cy="23762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>
            <a:lvl1pPr marL="0" indent="0" algn="ctr">
              <a:spcBef>
                <a:spcPts val="0"/>
              </a:spcBef>
              <a:buNone/>
              <a:defRPr sz="1200" b="1" u="none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Box 1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8F9D801D-A65C-44D2-AC1B-60B9818576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48051" y="1124744"/>
            <a:ext cx="7585252" cy="237626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60363" indent="-184150">
              <a:buFont typeface="Arial" panose="020B0604020202020204" pitchFamily="34" charset="0"/>
              <a:buChar char="•"/>
              <a:defRPr sz="1400"/>
            </a:lvl2pPr>
            <a:lvl3pPr marL="720725" indent="-277813">
              <a:buFont typeface="Courier New" panose="02070309020205020404" pitchFamily="49" charset="0"/>
              <a:buChar char="o"/>
              <a:defRPr sz="140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50D29AB-296E-465B-BD91-BFC186B44A4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21904" y="3645024"/>
            <a:ext cx="1259344" cy="2376264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None/>
              <a:defRPr sz="1200" b="1" u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Box 2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EB1F48F3-2346-4835-8BAC-34952A221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8976" y="219456"/>
            <a:ext cx="7198795" cy="796544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- Narrative title style </a:t>
            </a:r>
            <a:br>
              <a:rPr lang="en-US" dirty="0"/>
            </a:br>
            <a:r>
              <a:rPr lang="en-US" dirty="0"/>
              <a:t>(no more than two lines long)</a:t>
            </a:r>
            <a:endParaRPr lang="en-US" sz="2800" dirty="0">
              <a:solidFill>
                <a:srgbClr val="005EB8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33CB0A5-3E16-4945-9F4B-7B32F81C2F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3542" y="293024"/>
            <a:ext cx="953272" cy="72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093101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3271700-191A-41DE-A306-9B665C7F60E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9A1E9EA0-26BB-4CA3-82E6-8FCF618C16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8050" y="2816932"/>
            <a:ext cx="7585254" cy="15120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60363" indent="-184150">
              <a:buFont typeface="Arial" panose="020B0604020202020204" pitchFamily="34" charset="0"/>
              <a:buChar char="•"/>
              <a:defRPr sz="1400"/>
            </a:lvl2pPr>
            <a:lvl3pPr marL="720725" indent="-277813">
              <a:buFont typeface="Courier New" panose="02070309020205020404" pitchFamily="49" charset="0"/>
              <a:buChar char="o"/>
              <a:defRPr sz="140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63AAF95-81E3-437B-B633-CB209563F89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0698" y="1124744"/>
            <a:ext cx="1259344" cy="1512000"/>
          </a:xfrm>
          <a:prstGeom prst="rect">
            <a:avLst/>
          </a:prstGeom>
          <a:solidFill>
            <a:srgbClr val="005EB8"/>
          </a:solidFill>
          <a:ln>
            <a:noFill/>
          </a:ln>
        </p:spPr>
        <p:txBody>
          <a:bodyPr anchor="ctr"/>
          <a:lstStyle>
            <a:lvl1pPr marL="0" indent="0" algn="ctr">
              <a:spcBef>
                <a:spcPts val="0"/>
              </a:spcBef>
              <a:buNone/>
              <a:defRPr sz="1200" b="1" u="none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Box 1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F9B2C2D6-5A90-4B5C-83AA-00E6A0B013D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48049" y="1124744"/>
            <a:ext cx="7585254" cy="15120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60363" indent="-184150">
              <a:buFont typeface="Arial" panose="020B0604020202020204" pitchFamily="34" charset="0"/>
              <a:buChar char="•"/>
              <a:defRPr sz="1400"/>
            </a:lvl2pPr>
            <a:lvl3pPr marL="720725" indent="-277813">
              <a:buFont typeface="Courier New" panose="02070309020205020404" pitchFamily="49" charset="0"/>
              <a:buChar char="o"/>
              <a:defRPr sz="140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7C21B12-BB8B-4BBF-AA62-34B37B89B2AE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10698" y="2816932"/>
            <a:ext cx="1259344" cy="1512000"/>
          </a:xfrm>
          <a:prstGeom prst="rect">
            <a:avLst/>
          </a:prstGeom>
          <a:solidFill>
            <a:srgbClr val="005EB8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None/>
              <a:defRPr sz="1200" b="1" u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Box 2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EDFC1462-F273-4B28-8C0C-F6953D74A4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48050" y="4509120"/>
            <a:ext cx="7585253" cy="15120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360363" indent="-184150">
              <a:buFont typeface="Arial" panose="020B0604020202020204" pitchFamily="34" charset="0"/>
              <a:buChar char="•"/>
              <a:defRPr sz="1400"/>
            </a:lvl2pPr>
            <a:lvl3pPr marL="720725" indent="-277813">
              <a:buFont typeface="Courier New" panose="02070309020205020404" pitchFamily="49" charset="0"/>
              <a:buChar char="o"/>
              <a:defRPr sz="140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F29F81D-2CB4-4E3B-838D-8AAB7C9DD5A9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110697" y="4509120"/>
            <a:ext cx="1259345" cy="1512000"/>
          </a:xfrm>
          <a:prstGeom prst="rect">
            <a:avLst/>
          </a:prstGeom>
          <a:solidFill>
            <a:srgbClr val="005EB8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None/>
              <a:defRPr sz="1200" b="1" u="none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Box 3</a:t>
            </a:r>
          </a:p>
        </p:txBody>
      </p:sp>
      <p:sp>
        <p:nvSpPr>
          <p:cNvPr id="12" name="Title 10">
            <a:extLst>
              <a:ext uri="{FF2B5EF4-FFF2-40B4-BE49-F238E27FC236}">
                <a16:creationId xmlns:a16="http://schemas.microsoft.com/office/drawing/2014/main" id="{5F8FEC8E-682C-407A-8E31-DDA476E9F6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8976" y="219456"/>
            <a:ext cx="7198795" cy="796544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- Narrative title style </a:t>
            </a:r>
            <a:br>
              <a:rPr lang="en-US" dirty="0"/>
            </a:br>
            <a:r>
              <a:rPr lang="en-US" dirty="0"/>
              <a:t>(no more than two lines long)</a:t>
            </a:r>
            <a:endParaRPr lang="en-US" sz="2800" dirty="0">
              <a:solidFill>
                <a:srgbClr val="005EB8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C298EEB-A51F-4DEC-BD0B-5591AB60AD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3542" y="293024"/>
            <a:ext cx="953272" cy="72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33849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291314" y="6372536"/>
            <a:ext cx="6473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34F92BC6-D7C3-584B-87F2-0B845776A5AD}" type="slidenum">
              <a:rPr lang="en-US" sz="120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r>
              <a:rPr lang="en-US" sz="12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</a:t>
            </a: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90676" y="6333439"/>
            <a:ext cx="5723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chemeClr val="accent3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GB"/>
              <a:t>PowerPoint Style Guide / Supporting Templa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261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7" r:id="rId3"/>
    <p:sldLayoutId id="2147483663" r:id="rId4"/>
    <p:sldLayoutId id="2147483664" r:id="rId5"/>
    <p:sldLayoutId id="2147483665" r:id="rId6"/>
    <p:sldLayoutId id="2147483673" r:id="rId7"/>
    <p:sldLayoutId id="2147483666" r:id="rId8"/>
    <p:sldLayoutId id="2147483668" r:id="rId9"/>
    <p:sldLayoutId id="2147483669" r:id="rId10"/>
    <p:sldLayoutId id="2147483670" r:id="rId11"/>
    <p:sldLayoutId id="2147483671" r:id="rId12"/>
    <p:sldLayoutId id="2147483672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chart" Target="../charts/chart6.xml"/><Relationship Id="rId4" Type="http://schemas.openxmlformats.org/officeDocument/2006/relationships/tags" Target="../tags/tag4.xml"/><Relationship Id="rId9" Type="http://schemas.openxmlformats.org/officeDocument/2006/relationships/notesSlide" Target="../notesSlides/notesSlide1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chart" Target="../charts/chart8.xml"/><Relationship Id="rId4" Type="http://schemas.openxmlformats.org/officeDocument/2006/relationships/tags" Target="../tags/tag11.xml"/><Relationship Id="rId9" Type="http://schemas.openxmlformats.org/officeDocument/2006/relationships/chart" Target="../charts/char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4" Type="http://schemas.openxmlformats.org/officeDocument/2006/relationships/chart" Target="../charts/chart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4" Type="http://schemas.openxmlformats.org/officeDocument/2006/relationships/chart" Target="../charts/char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4" Type="http://schemas.openxmlformats.org/officeDocument/2006/relationships/chart" Target="../charts/chart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539" y="3764662"/>
            <a:ext cx="7886700" cy="689541"/>
          </a:xfrm>
        </p:spPr>
        <p:txBody>
          <a:bodyPr/>
          <a:lstStyle/>
          <a:p>
            <a:r>
              <a:rPr lang="en-GB" dirty="0"/>
              <a:t>Adapted PowerPoint Style Guide / Supporting Templat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3726" y="4807332"/>
            <a:ext cx="6858000" cy="473244"/>
          </a:xfrm>
        </p:spPr>
        <p:txBody>
          <a:bodyPr/>
          <a:lstStyle/>
          <a:p>
            <a:r>
              <a:rPr lang="en-GB" dirty="0"/>
              <a:t>July 2022</a:t>
            </a:r>
          </a:p>
        </p:txBody>
      </p:sp>
    </p:spTree>
    <p:extLst>
      <p:ext uri="{BB962C8B-B14F-4D97-AF65-F5344CB8AC3E}">
        <p14:creationId xmlns:p14="http://schemas.microsoft.com/office/powerpoint/2010/main" val="31441199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4A8D41F-E325-4275-B925-7FF4C2930A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E92A4C-D8A6-4819-9B59-48CAF76AC8E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1</a:t>
            </a:r>
          </a:p>
          <a:p>
            <a:pPr marL="646113" lvl="1" indent="-285750">
              <a:buFont typeface="Courier New" panose="02070309020205020404" pitchFamily="49" charset="0"/>
              <a:buChar char="o"/>
            </a:pPr>
            <a:r>
              <a:rPr lang="en-GB" dirty="0"/>
              <a:t>Sub-bulle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2</a:t>
            </a:r>
          </a:p>
          <a:p>
            <a:pPr marL="646112" lvl="2" indent="-285750"/>
            <a:r>
              <a:rPr lang="en-GB" dirty="0"/>
              <a:t>Sub-bullet 2</a:t>
            </a:r>
          </a:p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0A3DBF-28DB-4F43-8350-D4E0C63B3C1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First subhead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2D2985-6E2B-4390-BA29-EB3B8F4B04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1</a:t>
            </a:r>
          </a:p>
          <a:p>
            <a:pPr marL="646113" lvl="1" indent="-285750">
              <a:buFont typeface="Courier New" panose="02070309020205020404" pitchFamily="49" charset="0"/>
              <a:buChar char="o"/>
            </a:pPr>
            <a:r>
              <a:rPr lang="en-GB" dirty="0"/>
              <a:t>Sub-bulle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2</a:t>
            </a:r>
          </a:p>
          <a:p>
            <a:pPr marL="646112" lvl="2" indent="-285750"/>
            <a:r>
              <a:rPr lang="en-GB" dirty="0"/>
              <a:t>Sub-bullet 2</a:t>
            </a:r>
          </a:p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8857E1-4404-4722-BA78-5292A1D7642D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en-GB" dirty="0"/>
              <a:t>Second subheading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4B11A53-95C3-46BB-9DC1-1A961F2EC39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1</a:t>
            </a:r>
          </a:p>
          <a:p>
            <a:pPr marL="646113" lvl="1" indent="-285750">
              <a:buFont typeface="Courier New" panose="02070309020205020404" pitchFamily="49" charset="0"/>
              <a:buChar char="o"/>
            </a:pPr>
            <a:r>
              <a:rPr lang="en-GB" dirty="0"/>
              <a:t>Sub-bulle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2</a:t>
            </a:r>
          </a:p>
          <a:p>
            <a:pPr marL="646112" lvl="2" indent="-285750"/>
            <a:r>
              <a:rPr lang="en-GB" dirty="0"/>
              <a:t>Sub-bullet 2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0FE48F2-D8D8-435B-8139-B2DAF6A08E9B}"/>
              </a:ext>
            </a:extLst>
          </p:cNvPr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r>
              <a:rPr lang="en-GB" dirty="0"/>
              <a:t>Fourth subheading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1E0E8ED-A4E6-4710-A3BB-02A67AA3DD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1</a:t>
            </a:r>
          </a:p>
          <a:p>
            <a:pPr marL="646113" lvl="1" indent="-285750">
              <a:buFont typeface="Courier New" panose="02070309020205020404" pitchFamily="49" charset="0"/>
              <a:buChar char="o"/>
            </a:pPr>
            <a:r>
              <a:rPr lang="en-GB" dirty="0"/>
              <a:t>Sub-bulle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2</a:t>
            </a:r>
          </a:p>
          <a:p>
            <a:pPr marL="646112" lvl="2" indent="-285750"/>
            <a:r>
              <a:rPr lang="en-GB" dirty="0"/>
              <a:t>Sub-bullet 2</a:t>
            </a:r>
          </a:p>
          <a:p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419E6D3-6DFE-4AC2-9C5F-B771FA91338B}"/>
              </a:ext>
            </a:extLst>
          </p:cNvPr>
          <p:cNvSpPr>
            <a:spLocks noGrp="1"/>
          </p:cNvSpPr>
          <p:nvPr>
            <p:ph type="body" idx="19"/>
          </p:nvPr>
        </p:nvSpPr>
        <p:spPr/>
        <p:txBody>
          <a:bodyPr/>
          <a:lstStyle/>
          <a:p>
            <a:r>
              <a:rPr lang="en-GB" dirty="0"/>
              <a:t>Third subheading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86A21E67-DA71-4DF0-B18F-1030F8E7C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yout title: Four columns</a:t>
            </a:r>
          </a:p>
        </p:txBody>
      </p:sp>
    </p:spTree>
    <p:extLst>
      <p:ext uri="{BB962C8B-B14F-4D97-AF65-F5344CB8AC3E}">
        <p14:creationId xmlns:p14="http://schemas.microsoft.com/office/powerpoint/2010/main" val="15409375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3306D18-B0D0-4C32-80E7-679487D9677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023992-F696-4EC3-8C43-9B607C9BFF2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1</a:t>
            </a:r>
          </a:p>
          <a:p>
            <a:pPr marL="646113" lvl="1" indent="-285750">
              <a:buFont typeface="Courier New" panose="02070309020205020404" pitchFamily="49" charset="0"/>
              <a:buChar char="o"/>
            </a:pPr>
            <a:r>
              <a:rPr lang="en-GB" dirty="0"/>
              <a:t>Sub-bulle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2</a:t>
            </a:r>
          </a:p>
          <a:p>
            <a:pPr marL="646112" lvl="2" indent="-285750"/>
            <a:r>
              <a:rPr lang="en-GB" dirty="0"/>
              <a:t>Sub-bullet 2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0CB440-58E5-4607-A76D-78D3D22AE6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1</a:t>
            </a:r>
          </a:p>
          <a:p>
            <a:pPr marL="646113" lvl="1" indent="-285750">
              <a:buFont typeface="Courier New" panose="02070309020205020404" pitchFamily="49" charset="0"/>
              <a:buChar char="o"/>
            </a:pPr>
            <a:r>
              <a:rPr lang="en-GB" dirty="0"/>
              <a:t>Sub-bulle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2</a:t>
            </a:r>
          </a:p>
          <a:p>
            <a:pPr marL="646112" lvl="2" indent="-285750"/>
            <a:r>
              <a:rPr lang="en-GB" dirty="0"/>
              <a:t>Sub-bullet 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808ADC-F4D1-4F75-B845-4096F98D38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First subhead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407BB64-979C-4A4D-8894-4176B6947ED6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GB" dirty="0"/>
              <a:t>Second subheading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1715B09-5510-4DB8-9A55-722CA37610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yout title: Four box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18A9272-42D0-4C29-8A00-8B6B27161F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1</a:t>
            </a:r>
          </a:p>
          <a:p>
            <a:pPr marL="646113" lvl="1" indent="-285750">
              <a:buFont typeface="Courier New" panose="02070309020205020404" pitchFamily="49" charset="0"/>
              <a:buChar char="o"/>
            </a:pPr>
            <a:r>
              <a:rPr lang="en-GB" dirty="0"/>
              <a:t>Sub-bulle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2</a:t>
            </a:r>
          </a:p>
          <a:p>
            <a:pPr marL="646112" lvl="2" indent="-285750"/>
            <a:r>
              <a:rPr lang="en-GB" dirty="0"/>
              <a:t>Sub-bullet 2</a:t>
            </a:r>
          </a:p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BB86DE6-B559-4D6C-BD84-BB8695EC3469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en-GB" dirty="0"/>
              <a:t>Third subheading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CA5297A-8C10-4EE2-A676-22AEA96F08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1</a:t>
            </a:r>
          </a:p>
          <a:p>
            <a:pPr marL="646113" lvl="1" indent="-285750">
              <a:buFont typeface="Courier New" panose="02070309020205020404" pitchFamily="49" charset="0"/>
              <a:buChar char="o"/>
            </a:pPr>
            <a:r>
              <a:rPr lang="en-GB" dirty="0"/>
              <a:t>Sub-bulle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2</a:t>
            </a:r>
          </a:p>
          <a:p>
            <a:pPr marL="646112" lvl="2" indent="-285750"/>
            <a:r>
              <a:rPr lang="en-GB" dirty="0"/>
              <a:t>Sub-bullet 2</a:t>
            </a:r>
          </a:p>
          <a:p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D403417-FB24-44DD-84EE-01327DB6DA94}"/>
              </a:ext>
            </a:extLst>
          </p:cNvPr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r>
              <a:rPr lang="en-GB" dirty="0"/>
              <a:t>Fourth subheading</a:t>
            </a:r>
          </a:p>
        </p:txBody>
      </p:sp>
    </p:spTree>
    <p:extLst>
      <p:ext uri="{BB962C8B-B14F-4D97-AF65-F5344CB8AC3E}">
        <p14:creationId xmlns:p14="http://schemas.microsoft.com/office/powerpoint/2010/main" val="7064257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C9A706A-6A26-4566-A851-D1670A8E8D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08739B-B67F-49EF-8ACF-42E2E7693D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1</a:t>
            </a:r>
          </a:p>
          <a:p>
            <a:pPr marL="646113" lvl="1" indent="-285750">
              <a:buFont typeface="Courier New" panose="02070309020205020404" pitchFamily="49" charset="0"/>
              <a:buChar char="o"/>
            </a:pPr>
            <a:r>
              <a:rPr lang="en-GB" dirty="0"/>
              <a:t>Sub-bulle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2</a:t>
            </a:r>
          </a:p>
          <a:p>
            <a:pPr marL="646112" lvl="2" indent="-285750"/>
            <a:r>
              <a:rPr lang="en-GB" dirty="0"/>
              <a:t>Sub-bullet 2</a:t>
            </a:r>
          </a:p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5173A0-3C7F-4D3D-9D77-6CFC39F7C7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ection title 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783307-7CF8-42BE-87D4-2CEAF7CBCC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1</a:t>
            </a:r>
          </a:p>
          <a:p>
            <a:pPr marL="646113" lvl="1" indent="-285750">
              <a:buFont typeface="Courier New" panose="02070309020205020404" pitchFamily="49" charset="0"/>
              <a:buChar char="o"/>
            </a:pPr>
            <a:r>
              <a:rPr lang="en-GB" dirty="0"/>
              <a:t>Sub-bulle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2</a:t>
            </a:r>
          </a:p>
          <a:p>
            <a:pPr marL="646112" lvl="2" indent="-285750"/>
            <a:r>
              <a:rPr lang="en-GB" dirty="0"/>
              <a:t>Sub-bullet 2</a:t>
            </a:r>
          </a:p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FEE984A-A18A-49E4-8770-9EE430DBFBD8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en-GB" dirty="0"/>
              <a:t>Section title 2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1030ED6-1225-4387-BC93-0E37E7789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yout title: Two boxes</a:t>
            </a:r>
          </a:p>
        </p:txBody>
      </p:sp>
    </p:spTree>
    <p:extLst>
      <p:ext uri="{BB962C8B-B14F-4D97-AF65-F5344CB8AC3E}">
        <p14:creationId xmlns:p14="http://schemas.microsoft.com/office/powerpoint/2010/main" val="908619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EF953D-BB8C-4782-816F-8FACDE333F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CECEB0-F80A-400E-83CC-AE37422D44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1</a:t>
            </a:r>
          </a:p>
          <a:p>
            <a:pPr marL="646113" lvl="1" indent="-285750">
              <a:buFont typeface="Courier New" panose="02070309020205020404" pitchFamily="49" charset="0"/>
              <a:buChar char="o"/>
            </a:pPr>
            <a:r>
              <a:rPr lang="en-GB" dirty="0"/>
              <a:t>Sub-bulle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2</a:t>
            </a:r>
          </a:p>
          <a:p>
            <a:pPr marL="646112" lvl="2" indent="-285750"/>
            <a:r>
              <a:rPr lang="en-GB" dirty="0"/>
              <a:t>Sub-bullet 2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FF27A4-7CB3-4F5F-A68F-32E6250C26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ection title 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F180C45-BF6F-42A4-8B33-58504EAA759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1</a:t>
            </a:r>
          </a:p>
          <a:p>
            <a:pPr marL="646113" lvl="1" indent="-285750">
              <a:buFont typeface="Courier New" panose="02070309020205020404" pitchFamily="49" charset="0"/>
              <a:buChar char="o"/>
            </a:pPr>
            <a:r>
              <a:rPr lang="en-GB" dirty="0"/>
              <a:t>Sub-bulle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2</a:t>
            </a:r>
          </a:p>
          <a:p>
            <a:pPr marL="646112" lvl="2" indent="-285750"/>
            <a:r>
              <a:rPr lang="en-GB" dirty="0"/>
              <a:t>Sub-bullet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4A7654-4C25-4D73-8FCC-9B52DFA5AFEE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en-GB" dirty="0"/>
              <a:t>Section title 2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8D517F7-A40C-409E-8A30-B57E00DBE1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1</a:t>
            </a:r>
          </a:p>
          <a:p>
            <a:pPr marL="646113" lvl="1" indent="-285750">
              <a:buFont typeface="Courier New" panose="02070309020205020404" pitchFamily="49" charset="0"/>
              <a:buChar char="o"/>
            </a:pPr>
            <a:r>
              <a:rPr lang="en-GB" dirty="0"/>
              <a:t>Sub-bullet 1</a:t>
            </a:r>
          </a:p>
          <a:p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2</a:t>
            </a:r>
          </a:p>
          <a:p>
            <a:pPr marL="646112" lvl="2" indent="-285750"/>
            <a:r>
              <a:rPr lang="en-GB" dirty="0"/>
              <a:t>Sub-bullet 2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AEDE6BC-C6DB-4CAF-A0C4-B79103123568}"/>
              </a:ext>
            </a:extLst>
          </p:cNvPr>
          <p:cNvSpPr>
            <a:spLocks noGrp="1"/>
          </p:cNvSpPr>
          <p:nvPr>
            <p:ph type="body" idx="19"/>
          </p:nvPr>
        </p:nvSpPr>
        <p:spPr/>
        <p:txBody>
          <a:bodyPr/>
          <a:lstStyle/>
          <a:p>
            <a:r>
              <a:rPr lang="en-GB" dirty="0"/>
              <a:t>Section title 3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FCAFA12-F6A8-41AE-B379-7D63FD3A5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yout title: Three boxes</a:t>
            </a:r>
          </a:p>
        </p:txBody>
      </p:sp>
    </p:spTree>
    <p:extLst>
      <p:ext uri="{BB962C8B-B14F-4D97-AF65-F5344CB8AC3E}">
        <p14:creationId xmlns:p14="http://schemas.microsoft.com/office/powerpoint/2010/main" val="10771750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9F0594E-D9C6-44C6-A4E1-BBD653C95A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7850C0-AB5D-4ED0-81B0-4D50A248BA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1</a:t>
            </a:r>
          </a:p>
          <a:p>
            <a:pPr marL="646113" lvl="1" indent="-285750">
              <a:buFont typeface="Courier New" panose="02070309020205020404" pitchFamily="49" charset="0"/>
              <a:buChar char="o"/>
            </a:pPr>
            <a:r>
              <a:rPr lang="en-GB" dirty="0"/>
              <a:t>Sub-bulle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2</a:t>
            </a:r>
          </a:p>
          <a:p>
            <a:pPr marL="646112" lvl="2" indent="-285750"/>
            <a:r>
              <a:rPr lang="en-GB" dirty="0"/>
              <a:t>Sub-bullet 2</a:t>
            </a:r>
          </a:p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A3A4D8-59D0-450F-9ECE-C0F10D9F52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ection title 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5DA2D7-4397-4C7B-ABA8-0065331AD0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1</a:t>
            </a:r>
          </a:p>
          <a:p>
            <a:pPr marL="646113" lvl="1" indent="-285750">
              <a:buFont typeface="Courier New" panose="02070309020205020404" pitchFamily="49" charset="0"/>
              <a:buChar char="o"/>
            </a:pPr>
            <a:r>
              <a:rPr lang="en-GB" dirty="0"/>
              <a:t>Sub-bulle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2</a:t>
            </a:r>
          </a:p>
          <a:p>
            <a:pPr marL="646112" lvl="2" indent="-285750"/>
            <a:r>
              <a:rPr lang="en-GB" dirty="0"/>
              <a:t>Sub-bullet 2</a:t>
            </a:r>
          </a:p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0FC7C50-DA83-4AC0-AE7F-A0E7AE331770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en-GB" dirty="0"/>
              <a:t>Section title 2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6F214CC-3797-4CFA-88BE-AC16997B4EE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1</a:t>
            </a:r>
          </a:p>
          <a:p>
            <a:pPr marL="646113" lvl="1" indent="-285750">
              <a:buFont typeface="Courier New" panose="02070309020205020404" pitchFamily="49" charset="0"/>
              <a:buChar char="o"/>
            </a:pPr>
            <a:r>
              <a:rPr lang="en-GB" dirty="0"/>
              <a:t>Sub-bulle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2</a:t>
            </a:r>
          </a:p>
          <a:p>
            <a:pPr marL="646112" lvl="2" indent="-285750"/>
            <a:r>
              <a:rPr lang="en-GB" dirty="0"/>
              <a:t>Sub-bullet 2</a:t>
            </a:r>
          </a:p>
          <a:p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E9D7FB4-151E-4288-A8F0-3169E8619878}"/>
              </a:ext>
            </a:extLst>
          </p:cNvPr>
          <p:cNvSpPr>
            <a:spLocks noGrp="1"/>
          </p:cNvSpPr>
          <p:nvPr>
            <p:ph type="body" idx="19"/>
          </p:nvPr>
        </p:nvSpPr>
        <p:spPr/>
        <p:txBody>
          <a:bodyPr/>
          <a:lstStyle/>
          <a:p>
            <a:r>
              <a:rPr lang="en-GB" dirty="0"/>
              <a:t>Section title 3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9C1CC5A-92A8-4DC1-83D0-A6EC2143E3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1</a:t>
            </a:r>
          </a:p>
          <a:p>
            <a:pPr marL="646113" lvl="1" indent="-285750">
              <a:buFont typeface="Courier New" panose="02070309020205020404" pitchFamily="49" charset="0"/>
              <a:buChar char="o"/>
            </a:pPr>
            <a:r>
              <a:rPr lang="en-GB" dirty="0"/>
              <a:t>Sub-bulle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2</a:t>
            </a:r>
          </a:p>
          <a:p>
            <a:pPr marL="646112" lvl="2" indent="-285750"/>
            <a:r>
              <a:rPr lang="en-GB" dirty="0"/>
              <a:t>Sub-bullet 2</a:t>
            </a:r>
          </a:p>
          <a:p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B94B76-AE50-41EB-A63A-B719DD2FBD18}"/>
              </a:ext>
            </a:extLst>
          </p:cNvPr>
          <p:cNvSpPr>
            <a:spLocks noGrp="1"/>
          </p:cNvSpPr>
          <p:nvPr>
            <p:ph type="body" idx="21"/>
          </p:nvPr>
        </p:nvSpPr>
        <p:spPr/>
        <p:txBody>
          <a:bodyPr/>
          <a:lstStyle/>
          <a:p>
            <a:r>
              <a:rPr lang="en-GB" dirty="0"/>
              <a:t>Section title 4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1D83971-DBD7-4C9A-B3E6-DA34103B08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yout title: Four boxes</a:t>
            </a:r>
          </a:p>
        </p:txBody>
      </p:sp>
    </p:spTree>
    <p:extLst>
      <p:ext uri="{BB962C8B-B14F-4D97-AF65-F5344CB8AC3E}">
        <p14:creationId xmlns:p14="http://schemas.microsoft.com/office/powerpoint/2010/main" val="305936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AC8D19-7C5E-4BE1-A48A-DF03CB57AE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996D23-B8D6-4342-AE79-3F52FAC47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51D502-CF87-4BB5-81C6-F8024BE3E37F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83266" y="1628800"/>
            <a:ext cx="7525000" cy="360040"/>
          </a:xfrm>
          <a:noFill/>
        </p:spPr>
        <p:txBody>
          <a:bodyPr/>
          <a:lstStyle/>
          <a:p>
            <a:pPr marL="0" indent="0">
              <a:buNone/>
            </a:pPr>
            <a:r>
              <a:rPr lang="en-GB" dirty="0">
                <a:solidFill>
                  <a:schemeClr val="tx1"/>
                </a:solidFill>
              </a:rPr>
              <a:t>1.  Overview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315FCD-46C2-4266-BC22-FE627820B3D1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noFill/>
        </p:spPr>
        <p:txBody>
          <a:bodyPr/>
          <a:lstStyle/>
          <a:p>
            <a:r>
              <a:rPr lang="en-GB" dirty="0"/>
              <a:t>2.  Text element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6266D40-4F90-40EE-922D-D067B0E0EEF4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solidFill>
            <a:schemeClr val="accent1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3.  Charts and graph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F380767-1B25-4604-A7B8-050B601AA9DC}"/>
              </a:ext>
            </a:extLst>
          </p:cNvPr>
          <p:cNvSpPr>
            <a:spLocks noGrp="1"/>
          </p:cNvSpPr>
          <p:nvPr>
            <p:ph type="body" idx="18"/>
          </p:nvPr>
        </p:nvSpPr>
        <p:spPr/>
        <p:txBody>
          <a:bodyPr/>
          <a:lstStyle/>
          <a:p>
            <a:r>
              <a:rPr lang="en-GB" dirty="0"/>
              <a:t>4.  Diagram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094506-9521-44E3-B783-DFC26F12F5C9}"/>
              </a:ext>
            </a:extLst>
          </p:cNvPr>
          <p:cNvSpPr>
            <a:spLocks noGrp="1"/>
          </p:cNvSpPr>
          <p:nvPr>
            <p:ph type="body" idx="19"/>
          </p:nvPr>
        </p:nvSpPr>
        <p:spPr/>
        <p:txBody>
          <a:bodyPr/>
          <a:lstStyle/>
          <a:p>
            <a:r>
              <a:rPr lang="en-GB" dirty="0"/>
              <a:t>5.  Tab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53B1C36-7E2B-4D7E-830B-D40EE54C45C2}"/>
              </a:ext>
            </a:extLst>
          </p:cNvPr>
          <p:cNvSpPr>
            <a:spLocks noGrp="1"/>
          </p:cNvSpPr>
          <p:nvPr>
            <p:ph type="body" idx="20"/>
          </p:nvPr>
        </p:nvSpPr>
        <p:spPr/>
        <p:txBody>
          <a:bodyPr/>
          <a:lstStyle/>
          <a:p>
            <a:r>
              <a:rPr lang="en-GB" dirty="0"/>
              <a:t>6.  Timelin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5707A82-AD0B-4D55-B6FB-BB454CF223C8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noFill/>
        </p:spPr>
        <p:txBody>
          <a:bodyPr/>
          <a:lstStyle/>
          <a:p>
            <a:pPr marL="0" indent="0">
              <a:buNone/>
            </a:pPr>
            <a:r>
              <a:rPr lang="en-GB" dirty="0">
                <a:solidFill>
                  <a:schemeClr val="tx1"/>
                </a:solidFill>
              </a:rPr>
              <a:t>3 - 5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869AC75-AF82-449C-B905-9777235DC350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noFill/>
          <a:ln>
            <a:noFill/>
          </a:ln>
        </p:spPr>
        <p:txBody>
          <a:bodyPr/>
          <a:lstStyle/>
          <a:p>
            <a:r>
              <a:rPr lang="en-GB" dirty="0"/>
              <a:t>7 - 14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F696C2B-6A1B-443E-B3C1-C00B6CD25D52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solidFill>
            <a:schemeClr val="accent1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16 - 28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7B042C2-290F-4877-8BB2-EBE52AB8F314}"/>
              </a:ext>
            </a:extLst>
          </p:cNvPr>
          <p:cNvSpPr>
            <a:spLocks noGrp="1"/>
          </p:cNvSpPr>
          <p:nvPr>
            <p:ph type="body" idx="24"/>
          </p:nvPr>
        </p:nvSpPr>
        <p:spPr/>
        <p:txBody>
          <a:bodyPr/>
          <a:lstStyle/>
          <a:p>
            <a:r>
              <a:rPr lang="en-GB" dirty="0"/>
              <a:t>30 - 35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DF20364-900C-44B9-8358-3A71195CCF88}"/>
              </a:ext>
            </a:extLst>
          </p:cNvPr>
          <p:cNvSpPr>
            <a:spLocks noGrp="1"/>
          </p:cNvSpPr>
          <p:nvPr>
            <p:ph type="body" idx="25"/>
          </p:nvPr>
        </p:nvSpPr>
        <p:spPr/>
        <p:txBody>
          <a:bodyPr/>
          <a:lstStyle/>
          <a:p>
            <a:r>
              <a:rPr lang="en-GB" dirty="0"/>
              <a:t>37 - 38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412E04B-DAE9-4C90-A9CC-3B82D772B51B}"/>
              </a:ext>
            </a:extLst>
          </p:cNvPr>
          <p:cNvSpPr>
            <a:spLocks noGrp="1"/>
          </p:cNvSpPr>
          <p:nvPr>
            <p:ph type="body" idx="26"/>
          </p:nvPr>
        </p:nvSpPr>
        <p:spPr/>
        <p:txBody>
          <a:bodyPr/>
          <a:lstStyle/>
          <a:p>
            <a:r>
              <a:rPr lang="en-GB" dirty="0"/>
              <a:t>40 - 41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D1B32BE-4739-4C59-9A70-ECCADD16F2DB}"/>
              </a:ext>
            </a:extLst>
          </p:cNvPr>
          <p:cNvSpPr>
            <a:spLocks noGrp="1"/>
          </p:cNvSpPr>
          <p:nvPr>
            <p:ph type="body" idx="2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A1FE6FD-4AF3-4227-9C6B-E088CBC06EA8}"/>
              </a:ext>
            </a:extLst>
          </p:cNvPr>
          <p:cNvSpPr txBox="1">
            <a:spLocks/>
          </p:cNvSpPr>
          <p:nvPr/>
        </p:nvSpPr>
        <p:spPr>
          <a:xfrm>
            <a:off x="188976" y="5652236"/>
            <a:ext cx="7697991" cy="360040"/>
          </a:xfrm>
          <a:prstGeom prst="rect">
            <a:avLst/>
          </a:prstGeom>
          <a:noFill/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7.  Map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01B61C39-9832-478B-AD05-8DE9C0BECC70}"/>
              </a:ext>
            </a:extLst>
          </p:cNvPr>
          <p:cNvSpPr txBox="1">
            <a:spLocks/>
          </p:cNvSpPr>
          <p:nvPr/>
        </p:nvSpPr>
        <p:spPr>
          <a:xfrm>
            <a:off x="7706885" y="5652236"/>
            <a:ext cx="1248139" cy="360040"/>
          </a:xfrm>
          <a:prstGeom prst="rect">
            <a:avLst/>
          </a:prstGeom>
          <a:noFill/>
        </p:spPr>
        <p:txBody>
          <a:bodyPr anchor="ctr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43 - 45</a:t>
            </a:r>
          </a:p>
        </p:txBody>
      </p:sp>
    </p:spTree>
    <p:extLst>
      <p:ext uri="{BB962C8B-B14F-4D97-AF65-F5344CB8AC3E}">
        <p14:creationId xmlns:p14="http://schemas.microsoft.com/office/powerpoint/2010/main" val="10917348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4EE69F5-4174-45CC-A2E7-1E6E6D251A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4406BF-F813-48AD-9278-72AA2CC654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ie chart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77C2E2D4-F6BC-4976-946F-E71383D2E53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5263899"/>
              </p:ext>
            </p:extLst>
          </p:nvPr>
        </p:nvGraphicFramePr>
        <p:xfrm>
          <a:off x="905593" y="1340768"/>
          <a:ext cx="7332815" cy="43520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4778590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E1983B8-7E91-482D-957A-CA60304AFE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C4DEC4-B522-44CB-A25D-AFCE56DFD2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oughnut chart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F78F49D-1B58-4DED-AFC2-CBB491CB9B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225773"/>
              </p:ext>
            </p:extLst>
          </p:nvPr>
        </p:nvGraphicFramePr>
        <p:xfrm>
          <a:off x="593558" y="1268760"/>
          <a:ext cx="7956884" cy="44644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6182717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8770418-C073-4A96-89BF-05D3C8CED0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147A00A-A7DD-4A04-9CE3-B9F154204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cked bar chart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536C15A8-FE41-4281-B8BA-97C51DEEEC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19583836"/>
              </p:ext>
            </p:extLst>
          </p:nvPr>
        </p:nvGraphicFramePr>
        <p:xfrm>
          <a:off x="405184" y="1412776"/>
          <a:ext cx="8346927" cy="4320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B6C1B5DA-A2D5-4B9A-A362-0E23C400B71B}"/>
              </a:ext>
            </a:extLst>
          </p:cNvPr>
          <p:cNvSpPr txBox="1"/>
          <p:nvPr/>
        </p:nvSpPr>
        <p:spPr>
          <a:xfrm>
            <a:off x="194471" y="1177010"/>
            <a:ext cx="18597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Y axis label (with units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54B1F9-644B-40A1-AD4E-9DD5CF0BC93B}"/>
              </a:ext>
            </a:extLst>
          </p:cNvPr>
          <p:cNvSpPr txBox="1"/>
          <p:nvPr/>
        </p:nvSpPr>
        <p:spPr>
          <a:xfrm>
            <a:off x="6513173" y="5661251"/>
            <a:ext cx="21062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X axis label (with units)</a:t>
            </a:r>
          </a:p>
        </p:txBody>
      </p:sp>
    </p:spTree>
    <p:extLst>
      <p:ext uri="{BB962C8B-B14F-4D97-AF65-F5344CB8AC3E}">
        <p14:creationId xmlns:p14="http://schemas.microsoft.com/office/powerpoint/2010/main" val="21904481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CB78ACB-5833-4256-BDDF-9420B3B480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353353B-05EE-452D-89DC-DB61704576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rizonal stacked bar cha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2DF292-A7C2-4838-83AA-50B0872F8ED9}"/>
              </a:ext>
            </a:extLst>
          </p:cNvPr>
          <p:cNvSpPr txBox="1"/>
          <p:nvPr/>
        </p:nvSpPr>
        <p:spPr>
          <a:xfrm>
            <a:off x="21960" y="3140971"/>
            <a:ext cx="9828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Y axis lab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1655FE-D07F-418E-AA01-9ED33A452888}"/>
              </a:ext>
            </a:extLst>
          </p:cNvPr>
          <p:cNvSpPr txBox="1"/>
          <p:nvPr/>
        </p:nvSpPr>
        <p:spPr>
          <a:xfrm>
            <a:off x="6262655" y="5569498"/>
            <a:ext cx="20282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X axis label (with units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00C7625-C5C3-42BD-985D-D7A3B01F3F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2867081"/>
              </p:ext>
            </p:extLst>
          </p:nvPr>
        </p:nvGraphicFramePr>
        <p:xfrm>
          <a:off x="1114081" y="1397000"/>
          <a:ext cx="7722858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Oval 48">
            <a:extLst>
              <a:ext uri="{FF2B5EF4-FFF2-40B4-BE49-F238E27FC236}">
                <a16:creationId xmlns:a16="http://schemas.microsoft.com/office/drawing/2014/main" id="{8F90BC3F-4357-47AF-85EA-105A788A1280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7215251" y="1772816"/>
            <a:ext cx="702078" cy="360040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/>
            <a:r>
              <a:rPr lang="en-US" sz="1600" b="1" dirty="0">
                <a:solidFill>
                  <a:schemeClr val="bg1"/>
                </a:solidFill>
                <a:cs typeface="Arial" pitchFamily="34" charset="0"/>
              </a:rPr>
              <a:t>12.3</a:t>
            </a:r>
          </a:p>
        </p:txBody>
      </p:sp>
      <p:sp>
        <p:nvSpPr>
          <p:cNvPr id="9" name="Oval 48">
            <a:extLst>
              <a:ext uri="{FF2B5EF4-FFF2-40B4-BE49-F238E27FC236}">
                <a16:creationId xmlns:a16="http://schemas.microsoft.com/office/drawing/2014/main" id="{FC976F42-4D7A-4407-A7B0-9EC07F8E156F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5556898" y="2654928"/>
            <a:ext cx="702078" cy="360040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/>
            <a:r>
              <a:rPr lang="en-US" sz="1600" b="1" dirty="0">
                <a:solidFill>
                  <a:schemeClr val="bg1"/>
                </a:solidFill>
                <a:cs typeface="Arial" pitchFamily="34" charset="0"/>
              </a:rPr>
              <a:t>8.3</a:t>
            </a:r>
          </a:p>
        </p:txBody>
      </p:sp>
      <p:sp>
        <p:nvSpPr>
          <p:cNvPr id="10" name="Oval 48">
            <a:extLst>
              <a:ext uri="{FF2B5EF4-FFF2-40B4-BE49-F238E27FC236}">
                <a16:creationId xmlns:a16="http://schemas.microsoft.com/office/drawing/2014/main" id="{E46964AB-0DE6-4F47-B2F5-AA720EEA4398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5721999" y="3500317"/>
            <a:ext cx="702078" cy="360040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/>
            <a:r>
              <a:rPr lang="en-US" sz="1600" b="1" dirty="0">
                <a:solidFill>
                  <a:schemeClr val="bg1"/>
                </a:solidFill>
                <a:cs typeface="Arial" pitchFamily="34" charset="0"/>
              </a:rPr>
              <a:t>8.9</a:t>
            </a:r>
          </a:p>
        </p:txBody>
      </p:sp>
      <p:sp>
        <p:nvSpPr>
          <p:cNvPr id="11" name="Oval 48">
            <a:extLst>
              <a:ext uri="{FF2B5EF4-FFF2-40B4-BE49-F238E27FC236}">
                <a16:creationId xmlns:a16="http://schemas.microsoft.com/office/drawing/2014/main" id="{103C0369-3C9F-42E7-86E6-1EFE3254EF3D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5747206" y="4419124"/>
            <a:ext cx="702078" cy="360040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/>
            <a:r>
              <a:rPr lang="en-US" sz="1600" b="1" dirty="0">
                <a:solidFill>
                  <a:schemeClr val="bg1"/>
                </a:solidFill>
                <a:cs typeface="Arial" pitchFamily="34" charset="0"/>
              </a:rPr>
              <a:t>8.7</a:t>
            </a:r>
          </a:p>
        </p:txBody>
      </p:sp>
    </p:spTree>
    <p:extLst>
      <p:ext uri="{BB962C8B-B14F-4D97-AF65-F5344CB8AC3E}">
        <p14:creationId xmlns:p14="http://schemas.microsoft.com/office/powerpoint/2010/main" val="93873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AC8D19-7C5E-4BE1-A48A-DF03CB57AE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996D23-B8D6-4342-AE79-3F52FAC47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51D502-CF87-4BB5-81C6-F8024BE3E37F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83266" y="1628800"/>
            <a:ext cx="7525000" cy="360040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1.  Overview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315FCD-46C2-4266-BC22-FE627820B3D1}"/>
              </a:ext>
            </a:extLst>
          </p:cNvPr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r>
              <a:rPr lang="en-GB" dirty="0"/>
              <a:t>2.  Text element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6266D40-4F90-40EE-922D-D067B0E0EEF4}"/>
              </a:ext>
            </a:extLst>
          </p:cNvPr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r>
              <a:rPr lang="en-GB" dirty="0"/>
              <a:t>3.  Charts and graph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F380767-1B25-4604-A7B8-050B601AA9DC}"/>
              </a:ext>
            </a:extLst>
          </p:cNvPr>
          <p:cNvSpPr>
            <a:spLocks noGrp="1"/>
          </p:cNvSpPr>
          <p:nvPr>
            <p:ph type="body" idx="18"/>
          </p:nvPr>
        </p:nvSpPr>
        <p:spPr/>
        <p:txBody>
          <a:bodyPr/>
          <a:lstStyle/>
          <a:p>
            <a:r>
              <a:rPr lang="en-GB" dirty="0"/>
              <a:t>4.  Diagram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094506-9521-44E3-B783-DFC26F12F5C9}"/>
              </a:ext>
            </a:extLst>
          </p:cNvPr>
          <p:cNvSpPr>
            <a:spLocks noGrp="1"/>
          </p:cNvSpPr>
          <p:nvPr>
            <p:ph type="body" idx="19"/>
          </p:nvPr>
        </p:nvSpPr>
        <p:spPr/>
        <p:txBody>
          <a:bodyPr/>
          <a:lstStyle/>
          <a:p>
            <a:r>
              <a:rPr lang="en-GB" dirty="0"/>
              <a:t>5.  Tab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53B1C36-7E2B-4D7E-830B-D40EE54C45C2}"/>
              </a:ext>
            </a:extLst>
          </p:cNvPr>
          <p:cNvSpPr>
            <a:spLocks noGrp="1"/>
          </p:cNvSpPr>
          <p:nvPr>
            <p:ph type="body" idx="20"/>
          </p:nvPr>
        </p:nvSpPr>
        <p:spPr/>
        <p:txBody>
          <a:bodyPr/>
          <a:lstStyle/>
          <a:p>
            <a:r>
              <a:rPr lang="en-GB" dirty="0"/>
              <a:t>6.  Timelin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5707A82-AD0B-4D55-B6FB-BB454CF223C8}"/>
              </a:ext>
            </a:extLst>
          </p:cNvPr>
          <p:cNvSpPr>
            <a:spLocks noGrp="1"/>
          </p:cNvSpPr>
          <p:nvPr>
            <p:ph type="body" idx="2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3 - 5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869AC75-AF82-449C-B905-9777235DC350}"/>
              </a:ext>
            </a:extLst>
          </p:cNvPr>
          <p:cNvSpPr>
            <a:spLocks noGrp="1"/>
          </p:cNvSpPr>
          <p:nvPr>
            <p:ph type="body" idx="22"/>
          </p:nvPr>
        </p:nvSpPr>
        <p:spPr/>
        <p:txBody>
          <a:bodyPr/>
          <a:lstStyle/>
          <a:p>
            <a:r>
              <a:rPr lang="en-GB" dirty="0"/>
              <a:t>7 - 14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F696C2B-6A1B-443E-B3C1-C00B6CD25D52}"/>
              </a:ext>
            </a:extLst>
          </p:cNvPr>
          <p:cNvSpPr>
            <a:spLocks noGrp="1"/>
          </p:cNvSpPr>
          <p:nvPr>
            <p:ph type="body" idx="23"/>
          </p:nvPr>
        </p:nvSpPr>
        <p:spPr/>
        <p:txBody>
          <a:bodyPr/>
          <a:lstStyle/>
          <a:p>
            <a:r>
              <a:rPr lang="en-GB" dirty="0"/>
              <a:t>16 - 28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7B042C2-290F-4877-8BB2-EBE52AB8F314}"/>
              </a:ext>
            </a:extLst>
          </p:cNvPr>
          <p:cNvSpPr>
            <a:spLocks noGrp="1"/>
          </p:cNvSpPr>
          <p:nvPr>
            <p:ph type="body" idx="24"/>
          </p:nvPr>
        </p:nvSpPr>
        <p:spPr/>
        <p:txBody>
          <a:bodyPr/>
          <a:lstStyle/>
          <a:p>
            <a:r>
              <a:rPr lang="en-GB" dirty="0"/>
              <a:t>30 - 35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DF20364-900C-44B9-8358-3A71195CCF88}"/>
              </a:ext>
            </a:extLst>
          </p:cNvPr>
          <p:cNvSpPr>
            <a:spLocks noGrp="1"/>
          </p:cNvSpPr>
          <p:nvPr>
            <p:ph type="body" idx="25"/>
          </p:nvPr>
        </p:nvSpPr>
        <p:spPr/>
        <p:txBody>
          <a:bodyPr/>
          <a:lstStyle/>
          <a:p>
            <a:r>
              <a:rPr lang="en-GB" dirty="0"/>
              <a:t>37 - 38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412E04B-DAE9-4C90-A9CC-3B82D772B51B}"/>
              </a:ext>
            </a:extLst>
          </p:cNvPr>
          <p:cNvSpPr>
            <a:spLocks noGrp="1"/>
          </p:cNvSpPr>
          <p:nvPr>
            <p:ph type="body" idx="26"/>
          </p:nvPr>
        </p:nvSpPr>
        <p:spPr/>
        <p:txBody>
          <a:bodyPr/>
          <a:lstStyle/>
          <a:p>
            <a:r>
              <a:rPr lang="en-GB" dirty="0"/>
              <a:t>40 - 41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D1B32BE-4739-4C59-9A70-ECCADD16F2DB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7708266" y="1127617"/>
            <a:ext cx="1248139" cy="36004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A1FE6FD-4AF3-4227-9C6B-E088CBC06EA8}"/>
              </a:ext>
            </a:extLst>
          </p:cNvPr>
          <p:cNvSpPr txBox="1">
            <a:spLocks/>
          </p:cNvSpPr>
          <p:nvPr/>
        </p:nvSpPr>
        <p:spPr>
          <a:xfrm>
            <a:off x="188976" y="5652236"/>
            <a:ext cx="7697991" cy="360040"/>
          </a:xfrm>
          <a:prstGeom prst="rect">
            <a:avLst/>
          </a:prstGeom>
          <a:noFill/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7.  Map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4DBF04B9-BA43-4BEF-9A0B-AA152FA9D055}"/>
              </a:ext>
            </a:extLst>
          </p:cNvPr>
          <p:cNvSpPr txBox="1">
            <a:spLocks/>
          </p:cNvSpPr>
          <p:nvPr/>
        </p:nvSpPr>
        <p:spPr>
          <a:xfrm>
            <a:off x="7706885" y="5652236"/>
            <a:ext cx="1248139" cy="360040"/>
          </a:xfrm>
          <a:prstGeom prst="rect">
            <a:avLst/>
          </a:prstGeom>
          <a:noFill/>
        </p:spPr>
        <p:txBody>
          <a:bodyPr anchor="ctr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43 - 45</a:t>
            </a:r>
          </a:p>
        </p:txBody>
      </p:sp>
    </p:spTree>
    <p:extLst>
      <p:ext uri="{BB962C8B-B14F-4D97-AF65-F5344CB8AC3E}">
        <p14:creationId xmlns:p14="http://schemas.microsoft.com/office/powerpoint/2010/main" val="21067066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34FC630-5E93-4849-B99F-365755906C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CA6541-0B74-458B-A6DE-D74D228526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1</a:t>
            </a:r>
          </a:p>
          <a:p>
            <a:pPr marL="646113" lvl="1" indent="-285750">
              <a:buFont typeface="Courier New" panose="02070309020205020404" pitchFamily="49" charset="0"/>
              <a:buChar char="o"/>
            </a:pPr>
            <a:r>
              <a:rPr lang="en-GB" dirty="0"/>
              <a:t>Sub-bulle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2</a:t>
            </a:r>
          </a:p>
          <a:p>
            <a:pPr marL="646112" lvl="2" indent="-285750"/>
            <a:r>
              <a:rPr lang="en-GB" dirty="0"/>
              <a:t>Sub-bullet 2</a:t>
            </a:r>
          </a:p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44D5CF-B9D7-4F1E-937D-69DBA6F996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First subhead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B65E7-2CA2-4B15-B13E-106AF5322A75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GB" dirty="0"/>
              <a:t>Graph heading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B523535-1535-4611-A36A-E364B4668A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planation and bar chart</a:t>
            </a:r>
            <a:br>
              <a:rPr lang="en-GB" dirty="0"/>
            </a:br>
            <a:r>
              <a:rPr lang="en-GB" dirty="0"/>
              <a:t>(Layout: text and graph)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F6CBA4DB-66FE-4894-80FC-49481F2818FC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361145315"/>
              </p:ext>
            </p:extLst>
          </p:nvPr>
        </p:nvGraphicFramePr>
        <p:xfrm>
          <a:off x="4708525" y="1581150"/>
          <a:ext cx="4246563" cy="4511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0212CAE9-0BF0-4445-ABE5-31DC5F842377}"/>
              </a:ext>
            </a:extLst>
          </p:cNvPr>
          <p:cNvSpPr txBox="1"/>
          <p:nvPr/>
        </p:nvSpPr>
        <p:spPr>
          <a:xfrm>
            <a:off x="7276768" y="5996302"/>
            <a:ext cx="16381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/>
              <a:t>X axis label (with units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637EF0-4637-4EFE-AE7E-3E7200522360}"/>
              </a:ext>
            </a:extLst>
          </p:cNvPr>
          <p:cNvSpPr txBox="1"/>
          <p:nvPr/>
        </p:nvSpPr>
        <p:spPr>
          <a:xfrm>
            <a:off x="4713890" y="1649342"/>
            <a:ext cx="149271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Y axis label (with units)</a:t>
            </a:r>
          </a:p>
        </p:txBody>
      </p:sp>
    </p:spTree>
    <p:extLst>
      <p:ext uri="{BB962C8B-B14F-4D97-AF65-F5344CB8AC3E}">
        <p14:creationId xmlns:p14="http://schemas.microsoft.com/office/powerpoint/2010/main" val="23711411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1E17E75-D123-449A-B274-00B48AE450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B3EC90-2EDF-49DA-A81D-104DE10354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ar and line chart</a:t>
            </a:r>
          </a:p>
        </p:txBody>
      </p:sp>
      <p:graphicFrame>
        <p:nvGraphicFramePr>
          <p:cNvPr id="5" name="Object 35">
            <a:extLst>
              <a:ext uri="{FF2B5EF4-FFF2-40B4-BE49-F238E27FC236}">
                <a16:creationId xmlns:a16="http://schemas.microsoft.com/office/drawing/2014/main" id="{6AB8E9B7-0BD2-461B-9DB4-10BD2E4E70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6484519"/>
              </p:ext>
            </p:extLst>
          </p:nvPr>
        </p:nvGraphicFramePr>
        <p:xfrm>
          <a:off x="1193514" y="1509836"/>
          <a:ext cx="6786754" cy="3843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B342E65-FFB5-477D-A55F-F71DDAEB54BF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 flipV="1">
            <a:off x="1841211" y="1988842"/>
            <a:ext cx="5694633" cy="63910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9ED085E-DE14-4FDC-B341-B45398C02EB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280563" y="1888168"/>
            <a:ext cx="614933" cy="316695"/>
          </a:xfrm>
          <a:prstGeom prst="ellipse">
            <a:avLst/>
          </a:prstGeom>
          <a:solidFill>
            <a:schemeClr val="accent1"/>
          </a:solidFill>
          <a:ln w="9525">
            <a:noFill/>
          </a:ln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chemeClr val="bg1"/>
                </a:solidFill>
                <a:cs typeface="Arial"/>
              </a:rPr>
              <a:t>xx%</a:t>
            </a:r>
            <a:endParaRPr lang="en-US" sz="14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C59E8FD-FB9A-469F-B726-AF24A826AE2C}"/>
              </a:ext>
            </a:extLst>
          </p:cNvPr>
          <p:cNvSpPr txBox="1"/>
          <p:nvPr/>
        </p:nvSpPr>
        <p:spPr>
          <a:xfrm>
            <a:off x="662524" y="1196755"/>
            <a:ext cx="18597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Y axis label (with units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408D373-7CCF-43E7-82FA-B5A06EC33A57}"/>
              </a:ext>
            </a:extLst>
          </p:cNvPr>
          <p:cNvSpPr txBox="1"/>
          <p:nvPr/>
        </p:nvSpPr>
        <p:spPr>
          <a:xfrm>
            <a:off x="6726738" y="5353474"/>
            <a:ext cx="10921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X axis lab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17B6F5-67D8-4D51-BE26-3E32B3386E86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4406941" y="5808439"/>
            <a:ext cx="194336" cy="1333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AF1E98D-2363-4B8C-9766-457C8F3B801C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333907" y="5841781"/>
            <a:ext cx="72231" cy="66675"/>
          </a:xfrm>
          <a:prstGeom prst="ellipse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E0D5B06-4779-4AD5-A9DC-774496C408A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656310" y="5805264"/>
            <a:ext cx="448865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000" b="0" dirty="0">
                <a:cs typeface="Arial"/>
              </a:rPr>
              <a:t>Label 1</a:t>
            </a:r>
            <a:endParaRPr lang="en-US" sz="1000" b="0" dirty="0">
              <a:latin typeface="Arial"/>
              <a:cs typeface="Arial"/>
              <a:sym typeface="Arial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45CA4A4-96D7-470B-BC01-66DDA15ADA0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579838" y="5805264"/>
            <a:ext cx="206375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000" b="0" dirty="0">
                <a:cs typeface="Arial"/>
              </a:rPr>
              <a:t>Label 2</a:t>
            </a:r>
            <a:endParaRPr lang="en-US" sz="1000" b="0" dirty="0"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768517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F791200-7F49-40A9-89E2-53E307D37E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A7406B-A6AA-4269-8A41-98B93D5D316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AAF8D1-9D38-4D72-9D92-39727A2455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89298F-F31A-47FD-8A83-57C2DAF260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Graph head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68DE70-46AE-4EA0-992F-0E82D9097343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GB" dirty="0"/>
              <a:t>Graph heading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60565EB-0FA5-423C-AD99-29E544791A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ar and line chart 2</a:t>
            </a:r>
          </a:p>
        </p:txBody>
      </p:sp>
      <p:graphicFrame>
        <p:nvGraphicFramePr>
          <p:cNvPr id="8" name="Object 8">
            <a:extLst>
              <a:ext uri="{FF2B5EF4-FFF2-40B4-BE49-F238E27FC236}">
                <a16:creationId xmlns:a16="http://schemas.microsoft.com/office/drawing/2014/main" id="{523446FB-6359-470E-B65C-4A3F20AE87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882281"/>
              </p:ext>
            </p:extLst>
          </p:nvPr>
        </p:nvGraphicFramePr>
        <p:xfrm>
          <a:off x="188976" y="1983445"/>
          <a:ext cx="3969656" cy="2841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9A34BD3-B1B1-4A0C-A979-0C969B50087D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186543" y="1652020"/>
            <a:ext cx="1317360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0" dirty="0"/>
              <a:t>Y axis label (with units)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745FBFC-3822-45BC-B32D-7432F59D3B9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232773" y="4885547"/>
            <a:ext cx="858095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0" dirty="0"/>
              <a:t>X axis label</a:t>
            </a:r>
          </a:p>
        </p:txBody>
      </p:sp>
      <p:graphicFrame>
        <p:nvGraphicFramePr>
          <p:cNvPr id="11" name="Object 23">
            <a:extLst>
              <a:ext uri="{FF2B5EF4-FFF2-40B4-BE49-F238E27FC236}">
                <a16:creationId xmlns:a16="http://schemas.microsoft.com/office/drawing/2014/main" id="{47D6AE79-BE2C-4C94-AAE0-9ADB96D4DAAF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04582481"/>
              </p:ext>
            </p:extLst>
          </p:nvPr>
        </p:nvGraphicFramePr>
        <p:xfrm>
          <a:off x="5015515" y="1950733"/>
          <a:ext cx="3841913" cy="2841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4C7AE10-797D-4E4A-B3B6-D851D0E1D78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925366" y="1652020"/>
            <a:ext cx="1317360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0" dirty="0"/>
              <a:t>Y axis label (with units)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1DCFC56-CB52-41FF-A315-1850BCA6B38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999333" y="4885547"/>
            <a:ext cx="858095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0" dirty="0"/>
              <a:t>X axis label</a:t>
            </a:r>
          </a:p>
        </p:txBody>
      </p:sp>
    </p:spTree>
    <p:extLst>
      <p:ext uri="{BB962C8B-B14F-4D97-AF65-F5344CB8AC3E}">
        <p14:creationId xmlns:p14="http://schemas.microsoft.com/office/powerpoint/2010/main" val="156284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45725AC-90AB-409C-AA8A-DB24CF83DB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798ACF0-7C24-441E-B9A1-A23419D31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catter cha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FEB480-BBA2-4B59-858D-80D3A1CE2779}"/>
              </a:ext>
            </a:extLst>
          </p:cNvPr>
          <p:cNvSpPr txBox="1"/>
          <p:nvPr/>
        </p:nvSpPr>
        <p:spPr>
          <a:xfrm>
            <a:off x="662524" y="1148315"/>
            <a:ext cx="18597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Y axis label (with units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A081006-D801-43C3-8A44-ACE83DCD5E96}"/>
              </a:ext>
            </a:extLst>
          </p:cNvPr>
          <p:cNvSpPr txBox="1"/>
          <p:nvPr/>
        </p:nvSpPr>
        <p:spPr>
          <a:xfrm>
            <a:off x="6279149" y="5498413"/>
            <a:ext cx="21842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X axis label (with units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64C5C3F6-92A5-4321-A84B-62F0BCB85A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3349208"/>
              </p:ext>
            </p:extLst>
          </p:nvPr>
        </p:nvGraphicFramePr>
        <p:xfrm>
          <a:off x="1286211" y="1425257"/>
          <a:ext cx="6604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6468970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9FD57D3-5918-4770-BE33-0E3B9166B0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90F9C3D-5C46-4A84-AB5E-4E15617800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bble chart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EC35B339-399B-418E-9597-3CDD5126A0B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6887540"/>
              </p:ext>
            </p:extLst>
          </p:nvPr>
        </p:nvGraphicFramePr>
        <p:xfrm>
          <a:off x="570874" y="1484784"/>
          <a:ext cx="8034893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63C7875F-4600-4908-BD77-D0A313D0FE42}"/>
              </a:ext>
            </a:extLst>
          </p:cNvPr>
          <p:cNvSpPr txBox="1"/>
          <p:nvPr/>
        </p:nvSpPr>
        <p:spPr>
          <a:xfrm>
            <a:off x="130137" y="1249018"/>
            <a:ext cx="18597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Y axis label (with units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7D8A05-7B00-4C14-BA28-D6DA289F2D32}"/>
              </a:ext>
            </a:extLst>
          </p:cNvPr>
          <p:cNvSpPr txBox="1"/>
          <p:nvPr/>
        </p:nvSpPr>
        <p:spPr>
          <a:xfrm>
            <a:off x="6903218" y="5569498"/>
            <a:ext cx="20282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X axis label (with units)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231F467-E840-4D7B-A5D7-222E4AE86EB2}"/>
              </a:ext>
            </a:extLst>
          </p:cNvPr>
          <p:cNvSpPr/>
          <p:nvPr/>
        </p:nvSpPr>
        <p:spPr>
          <a:xfrm>
            <a:off x="4055931" y="5741456"/>
            <a:ext cx="273001" cy="252000"/>
          </a:xfrm>
          <a:prstGeom prst="ellipse">
            <a:avLst/>
          </a:prstGeom>
          <a:solidFill>
            <a:srgbClr val="00B0F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6335BB2-3D26-4C55-B775-57D0873E97E1}"/>
              </a:ext>
            </a:extLst>
          </p:cNvPr>
          <p:cNvSpPr txBox="1"/>
          <p:nvPr/>
        </p:nvSpPr>
        <p:spPr>
          <a:xfrm>
            <a:off x="4328932" y="5721897"/>
            <a:ext cx="20282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= Xxx (with units)</a:t>
            </a:r>
          </a:p>
        </p:txBody>
      </p:sp>
    </p:spTree>
    <p:extLst>
      <p:ext uri="{BB962C8B-B14F-4D97-AF65-F5344CB8AC3E}">
        <p14:creationId xmlns:p14="http://schemas.microsoft.com/office/powerpoint/2010/main" val="408978391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9B017DF-BD81-49EC-8893-5A893791F4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E0E656F-85C8-412E-8226-3C7D473EC9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aterfall chart</a:t>
            </a:r>
          </a:p>
        </p:txBody>
      </p:sp>
      <p:graphicFrame>
        <p:nvGraphicFramePr>
          <p:cNvPr id="5" name="Object 60">
            <a:extLst>
              <a:ext uri="{FF2B5EF4-FFF2-40B4-BE49-F238E27FC236}">
                <a16:creationId xmlns:a16="http://schemas.microsoft.com/office/drawing/2014/main" id="{8CCD81EC-AAFE-4ADC-8C63-B27C0778D2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1786957"/>
              </p:ext>
            </p:extLst>
          </p:nvPr>
        </p:nvGraphicFramePr>
        <p:xfrm>
          <a:off x="864143" y="1881166"/>
          <a:ext cx="7422498" cy="3203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B8713537-68AD-4E6A-84F1-686B0A55BB7C}"/>
              </a:ext>
            </a:extLst>
          </p:cNvPr>
          <p:cNvSpPr txBox="1"/>
          <p:nvPr/>
        </p:nvSpPr>
        <p:spPr>
          <a:xfrm>
            <a:off x="172272" y="1583214"/>
            <a:ext cx="18597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Y axis label (with units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3E8A6CD-EDD1-456D-99EE-1D5E5AF918FD}"/>
              </a:ext>
            </a:extLst>
          </p:cNvPr>
          <p:cNvSpPr txBox="1"/>
          <p:nvPr/>
        </p:nvSpPr>
        <p:spPr>
          <a:xfrm>
            <a:off x="7466394" y="5168732"/>
            <a:ext cx="10921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X axis label</a:t>
            </a:r>
          </a:p>
        </p:txBody>
      </p:sp>
    </p:spTree>
    <p:extLst>
      <p:ext uri="{BB962C8B-B14F-4D97-AF65-F5344CB8AC3E}">
        <p14:creationId xmlns:p14="http://schemas.microsoft.com/office/powerpoint/2010/main" val="338071989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DC5F413-1890-4719-9AC7-95A8A655E2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DA53C38-7EB7-42BD-8DE5-CE16D346E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cked % bar chart</a:t>
            </a:r>
          </a:p>
        </p:txBody>
      </p:sp>
      <p:graphicFrame>
        <p:nvGraphicFramePr>
          <p:cNvPr id="5" name="Object 5">
            <a:extLst>
              <a:ext uri="{FF2B5EF4-FFF2-40B4-BE49-F238E27FC236}">
                <a16:creationId xmlns:a16="http://schemas.microsoft.com/office/drawing/2014/main" id="{8C0CD4CA-66C1-41B9-A818-CDC9BE0DE3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1376992"/>
              </p:ext>
            </p:extLst>
          </p:nvPr>
        </p:nvGraphicFramePr>
        <p:xfrm>
          <a:off x="438051" y="1709641"/>
          <a:ext cx="8316911" cy="35195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CA29B2D-57B0-47AB-AEC9-90810CA6AEFE}"/>
              </a:ext>
            </a:extLst>
          </p:cNvPr>
          <p:cNvSpPr txBox="1"/>
          <p:nvPr/>
        </p:nvSpPr>
        <p:spPr>
          <a:xfrm>
            <a:off x="873728" y="1412779"/>
            <a:ext cx="18597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Y axis label (with units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7921631-39BD-4A6D-9EE0-BB875B15DBC1}"/>
              </a:ext>
            </a:extLst>
          </p:cNvPr>
          <p:cNvSpPr txBox="1"/>
          <p:nvPr/>
        </p:nvSpPr>
        <p:spPr>
          <a:xfrm>
            <a:off x="6960765" y="5301211"/>
            <a:ext cx="10921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X axis label</a:t>
            </a:r>
          </a:p>
        </p:txBody>
      </p:sp>
      <p:sp>
        <p:nvSpPr>
          <p:cNvPr id="8" name="Rectangle 27">
            <a:extLst>
              <a:ext uri="{FF2B5EF4-FFF2-40B4-BE49-F238E27FC236}">
                <a16:creationId xmlns:a16="http://schemas.microsoft.com/office/drawing/2014/main" id="{24FC41C8-B9DF-41BE-B458-278D12E36A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7940" y="2001740"/>
            <a:ext cx="2175694" cy="2106797"/>
          </a:xfrm>
          <a:prstGeom prst="rect">
            <a:avLst/>
          </a:prstGeom>
          <a:noFill/>
          <a:ln w="38100" algn="ctr">
            <a:solidFill>
              <a:srgbClr val="FF0000"/>
            </a:solidFill>
            <a:prstDash val="dash"/>
            <a:miter lim="800000"/>
            <a:headEnd type="none" w="lg" len="lg"/>
            <a:tailEnd type="none" w="lg" len="lg"/>
          </a:ln>
          <a:effec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634539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2E9914A-73A3-46CC-979C-AD25042587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9F8F397-F2CB-4718-B915-D2B32FC6E4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ea chart</a:t>
            </a:r>
          </a:p>
        </p:txBody>
      </p:sp>
      <p:graphicFrame>
        <p:nvGraphicFramePr>
          <p:cNvPr id="5" name="Object 92">
            <a:extLst>
              <a:ext uri="{FF2B5EF4-FFF2-40B4-BE49-F238E27FC236}">
                <a16:creationId xmlns:a16="http://schemas.microsoft.com/office/drawing/2014/main" id="{739A9C6C-DC5E-4865-B001-4EDFADC6A0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9533100"/>
              </p:ext>
            </p:extLst>
          </p:nvPr>
        </p:nvGraphicFramePr>
        <p:xfrm>
          <a:off x="286744" y="1365388"/>
          <a:ext cx="8580953" cy="41518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90BEFD4-3E70-4836-AEDA-833CC9507408}"/>
              </a:ext>
            </a:extLst>
          </p:cNvPr>
          <p:cNvSpPr txBox="1"/>
          <p:nvPr/>
        </p:nvSpPr>
        <p:spPr>
          <a:xfrm>
            <a:off x="-25291" y="1124747"/>
            <a:ext cx="18597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Y axis label (with units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DE3E06-7CAE-49AD-80AB-258BB2CFF0CB}"/>
              </a:ext>
            </a:extLst>
          </p:cNvPr>
          <p:cNvSpPr txBox="1"/>
          <p:nvPr/>
        </p:nvSpPr>
        <p:spPr>
          <a:xfrm>
            <a:off x="6500123" y="5569498"/>
            <a:ext cx="11974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X axis label</a:t>
            </a:r>
          </a:p>
        </p:txBody>
      </p:sp>
    </p:spTree>
    <p:extLst>
      <p:ext uri="{BB962C8B-B14F-4D97-AF65-F5344CB8AC3E}">
        <p14:creationId xmlns:p14="http://schemas.microsoft.com/office/powerpoint/2010/main" val="233862598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2E0EF69-C575-4E02-A866-9BF61714C7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9AA9554-4ADC-4173-B6D7-6042AF267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rvey web chart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C7717EC-DF5C-4924-878B-42388AF2AE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46814763"/>
              </p:ext>
            </p:extLst>
          </p:nvPr>
        </p:nvGraphicFramePr>
        <p:xfrm>
          <a:off x="83476" y="1218656"/>
          <a:ext cx="8970997" cy="44960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21620440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E8A379E-A115-4352-863C-AAA01EB03D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0D3DE6-2A4C-48CD-86EB-B75BD0C550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entric circles with explanation boxes</a:t>
            </a:r>
          </a:p>
        </p:txBody>
      </p:sp>
      <p:sp>
        <p:nvSpPr>
          <p:cNvPr id="14" name="Oval 8">
            <a:extLst>
              <a:ext uri="{FF2B5EF4-FFF2-40B4-BE49-F238E27FC236}">
                <a16:creationId xmlns:a16="http://schemas.microsoft.com/office/drawing/2014/main" id="{9C155DF8-6BFA-40AB-BDBE-42C721735D94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2694480" y="1628800"/>
            <a:ext cx="3780000" cy="37800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accent3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Oval 9">
            <a:extLst>
              <a:ext uri="{FF2B5EF4-FFF2-40B4-BE49-F238E27FC236}">
                <a16:creationId xmlns:a16="http://schemas.microsoft.com/office/drawing/2014/main" id="{DD760EA6-8998-42FE-A876-C11680790675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3144480" y="2078800"/>
            <a:ext cx="2880000" cy="2880000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chemeClr val="accent3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95785" tIns="47893" rIns="95785" bIns="47893"/>
          <a:lstStyle/>
          <a:p>
            <a:pPr algn="ctr" eaLnBrk="0" hangingPunct="0">
              <a:spcAft>
                <a:spcPts val="600"/>
              </a:spcAft>
            </a:pPr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Oval 10">
            <a:extLst>
              <a:ext uri="{FF2B5EF4-FFF2-40B4-BE49-F238E27FC236}">
                <a16:creationId xmlns:a16="http://schemas.microsoft.com/office/drawing/2014/main" id="{3BF06AAB-114C-4336-A528-95B13506878B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3594480" y="2528800"/>
            <a:ext cx="1980000" cy="19800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accent3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95785" tIns="47893" rIns="95785" bIns="47893"/>
          <a:lstStyle/>
          <a:p>
            <a:pPr algn="ctr" eaLnBrk="0" hangingPunct="0">
              <a:spcAft>
                <a:spcPts val="600"/>
              </a:spcAft>
            </a:pPr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Oval 11">
            <a:extLst>
              <a:ext uri="{FF2B5EF4-FFF2-40B4-BE49-F238E27FC236}">
                <a16:creationId xmlns:a16="http://schemas.microsoft.com/office/drawing/2014/main" id="{8406513E-A657-4F44-BD57-27AC8639F4F8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4044480" y="2978800"/>
            <a:ext cx="1080000" cy="10800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accent3">
                <a:lumMod val="75000"/>
              </a:schemeClr>
            </a:solidFill>
            <a:round/>
            <a:headEnd/>
            <a:tailEnd/>
          </a:ln>
          <a:effectLst/>
        </p:spPr>
        <p:txBody>
          <a:bodyPr lIns="36000" tIns="36000" rIns="36000" bIns="36000" anchor="ctr"/>
          <a:lstStyle/>
          <a:p>
            <a:pPr algn="ctr" eaLnBrk="0" hangingPunct="0"/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2">
            <a:extLst>
              <a:ext uri="{FF2B5EF4-FFF2-40B4-BE49-F238E27FC236}">
                <a16:creationId xmlns:a16="http://schemas.microsoft.com/office/drawing/2014/main" id="{A80A8328-46D9-498B-8617-EEAC8A5CC91A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4065190" y="2067446"/>
            <a:ext cx="1041138" cy="425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</a:t>
            </a:r>
          </a:p>
        </p:txBody>
      </p:sp>
      <p:sp>
        <p:nvSpPr>
          <p:cNvPr id="19" name="Rectangle 21">
            <a:extLst>
              <a:ext uri="{FF2B5EF4-FFF2-40B4-BE49-F238E27FC236}">
                <a16:creationId xmlns:a16="http://schemas.microsoft.com/office/drawing/2014/main" id="{7E18249C-DAB6-4D6B-9F4C-0CC94E4FA8D5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4026208" y="3284984"/>
            <a:ext cx="1092573" cy="4238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</a:t>
            </a:r>
          </a:p>
        </p:txBody>
      </p:sp>
      <p:sp>
        <p:nvSpPr>
          <p:cNvPr id="20" name="Rectangle 22">
            <a:extLst>
              <a:ext uri="{FF2B5EF4-FFF2-40B4-BE49-F238E27FC236}">
                <a16:creationId xmlns:a16="http://schemas.microsoft.com/office/drawing/2014/main" id="{05A81ED8-5C36-4D5C-B385-0B056866A019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4026208" y="2574677"/>
            <a:ext cx="1097893" cy="4222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</a:t>
            </a:r>
          </a:p>
        </p:txBody>
      </p:sp>
      <p:sp>
        <p:nvSpPr>
          <p:cNvPr id="21" name="Rectangle 23">
            <a:extLst>
              <a:ext uri="{FF2B5EF4-FFF2-40B4-BE49-F238E27FC236}">
                <a16:creationId xmlns:a16="http://schemas.microsoft.com/office/drawing/2014/main" id="{40351E39-BDEA-4131-B7C3-F59DE33CF19A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3907686" y="1628800"/>
            <a:ext cx="1342658" cy="4222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</a:t>
            </a:r>
          </a:p>
        </p:txBody>
      </p:sp>
      <p:sp>
        <p:nvSpPr>
          <p:cNvPr id="22" name="Line 13">
            <a:extLst>
              <a:ext uri="{FF2B5EF4-FFF2-40B4-BE49-F238E27FC236}">
                <a16:creationId xmlns:a16="http://schemas.microsoft.com/office/drawing/2014/main" id="{3C0B735F-F06B-440C-9436-4F72D2D51DE4}"/>
              </a:ext>
            </a:extLst>
          </p:cNvPr>
          <p:cNvSpPr>
            <a:spLocks noChangeShapeType="1"/>
          </p:cNvSpPr>
          <p:nvPr/>
        </p:nvSpPr>
        <p:spPr bwMode="ltGray">
          <a:xfrm rot="10800000" flipH="1">
            <a:off x="2396219" y="4013697"/>
            <a:ext cx="1540863" cy="51819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none" w="med" len="med"/>
          </a:ln>
          <a:effectLst/>
        </p:spPr>
        <p:txBody>
          <a:bodyPr wrap="none" anchor="ctr"/>
          <a:lstStyle/>
          <a:p>
            <a:pPr algn="ctr"/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Line 14">
            <a:extLst>
              <a:ext uri="{FF2B5EF4-FFF2-40B4-BE49-F238E27FC236}">
                <a16:creationId xmlns:a16="http://schemas.microsoft.com/office/drawing/2014/main" id="{B41E1927-DC2B-4DAE-B4CB-D5309C7B450F}"/>
              </a:ext>
            </a:extLst>
          </p:cNvPr>
          <p:cNvSpPr>
            <a:spLocks noChangeShapeType="1"/>
          </p:cNvSpPr>
          <p:nvPr/>
        </p:nvSpPr>
        <p:spPr bwMode="ltGray">
          <a:xfrm flipH="1" flipV="1">
            <a:off x="6169226" y="4152481"/>
            <a:ext cx="667495" cy="38734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none" w="med" len="med"/>
          </a:ln>
          <a:effectLst/>
        </p:spPr>
        <p:txBody>
          <a:bodyPr wrap="none" anchor="ctr"/>
          <a:lstStyle/>
          <a:p>
            <a:pPr algn="ctr"/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6">
            <a:extLst>
              <a:ext uri="{FF2B5EF4-FFF2-40B4-BE49-F238E27FC236}">
                <a16:creationId xmlns:a16="http://schemas.microsoft.com/office/drawing/2014/main" id="{58379E70-D83A-4E1E-919C-CEE944CAC4E4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6836721" y="3928641"/>
            <a:ext cx="2019180" cy="103015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chemeClr val="accent3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108000" tIns="32400" rIns="108000" bIns="32400" anchor="ctr"/>
          <a:lstStyle/>
          <a:p>
            <a:pPr algn="ctr" eaLnBrk="0" hangingPunct="0">
              <a:lnSpc>
                <a:spcPct val="95000"/>
              </a:lnSpc>
            </a:pP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</a:t>
            </a:r>
          </a:p>
        </p:txBody>
      </p:sp>
      <p:sp>
        <p:nvSpPr>
          <p:cNvPr id="25" name="Line 17">
            <a:extLst>
              <a:ext uri="{FF2B5EF4-FFF2-40B4-BE49-F238E27FC236}">
                <a16:creationId xmlns:a16="http://schemas.microsoft.com/office/drawing/2014/main" id="{3820E3C6-3CC8-451E-9762-0AF01644AB36}"/>
              </a:ext>
            </a:extLst>
          </p:cNvPr>
          <p:cNvSpPr>
            <a:spLocks noChangeShapeType="1"/>
          </p:cNvSpPr>
          <p:nvPr/>
        </p:nvSpPr>
        <p:spPr bwMode="ltGray">
          <a:xfrm>
            <a:off x="2387621" y="2377655"/>
            <a:ext cx="2082668" cy="99059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none" w="med" len="med"/>
          </a:ln>
          <a:effectLst/>
        </p:spPr>
        <p:txBody>
          <a:bodyPr wrap="none" anchor="ctr"/>
          <a:lstStyle/>
          <a:p>
            <a:pPr algn="ctr"/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Line 18">
            <a:extLst>
              <a:ext uri="{FF2B5EF4-FFF2-40B4-BE49-F238E27FC236}">
                <a16:creationId xmlns:a16="http://schemas.microsoft.com/office/drawing/2014/main" id="{C408B4E7-5495-48CB-A107-ADA4D295A733}"/>
              </a:ext>
            </a:extLst>
          </p:cNvPr>
          <p:cNvSpPr>
            <a:spLocks noChangeShapeType="1"/>
          </p:cNvSpPr>
          <p:nvPr/>
        </p:nvSpPr>
        <p:spPr bwMode="ltGray">
          <a:xfrm flipH="1">
            <a:off x="5672601" y="2377654"/>
            <a:ext cx="1164120" cy="6842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none" w="med" len="med"/>
          </a:ln>
          <a:effectLst/>
        </p:spPr>
        <p:txBody>
          <a:bodyPr wrap="none" anchor="ctr"/>
          <a:lstStyle/>
          <a:p>
            <a:pPr algn="ctr"/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ectangle 15">
            <a:extLst>
              <a:ext uri="{FF2B5EF4-FFF2-40B4-BE49-F238E27FC236}">
                <a16:creationId xmlns:a16="http://schemas.microsoft.com/office/drawing/2014/main" id="{D05DFE02-52A6-428A-BFA0-EA998A0AF28E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304955" y="4182643"/>
            <a:ext cx="2085536" cy="99059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108000" tIns="32400" rIns="108000" bIns="32400" anchor="ctr"/>
          <a:lstStyle/>
          <a:p>
            <a:pPr algn="ctr" eaLnBrk="0" hangingPunct="0">
              <a:lnSpc>
                <a:spcPct val="95000"/>
              </a:lnSpc>
            </a:pP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</a:t>
            </a:r>
            <a:endParaRPr 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19">
            <a:extLst>
              <a:ext uri="{FF2B5EF4-FFF2-40B4-BE49-F238E27FC236}">
                <a16:creationId xmlns:a16="http://schemas.microsoft.com/office/drawing/2014/main" id="{19DC1BFF-A51B-4669-AF33-9BD9B93BEA4B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304955" y="2020468"/>
            <a:ext cx="2082668" cy="99059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108000" tIns="32400" rIns="108000" bIns="32400" anchor="ctr"/>
          <a:lstStyle/>
          <a:p>
            <a:pPr algn="ctr" eaLnBrk="0" hangingPunct="0">
              <a:lnSpc>
                <a:spcPct val="95000"/>
              </a:lnSpc>
            </a:pP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</a:t>
            </a:r>
          </a:p>
        </p:txBody>
      </p:sp>
      <p:sp>
        <p:nvSpPr>
          <p:cNvPr id="29" name="Rectangle 20">
            <a:extLst>
              <a:ext uri="{FF2B5EF4-FFF2-40B4-BE49-F238E27FC236}">
                <a16:creationId xmlns:a16="http://schemas.microsoft.com/office/drawing/2014/main" id="{DD4153D0-83E9-42B1-9C73-CBF9BB16EF6E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6845320" y="1987256"/>
            <a:ext cx="2019180" cy="103016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3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108000" tIns="32400" rIns="108000" bIns="32400" anchor="ctr"/>
          <a:lstStyle/>
          <a:p>
            <a:pPr algn="ctr" eaLnBrk="0" hangingPunct="0">
              <a:lnSpc>
                <a:spcPct val="95000"/>
              </a:lnSpc>
            </a:pP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13430685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E3124D6-0E78-4C36-8B8E-D81A28E6A7D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en-GB" sz="1600" b="1" dirty="0"/>
              <a:t>The purpose of this guide is twofold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GB" sz="1600" dirty="0"/>
              <a:t>To provide a new, consistent ‘Slide Master’ across the NHS Group. The ‘new slide’ templates have been redesigned, and this will help to standardise fonts, layouts and slide designs across teams and projects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GB" sz="1600" dirty="0"/>
              <a:t>To provide a set of slide templates for ‘drag and drop’ use into individuals’ own PowerPoint presentations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endParaRPr lang="en-GB" sz="1600" dirty="0"/>
          </a:p>
          <a:p>
            <a:pPr marL="0" indent="0">
              <a:spcBef>
                <a:spcPts val="600"/>
              </a:spcBef>
              <a:buNone/>
            </a:pPr>
            <a:r>
              <a:rPr lang="en-GB" sz="1600" b="1" dirty="0"/>
              <a:t>Using the guide</a:t>
            </a:r>
          </a:p>
          <a:p>
            <a:pPr marL="285750" indent="-285750">
              <a:spcBef>
                <a:spcPts val="600"/>
              </a:spcBef>
            </a:pPr>
            <a:r>
              <a:rPr lang="en-GB" sz="1600" dirty="0"/>
              <a:t>Whenever you start a new PowerPoint document, </a:t>
            </a:r>
            <a:r>
              <a:rPr lang="en-GB" sz="1600" b="1" u="sng" dirty="0"/>
              <a:t>use this new template as a starting point.</a:t>
            </a:r>
            <a:r>
              <a:rPr lang="en-GB" sz="1600" dirty="0"/>
              <a:t> Save a new version of this document to the relevant folder, and begin to edit the content from there</a:t>
            </a:r>
          </a:p>
          <a:p>
            <a:pPr marL="285750" indent="-285750">
              <a:spcBef>
                <a:spcPts val="600"/>
              </a:spcBef>
            </a:pPr>
            <a:r>
              <a:rPr lang="en-GB" sz="1600" dirty="0"/>
              <a:t>To use any of the pre-made templates in this pack, copy the relevant </a:t>
            </a:r>
            <a:r>
              <a:rPr lang="en-GB" sz="1600" b="1" u="sng" dirty="0"/>
              <a:t>whole slide</a:t>
            </a:r>
            <a:r>
              <a:rPr lang="en-GB" sz="1600" b="1" dirty="0"/>
              <a:t> </a:t>
            </a:r>
            <a:r>
              <a:rPr lang="en-GB" sz="1600" dirty="0"/>
              <a:t>from this document into your newly created document, and edit accordingly</a:t>
            </a:r>
          </a:p>
          <a:p>
            <a:pPr marL="285750" indent="-285750">
              <a:spcBef>
                <a:spcPts val="600"/>
              </a:spcBef>
            </a:pPr>
            <a:r>
              <a:rPr lang="en-GB" sz="1600" dirty="0"/>
              <a:t>Where appropriate, ‘how to’ explanations of each graph or diagram have been included in the Notes section of each slide</a:t>
            </a:r>
          </a:p>
          <a:p>
            <a:pPr marL="646113" lvl="1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GB" sz="1600" dirty="0"/>
              <a:t>If you copy over templates into your own pack, make sure to delete these notes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918DD4-D10B-4C52-BF7F-E57AD4091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F16715F-C069-43B4-B2AC-0E3C42F416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to use this guide</a:t>
            </a:r>
          </a:p>
        </p:txBody>
      </p:sp>
    </p:spTree>
    <p:extLst>
      <p:ext uri="{BB962C8B-B14F-4D97-AF65-F5344CB8AC3E}">
        <p14:creationId xmlns:p14="http://schemas.microsoft.com/office/powerpoint/2010/main" val="276096789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AC8D19-7C5E-4BE1-A48A-DF03CB57AE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996D23-B8D6-4342-AE79-3F52FAC47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51D502-CF87-4BB5-81C6-F8024BE3E37F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83266" y="1628800"/>
            <a:ext cx="7525000" cy="360040"/>
          </a:xfrm>
          <a:noFill/>
        </p:spPr>
        <p:txBody>
          <a:bodyPr/>
          <a:lstStyle/>
          <a:p>
            <a:pPr marL="0" indent="0">
              <a:buNone/>
            </a:pPr>
            <a:r>
              <a:rPr lang="en-GB" dirty="0">
                <a:solidFill>
                  <a:schemeClr val="tx1"/>
                </a:solidFill>
              </a:rPr>
              <a:t>1.  Overview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315FCD-46C2-4266-BC22-FE627820B3D1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noFill/>
        </p:spPr>
        <p:txBody>
          <a:bodyPr/>
          <a:lstStyle/>
          <a:p>
            <a:r>
              <a:rPr lang="en-GB" dirty="0"/>
              <a:t>2.  Text element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6266D40-4F90-40EE-922D-D067B0E0EEF4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noFill/>
        </p:spPr>
        <p:txBody>
          <a:bodyPr/>
          <a:lstStyle/>
          <a:p>
            <a:r>
              <a:rPr lang="en-GB" dirty="0"/>
              <a:t>3.  Charts and graph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F380767-1B25-4604-A7B8-050B601AA9DC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solidFill>
            <a:schemeClr val="accent1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4.  Diagram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094506-9521-44E3-B783-DFC26F12F5C9}"/>
              </a:ext>
            </a:extLst>
          </p:cNvPr>
          <p:cNvSpPr>
            <a:spLocks noGrp="1"/>
          </p:cNvSpPr>
          <p:nvPr>
            <p:ph type="body" idx="19"/>
          </p:nvPr>
        </p:nvSpPr>
        <p:spPr/>
        <p:txBody>
          <a:bodyPr/>
          <a:lstStyle/>
          <a:p>
            <a:r>
              <a:rPr lang="en-GB" dirty="0"/>
              <a:t>5.  Tab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53B1C36-7E2B-4D7E-830B-D40EE54C45C2}"/>
              </a:ext>
            </a:extLst>
          </p:cNvPr>
          <p:cNvSpPr>
            <a:spLocks noGrp="1"/>
          </p:cNvSpPr>
          <p:nvPr>
            <p:ph type="body" idx="20"/>
          </p:nvPr>
        </p:nvSpPr>
        <p:spPr/>
        <p:txBody>
          <a:bodyPr/>
          <a:lstStyle/>
          <a:p>
            <a:r>
              <a:rPr lang="en-GB" dirty="0"/>
              <a:t>6.  Timelin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5707A82-AD0B-4D55-B6FB-BB454CF223C8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noFill/>
        </p:spPr>
        <p:txBody>
          <a:bodyPr/>
          <a:lstStyle/>
          <a:p>
            <a:pPr marL="0" indent="0">
              <a:buNone/>
            </a:pPr>
            <a:r>
              <a:rPr lang="en-GB" dirty="0">
                <a:solidFill>
                  <a:schemeClr val="tx1"/>
                </a:solidFill>
              </a:rPr>
              <a:t>3 - 5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869AC75-AF82-449C-B905-9777235DC350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noFill/>
          <a:ln>
            <a:noFill/>
          </a:ln>
        </p:spPr>
        <p:txBody>
          <a:bodyPr/>
          <a:lstStyle/>
          <a:p>
            <a:r>
              <a:rPr lang="en-GB" dirty="0"/>
              <a:t>7 - 14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F696C2B-6A1B-443E-B3C1-C00B6CD25D52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noFill/>
        </p:spPr>
        <p:txBody>
          <a:bodyPr/>
          <a:lstStyle/>
          <a:p>
            <a:r>
              <a:rPr lang="en-GB" dirty="0"/>
              <a:t>16 - 28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7B042C2-290F-4877-8BB2-EBE52AB8F314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solidFill>
            <a:schemeClr val="accent1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30 - 35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DF20364-900C-44B9-8358-3A71195CCF88}"/>
              </a:ext>
            </a:extLst>
          </p:cNvPr>
          <p:cNvSpPr>
            <a:spLocks noGrp="1"/>
          </p:cNvSpPr>
          <p:nvPr>
            <p:ph type="body" idx="25"/>
          </p:nvPr>
        </p:nvSpPr>
        <p:spPr/>
        <p:txBody>
          <a:bodyPr/>
          <a:lstStyle/>
          <a:p>
            <a:r>
              <a:rPr lang="en-GB" dirty="0"/>
              <a:t>37 - 38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412E04B-DAE9-4C90-A9CC-3B82D772B51B}"/>
              </a:ext>
            </a:extLst>
          </p:cNvPr>
          <p:cNvSpPr>
            <a:spLocks noGrp="1"/>
          </p:cNvSpPr>
          <p:nvPr>
            <p:ph type="body" idx="26"/>
          </p:nvPr>
        </p:nvSpPr>
        <p:spPr/>
        <p:txBody>
          <a:bodyPr/>
          <a:lstStyle/>
          <a:p>
            <a:r>
              <a:rPr lang="en-GB" dirty="0"/>
              <a:t>40 - 41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D1B32BE-4739-4C59-9A70-ECCADD16F2DB}"/>
              </a:ext>
            </a:extLst>
          </p:cNvPr>
          <p:cNvSpPr>
            <a:spLocks noGrp="1"/>
          </p:cNvSpPr>
          <p:nvPr>
            <p:ph type="body" idx="2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A1FE6FD-4AF3-4227-9C6B-E088CBC06EA8}"/>
              </a:ext>
            </a:extLst>
          </p:cNvPr>
          <p:cNvSpPr txBox="1">
            <a:spLocks/>
          </p:cNvSpPr>
          <p:nvPr/>
        </p:nvSpPr>
        <p:spPr>
          <a:xfrm>
            <a:off x="188976" y="5652236"/>
            <a:ext cx="7697991" cy="360040"/>
          </a:xfrm>
          <a:prstGeom prst="rect">
            <a:avLst/>
          </a:prstGeom>
          <a:noFill/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7.  Map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85C73A8F-2178-4013-A058-946B2EA48335}"/>
              </a:ext>
            </a:extLst>
          </p:cNvPr>
          <p:cNvSpPr txBox="1">
            <a:spLocks/>
          </p:cNvSpPr>
          <p:nvPr/>
        </p:nvSpPr>
        <p:spPr>
          <a:xfrm>
            <a:off x="7706885" y="5652236"/>
            <a:ext cx="1248139" cy="360040"/>
          </a:xfrm>
          <a:prstGeom prst="rect">
            <a:avLst/>
          </a:prstGeom>
          <a:noFill/>
        </p:spPr>
        <p:txBody>
          <a:bodyPr anchor="ctr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43 - 45</a:t>
            </a:r>
          </a:p>
        </p:txBody>
      </p:sp>
    </p:spTree>
    <p:extLst>
      <p:ext uri="{BB962C8B-B14F-4D97-AF65-F5344CB8AC3E}">
        <p14:creationId xmlns:p14="http://schemas.microsoft.com/office/powerpoint/2010/main" val="22040121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D00314B-3748-4521-9F32-D06C22A918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9D86FB5-DEA5-4234-BD27-782796F1B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2x2 matrix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B7C39B7F-A070-4BDF-92A1-CD1C062493A7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01323" y="3082415"/>
            <a:ext cx="1981200" cy="1828800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/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6" name="Arc 8">
            <a:extLst>
              <a:ext uri="{FF2B5EF4-FFF2-40B4-BE49-F238E27FC236}">
                <a16:creationId xmlns:a16="http://schemas.microsoft.com/office/drawing/2014/main" id="{91669A63-6869-4BFC-84DA-466F404840B3}"/>
              </a:ext>
            </a:extLst>
          </p:cNvPr>
          <p:cNvSpPr>
            <a:spLocks/>
          </p:cNvSpPr>
          <p:nvPr/>
        </p:nvSpPr>
        <p:spPr bwMode="auto">
          <a:xfrm rot="16200000" flipV="1">
            <a:off x="2677521" y="3006216"/>
            <a:ext cx="1828800" cy="1981200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rgbClr val="C41300"/>
          </a:solidFill>
          <a:ln w="9525">
            <a:solidFill>
              <a:srgbClr val="C41300"/>
            </a:solidFill>
            <a:round/>
            <a:headEnd/>
            <a:tailEnd/>
          </a:ln>
          <a:effectLst/>
        </p:spPr>
        <p:txBody>
          <a:bodyPr rot="10800000" vert="eaVert" wrap="none" lIns="90488" tIns="44450" rIns="90488" bIns="44450" anchor="ctr"/>
          <a:lstStyle/>
          <a:p>
            <a:pPr algn="ctr" eaLnBrk="0" hangingPunct="0"/>
            <a:endParaRPr lang="en-US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AC86097A-331F-4C9D-85C9-1AE4DC8B279E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82523" y="1253615"/>
            <a:ext cx="1981200" cy="1828800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/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4E2E51D6-7DE8-43E9-A25C-DCD1675010FE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01323" y="1253615"/>
            <a:ext cx="1981200" cy="1828800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/>
            <a:r>
              <a:rPr lang="en-GB" sz="1400" dirty="0">
                <a:solidFill>
                  <a:srgbClr val="000000"/>
                </a:solidFill>
              </a:rPr>
              <a:t>Potential </a:t>
            </a:r>
          </a:p>
          <a:p>
            <a:pPr algn="ctr"/>
            <a:r>
              <a:rPr lang="en-GB" sz="1400" dirty="0">
                <a:solidFill>
                  <a:srgbClr val="000000"/>
                </a:solidFill>
              </a:rPr>
              <a:t>opportunity</a:t>
            </a:r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ABFB7E5D-F1AE-411E-935F-109DC85AA8C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82523" y="3082415"/>
            <a:ext cx="1981200" cy="1828800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/>
            <a:r>
              <a:rPr lang="en-GB" sz="1400" dirty="0">
                <a:solidFill>
                  <a:srgbClr val="000000"/>
                </a:solidFill>
              </a:rPr>
              <a:t>Potential </a:t>
            </a:r>
          </a:p>
          <a:p>
            <a:pPr algn="ctr"/>
            <a:r>
              <a:rPr lang="en-GB" sz="1400" dirty="0">
                <a:solidFill>
                  <a:srgbClr val="000000"/>
                </a:solidFill>
              </a:rPr>
              <a:t>opportunity</a:t>
            </a:r>
          </a:p>
        </p:txBody>
      </p:sp>
      <p:sp>
        <p:nvSpPr>
          <p:cNvPr id="10" name="Arc 8">
            <a:extLst>
              <a:ext uri="{FF2B5EF4-FFF2-40B4-BE49-F238E27FC236}">
                <a16:creationId xmlns:a16="http://schemas.microsoft.com/office/drawing/2014/main" id="{EBD67F3B-B4C7-49B9-A3FB-B3331E380DB0}"/>
              </a:ext>
            </a:extLst>
          </p:cNvPr>
          <p:cNvSpPr>
            <a:spLocks/>
          </p:cNvSpPr>
          <p:nvPr/>
        </p:nvSpPr>
        <p:spPr bwMode="auto">
          <a:xfrm rot="16200000" flipH="1">
            <a:off x="4667724" y="1174516"/>
            <a:ext cx="1816898" cy="1975099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  <a:effectLst/>
        </p:spPr>
        <p:txBody>
          <a:bodyPr rot="10800000" vert="eaVert" wrap="none" lIns="90488" tIns="44450" rIns="90488" bIns="44450" anchor="ctr"/>
          <a:lstStyle/>
          <a:p>
            <a:pPr algn="ctr" eaLnBrk="0" hangingPunct="0"/>
            <a:endParaRPr lang="en-US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42F64024-4CAC-46C7-8798-2EA1E7C389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29139" y="5386392"/>
            <a:ext cx="2047035" cy="49088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120701" tIns="60350" rIns="71280" bIns="60350" anchor="t" anchorCtr="0"/>
          <a:lstStyle/>
          <a:p>
            <a:pPr fontAlgn="base">
              <a:buClr>
                <a:srgbClr val="177B57"/>
              </a:buClr>
              <a:buSzPct val="100000"/>
              <a:buFont typeface=""/>
            </a:pPr>
            <a:r>
              <a:rPr lang="en-US" sz="1400" dirty="0">
                <a:solidFill>
                  <a:srgbClr val="000000"/>
                </a:solidFill>
                <a:cs typeface="Arial" pitchFamily="34" charset="0"/>
              </a:rPr>
              <a:t>X axis explanation xxx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1301A0D9-4429-49A4-AC24-00858A732A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9982" y="2837790"/>
            <a:ext cx="2094706" cy="5527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120701" tIns="60350" rIns="71280" bIns="60350" anchor="t" anchorCtr="0">
            <a:spAutoFit/>
          </a:bodyPr>
          <a:lstStyle/>
          <a:p>
            <a:pPr fontAlgn="base">
              <a:buClr>
                <a:srgbClr val="177B57"/>
              </a:buClr>
              <a:buSzPct val="100000"/>
              <a:buFont typeface=""/>
            </a:pPr>
            <a:r>
              <a:rPr lang="en-US" sz="1400" dirty="0">
                <a:solidFill>
                  <a:srgbClr val="000000"/>
                </a:solidFill>
                <a:cs typeface="Arial" pitchFamily="34" charset="0"/>
              </a:rPr>
              <a:t>Y axis </a:t>
            </a:r>
          </a:p>
          <a:p>
            <a:pPr fontAlgn="base">
              <a:buClr>
                <a:srgbClr val="177B57"/>
              </a:buClr>
              <a:buSzPct val="100000"/>
              <a:buFont typeface=""/>
            </a:pPr>
            <a:r>
              <a:rPr lang="en-US" sz="1400" dirty="0">
                <a:solidFill>
                  <a:srgbClr val="000000"/>
                </a:solidFill>
                <a:cs typeface="Arial" pitchFamily="34" charset="0"/>
              </a:rPr>
              <a:t>explanation xxx</a:t>
            </a:r>
          </a:p>
        </p:txBody>
      </p:sp>
      <p:sp>
        <p:nvSpPr>
          <p:cNvPr id="13" name="AutoShape 7">
            <a:extLst>
              <a:ext uri="{FF2B5EF4-FFF2-40B4-BE49-F238E27FC236}">
                <a16:creationId xmlns:a16="http://schemas.microsoft.com/office/drawing/2014/main" id="{834DB3BE-A866-4BFC-A309-E863EE28D4D9}"/>
              </a:ext>
            </a:extLst>
          </p:cNvPr>
          <p:cNvSpPr>
            <a:spLocks noChangeArrowheads="1"/>
          </p:cNvSpPr>
          <p:nvPr/>
        </p:nvSpPr>
        <p:spPr bwMode="gray">
          <a:xfrm rot="10800000">
            <a:off x="2601324" y="5039843"/>
            <a:ext cx="3962401" cy="333375"/>
          </a:xfrm>
          <a:prstGeom prst="rtTriangle">
            <a:avLst/>
          </a:prstGeom>
          <a:solidFill>
            <a:srgbClr val="B2B2B2"/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AutoShape 8">
            <a:extLst>
              <a:ext uri="{FF2B5EF4-FFF2-40B4-BE49-F238E27FC236}">
                <a16:creationId xmlns:a16="http://schemas.microsoft.com/office/drawing/2014/main" id="{ECE0112B-5F37-4EAF-AF18-5F769CCD9956}"/>
              </a:ext>
            </a:extLst>
          </p:cNvPr>
          <p:cNvSpPr>
            <a:spLocks noChangeArrowheads="1"/>
          </p:cNvSpPr>
          <p:nvPr/>
        </p:nvSpPr>
        <p:spPr bwMode="gray">
          <a:xfrm rot="16200000" flipH="1">
            <a:off x="440796" y="2895821"/>
            <a:ext cx="3657600" cy="373195"/>
          </a:xfrm>
          <a:prstGeom prst="rtTriangle">
            <a:avLst/>
          </a:prstGeom>
          <a:solidFill>
            <a:srgbClr val="B2B2B2"/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</p:spPr>
        <p:txBody>
          <a:bodyPr vert="eaVert" wrap="none" anchor="ctr"/>
          <a:lstStyle/>
          <a:p>
            <a:endParaRPr lang="en-US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31F730B-657F-4AD9-A17D-376C40A6ABD9}"/>
              </a:ext>
            </a:extLst>
          </p:cNvPr>
          <p:cNvSpPr txBox="1"/>
          <p:nvPr/>
        </p:nvSpPr>
        <p:spPr>
          <a:xfrm>
            <a:off x="3122134" y="3998632"/>
            <a:ext cx="463588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Ba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A7F2BB1-C674-4FD6-82D1-03202566BCB7}"/>
              </a:ext>
            </a:extLst>
          </p:cNvPr>
          <p:cNvSpPr txBox="1"/>
          <p:nvPr/>
        </p:nvSpPr>
        <p:spPr>
          <a:xfrm>
            <a:off x="5532539" y="1706369"/>
            <a:ext cx="582211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GB" sz="1400" dirty="0">
                <a:solidFill>
                  <a:srgbClr val="000000"/>
                </a:solidFill>
              </a:rPr>
              <a:t>Good</a:t>
            </a:r>
          </a:p>
        </p:txBody>
      </p:sp>
    </p:spTree>
    <p:extLst>
      <p:ext uri="{BB962C8B-B14F-4D97-AF65-F5344CB8AC3E}">
        <p14:creationId xmlns:p14="http://schemas.microsoft.com/office/powerpoint/2010/main" val="274297196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8E9ED19-2E99-4D2E-BCE2-15D2A0E9C2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6E1EA33-3A82-40FE-BC2C-8CEF2734C9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enn diagram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4BB2CACE-4B7A-41C9-B595-1A64B83E1FA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1408" y="2407193"/>
            <a:ext cx="362210" cy="30995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36000" tIns="46800" rIns="27432" bIns="46800" anchor="t" anchorCtr="0">
            <a:spAutoFit/>
          </a:bodyPr>
          <a:lstStyle/>
          <a:p>
            <a:pPr fontAlgn="base">
              <a:buClr>
                <a:srgbClr val="177B57"/>
              </a:buClr>
              <a:buSzPct val="100000"/>
              <a:buFont typeface=""/>
            </a:pPr>
            <a:r>
              <a:rPr lang="en-US" sz="1400" b="1" dirty="0">
                <a:solidFill>
                  <a:srgbClr val="000000"/>
                </a:solidFill>
                <a:latin typeface="Arial"/>
                <a:cs typeface="Arial" pitchFamily="34" charset="0"/>
              </a:rPr>
              <a:t>xxx</a:t>
            </a:r>
            <a:endParaRPr lang="en-US" sz="14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6" name="Text Box 6">
            <a:extLst>
              <a:ext uri="{FF2B5EF4-FFF2-40B4-BE49-F238E27FC236}">
                <a16:creationId xmlns:a16="http://schemas.microsoft.com/office/drawing/2014/main" id="{67622645-5E21-4A9E-A54A-0660B04B8DB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760197" y="2435044"/>
            <a:ext cx="625084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27432" tIns="0" rIns="0" b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x</a:t>
            </a:r>
          </a:p>
        </p:txBody>
      </p:sp>
      <p:sp>
        <p:nvSpPr>
          <p:cNvPr id="7" name="Text Box 19">
            <a:extLst>
              <a:ext uri="{FF2B5EF4-FFF2-40B4-BE49-F238E27FC236}">
                <a16:creationId xmlns:a16="http://schemas.microsoft.com/office/drawing/2014/main" id="{413A3B6C-08C1-4405-917F-A986AD196E2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851513" y="4358416"/>
            <a:ext cx="346698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27432" tIns="0" rIns="0" b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x</a:t>
            </a: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D1AC1D88-0F08-4C51-9933-005014C2FE7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32609" y="3410579"/>
            <a:ext cx="346698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27432" bIns="0" anchor="t" anchorCtr="0">
            <a:spAutoFit/>
          </a:bodyPr>
          <a:lstStyle/>
          <a:p>
            <a:pPr fontAlgn="base">
              <a:buClr>
                <a:srgbClr val="177B57"/>
              </a:buClr>
              <a:buSzPct val="100000"/>
              <a:buFont typeface=""/>
            </a:pPr>
            <a:r>
              <a:rPr lang="en-US" sz="1400" b="1" dirty="0">
                <a:solidFill>
                  <a:srgbClr val="000000"/>
                </a:solidFill>
                <a:latin typeface="Arial"/>
                <a:cs typeface="Arial" pitchFamily="34" charset="0"/>
              </a:rPr>
              <a:t>Xxx</a:t>
            </a:r>
            <a:endParaRPr lang="en-US" sz="14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E14225C-13C0-4577-ABB4-96C220C64CA2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59284" y="1413641"/>
            <a:ext cx="2520000" cy="2520000"/>
          </a:xfrm>
          <a:prstGeom prst="ellipse">
            <a:avLst/>
          </a:prstGeom>
          <a:solidFill>
            <a:srgbClr val="92D050">
              <a:alpha val="36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C637020-1399-4D5E-8AD3-DD336CBDEB1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55493" y="1413641"/>
            <a:ext cx="2520000" cy="2520000"/>
          </a:xfrm>
          <a:prstGeom prst="ellipse">
            <a:avLst/>
          </a:prstGeom>
          <a:solidFill>
            <a:schemeClr val="tx2">
              <a:lumMod val="75000"/>
              <a:alpha val="36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C539FBD-5E73-4F4A-AE40-B0D5EDAF2D5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308519" y="2758190"/>
            <a:ext cx="2520000" cy="2520000"/>
          </a:xfrm>
          <a:prstGeom prst="ellipse">
            <a:avLst/>
          </a:prstGeom>
          <a:solidFill>
            <a:srgbClr val="00B0F0">
              <a:alpha val="36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4EE1059-93D8-4D58-B583-4677F8482EFA}"/>
              </a:ext>
            </a:extLst>
          </p:cNvPr>
          <p:cNvCxnSpPr/>
          <p:nvPr/>
        </p:nvCxnSpPr>
        <p:spPr>
          <a:xfrm>
            <a:off x="2084753" y="3518301"/>
            <a:ext cx="1474993" cy="0"/>
          </a:xfrm>
          <a:prstGeom prst="straightConnector1">
            <a:avLst/>
          </a:prstGeom>
          <a:ln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1B8358CD-3AAD-4CCA-A2AC-AAD9AECFC476}"/>
              </a:ext>
            </a:extLst>
          </p:cNvPr>
          <p:cNvCxnSpPr/>
          <p:nvPr/>
        </p:nvCxnSpPr>
        <p:spPr>
          <a:xfrm flipV="1">
            <a:off x="1285479" y="2562173"/>
            <a:ext cx="1554959" cy="6718"/>
          </a:xfrm>
          <a:prstGeom prst="straightConnector1">
            <a:avLst/>
          </a:prstGeom>
          <a:ln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FAD9A23-A4CD-4B1A-9C46-02054694C85F}"/>
              </a:ext>
            </a:extLst>
          </p:cNvPr>
          <p:cNvCxnSpPr/>
          <p:nvPr/>
        </p:nvCxnSpPr>
        <p:spPr>
          <a:xfrm flipH="1">
            <a:off x="5337083" y="4466138"/>
            <a:ext cx="1328196" cy="0"/>
          </a:xfrm>
          <a:prstGeom prst="straightConnector1">
            <a:avLst/>
          </a:prstGeom>
          <a:ln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C757083A-53A3-43A4-8AC9-FF7C28EF066F}"/>
              </a:ext>
            </a:extLst>
          </p:cNvPr>
          <p:cNvCxnSpPr/>
          <p:nvPr/>
        </p:nvCxnSpPr>
        <p:spPr>
          <a:xfrm flipH="1">
            <a:off x="6512060" y="2542766"/>
            <a:ext cx="1092120" cy="0"/>
          </a:xfrm>
          <a:prstGeom prst="straightConnector1">
            <a:avLst/>
          </a:prstGeom>
          <a:ln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Box 12">
            <a:extLst>
              <a:ext uri="{FF2B5EF4-FFF2-40B4-BE49-F238E27FC236}">
                <a16:creationId xmlns:a16="http://schemas.microsoft.com/office/drawing/2014/main" id="{DB155CAB-0F0E-405F-AC4F-B8D58AE2232B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514265" y="2289770"/>
            <a:ext cx="147926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27432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</a:t>
            </a:r>
          </a:p>
        </p:txBody>
      </p:sp>
      <p:sp>
        <p:nvSpPr>
          <p:cNvPr id="17" name="Text Box 13">
            <a:extLst>
              <a:ext uri="{FF2B5EF4-FFF2-40B4-BE49-F238E27FC236}">
                <a16:creationId xmlns:a16="http://schemas.microsoft.com/office/drawing/2014/main" id="{F3B2B8B9-343E-4837-A2B1-DB4F781344CD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513225" y="4037597"/>
            <a:ext cx="129843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</a:t>
            </a:r>
          </a:p>
        </p:txBody>
      </p:sp>
      <p:sp>
        <p:nvSpPr>
          <p:cNvPr id="18" name="Text Box 11">
            <a:extLst>
              <a:ext uri="{FF2B5EF4-FFF2-40B4-BE49-F238E27FC236}">
                <a16:creationId xmlns:a16="http://schemas.microsoft.com/office/drawing/2014/main" id="{3BBD01CE-A546-43DC-BB42-AC3C0D9C026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380037" y="2277244"/>
            <a:ext cx="147926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27432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407137259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7BC8BA-9FA3-44A2-A187-8C72AE632C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8C89E9-3A2A-47C2-A9BA-F1EB9403E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eedback loop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2FFB7CB-DAC5-4599-AAA9-FDBF262860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2659" y="1484827"/>
            <a:ext cx="4243679" cy="3957638"/>
          </a:xfrm>
          <a:prstGeom prst="ellipse">
            <a:avLst/>
          </a:prstGeom>
          <a:noFill/>
          <a:ln w="25400">
            <a:solidFill>
              <a:srgbClr val="B2B2B2"/>
            </a:solidFill>
            <a:round/>
            <a:headEnd/>
            <a:tailEnd/>
          </a:ln>
          <a:effectLst/>
        </p:spPr>
        <p:txBody>
          <a:bodyPr wrap="none" lIns="90000" rIns="90000" anchor="ctr"/>
          <a:lstStyle/>
          <a:p>
            <a:pPr algn="ctr"/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AD3E077-A916-4B74-B345-58B1712818D2}"/>
              </a:ext>
            </a:extLst>
          </p:cNvPr>
          <p:cNvSpPr>
            <a:spLocks/>
          </p:cNvSpPr>
          <p:nvPr/>
        </p:nvSpPr>
        <p:spPr bwMode="auto">
          <a:xfrm rot="3466563" flipH="1">
            <a:off x="2937145" y="1684189"/>
            <a:ext cx="1639013" cy="2559468"/>
          </a:xfrm>
          <a:custGeom>
            <a:avLst/>
            <a:gdLst>
              <a:gd name="connsiteX0" fmla="*/ 8981 w 9985"/>
              <a:gd name="connsiteY0" fmla="*/ 257 h 9988"/>
              <a:gd name="connsiteX1" fmla="*/ 9398 w 9985"/>
              <a:gd name="connsiteY1" fmla="*/ 73 h 9988"/>
              <a:gd name="connsiteX2" fmla="*/ 4815 w 9985"/>
              <a:gd name="connsiteY2" fmla="*/ 0 h 9988"/>
              <a:gd name="connsiteX3" fmla="*/ 2083 w 9985"/>
              <a:gd name="connsiteY3" fmla="*/ 2326 h 9988"/>
              <a:gd name="connsiteX4" fmla="*/ 2685 w 9985"/>
              <a:gd name="connsiteY4" fmla="*/ 2166 h 9988"/>
              <a:gd name="connsiteX5" fmla="*/ 2809 w 9985"/>
              <a:gd name="connsiteY5" fmla="*/ 2362 h 9988"/>
              <a:gd name="connsiteX6" fmla="*/ 2963 w 9985"/>
              <a:gd name="connsiteY6" fmla="*/ 2619 h 9988"/>
              <a:gd name="connsiteX7" fmla="*/ 3025 w 9985"/>
              <a:gd name="connsiteY7" fmla="*/ 2803 h 9988"/>
              <a:gd name="connsiteX8" fmla="*/ 3071 w 9985"/>
              <a:gd name="connsiteY8" fmla="*/ 3121 h 9988"/>
              <a:gd name="connsiteX9" fmla="*/ 3040 w 9985"/>
              <a:gd name="connsiteY9" fmla="*/ 3501 h 9988"/>
              <a:gd name="connsiteX10" fmla="*/ 2978 w 9985"/>
              <a:gd name="connsiteY10" fmla="*/ 3733 h 9988"/>
              <a:gd name="connsiteX11" fmla="*/ 2840 w 9985"/>
              <a:gd name="connsiteY11" fmla="*/ 3990 h 9988"/>
              <a:gd name="connsiteX12" fmla="*/ 2670 w 9985"/>
              <a:gd name="connsiteY12" fmla="*/ 4235 h 9988"/>
              <a:gd name="connsiteX13" fmla="*/ 2454 w 9985"/>
              <a:gd name="connsiteY13" fmla="*/ 4468 h 9988"/>
              <a:gd name="connsiteX14" fmla="*/ 2207 w 9985"/>
              <a:gd name="connsiteY14" fmla="*/ 4676 h 9988"/>
              <a:gd name="connsiteX15" fmla="*/ 1944 w 9985"/>
              <a:gd name="connsiteY15" fmla="*/ 4835 h 9988"/>
              <a:gd name="connsiteX16" fmla="*/ 1682 w 9985"/>
              <a:gd name="connsiteY16" fmla="*/ 4969 h 9988"/>
              <a:gd name="connsiteX17" fmla="*/ 1250 w 9985"/>
              <a:gd name="connsiteY17" fmla="*/ 5129 h 9988"/>
              <a:gd name="connsiteX18" fmla="*/ 664 w 9985"/>
              <a:gd name="connsiteY18" fmla="*/ 5288 h 9988"/>
              <a:gd name="connsiteX19" fmla="*/ 2099 w 9985"/>
              <a:gd name="connsiteY19" fmla="*/ 7625 h 9988"/>
              <a:gd name="connsiteX20" fmla="*/ 0 w 9985"/>
              <a:gd name="connsiteY20" fmla="*/ 9988 h 9988"/>
              <a:gd name="connsiteX21" fmla="*/ 417 w 9985"/>
              <a:gd name="connsiteY21" fmla="*/ 9976 h 9988"/>
              <a:gd name="connsiteX22" fmla="*/ 849 w 9985"/>
              <a:gd name="connsiteY22" fmla="*/ 9963 h 9988"/>
              <a:gd name="connsiteX23" fmla="*/ 1327 w 9985"/>
              <a:gd name="connsiteY23" fmla="*/ 9914 h 9988"/>
              <a:gd name="connsiteX24" fmla="*/ 1821 w 9985"/>
              <a:gd name="connsiteY24" fmla="*/ 9865 h 9988"/>
              <a:gd name="connsiteX25" fmla="*/ 2299 w 9985"/>
              <a:gd name="connsiteY25" fmla="*/ 9780 h 9988"/>
              <a:gd name="connsiteX26" fmla="*/ 2778 w 9985"/>
              <a:gd name="connsiteY26" fmla="*/ 9694 h 9988"/>
              <a:gd name="connsiteX27" fmla="*/ 3148 w 9985"/>
              <a:gd name="connsiteY27" fmla="*/ 9608 h 9988"/>
              <a:gd name="connsiteX28" fmla="*/ 3549 w 9985"/>
              <a:gd name="connsiteY28" fmla="*/ 9510 h 9988"/>
              <a:gd name="connsiteX29" fmla="*/ 4043 w 9985"/>
              <a:gd name="connsiteY29" fmla="*/ 9376 h 9988"/>
              <a:gd name="connsiteX30" fmla="*/ 4460 w 9985"/>
              <a:gd name="connsiteY30" fmla="*/ 9229 h 9988"/>
              <a:gd name="connsiteX31" fmla="*/ 4861 w 9985"/>
              <a:gd name="connsiteY31" fmla="*/ 9094 h 9988"/>
              <a:gd name="connsiteX32" fmla="*/ 5293 w 9985"/>
              <a:gd name="connsiteY32" fmla="*/ 8911 h 9988"/>
              <a:gd name="connsiteX33" fmla="*/ 5725 w 9985"/>
              <a:gd name="connsiteY33" fmla="*/ 8727 h 9988"/>
              <a:gd name="connsiteX34" fmla="*/ 6080 w 9985"/>
              <a:gd name="connsiteY34" fmla="*/ 8556 h 9988"/>
              <a:gd name="connsiteX35" fmla="*/ 6481 w 9985"/>
              <a:gd name="connsiteY35" fmla="*/ 8323 h 9988"/>
              <a:gd name="connsiteX36" fmla="*/ 6883 w 9985"/>
              <a:gd name="connsiteY36" fmla="*/ 8091 h 9988"/>
              <a:gd name="connsiteX37" fmla="*/ 7238 w 9985"/>
              <a:gd name="connsiteY37" fmla="*/ 7834 h 9988"/>
              <a:gd name="connsiteX38" fmla="*/ 7531 w 9985"/>
              <a:gd name="connsiteY38" fmla="*/ 7625 h 9988"/>
              <a:gd name="connsiteX39" fmla="*/ 7855 w 9985"/>
              <a:gd name="connsiteY39" fmla="*/ 7368 h 9988"/>
              <a:gd name="connsiteX40" fmla="*/ 8102 w 9985"/>
              <a:gd name="connsiteY40" fmla="*/ 7148 h 9988"/>
              <a:gd name="connsiteX41" fmla="*/ 8380 w 9985"/>
              <a:gd name="connsiteY41" fmla="*/ 6879 h 9988"/>
              <a:gd name="connsiteX42" fmla="*/ 8657 w 9985"/>
              <a:gd name="connsiteY42" fmla="*/ 6597 h 9988"/>
              <a:gd name="connsiteX43" fmla="*/ 8858 w 9985"/>
              <a:gd name="connsiteY43" fmla="*/ 6291 h 9988"/>
              <a:gd name="connsiteX44" fmla="*/ 9074 w 9985"/>
              <a:gd name="connsiteY44" fmla="*/ 6022 h 9988"/>
              <a:gd name="connsiteX45" fmla="*/ 9228 w 9985"/>
              <a:gd name="connsiteY45" fmla="*/ 5765 h 9988"/>
              <a:gd name="connsiteX46" fmla="*/ 9444 w 9985"/>
              <a:gd name="connsiteY46" fmla="*/ 5373 h 9988"/>
              <a:gd name="connsiteX47" fmla="*/ 9583 w 9985"/>
              <a:gd name="connsiteY47" fmla="*/ 5067 h 9988"/>
              <a:gd name="connsiteX48" fmla="*/ 9753 w 9985"/>
              <a:gd name="connsiteY48" fmla="*/ 4651 h 9988"/>
              <a:gd name="connsiteX49" fmla="*/ 9861 w 9985"/>
              <a:gd name="connsiteY49" fmla="*/ 4186 h 9988"/>
              <a:gd name="connsiteX50" fmla="*/ 9938 w 9985"/>
              <a:gd name="connsiteY50" fmla="*/ 3770 h 9988"/>
              <a:gd name="connsiteX51" fmla="*/ 9985 w 9985"/>
              <a:gd name="connsiteY51" fmla="*/ 3403 h 9988"/>
              <a:gd name="connsiteX52" fmla="*/ 9985 w 9985"/>
              <a:gd name="connsiteY52" fmla="*/ 3011 h 9988"/>
              <a:gd name="connsiteX53" fmla="*/ 9969 w 9985"/>
              <a:gd name="connsiteY53" fmla="*/ 2693 h 9988"/>
              <a:gd name="connsiteX54" fmla="*/ 9907 w 9985"/>
              <a:gd name="connsiteY54" fmla="*/ 2215 h 9988"/>
              <a:gd name="connsiteX55" fmla="*/ 9753 w 9985"/>
              <a:gd name="connsiteY55" fmla="*/ 1738 h 9988"/>
              <a:gd name="connsiteX56" fmla="*/ 9614 w 9985"/>
              <a:gd name="connsiteY56" fmla="*/ 1322 h 9988"/>
              <a:gd name="connsiteX57" fmla="*/ 9444 w 9985"/>
              <a:gd name="connsiteY57" fmla="*/ 979 h 9988"/>
              <a:gd name="connsiteX58" fmla="*/ 9290 w 9985"/>
              <a:gd name="connsiteY58" fmla="*/ 698 h 9988"/>
              <a:gd name="connsiteX59" fmla="*/ 9151 w 9985"/>
              <a:gd name="connsiteY59" fmla="*/ 477 h 9988"/>
              <a:gd name="connsiteX60" fmla="*/ 8981 w 9985"/>
              <a:gd name="connsiteY60" fmla="*/ 257 h 9988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813 w 10000"/>
              <a:gd name="connsiteY5" fmla="*/ 2365 h 10000"/>
              <a:gd name="connsiteX6" fmla="*/ 2967 w 10000"/>
              <a:gd name="connsiteY6" fmla="*/ 2622 h 10000"/>
              <a:gd name="connsiteX7" fmla="*/ 3030 w 10000"/>
              <a:gd name="connsiteY7" fmla="*/ 2806 h 10000"/>
              <a:gd name="connsiteX8" fmla="*/ 3076 w 10000"/>
              <a:gd name="connsiteY8" fmla="*/ 3125 h 10000"/>
              <a:gd name="connsiteX9" fmla="*/ 3045 w 10000"/>
              <a:gd name="connsiteY9" fmla="*/ 3505 h 10000"/>
              <a:gd name="connsiteX10" fmla="*/ 2982 w 10000"/>
              <a:gd name="connsiteY10" fmla="*/ 3737 h 10000"/>
              <a:gd name="connsiteX11" fmla="*/ 2844 w 10000"/>
              <a:gd name="connsiteY11" fmla="*/ 3995 h 10000"/>
              <a:gd name="connsiteX12" fmla="*/ 2674 w 10000"/>
              <a:gd name="connsiteY12" fmla="*/ 4240 h 10000"/>
              <a:gd name="connsiteX13" fmla="*/ 2458 w 10000"/>
              <a:gd name="connsiteY13" fmla="*/ 4473 h 10000"/>
              <a:gd name="connsiteX14" fmla="*/ 2210 w 10000"/>
              <a:gd name="connsiteY14" fmla="*/ 4682 h 10000"/>
              <a:gd name="connsiteX15" fmla="*/ 1947 w 10000"/>
              <a:gd name="connsiteY15" fmla="*/ 4841 h 10000"/>
              <a:gd name="connsiteX16" fmla="*/ 1685 w 10000"/>
              <a:gd name="connsiteY16" fmla="*/ 4975 h 10000"/>
              <a:gd name="connsiteX17" fmla="*/ 1252 w 10000"/>
              <a:gd name="connsiteY17" fmla="*/ 5135 h 10000"/>
              <a:gd name="connsiteX18" fmla="*/ 629 w 10000"/>
              <a:gd name="connsiteY18" fmla="*/ 5301 h 10000"/>
              <a:gd name="connsiteX19" fmla="*/ 2102 w 10000"/>
              <a:gd name="connsiteY19" fmla="*/ 7634 h 10000"/>
              <a:gd name="connsiteX20" fmla="*/ 0 w 10000"/>
              <a:gd name="connsiteY20" fmla="*/ 10000 h 10000"/>
              <a:gd name="connsiteX21" fmla="*/ 418 w 10000"/>
              <a:gd name="connsiteY21" fmla="*/ 9988 h 10000"/>
              <a:gd name="connsiteX22" fmla="*/ 850 w 10000"/>
              <a:gd name="connsiteY22" fmla="*/ 9975 h 10000"/>
              <a:gd name="connsiteX23" fmla="*/ 1329 w 10000"/>
              <a:gd name="connsiteY23" fmla="*/ 9926 h 10000"/>
              <a:gd name="connsiteX24" fmla="*/ 1824 w 10000"/>
              <a:gd name="connsiteY24" fmla="*/ 9877 h 10000"/>
              <a:gd name="connsiteX25" fmla="*/ 2302 w 10000"/>
              <a:gd name="connsiteY25" fmla="*/ 9792 h 10000"/>
              <a:gd name="connsiteX26" fmla="*/ 2782 w 10000"/>
              <a:gd name="connsiteY26" fmla="*/ 9706 h 10000"/>
              <a:gd name="connsiteX27" fmla="*/ 3153 w 10000"/>
              <a:gd name="connsiteY27" fmla="*/ 9620 h 10000"/>
              <a:gd name="connsiteX28" fmla="*/ 3554 w 10000"/>
              <a:gd name="connsiteY28" fmla="*/ 9521 h 10000"/>
              <a:gd name="connsiteX29" fmla="*/ 4049 w 10000"/>
              <a:gd name="connsiteY29" fmla="*/ 9387 h 10000"/>
              <a:gd name="connsiteX30" fmla="*/ 4467 w 10000"/>
              <a:gd name="connsiteY30" fmla="*/ 9240 h 10000"/>
              <a:gd name="connsiteX31" fmla="*/ 4868 w 10000"/>
              <a:gd name="connsiteY31" fmla="*/ 9105 h 10000"/>
              <a:gd name="connsiteX32" fmla="*/ 5301 w 10000"/>
              <a:gd name="connsiteY32" fmla="*/ 8922 h 10000"/>
              <a:gd name="connsiteX33" fmla="*/ 5734 w 10000"/>
              <a:gd name="connsiteY33" fmla="*/ 8737 h 10000"/>
              <a:gd name="connsiteX34" fmla="*/ 6089 w 10000"/>
              <a:gd name="connsiteY34" fmla="*/ 8566 h 10000"/>
              <a:gd name="connsiteX35" fmla="*/ 6491 w 10000"/>
              <a:gd name="connsiteY35" fmla="*/ 8333 h 10000"/>
              <a:gd name="connsiteX36" fmla="*/ 6893 w 10000"/>
              <a:gd name="connsiteY36" fmla="*/ 8101 h 10000"/>
              <a:gd name="connsiteX37" fmla="*/ 7249 w 10000"/>
              <a:gd name="connsiteY37" fmla="*/ 7843 h 10000"/>
              <a:gd name="connsiteX38" fmla="*/ 7542 w 10000"/>
              <a:gd name="connsiteY38" fmla="*/ 7634 h 10000"/>
              <a:gd name="connsiteX39" fmla="*/ 7867 w 10000"/>
              <a:gd name="connsiteY39" fmla="*/ 7377 h 10000"/>
              <a:gd name="connsiteX40" fmla="*/ 8114 w 10000"/>
              <a:gd name="connsiteY40" fmla="*/ 7157 h 10000"/>
              <a:gd name="connsiteX41" fmla="*/ 8393 w 10000"/>
              <a:gd name="connsiteY41" fmla="*/ 6887 h 10000"/>
              <a:gd name="connsiteX42" fmla="*/ 8670 w 10000"/>
              <a:gd name="connsiteY42" fmla="*/ 6605 h 10000"/>
              <a:gd name="connsiteX43" fmla="*/ 8871 w 10000"/>
              <a:gd name="connsiteY43" fmla="*/ 6299 h 10000"/>
              <a:gd name="connsiteX44" fmla="*/ 9088 w 10000"/>
              <a:gd name="connsiteY44" fmla="*/ 6029 h 10000"/>
              <a:gd name="connsiteX45" fmla="*/ 9242 w 10000"/>
              <a:gd name="connsiteY45" fmla="*/ 5772 h 10000"/>
              <a:gd name="connsiteX46" fmla="*/ 9458 w 10000"/>
              <a:gd name="connsiteY46" fmla="*/ 5379 h 10000"/>
              <a:gd name="connsiteX47" fmla="*/ 9597 w 10000"/>
              <a:gd name="connsiteY47" fmla="*/ 5073 h 10000"/>
              <a:gd name="connsiteX48" fmla="*/ 9768 w 10000"/>
              <a:gd name="connsiteY48" fmla="*/ 4657 h 10000"/>
              <a:gd name="connsiteX49" fmla="*/ 9876 w 10000"/>
              <a:gd name="connsiteY49" fmla="*/ 4191 h 10000"/>
              <a:gd name="connsiteX50" fmla="*/ 9953 w 10000"/>
              <a:gd name="connsiteY50" fmla="*/ 3775 h 10000"/>
              <a:gd name="connsiteX51" fmla="*/ 10000 w 10000"/>
              <a:gd name="connsiteY51" fmla="*/ 3407 h 10000"/>
              <a:gd name="connsiteX52" fmla="*/ 10000 w 10000"/>
              <a:gd name="connsiteY52" fmla="*/ 3015 h 10000"/>
              <a:gd name="connsiteX53" fmla="*/ 9984 w 10000"/>
              <a:gd name="connsiteY53" fmla="*/ 2696 h 10000"/>
              <a:gd name="connsiteX54" fmla="*/ 9922 w 10000"/>
              <a:gd name="connsiteY54" fmla="*/ 2218 h 10000"/>
              <a:gd name="connsiteX55" fmla="*/ 9768 w 10000"/>
              <a:gd name="connsiteY55" fmla="*/ 1740 h 10000"/>
              <a:gd name="connsiteX56" fmla="*/ 9628 w 10000"/>
              <a:gd name="connsiteY56" fmla="*/ 1324 h 10000"/>
              <a:gd name="connsiteX57" fmla="*/ 9458 w 10000"/>
              <a:gd name="connsiteY57" fmla="*/ 980 h 10000"/>
              <a:gd name="connsiteX58" fmla="*/ 9304 w 10000"/>
              <a:gd name="connsiteY58" fmla="*/ 699 h 10000"/>
              <a:gd name="connsiteX59" fmla="*/ 9165 w 10000"/>
              <a:gd name="connsiteY59" fmla="*/ 478 h 10000"/>
              <a:gd name="connsiteX60" fmla="*/ 8994 w 10000"/>
              <a:gd name="connsiteY60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813 w 10000"/>
              <a:gd name="connsiteY5" fmla="*/ 2365 h 10000"/>
              <a:gd name="connsiteX6" fmla="*/ 2967 w 10000"/>
              <a:gd name="connsiteY6" fmla="*/ 2622 h 10000"/>
              <a:gd name="connsiteX7" fmla="*/ 3030 w 10000"/>
              <a:gd name="connsiteY7" fmla="*/ 2806 h 10000"/>
              <a:gd name="connsiteX8" fmla="*/ 3076 w 10000"/>
              <a:gd name="connsiteY8" fmla="*/ 3125 h 10000"/>
              <a:gd name="connsiteX9" fmla="*/ 3045 w 10000"/>
              <a:gd name="connsiteY9" fmla="*/ 3505 h 10000"/>
              <a:gd name="connsiteX10" fmla="*/ 2982 w 10000"/>
              <a:gd name="connsiteY10" fmla="*/ 3737 h 10000"/>
              <a:gd name="connsiteX11" fmla="*/ 2844 w 10000"/>
              <a:gd name="connsiteY11" fmla="*/ 3995 h 10000"/>
              <a:gd name="connsiteX12" fmla="*/ 2674 w 10000"/>
              <a:gd name="connsiteY12" fmla="*/ 4240 h 10000"/>
              <a:gd name="connsiteX13" fmla="*/ 2458 w 10000"/>
              <a:gd name="connsiteY13" fmla="*/ 4473 h 10000"/>
              <a:gd name="connsiteX14" fmla="*/ 2210 w 10000"/>
              <a:gd name="connsiteY14" fmla="*/ 4682 h 10000"/>
              <a:gd name="connsiteX15" fmla="*/ 1947 w 10000"/>
              <a:gd name="connsiteY15" fmla="*/ 4841 h 10000"/>
              <a:gd name="connsiteX16" fmla="*/ 1685 w 10000"/>
              <a:gd name="connsiteY16" fmla="*/ 4975 h 10000"/>
              <a:gd name="connsiteX17" fmla="*/ 1252 w 10000"/>
              <a:gd name="connsiteY17" fmla="*/ 5135 h 10000"/>
              <a:gd name="connsiteX18" fmla="*/ 598 w 10000"/>
              <a:gd name="connsiteY18" fmla="*/ 5292 h 10000"/>
              <a:gd name="connsiteX19" fmla="*/ 2102 w 10000"/>
              <a:gd name="connsiteY19" fmla="*/ 7634 h 10000"/>
              <a:gd name="connsiteX20" fmla="*/ 0 w 10000"/>
              <a:gd name="connsiteY20" fmla="*/ 10000 h 10000"/>
              <a:gd name="connsiteX21" fmla="*/ 418 w 10000"/>
              <a:gd name="connsiteY21" fmla="*/ 9988 h 10000"/>
              <a:gd name="connsiteX22" fmla="*/ 850 w 10000"/>
              <a:gd name="connsiteY22" fmla="*/ 9975 h 10000"/>
              <a:gd name="connsiteX23" fmla="*/ 1329 w 10000"/>
              <a:gd name="connsiteY23" fmla="*/ 9926 h 10000"/>
              <a:gd name="connsiteX24" fmla="*/ 1824 w 10000"/>
              <a:gd name="connsiteY24" fmla="*/ 9877 h 10000"/>
              <a:gd name="connsiteX25" fmla="*/ 2302 w 10000"/>
              <a:gd name="connsiteY25" fmla="*/ 9792 h 10000"/>
              <a:gd name="connsiteX26" fmla="*/ 2782 w 10000"/>
              <a:gd name="connsiteY26" fmla="*/ 9706 h 10000"/>
              <a:gd name="connsiteX27" fmla="*/ 3153 w 10000"/>
              <a:gd name="connsiteY27" fmla="*/ 9620 h 10000"/>
              <a:gd name="connsiteX28" fmla="*/ 3554 w 10000"/>
              <a:gd name="connsiteY28" fmla="*/ 9521 h 10000"/>
              <a:gd name="connsiteX29" fmla="*/ 4049 w 10000"/>
              <a:gd name="connsiteY29" fmla="*/ 9387 h 10000"/>
              <a:gd name="connsiteX30" fmla="*/ 4467 w 10000"/>
              <a:gd name="connsiteY30" fmla="*/ 9240 h 10000"/>
              <a:gd name="connsiteX31" fmla="*/ 4868 w 10000"/>
              <a:gd name="connsiteY31" fmla="*/ 9105 h 10000"/>
              <a:gd name="connsiteX32" fmla="*/ 5301 w 10000"/>
              <a:gd name="connsiteY32" fmla="*/ 8922 h 10000"/>
              <a:gd name="connsiteX33" fmla="*/ 5734 w 10000"/>
              <a:gd name="connsiteY33" fmla="*/ 8737 h 10000"/>
              <a:gd name="connsiteX34" fmla="*/ 6089 w 10000"/>
              <a:gd name="connsiteY34" fmla="*/ 8566 h 10000"/>
              <a:gd name="connsiteX35" fmla="*/ 6491 w 10000"/>
              <a:gd name="connsiteY35" fmla="*/ 8333 h 10000"/>
              <a:gd name="connsiteX36" fmla="*/ 6893 w 10000"/>
              <a:gd name="connsiteY36" fmla="*/ 8101 h 10000"/>
              <a:gd name="connsiteX37" fmla="*/ 7249 w 10000"/>
              <a:gd name="connsiteY37" fmla="*/ 7843 h 10000"/>
              <a:gd name="connsiteX38" fmla="*/ 7542 w 10000"/>
              <a:gd name="connsiteY38" fmla="*/ 7634 h 10000"/>
              <a:gd name="connsiteX39" fmla="*/ 7867 w 10000"/>
              <a:gd name="connsiteY39" fmla="*/ 7377 h 10000"/>
              <a:gd name="connsiteX40" fmla="*/ 8114 w 10000"/>
              <a:gd name="connsiteY40" fmla="*/ 7157 h 10000"/>
              <a:gd name="connsiteX41" fmla="*/ 8393 w 10000"/>
              <a:gd name="connsiteY41" fmla="*/ 6887 h 10000"/>
              <a:gd name="connsiteX42" fmla="*/ 8670 w 10000"/>
              <a:gd name="connsiteY42" fmla="*/ 6605 h 10000"/>
              <a:gd name="connsiteX43" fmla="*/ 8871 w 10000"/>
              <a:gd name="connsiteY43" fmla="*/ 6299 h 10000"/>
              <a:gd name="connsiteX44" fmla="*/ 9088 w 10000"/>
              <a:gd name="connsiteY44" fmla="*/ 6029 h 10000"/>
              <a:gd name="connsiteX45" fmla="*/ 9242 w 10000"/>
              <a:gd name="connsiteY45" fmla="*/ 5772 h 10000"/>
              <a:gd name="connsiteX46" fmla="*/ 9458 w 10000"/>
              <a:gd name="connsiteY46" fmla="*/ 5379 h 10000"/>
              <a:gd name="connsiteX47" fmla="*/ 9597 w 10000"/>
              <a:gd name="connsiteY47" fmla="*/ 5073 h 10000"/>
              <a:gd name="connsiteX48" fmla="*/ 9768 w 10000"/>
              <a:gd name="connsiteY48" fmla="*/ 4657 h 10000"/>
              <a:gd name="connsiteX49" fmla="*/ 9876 w 10000"/>
              <a:gd name="connsiteY49" fmla="*/ 4191 h 10000"/>
              <a:gd name="connsiteX50" fmla="*/ 9953 w 10000"/>
              <a:gd name="connsiteY50" fmla="*/ 3775 h 10000"/>
              <a:gd name="connsiteX51" fmla="*/ 10000 w 10000"/>
              <a:gd name="connsiteY51" fmla="*/ 3407 h 10000"/>
              <a:gd name="connsiteX52" fmla="*/ 10000 w 10000"/>
              <a:gd name="connsiteY52" fmla="*/ 3015 h 10000"/>
              <a:gd name="connsiteX53" fmla="*/ 9984 w 10000"/>
              <a:gd name="connsiteY53" fmla="*/ 2696 h 10000"/>
              <a:gd name="connsiteX54" fmla="*/ 9922 w 10000"/>
              <a:gd name="connsiteY54" fmla="*/ 2218 h 10000"/>
              <a:gd name="connsiteX55" fmla="*/ 9768 w 10000"/>
              <a:gd name="connsiteY55" fmla="*/ 1740 h 10000"/>
              <a:gd name="connsiteX56" fmla="*/ 9628 w 10000"/>
              <a:gd name="connsiteY56" fmla="*/ 1324 h 10000"/>
              <a:gd name="connsiteX57" fmla="*/ 9458 w 10000"/>
              <a:gd name="connsiteY57" fmla="*/ 980 h 10000"/>
              <a:gd name="connsiteX58" fmla="*/ 9304 w 10000"/>
              <a:gd name="connsiteY58" fmla="*/ 699 h 10000"/>
              <a:gd name="connsiteX59" fmla="*/ 9165 w 10000"/>
              <a:gd name="connsiteY59" fmla="*/ 478 h 10000"/>
              <a:gd name="connsiteX60" fmla="*/ 8994 w 10000"/>
              <a:gd name="connsiteY60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813 w 10000"/>
              <a:gd name="connsiteY5" fmla="*/ 2365 h 10000"/>
              <a:gd name="connsiteX6" fmla="*/ 2967 w 10000"/>
              <a:gd name="connsiteY6" fmla="*/ 2622 h 10000"/>
              <a:gd name="connsiteX7" fmla="*/ 3030 w 10000"/>
              <a:gd name="connsiteY7" fmla="*/ 2806 h 10000"/>
              <a:gd name="connsiteX8" fmla="*/ 3076 w 10000"/>
              <a:gd name="connsiteY8" fmla="*/ 3125 h 10000"/>
              <a:gd name="connsiteX9" fmla="*/ 3045 w 10000"/>
              <a:gd name="connsiteY9" fmla="*/ 3505 h 10000"/>
              <a:gd name="connsiteX10" fmla="*/ 2982 w 10000"/>
              <a:gd name="connsiteY10" fmla="*/ 3737 h 10000"/>
              <a:gd name="connsiteX11" fmla="*/ 2844 w 10000"/>
              <a:gd name="connsiteY11" fmla="*/ 3995 h 10000"/>
              <a:gd name="connsiteX12" fmla="*/ 2674 w 10000"/>
              <a:gd name="connsiteY12" fmla="*/ 4240 h 10000"/>
              <a:gd name="connsiteX13" fmla="*/ 2458 w 10000"/>
              <a:gd name="connsiteY13" fmla="*/ 4473 h 10000"/>
              <a:gd name="connsiteX14" fmla="*/ 2210 w 10000"/>
              <a:gd name="connsiteY14" fmla="*/ 4682 h 10000"/>
              <a:gd name="connsiteX15" fmla="*/ 1947 w 10000"/>
              <a:gd name="connsiteY15" fmla="*/ 4841 h 10000"/>
              <a:gd name="connsiteX16" fmla="*/ 1685 w 10000"/>
              <a:gd name="connsiteY16" fmla="*/ 4975 h 10000"/>
              <a:gd name="connsiteX17" fmla="*/ 1252 w 10000"/>
              <a:gd name="connsiteY17" fmla="*/ 5135 h 10000"/>
              <a:gd name="connsiteX18" fmla="*/ 598 w 10000"/>
              <a:gd name="connsiteY18" fmla="*/ 5292 h 10000"/>
              <a:gd name="connsiteX19" fmla="*/ 2102 w 10000"/>
              <a:gd name="connsiteY19" fmla="*/ 7634 h 10000"/>
              <a:gd name="connsiteX20" fmla="*/ 0 w 10000"/>
              <a:gd name="connsiteY20" fmla="*/ 10000 h 10000"/>
              <a:gd name="connsiteX21" fmla="*/ 418 w 10000"/>
              <a:gd name="connsiteY21" fmla="*/ 9988 h 10000"/>
              <a:gd name="connsiteX22" fmla="*/ 850 w 10000"/>
              <a:gd name="connsiteY22" fmla="*/ 9975 h 10000"/>
              <a:gd name="connsiteX23" fmla="*/ 1329 w 10000"/>
              <a:gd name="connsiteY23" fmla="*/ 9926 h 10000"/>
              <a:gd name="connsiteX24" fmla="*/ 1824 w 10000"/>
              <a:gd name="connsiteY24" fmla="*/ 9877 h 10000"/>
              <a:gd name="connsiteX25" fmla="*/ 2302 w 10000"/>
              <a:gd name="connsiteY25" fmla="*/ 9792 h 10000"/>
              <a:gd name="connsiteX26" fmla="*/ 2782 w 10000"/>
              <a:gd name="connsiteY26" fmla="*/ 9706 h 10000"/>
              <a:gd name="connsiteX27" fmla="*/ 3153 w 10000"/>
              <a:gd name="connsiteY27" fmla="*/ 9620 h 10000"/>
              <a:gd name="connsiteX28" fmla="*/ 3554 w 10000"/>
              <a:gd name="connsiteY28" fmla="*/ 9521 h 10000"/>
              <a:gd name="connsiteX29" fmla="*/ 4049 w 10000"/>
              <a:gd name="connsiteY29" fmla="*/ 9387 h 10000"/>
              <a:gd name="connsiteX30" fmla="*/ 4467 w 10000"/>
              <a:gd name="connsiteY30" fmla="*/ 9240 h 10000"/>
              <a:gd name="connsiteX31" fmla="*/ 4868 w 10000"/>
              <a:gd name="connsiteY31" fmla="*/ 9105 h 10000"/>
              <a:gd name="connsiteX32" fmla="*/ 5301 w 10000"/>
              <a:gd name="connsiteY32" fmla="*/ 8922 h 10000"/>
              <a:gd name="connsiteX33" fmla="*/ 5734 w 10000"/>
              <a:gd name="connsiteY33" fmla="*/ 8737 h 10000"/>
              <a:gd name="connsiteX34" fmla="*/ 6089 w 10000"/>
              <a:gd name="connsiteY34" fmla="*/ 8566 h 10000"/>
              <a:gd name="connsiteX35" fmla="*/ 6491 w 10000"/>
              <a:gd name="connsiteY35" fmla="*/ 8333 h 10000"/>
              <a:gd name="connsiteX36" fmla="*/ 6893 w 10000"/>
              <a:gd name="connsiteY36" fmla="*/ 8101 h 10000"/>
              <a:gd name="connsiteX37" fmla="*/ 7249 w 10000"/>
              <a:gd name="connsiteY37" fmla="*/ 7843 h 10000"/>
              <a:gd name="connsiteX38" fmla="*/ 7542 w 10000"/>
              <a:gd name="connsiteY38" fmla="*/ 7634 h 10000"/>
              <a:gd name="connsiteX39" fmla="*/ 7867 w 10000"/>
              <a:gd name="connsiteY39" fmla="*/ 7377 h 10000"/>
              <a:gd name="connsiteX40" fmla="*/ 8114 w 10000"/>
              <a:gd name="connsiteY40" fmla="*/ 7157 h 10000"/>
              <a:gd name="connsiteX41" fmla="*/ 8393 w 10000"/>
              <a:gd name="connsiteY41" fmla="*/ 6887 h 10000"/>
              <a:gd name="connsiteX42" fmla="*/ 8670 w 10000"/>
              <a:gd name="connsiteY42" fmla="*/ 6605 h 10000"/>
              <a:gd name="connsiteX43" fmla="*/ 8871 w 10000"/>
              <a:gd name="connsiteY43" fmla="*/ 6299 h 10000"/>
              <a:gd name="connsiteX44" fmla="*/ 9088 w 10000"/>
              <a:gd name="connsiteY44" fmla="*/ 6029 h 10000"/>
              <a:gd name="connsiteX45" fmla="*/ 9242 w 10000"/>
              <a:gd name="connsiteY45" fmla="*/ 5772 h 10000"/>
              <a:gd name="connsiteX46" fmla="*/ 9458 w 10000"/>
              <a:gd name="connsiteY46" fmla="*/ 5379 h 10000"/>
              <a:gd name="connsiteX47" fmla="*/ 9597 w 10000"/>
              <a:gd name="connsiteY47" fmla="*/ 5073 h 10000"/>
              <a:gd name="connsiteX48" fmla="*/ 9768 w 10000"/>
              <a:gd name="connsiteY48" fmla="*/ 4657 h 10000"/>
              <a:gd name="connsiteX49" fmla="*/ 9876 w 10000"/>
              <a:gd name="connsiteY49" fmla="*/ 4191 h 10000"/>
              <a:gd name="connsiteX50" fmla="*/ 9953 w 10000"/>
              <a:gd name="connsiteY50" fmla="*/ 3775 h 10000"/>
              <a:gd name="connsiteX51" fmla="*/ 10000 w 10000"/>
              <a:gd name="connsiteY51" fmla="*/ 3407 h 10000"/>
              <a:gd name="connsiteX52" fmla="*/ 10000 w 10000"/>
              <a:gd name="connsiteY52" fmla="*/ 3015 h 10000"/>
              <a:gd name="connsiteX53" fmla="*/ 9984 w 10000"/>
              <a:gd name="connsiteY53" fmla="*/ 2696 h 10000"/>
              <a:gd name="connsiteX54" fmla="*/ 9922 w 10000"/>
              <a:gd name="connsiteY54" fmla="*/ 2218 h 10000"/>
              <a:gd name="connsiteX55" fmla="*/ 9768 w 10000"/>
              <a:gd name="connsiteY55" fmla="*/ 1740 h 10000"/>
              <a:gd name="connsiteX56" fmla="*/ 9628 w 10000"/>
              <a:gd name="connsiteY56" fmla="*/ 1324 h 10000"/>
              <a:gd name="connsiteX57" fmla="*/ 9458 w 10000"/>
              <a:gd name="connsiteY57" fmla="*/ 980 h 10000"/>
              <a:gd name="connsiteX58" fmla="*/ 9304 w 10000"/>
              <a:gd name="connsiteY58" fmla="*/ 699 h 10000"/>
              <a:gd name="connsiteX59" fmla="*/ 9165 w 10000"/>
              <a:gd name="connsiteY59" fmla="*/ 478 h 10000"/>
              <a:gd name="connsiteX60" fmla="*/ 8994 w 10000"/>
              <a:gd name="connsiteY60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813 w 10000"/>
              <a:gd name="connsiteY5" fmla="*/ 2365 h 10000"/>
              <a:gd name="connsiteX6" fmla="*/ 2967 w 10000"/>
              <a:gd name="connsiteY6" fmla="*/ 2622 h 10000"/>
              <a:gd name="connsiteX7" fmla="*/ 3030 w 10000"/>
              <a:gd name="connsiteY7" fmla="*/ 2806 h 10000"/>
              <a:gd name="connsiteX8" fmla="*/ 3076 w 10000"/>
              <a:gd name="connsiteY8" fmla="*/ 3125 h 10000"/>
              <a:gd name="connsiteX9" fmla="*/ 3045 w 10000"/>
              <a:gd name="connsiteY9" fmla="*/ 3505 h 10000"/>
              <a:gd name="connsiteX10" fmla="*/ 2982 w 10000"/>
              <a:gd name="connsiteY10" fmla="*/ 3737 h 10000"/>
              <a:gd name="connsiteX11" fmla="*/ 2844 w 10000"/>
              <a:gd name="connsiteY11" fmla="*/ 3995 h 10000"/>
              <a:gd name="connsiteX12" fmla="*/ 2674 w 10000"/>
              <a:gd name="connsiteY12" fmla="*/ 4240 h 10000"/>
              <a:gd name="connsiteX13" fmla="*/ 2458 w 10000"/>
              <a:gd name="connsiteY13" fmla="*/ 4473 h 10000"/>
              <a:gd name="connsiteX14" fmla="*/ 2210 w 10000"/>
              <a:gd name="connsiteY14" fmla="*/ 4682 h 10000"/>
              <a:gd name="connsiteX15" fmla="*/ 1947 w 10000"/>
              <a:gd name="connsiteY15" fmla="*/ 4841 h 10000"/>
              <a:gd name="connsiteX16" fmla="*/ 1685 w 10000"/>
              <a:gd name="connsiteY16" fmla="*/ 4975 h 10000"/>
              <a:gd name="connsiteX17" fmla="*/ 1252 w 10000"/>
              <a:gd name="connsiteY17" fmla="*/ 5135 h 10000"/>
              <a:gd name="connsiteX18" fmla="*/ 670 w 10000"/>
              <a:gd name="connsiteY18" fmla="*/ 5454 h 10000"/>
              <a:gd name="connsiteX19" fmla="*/ 2102 w 10000"/>
              <a:gd name="connsiteY19" fmla="*/ 7634 h 10000"/>
              <a:gd name="connsiteX20" fmla="*/ 0 w 10000"/>
              <a:gd name="connsiteY20" fmla="*/ 10000 h 10000"/>
              <a:gd name="connsiteX21" fmla="*/ 418 w 10000"/>
              <a:gd name="connsiteY21" fmla="*/ 9988 h 10000"/>
              <a:gd name="connsiteX22" fmla="*/ 850 w 10000"/>
              <a:gd name="connsiteY22" fmla="*/ 9975 h 10000"/>
              <a:gd name="connsiteX23" fmla="*/ 1329 w 10000"/>
              <a:gd name="connsiteY23" fmla="*/ 9926 h 10000"/>
              <a:gd name="connsiteX24" fmla="*/ 1824 w 10000"/>
              <a:gd name="connsiteY24" fmla="*/ 9877 h 10000"/>
              <a:gd name="connsiteX25" fmla="*/ 2302 w 10000"/>
              <a:gd name="connsiteY25" fmla="*/ 9792 h 10000"/>
              <a:gd name="connsiteX26" fmla="*/ 2782 w 10000"/>
              <a:gd name="connsiteY26" fmla="*/ 9706 h 10000"/>
              <a:gd name="connsiteX27" fmla="*/ 3153 w 10000"/>
              <a:gd name="connsiteY27" fmla="*/ 9620 h 10000"/>
              <a:gd name="connsiteX28" fmla="*/ 3554 w 10000"/>
              <a:gd name="connsiteY28" fmla="*/ 9521 h 10000"/>
              <a:gd name="connsiteX29" fmla="*/ 4049 w 10000"/>
              <a:gd name="connsiteY29" fmla="*/ 9387 h 10000"/>
              <a:gd name="connsiteX30" fmla="*/ 4467 w 10000"/>
              <a:gd name="connsiteY30" fmla="*/ 9240 h 10000"/>
              <a:gd name="connsiteX31" fmla="*/ 4868 w 10000"/>
              <a:gd name="connsiteY31" fmla="*/ 9105 h 10000"/>
              <a:gd name="connsiteX32" fmla="*/ 5301 w 10000"/>
              <a:gd name="connsiteY32" fmla="*/ 8922 h 10000"/>
              <a:gd name="connsiteX33" fmla="*/ 5734 w 10000"/>
              <a:gd name="connsiteY33" fmla="*/ 8737 h 10000"/>
              <a:gd name="connsiteX34" fmla="*/ 6089 w 10000"/>
              <a:gd name="connsiteY34" fmla="*/ 8566 h 10000"/>
              <a:gd name="connsiteX35" fmla="*/ 6491 w 10000"/>
              <a:gd name="connsiteY35" fmla="*/ 8333 h 10000"/>
              <a:gd name="connsiteX36" fmla="*/ 6893 w 10000"/>
              <a:gd name="connsiteY36" fmla="*/ 8101 h 10000"/>
              <a:gd name="connsiteX37" fmla="*/ 7249 w 10000"/>
              <a:gd name="connsiteY37" fmla="*/ 7843 h 10000"/>
              <a:gd name="connsiteX38" fmla="*/ 7542 w 10000"/>
              <a:gd name="connsiteY38" fmla="*/ 7634 h 10000"/>
              <a:gd name="connsiteX39" fmla="*/ 7867 w 10000"/>
              <a:gd name="connsiteY39" fmla="*/ 7377 h 10000"/>
              <a:gd name="connsiteX40" fmla="*/ 8114 w 10000"/>
              <a:gd name="connsiteY40" fmla="*/ 7157 h 10000"/>
              <a:gd name="connsiteX41" fmla="*/ 8393 w 10000"/>
              <a:gd name="connsiteY41" fmla="*/ 6887 h 10000"/>
              <a:gd name="connsiteX42" fmla="*/ 8670 w 10000"/>
              <a:gd name="connsiteY42" fmla="*/ 6605 h 10000"/>
              <a:gd name="connsiteX43" fmla="*/ 8871 w 10000"/>
              <a:gd name="connsiteY43" fmla="*/ 6299 h 10000"/>
              <a:gd name="connsiteX44" fmla="*/ 9088 w 10000"/>
              <a:gd name="connsiteY44" fmla="*/ 6029 h 10000"/>
              <a:gd name="connsiteX45" fmla="*/ 9242 w 10000"/>
              <a:gd name="connsiteY45" fmla="*/ 5772 h 10000"/>
              <a:gd name="connsiteX46" fmla="*/ 9458 w 10000"/>
              <a:gd name="connsiteY46" fmla="*/ 5379 h 10000"/>
              <a:gd name="connsiteX47" fmla="*/ 9597 w 10000"/>
              <a:gd name="connsiteY47" fmla="*/ 5073 h 10000"/>
              <a:gd name="connsiteX48" fmla="*/ 9768 w 10000"/>
              <a:gd name="connsiteY48" fmla="*/ 4657 h 10000"/>
              <a:gd name="connsiteX49" fmla="*/ 9876 w 10000"/>
              <a:gd name="connsiteY49" fmla="*/ 4191 h 10000"/>
              <a:gd name="connsiteX50" fmla="*/ 9953 w 10000"/>
              <a:gd name="connsiteY50" fmla="*/ 3775 h 10000"/>
              <a:gd name="connsiteX51" fmla="*/ 10000 w 10000"/>
              <a:gd name="connsiteY51" fmla="*/ 3407 h 10000"/>
              <a:gd name="connsiteX52" fmla="*/ 10000 w 10000"/>
              <a:gd name="connsiteY52" fmla="*/ 3015 h 10000"/>
              <a:gd name="connsiteX53" fmla="*/ 9984 w 10000"/>
              <a:gd name="connsiteY53" fmla="*/ 2696 h 10000"/>
              <a:gd name="connsiteX54" fmla="*/ 9922 w 10000"/>
              <a:gd name="connsiteY54" fmla="*/ 2218 h 10000"/>
              <a:gd name="connsiteX55" fmla="*/ 9768 w 10000"/>
              <a:gd name="connsiteY55" fmla="*/ 1740 h 10000"/>
              <a:gd name="connsiteX56" fmla="*/ 9628 w 10000"/>
              <a:gd name="connsiteY56" fmla="*/ 1324 h 10000"/>
              <a:gd name="connsiteX57" fmla="*/ 9458 w 10000"/>
              <a:gd name="connsiteY57" fmla="*/ 980 h 10000"/>
              <a:gd name="connsiteX58" fmla="*/ 9304 w 10000"/>
              <a:gd name="connsiteY58" fmla="*/ 699 h 10000"/>
              <a:gd name="connsiteX59" fmla="*/ 9165 w 10000"/>
              <a:gd name="connsiteY59" fmla="*/ 478 h 10000"/>
              <a:gd name="connsiteX60" fmla="*/ 8994 w 10000"/>
              <a:gd name="connsiteY60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813 w 10000"/>
              <a:gd name="connsiteY5" fmla="*/ 2365 h 10000"/>
              <a:gd name="connsiteX6" fmla="*/ 2967 w 10000"/>
              <a:gd name="connsiteY6" fmla="*/ 2622 h 10000"/>
              <a:gd name="connsiteX7" fmla="*/ 3030 w 10000"/>
              <a:gd name="connsiteY7" fmla="*/ 2806 h 10000"/>
              <a:gd name="connsiteX8" fmla="*/ 3076 w 10000"/>
              <a:gd name="connsiteY8" fmla="*/ 3125 h 10000"/>
              <a:gd name="connsiteX9" fmla="*/ 3045 w 10000"/>
              <a:gd name="connsiteY9" fmla="*/ 3505 h 10000"/>
              <a:gd name="connsiteX10" fmla="*/ 2982 w 10000"/>
              <a:gd name="connsiteY10" fmla="*/ 3737 h 10000"/>
              <a:gd name="connsiteX11" fmla="*/ 2844 w 10000"/>
              <a:gd name="connsiteY11" fmla="*/ 3995 h 10000"/>
              <a:gd name="connsiteX12" fmla="*/ 2674 w 10000"/>
              <a:gd name="connsiteY12" fmla="*/ 4240 h 10000"/>
              <a:gd name="connsiteX13" fmla="*/ 2458 w 10000"/>
              <a:gd name="connsiteY13" fmla="*/ 4473 h 10000"/>
              <a:gd name="connsiteX14" fmla="*/ 2210 w 10000"/>
              <a:gd name="connsiteY14" fmla="*/ 4682 h 10000"/>
              <a:gd name="connsiteX15" fmla="*/ 1947 w 10000"/>
              <a:gd name="connsiteY15" fmla="*/ 4841 h 10000"/>
              <a:gd name="connsiteX16" fmla="*/ 1685 w 10000"/>
              <a:gd name="connsiteY16" fmla="*/ 4975 h 10000"/>
              <a:gd name="connsiteX17" fmla="*/ 1252 w 10000"/>
              <a:gd name="connsiteY17" fmla="*/ 5135 h 10000"/>
              <a:gd name="connsiteX18" fmla="*/ 701 w 10000"/>
              <a:gd name="connsiteY18" fmla="*/ 5442 h 10000"/>
              <a:gd name="connsiteX19" fmla="*/ 2102 w 10000"/>
              <a:gd name="connsiteY19" fmla="*/ 7634 h 10000"/>
              <a:gd name="connsiteX20" fmla="*/ 0 w 10000"/>
              <a:gd name="connsiteY20" fmla="*/ 10000 h 10000"/>
              <a:gd name="connsiteX21" fmla="*/ 418 w 10000"/>
              <a:gd name="connsiteY21" fmla="*/ 9988 h 10000"/>
              <a:gd name="connsiteX22" fmla="*/ 850 w 10000"/>
              <a:gd name="connsiteY22" fmla="*/ 9975 h 10000"/>
              <a:gd name="connsiteX23" fmla="*/ 1329 w 10000"/>
              <a:gd name="connsiteY23" fmla="*/ 9926 h 10000"/>
              <a:gd name="connsiteX24" fmla="*/ 1824 w 10000"/>
              <a:gd name="connsiteY24" fmla="*/ 9877 h 10000"/>
              <a:gd name="connsiteX25" fmla="*/ 2302 w 10000"/>
              <a:gd name="connsiteY25" fmla="*/ 9792 h 10000"/>
              <a:gd name="connsiteX26" fmla="*/ 2782 w 10000"/>
              <a:gd name="connsiteY26" fmla="*/ 9706 h 10000"/>
              <a:gd name="connsiteX27" fmla="*/ 3153 w 10000"/>
              <a:gd name="connsiteY27" fmla="*/ 9620 h 10000"/>
              <a:gd name="connsiteX28" fmla="*/ 3554 w 10000"/>
              <a:gd name="connsiteY28" fmla="*/ 9521 h 10000"/>
              <a:gd name="connsiteX29" fmla="*/ 4049 w 10000"/>
              <a:gd name="connsiteY29" fmla="*/ 9387 h 10000"/>
              <a:gd name="connsiteX30" fmla="*/ 4467 w 10000"/>
              <a:gd name="connsiteY30" fmla="*/ 9240 h 10000"/>
              <a:gd name="connsiteX31" fmla="*/ 4868 w 10000"/>
              <a:gd name="connsiteY31" fmla="*/ 9105 h 10000"/>
              <a:gd name="connsiteX32" fmla="*/ 5301 w 10000"/>
              <a:gd name="connsiteY32" fmla="*/ 8922 h 10000"/>
              <a:gd name="connsiteX33" fmla="*/ 5734 w 10000"/>
              <a:gd name="connsiteY33" fmla="*/ 8737 h 10000"/>
              <a:gd name="connsiteX34" fmla="*/ 6089 w 10000"/>
              <a:gd name="connsiteY34" fmla="*/ 8566 h 10000"/>
              <a:gd name="connsiteX35" fmla="*/ 6491 w 10000"/>
              <a:gd name="connsiteY35" fmla="*/ 8333 h 10000"/>
              <a:gd name="connsiteX36" fmla="*/ 6893 w 10000"/>
              <a:gd name="connsiteY36" fmla="*/ 8101 h 10000"/>
              <a:gd name="connsiteX37" fmla="*/ 7249 w 10000"/>
              <a:gd name="connsiteY37" fmla="*/ 7843 h 10000"/>
              <a:gd name="connsiteX38" fmla="*/ 7542 w 10000"/>
              <a:gd name="connsiteY38" fmla="*/ 7634 h 10000"/>
              <a:gd name="connsiteX39" fmla="*/ 7867 w 10000"/>
              <a:gd name="connsiteY39" fmla="*/ 7377 h 10000"/>
              <a:gd name="connsiteX40" fmla="*/ 8114 w 10000"/>
              <a:gd name="connsiteY40" fmla="*/ 7157 h 10000"/>
              <a:gd name="connsiteX41" fmla="*/ 8393 w 10000"/>
              <a:gd name="connsiteY41" fmla="*/ 6887 h 10000"/>
              <a:gd name="connsiteX42" fmla="*/ 8670 w 10000"/>
              <a:gd name="connsiteY42" fmla="*/ 6605 h 10000"/>
              <a:gd name="connsiteX43" fmla="*/ 8871 w 10000"/>
              <a:gd name="connsiteY43" fmla="*/ 6299 h 10000"/>
              <a:gd name="connsiteX44" fmla="*/ 9088 w 10000"/>
              <a:gd name="connsiteY44" fmla="*/ 6029 h 10000"/>
              <a:gd name="connsiteX45" fmla="*/ 9242 w 10000"/>
              <a:gd name="connsiteY45" fmla="*/ 5772 h 10000"/>
              <a:gd name="connsiteX46" fmla="*/ 9458 w 10000"/>
              <a:gd name="connsiteY46" fmla="*/ 5379 h 10000"/>
              <a:gd name="connsiteX47" fmla="*/ 9597 w 10000"/>
              <a:gd name="connsiteY47" fmla="*/ 5073 h 10000"/>
              <a:gd name="connsiteX48" fmla="*/ 9768 w 10000"/>
              <a:gd name="connsiteY48" fmla="*/ 4657 h 10000"/>
              <a:gd name="connsiteX49" fmla="*/ 9876 w 10000"/>
              <a:gd name="connsiteY49" fmla="*/ 4191 h 10000"/>
              <a:gd name="connsiteX50" fmla="*/ 9953 w 10000"/>
              <a:gd name="connsiteY50" fmla="*/ 3775 h 10000"/>
              <a:gd name="connsiteX51" fmla="*/ 10000 w 10000"/>
              <a:gd name="connsiteY51" fmla="*/ 3407 h 10000"/>
              <a:gd name="connsiteX52" fmla="*/ 10000 w 10000"/>
              <a:gd name="connsiteY52" fmla="*/ 3015 h 10000"/>
              <a:gd name="connsiteX53" fmla="*/ 9984 w 10000"/>
              <a:gd name="connsiteY53" fmla="*/ 2696 h 10000"/>
              <a:gd name="connsiteX54" fmla="*/ 9922 w 10000"/>
              <a:gd name="connsiteY54" fmla="*/ 2218 h 10000"/>
              <a:gd name="connsiteX55" fmla="*/ 9768 w 10000"/>
              <a:gd name="connsiteY55" fmla="*/ 1740 h 10000"/>
              <a:gd name="connsiteX56" fmla="*/ 9628 w 10000"/>
              <a:gd name="connsiteY56" fmla="*/ 1324 h 10000"/>
              <a:gd name="connsiteX57" fmla="*/ 9458 w 10000"/>
              <a:gd name="connsiteY57" fmla="*/ 980 h 10000"/>
              <a:gd name="connsiteX58" fmla="*/ 9304 w 10000"/>
              <a:gd name="connsiteY58" fmla="*/ 699 h 10000"/>
              <a:gd name="connsiteX59" fmla="*/ 9165 w 10000"/>
              <a:gd name="connsiteY59" fmla="*/ 478 h 10000"/>
              <a:gd name="connsiteX60" fmla="*/ 8994 w 10000"/>
              <a:gd name="connsiteY60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813 w 10000"/>
              <a:gd name="connsiteY5" fmla="*/ 2365 h 10000"/>
              <a:gd name="connsiteX6" fmla="*/ 2967 w 10000"/>
              <a:gd name="connsiteY6" fmla="*/ 2622 h 10000"/>
              <a:gd name="connsiteX7" fmla="*/ 3030 w 10000"/>
              <a:gd name="connsiteY7" fmla="*/ 2806 h 10000"/>
              <a:gd name="connsiteX8" fmla="*/ 3076 w 10000"/>
              <a:gd name="connsiteY8" fmla="*/ 3125 h 10000"/>
              <a:gd name="connsiteX9" fmla="*/ 3045 w 10000"/>
              <a:gd name="connsiteY9" fmla="*/ 3505 h 10000"/>
              <a:gd name="connsiteX10" fmla="*/ 2982 w 10000"/>
              <a:gd name="connsiteY10" fmla="*/ 3737 h 10000"/>
              <a:gd name="connsiteX11" fmla="*/ 2844 w 10000"/>
              <a:gd name="connsiteY11" fmla="*/ 3995 h 10000"/>
              <a:gd name="connsiteX12" fmla="*/ 2674 w 10000"/>
              <a:gd name="connsiteY12" fmla="*/ 4240 h 10000"/>
              <a:gd name="connsiteX13" fmla="*/ 2458 w 10000"/>
              <a:gd name="connsiteY13" fmla="*/ 4473 h 10000"/>
              <a:gd name="connsiteX14" fmla="*/ 2210 w 10000"/>
              <a:gd name="connsiteY14" fmla="*/ 4682 h 10000"/>
              <a:gd name="connsiteX15" fmla="*/ 1947 w 10000"/>
              <a:gd name="connsiteY15" fmla="*/ 4841 h 10000"/>
              <a:gd name="connsiteX16" fmla="*/ 1685 w 10000"/>
              <a:gd name="connsiteY16" fmla="*/ 4975 h 10000"/>
              <a:gd name="connsiteX17" fmla="*/ 1252 w 10000"/>
              <a:gd name="connsiteY17" fmla="*/ 5135 h 10000"/>
              <a:gd name="connsiteX18" fmla="*/ 670 w 10000"/>
              <a:gd name="connsiteY18" fmla="*/ 5454 h 10000"/>
              <a:gd name="connsiteX19" fmla="*/ 2102 w 10000"/>
              <a:gd name="connsiteY19" fmla="*/ 7634 h 10000"/>
              <a:gd name="connsiteX20" fmla="*/ 0 w 10000"/>
              <a:gd name="connsiteY20" fmla="*/ 10000 h 10000"/>
              <a:gd name="connsiteX21" fmla="*/ 418 w 10000"/>
              <a:gd name="connsiteY21" fmla="*/ 9988 h 10000"/>
              <a:gd name="connsiteX22" fmla="*/ 850 w 10000"/>
              <a:gd name="connsiteY22" fmla="*/ 9975 h 10000"/>
              <a:gd name="connsiteX23" fmla="*/ 1329 w 10000"/>
              <a:gd name="connsiteY23" fmla="*/ 9926 h 10000"/>
              <a:gd name="connsiteX24" fmla="*/ 1824 w 10000"/>
              <a:gd name="connsiteY24" fmla="*/ 9877 h 10000"/>
              <a:gd name="connsiteX25" fmla="*/ 2302 w 10000"/>
              <a:gd name="connsiteY25" fmla="*/ 9792 h 10000"/>
              <a:gd name="connsiteX26" fmla="*/ 2782 w 10000"/>
              <a:gd name="connsiteY26" fmla="*/ 9706 h 10000"/>
              <a:gd name="connsiteX27" fmla="*/ 3153 w 10000"/>
              <a:gd name="connsiteY27" fmla="*/ 9620 h 10000"/>
              <a:gd name="connsiteX28" fmla="*/ 3554 w 10000"/>
              <a:gd name="connsiteY28" fmla="*/ 9521 h 10000"/>
              <a:gd name="connsiteX29" fmla="*/ 4049 w 10000"/>
              <a:gd name="connsiteY29" fmla="*/ 9387 h 10000"/>
              <a:gd name="connsiteX30" fmla="*/ 4467 w 10000"/>
              <a:gd name="connsiteY30" fmla="*/ 9240 h 10000"/>
              <a:gd name="connsiteX31" fmla="*/ 4868 w 10000"/>
              <a:gd name="connsiteY31" fmla="*/ 9105 h 10000"/>
              <a:gd name="connsiteX32" fmla="*/ 5301 w 10000"/>
              <a:gd name="connsiteY32" fmla="*/ 8922 h 10000"/>
              <a:gd name="connsiteX33" fmla="*/ 5734 w 10000"/>
              <a:gd name="connsiteY33" fmla="*/ 8737 h 10000"/>
              <a:gd name="connsiteX34" fmla="*/ 6089 w 10000"/>
              <a:gd name="connsiteY34" fmla="*/ 8566 h 10000"/>
              <a:gd name="connsiteX35" fmla="*/ 6491 w 10000"/>
              <a:gd name="connsiteY35" fmla="*/ 8333 h 10000"/>
              <a:gd name="connsiteX36" fmla="*/ 6893 w 10000"/>
              <a:gd name="connsiteY36" fmla="*/ 8101 h 10000"/>
              <a:gd name="connsiteX37" fmla="*/ 7249 w 10000"/>
              <a:gd name="connsiteY37" fmla="*/ 7843 h 10000"/>
              <a:gd name="connsiteX38" fmla="*/ 7542 w 10000"/>
              <a:gd name="connsiteY38" fmla="*/ 7634 h 10000"/>
              <a:gd name="connsiteX39" fmla="*/ 7867 w 10000"/>
              <a:gd name="connsiteY39" fmla="*/ 7377 h 10000"/>
              <a:gd name="connsiteX40" fmla="*/ 8114 w 10000"/>
              <a:gd name="connsiteY40" fmla="*/ 7157 h 10000"/>
              <a:gd name="connsiteX41" fmla="*/ 8393 w 10000"/>
              <a:gd name="connsiteY41" fmla="*/ 6887 h 10000"/>
              <a:gd name="connsiteX42" fmla="*/ 8670 w 10000"/>
              <a:gd name="connsiteY42" fmla="*/ 6605 h 10000"/>
              <a:gd name="connsiteX43" fmla="*/ 8871 w 10000"/>
              <a:gd name="connsiteY43" fmla="*/ 6299 h 10000"/>
              <a:gd name="connsiteX44" fmla="*/ 9088 w 10000"/>
              <a:gd name="connsiteY44" fmla="*/ 6029 h 10000"/>
              <a:gd name="connsiteX45" fmla="*/ 9242 w 10000"/>
              <a:gd name="connsiteY45" fmla="*/ 5772 h 10000"/>
              <a:gd name="connsiteX46" fmla="*/ 9458 w 10000"/>
              <a:gd name="connsiteY46" fmla="*/ 5379 h 10000"/>
              <a:gd name="connsiteX47" fmla="*/ 9597 w 10000"/>
              <a:gd name="connsiteY47" fmla="*/ 5073 h 10000"/>
              <a:gd name="connsiteX48" fmla="*/ 9768 w 10000"/>
              <a:gd name="connsiteY48" fmla="*/ 4657 h 10000"/>
              <a:gd name="connsiteX49" fmla="*/ 9876 w 10000"/>
              <a:gd name="connsiteY49" fmla="*/ 4191 h 10000"/>
              <a:gd name="connsiteX50" fmla="*/ 9953 w 10000"/>
              <a:gd name="connsiteY50" fmla="*/ 3775 h 10000"/>
              <a:gd name="connsiteX51" fmla="*/ 10000 w 10000"/>
              <a:gd name="connsiteY51" fmla="*/ 3407 h 10000"/>
              <a:gd name="connsiteX52" fmla="*/ 10000 w 10000"/>
              <a:gd name="connsiteY52" fmla="*/ 3015 h 10000"/>
              <a:gd name="connsiteX53" fmla="*/ 9984 w 10000"/>
              <a:gd name="connsiteY53" fmla="*/ 2696 h 10000"/>
              <a:gd name="connsiteX54" fmla="*/ 9922 w 10000"/>
              <a:gd name="connsiteY54" fmla="*/ 2218 h 10000"/>
              <a:gd name="connsiteX55" fmla="*/ 9768 w 10000"/>
              <a:gd name="connsiteY55" fmla="*/ 1740 h 10000"/>
              <a:gd name="connsiteX56" fmla="*/ 9628 w 10000"/>
              <a:gd name="connsiteY56" fmla="*/ 1324 h 10000"/>
              <a:gd name="connsiteX57" fmla="*/ 9458 w 10000"/>
              <a:gd name="connsiteY57" fmla="*/ 980 h 10000"/>
              <a:gd name="connsiteX58" fmla="*/ 9304 w 10000"/>
              <a:gd name="connsiteY58" fmla="*/ 699 h 10000"/>
              <a:gd name="connsiteX59" fmla="*/ 9165 w 10000"/>
              <a:gd name="connsiteY59" fmla="*/ 478 h 10000"/>
              <a:gd name="connsiteX60" fmla="*/ 8994 w 10000"/>
              <a:gd name="connsiteY60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813 w 10000"/>
              <a:gd name="connsiteY5" fmla="*/ 2365 h 10000"/>
              <a:gd name="connsiteX6" fmla="*/ 2967 w 10000"/>
              <a:gd name="connsiteY6" fmla="*/ 2622 h 10000"/>
              <a:gd name="connsiteX7" fmla="*/ 3030 w 10000"/>
              <a:gd name="connsiteY7" fmla="*/ 2806 h 10000"/>
              <a:gd name="connsiteX8" fmla="*/ 3076 w 10000"/>
              <a:gd name="connsiteY8" fmla="*/ 3125 h 10000"/>
              <a:gd name="connsiteX9" fmla="*/ 3045 w 10000"/>
              <a:gd name="connsiteY9" fmla="*/ 3505 h 10000"/>
              <a:gd name="connsiteX10" fmla="*/ 2982 w 10000"/>
              <a:gd name="connsiteY10" fmla="*/ 3737 h 10000"/>
              <a:gd name="connsiteX11" fmla="*/ 2844 w 10000"/>
              <a:gd name="connsiteY11" fmla="*/ 3995 h 10000"/>
              <a:gd name="connsiteX12" fmla="*/ 2674 w 10000"/>
              <a:gd name="connsiteY12" fmla="*/ 4240 h 10000"/>
              <a:gd name="connsiteX13" fmla="*/ 2458 w 10000"/>
              <a:gd name="connsiteY13" fmla="*/ 4473 h 10000"/>
              <a:gd name="connsiteX14" fmla="*/ 2210 w 10000"/>
              <a:gd name="connsiteY14" fmla="*/ 4682 h 10000"/>
              <a:gd name="connsiteX15" fmla="*/ 1947 w 10000"/>
              <a:gd name="connsiteY15" fmla="*/ 4841 h 10000"/>
              <a:gd name="connsiteX16" fmla="*/ 1685 w 10000"/>
              <a:gd name="connsiteY16" fmla="*/ 4975 h 10000"/>
              <a:gd name="connsiteX17" fmla="*/ 1252 w 10000"/>
              <a:gd name="connsiteY17" fmla="*/ 5135 h 10000"/>
              <a:gd name="connsiteX18" fmla="*/ 623 w 10000"/>
              <a:gd name="connsiteY18" fmla="*/ 5473 h 10000"/>
              <a:gd name="connsiteX19" fmla="*/ 2102 w 10000"/>
              <a:gd name="connsiteY19" fmla="*/ 7634 h 10000"/>
              <a:gd name="connsiteX20" fmla="*/ 0 w 10000"/>
              <a:gd name="connsiteY20" fmla="*/ 10000 h 10000"/>
              <a:gd name="connsiteX21" fmla="*/ 418 w 10000"/>
              <a:gd name="connsiteY21" fmla="*/ 9988 h 10000"/>
              <a:gd name="connsiteX22" fmla="*/ 850 w 10000"/>
              <a:gd name="connsiteY22" fmla="*/ 9975 h 10000"/>
              <a:gd name="connsiteX23" fmla="*/ 1329 w 10000"/>
              <a:gd name="connsiteY23" fmla="*/ 9926 h 10000"/>
              <a:gd name="connsiteX24" fmla="*/ 1824 w 10000"/>
              <a:gd name="connsiteY24" fmla="*/ 9877 h 10000"/>
              <a:gd name="connsiteX25" fmla="*/ 2302 w 10000"/>
              <a:gd name="connsiteY25" fmla="*/ 9792 h 10000"/>
              <a:gd name="connsiteX26" fmla="*/ 2782 w 10000"/>
              <a:gd name="connsiteY26" fmla="*/ 9706 h 10000"/>
              <a:gd name="connsiteX27" fmla="*/ 3153 w 10000"/>
              <a:gd name="connsiteY27" fmla="*/ 9620 h 10000"/>
              <a:gd name="connsiteX28" fmla="*/ 3554 w 10000"/>
              <a:gd name="connsiteY28" fmla="*/ 9521 h 10000"/>
              <a:gd name="connsiteX29" fmla="*/ 4049 w 10000"/>
              <a:gd name="connsiteY29" fmla="*/ 9387 h 10000"/>
              <a:gd name="connsiteX30" fmla="*/ 4467 w 10000"/>
              <a:gd name="connsiteY30" fmla="*/ 9240 h 10000"/>
              <a:gd name="connsiteX31" fmla="*/ 4868 w 10000"/>
              <a:gd name="connsiteY31" fmla="*/ 9105 h 10000"/>
              <a:gd name="connsiteX32" fmla="*/ 5301 w 10000"/>
              <a:gd name="connsiteY32" fmla="*/ 8922 h 10000"/>
              <a:gd name="connsiteX33" fmla="*/ 5734 w 10000"/>
              <a:gd name="connsiteY33" fmla="*/ 8737 h 10000"/>
              <a:gd name="connsiteX34" fmla="*/ 6089 w 10000"/>
              <a:gd name="connsiteY34" fmla="*/ 8566 h 10000"/>
              <a:gd name="connsiteX35" fmla="*/ 6491 w 10000"/>
              <a:gd name="connsiteY35" fmla="*/ 8333 h 10000"/>
              <a:gd name="connsiteX36" fmla="*/ 6893 w 10000"/>
              <a:gd name="connsiteY36" fmla="*/ 8101 h 10000"/>
              <a:gd name="connsiteX37" fmla="*/ 7249 w 10000"/>
              <a:gd name="connsiteY37" fmla="*/ 7843 h 10000"/>
              <a:gd name="connsiteX38" fmla="*/ 7542 w 10000"/>
              <a:gd name="connsiteY38" fmla="*/ 7634 h 10000"/>
              <a:gd name="connsiteX39" fmla="*/ 7867 w 10000"/>
              <a:gd name="connsiteY39" fmla="*/ 7377 h 10000"/>
              <a:gd name="connsiteX40" fmla="*/ 8114 w 10000"/>
              <a:gd name="connsiteY40" fmla="*/ 7157 h 10000"/>
              <a:gd name="connsiteX41" fmla="*/ 8393 w 10000"/>
              <a:gd name="connsiteY41" fmla="*/ 6887 h 10000"/>
              <a:gd name="connsiteX42" fmla="*/ 8670 w 10000"/>
              <a:gd name="connsiteY42" fmla="*/ 6605 h 10000"/>
              <a:gd name="connsiteX43" fmla="*/ 8871 w 10000"/>
              <a:gd name="connsiteY43" fmla="*/ 6299 h 10000"/>
              <a:gd name="connsiteX44" fmla="*/ 9088 w 10000"/>
              <a:gd name="connsiteY44" fmla="*/ 6029 h 10000"/>
              <a:gd name="connsiteX45" fmla="*/ 9242 w 10000"/>
              <a:gd name="connsiteY45" fmla="*/ 5772 h 10000"/>
              <a:gd name="connsiteX46" fmla="*/ 9458 w 10000"/>
              <a:gd name="connsiteY46" fmla="*/ 5379 h 10000"/>
              <a:gd name="connsiteX47" fmla="*/ 9597 w 10000"/>
              <a:gd name="connsiteY47" fmla="*/ 5073 h 10000"/>
              <a:gd name="connsiteX48" fmla="*/ 9768 w 10000"/>
              <a:gd name="connsiteY48" fmla="*/ 4657 h 10000"/>
              <a:gd name="connsiteX49" fmla="*/ 9876 w 10000"/>
              <a:gd name="connsiteY49" fmla="*/ 4191 h 10000"/>
              <a:gd name="connsiteX50" fmla="*/ 9953 w 10000"/>
              <a:gd name="connsiteY50" fmla="*/ 3775 h 10000"/>
              <a:gd name="connsiteX51" fmla="*/ 10000 w 10000"/>
              <a:gd name="connsiteY51" fmla="*/ 3407 h 10000"/>
              <a:gd name="connsiteX52" fmla="*/ 10000 w 10000"/>
              <a:gd name="connsiteY52" fmla="*/ 3015 h 10000"/>
              <a:gd name="connsiteX53" fmla="*/ 9984 w 10000"/>
              <a:gd name="connsiteY53" fmla="*/ 2696 h 10000"/>
              <a:gd name="connsiteX54" fmla="*/ 9922 w 10000"/>
              <a:gd name="connsiteY54" fmla="*/ 2218 h 10000"/>
              <a:gd name="connsiteX55" fmla="*/ 9768 w 10000"/>
              <a:gd name="connsiteY55" fmla="*/ 1740 h 10000"/>
              <a:gd name="connsiteX56" fmla="*/ 9628 w 10000"/>
              <a:gd name="connsiteY56" fmla="*/ 1324 h 10000"/>
              <a:gd name="connsiteX57" fmla="*/ 9458 w 10000"/>
              <a:gd name="connsiteY57" fmla="*/ 980 h 10000"/>
              <a:gd name="connsiteX58" fmla="*/ 9304 w 10000"/>
              <a:gd name="connsiteY58" fmla="*/ 699 h 10000"/>
              <a:gd name="connsiteX59" fmla="*/ 9165 w 10000"/>
              <a:gd name="connsiteY59" fmla="*/ 478 h 10000"/>
              <a:gd name="connsiteX60" fmla="*/ 8994 w 10000"/>
              <a:gd name="connsiteY60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813 w 10000"/>
              <a:gd name="connsiteY5" fmla="*/ 2365 h 10000"/>
              <a:gd name="connsiteX6" fmla="*/ 2967 w 10000"/>
              <a:gd name="connsiteY6" fmla="*/ 2622 h 10000"/>
              <a:gd name="connsiteX7" fmla="*/ 3030 w 10000"/>
              <a:gd name="connsiteY7" fmla="*/ 2806 h 10000"/>
              <a:gd name="connsiteX8" fmla="*/ 3076 w 10000"/>
              <a:gd name="connsiteY8" fmla="*/ 3125 h 10000"/>
              <a:gd name="connsiteX9" fmla="*/ 3045 w 10000"/>
              <a:gd name="connsiteY9" fmla="*/ 3505 h 10000"/>
              <a:gd name="connsiteX10" fmla="*/ 2982 w 10000"/>
              <a:gd name="connsiteY10" fmla="*/ 3737 h 10000"/>
              <a:gd name="connsiteX11" fmla="*/ 2844 w 10000"/>
              <a:gd name="connsiteY11" fmla="*/ 3995 h 10000"/>
              <a:gd name="connsiteX12" fmla="*/ 2674 w 10000"/>
              <a:gd name="connsiteY12" fmla="*/ 4240 h 10000"/>
              <a:gd name="connsiteX13" fmla="*/ 2458 w 10000"/>
              <a:gd name="connsiteY13" fmla="*/ 4473 h 10000"/>
              <a:gd name="connsiteX14" fmla="*/ 2210 w 10000"/>
              <a:gd name="connsiteY14" fmla="*/ 4682 h 10000"/>
              <a:gd name="connsiteX15" fmla="*/ 1947 w 10000"/>
              <a:gd name="connsiteY15" fmla="*/ 4841 h 10000"/>
              <a:gd name="connsiteX16" fmla="*/ 1685 w 10000"/>
              <a:gd name="connsiteY16" fmla="*/ 4975 h 10000"/>
              <a:gd name="connsiteX17" fmla="*/ 1296 w 10000"/>
              <a:gd name="connsiteY17" fmla="*/ 5202 h 10000"/>
              <a:gd name="connsiteX18" fmla="*/ 623 w 10000"/>
              <a:gd name="connsiteY18" fmla="*/ 5473 h 10000"/>
              <a:gd name="connsiteX19" fmla="*/ 2102 w 10000"/>
              <a:gd name="connsiteY19" fmla="*/ 7634 h 10000"/>
              <a:gd name="connsiteX20" fmla="*/ 0 w 10000"/>
              <a:gd name="connsiteY20" fmla="*/ 10000 h 10000"/>
              <a:gd name="connsiteX21" fmla="*/ 418 w 10000"/>
              <a:gd name="connsiteY21" fmla="*/ 9988 h 10000"/>
              <a:gd name="connsiteX22" fmla="*/ 850 w 10000"/>
              <a:gd name="connsiteY22" fmla="*/ 9975 h 10000"/>
              <a:gd name="connsiteX23" fmla="*/ 1329 w 10000"/>
              <a:gd name="connsiteY23" fmla="*/ 9926 h 10000"/>
              <a:gd name="connsiteX24" fmla="*/ 1824 w 10000"/>
              <a:gd name="connsiteY24" fmla="*/ 9877 h 10000"/>
              <a:gd name="connsiteX25" fmla="*/ 2302 w 10000"/>
              <a:gd name="connsiteY25" fmla="*/ 9792 h 10000"/>
              <a:gd name="connsiteX26" fmla="*/ 2782 w 10000"/>
              <a:gd name="connsiteY26" fmla="*/ 9706 h 10000"/>
              <a:gd name="connsiteX27" fmla="*/ 3153 w 10000"/>
              <a:gd name="connsiteY27" fmla="*/ 9620 h 10000"/>
              <a:gd name="connsiteX28" fmla="*/ 3554 w 10000"/>
              <a:gd name="connsiteY28" fmla="*/ 9521 h 10000"/>
              <a:gd name="connsiteX29" fmla="*/ 4049 w 10000"/>
              <a:gd name="connsiteY29" fmla="*/ 9387 h 10000"/>
              <a:gd name="connsiteX30" fmla="*/ 4467 w 10000"/>
              <a:gd name="connsiteY30" fmla="*/ 9240 h 10000"/>
              <a:gd name="connsiteX31" fmla="*/ 4868 w 10000"/>
              <a:gd name="connsiteY31" fmla="*/ 9105 h 10000"/>
              <a:gd name="connsiteX32" fmla="*/ 5301 w 10000"/>
              <a:gd name="connsiteY32" fmla="*/ 8922 h 10000"/>
              <a:gd name="connsiteX33" fmla="*/ 5734 w 10000"/>
              <a:gd name="connsiteY33" fmla="*/ 8737 h 10000"/>
              <a:gd name="connsiteX34" fmla="*/ 6089 w 10000"/>
              <a:gd name="connsiteY34" fmla="*/ 8566 h 10000"/>
              <a:gd name="connsiteX35" fmla="*/ 6491 w 10000"/>
              <a:gd name="connsiteY35" fmla="*/ 8333 h 10000"/>
              <a:gd name="connsiteX36" fmla="*/ 6893 w 10000"/>
              <a:gd name="connsiteY36" fmla="*/ 8101 h 10000"/>
              <a:gd name="connsiteX37" fmla="*/ 7249 w 10000"/>
              <a:gd name="connsiteY37" fmla="*/ 7843 h 10000"/>
              <a:gd name="connsiteX38" fmla="*/ 7542 w 10000"/>
              <a:gd name="connsiteY38" fmla="*/ 7634 h 10000"/>
              <a:gd name="connsiteX39" fmla="*/ 7867 w 10000"/>
              <a:gd name="connsiteY39" fmla="*/ 7377 h 10000"/>
              <a:gd name="connsiteX40" fmla="*/ 8114 w 10000"/>
              <a:gd name="connsiteY40" fmla="*/ 7157 h 10000"/>
              <a:gd name="connsiteX41" fmla="*/ 8393 w 10000"/>
              <a:gd name="connsiteY41" fmla="*/ 6887 h 10000"/>
              <a:gd name="connsiteX42" fmla="*/ 8670 w 10000"/>
              <a:gd name="connsiteY42" fmla="*/ 6605 h 10000"/>
              <a:gd name="connsiteX43" fmla="*/ 8871 w 10000"/>
              <a:gd name="connsiteY43" fmla="*/ 6299 h 10000"/>
              <a:gd name="connsiteX44" fmla="*/ 9088 w 10000"/>
              <a:gd name="connsiteY44" fmla="*/ 6029 h 10000"/>
              <a:gd name="connsiteX45" fmla="*/ 9242 w 10000"/>
              <a:gd name="connsiteY45" fmla="*/ 5772 h 10000"/>
              <a:gd name="connsiteX46" fmla="*/ 9458 w 10000"/>
              <a:gd name="connsiteY46" fmla="*/ 5379 h 10000"/>
              <a:gd name="connsiteX47" fmla="*/ 9597 w 10000"/>
              <a:gd name="connsiteY47" fmla="*/ 5073 h 10000"/>
              <a:gd name="connsiteX48" fmla="*/ 9768 w 10000"/>
              <a:gd name="connsiteY48" fmla="*/ 4657 h 10000"/>
              <a:gd name="connsiteX49" fmla="*/ 9876 w 10000"/>
              <a:gd name="connsiteY49" fmla="*/ 4191 h 10000"/>
              <a:gd name="connsiteX50" fmla="*/ 9953 w 10000"/>
              <a:gd name="connsiteY50" fmla="*/ 3775 h 10000"/>
              <a:gd name="connsiteX51" fmla="*/ 10000 w 10000"/>
              <a:gd name="connsiteY51" fmla="*/ 3407 h 10000"/>
              <a:gd name="connsiteX52" fmla="*/ 10000 w 10000"/>
              <a:gd name="connsiteY52" fmla="*/ 3015 h 10000"/>
              <a:gd name="connsiteX53" fmla="*/ 9984 w 10000"/>
              <a:gd name="connsiteY53" fmla="*/ 2696 h 10000"/>
              <a:gd name="connsiteX54" fmla="*/ 9922 w 10000"/>
              <a:gd name="connsiteY54" fmla="*/ 2218 h 10000"/>
              <a:gd name="connsiteX55" fmla="*/ 9768 w 10000"/>
              <a:gd name="connsiteY55" fmla="*/ 1740 h 10000"/>
              <a:gd name="connsiteX56" fmla="*/ 9628 w 10000"/>
              <a:gd name="connsiteY56" fmla="*/ 1324 h 10000"/>
              <a:gd name="connsiteX57" fmla="*/ 9458 w 10000"/>
              <a:gd name="connsiteY57" fmla="*/ 980 h 10000"/>
              <a:gd name="connsiteX58" fmla="*/ 9304 w 10000"/>
              <a:gd name="connsiteY58" fmla="*/ 699 h 10000"/>
              <a:gd name="connsiteX59" fmla="*/ 9165 w 10000"/>
              <a:gd name="connsiteY59" fmla="*/ 478 h 10000"/>
              <a:gd name="connsiteX60" fmla="*/ 8994 w 10000"/>
              <a:gd name="connsiteY60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813 w 10000"/>
              <a:gd name="connsiteY5" fmla="*/ 2365 h 10000"/>
              <a:gd name="connsiteX6" fmla="*/ 2967 w 10000"/>
              <a:gd name="connsiteY6" fmla="*/ 2622 h 10000"/>
              <a:gd name="connsiteX7" fmla="*/ 3030 w 10000"/>
              <a:gd name="connsiteY7" fmla="*/ 2806 h 10000"/>
              <a:gd name="connsiteX8" fmla="*/ 3076 w 10000"/>
              <a:gd name="connsiteY8" fmla="*/ 3125 h 10000"/>
              <a:gd name="connsiteX9" fmla="*/ 3045 w 10000"/>
              <a:gd name="connsiteY9" fmla="*/ 3505 h 10000"/>
              <a:gd name="connsiteX10" fmla="*/ 2982 w 10000"/>
              <a:gd name="connsiteY10" fmla="*/ 3737 h 10000"/>
              <a:gd name="connsiteX11" fmla="*/ 2844 w 10000"/>
              <a:gd name="connsiteY11" fmla="*/ 3995 h 10000"/>
              <a:gd name="connsiteX12" fmla="*/ 2674 w 10000"/>
              <a:gd name="connsiteY12" fmla="*/ 4240 h 10000"/>
              <a:gd name="connsiteX13" fmla="*/ 2458 w 10000"/>
              <a:gd name="connsiteY13" fmla="*/ 4473 h 10000"/>
              <a:gd name="connsiteX14" fmla="*/ 2210 w 10000"/>
              <a:gd name="connsiteY14" fmla="*/ 4682 h 10000"/>
              <a:gd name="connsiteX15" fmla="*/ 1947 w 10000"/>
              <a:gd name="connsiteY15" fmla="*/ 4841 h 10000"/>
              <a:gd name="connsiteX16" fmla="*/ 1685 w 10000"/>
              <a:gd name="connsiteY16" fmla="*/ 4975 h 10000"/>
              <a:gd name="connsiteX17" fmla="*/ 1296 w 10000"/>
              <a:gd name="connsiteY17" fmla="*/ 5202 h 10000"/>
              <a:gd name="connsiteX18" fmla="*/ 623 w 10000"/>
              <a:gd name="connsiteY18" fmla="*/ 5473 h 10000"/>
              <a:gd name="connsiteX19" fmla="*/ 2102 w 10000"/>
              <a:gd name="connsiteY19" fmla="*/ 7634 h 10000"/>
              <a:gd name="connsiteX20" fmla="*/ 0 w 10000"/>
              <a:gd name="connsiteY20" fmla="*/ 10000 h 10000"/>
              <a:gd name="connsiteX21" fmla="*/ 418 w 10000"/>
              <a:gd name="connsiteY21" fmla="*/ 9988 h 10000"/>
              <a:gd name="connsiteX22" fmla="*/ 850 w 10000"/>
              <a:gd name="connsiteY22" fmla="*/ 9975 h 10000"/>
              <a:gd name="connsiteX23" fmla="*/ 1329 w 10000"/>
              <a:gd name="connsiteY23" fmla="*/ 9926 h 10000"/>
              <a:gd name="connsiteX24" fmla="*/ 1824 w 10000"/>
              <a:gd name="connsiteY24" fmla="*/ 9877 h 10000"/>
              <a:gd name="connsiteX25" fmla="*/ 2302 w 10000"/>
              <a:gd name="connsiteY25" fmla="*/ 9792 h 10000"/>
              <a:gd name="connsiteX26" fmla="*/ 2782 w 10000"/>
              <a:gd name="connsiteY26" fmla="*/ 9706 h 10000"/>
              <a:gd name="connsiteX27" fmla="*/ 3153 w 10000"/>
              <a:gd name="connsiteY27" fmla="*/ 9620 h 10000"/>
              <a:gd name="connsiteX28" fmla="*/ 3554 w 10000"/>
              <a:gd name="connsiteY28" fmla="*/ 9521 h 10000"/>
              <a:gd name="connsiteX29" fmla="*/ 4049 w 10000"/>
              <a:gd name="connsiteY29" fmla="*/ 9387 h 10000"/>
              <a:gd name="connsiteX30" fmla="*/ 4467 w 10000"/>
              <a:gd name="connsiteY30" fmla="*/ 9240 h 10000"/>
              <a:gd name="connsiteX31" fmla="*/ 4868 w 10000"/>
              <a:gd name="connsiteY31" fmla="*/ 9105 h 10000"/>
              <a:gd name="connsiteX32" fmla="*/ 5301 w 10000"/>
              <a:gd name="connsiteY32" fmla="*/ 8922 h 10000"/>
              <a:gd name="connsiteX33" fmla="*/ 5734 w 10000"/>
              <a:gd name="connsiteY33" fmla="*/ 8737 h 10000"/>
              <a:gd name="connsiteX34" fmla="*/ 6089 w 10000"/>
              <a:gd name="connsiteY34" fmla="*/ 8566 h 10000"/>
              <a:gd name="connsiteX35" fmla="*/ 6491 w 10000"/>
              <a:gd name="connsiteY35" fmla="*/ 8333 h 10000"/>
              <a:gd name="connsiteX36" fmla="*/ 6893 w 10000"/>
              <a:gd name="connsiteY36" fmla="*/ 8101 h 10000"/>
              <a:gd name="connsiteX37" fmla="*/ 7249 w 10000"/>
              <a:gd name="connsiteY37" fmla="*/ 7843 h 10000"/>
              <a:gd name="connsiteX38" fmla="*/ 7542 w 10000"/>
              <a:gd name="connsiteY38" fmla="*/ 7634 h 10000"/>
              <a:gd name="connsiteX39" fmla="*/ 7867 w 10000"/>
              <a:gd name="connsiteY39" fmla="*/ 7377 h 10000"/>
              <a:gd name="connsiteX40" fmla="*/ 8114 w 10000"/>
              <a:gd name="connsiteY40" fmla="*/ 7157 h 10000"/>
              <a:gd name="connsiteX41" fmla="*/ 8393 w 10000"/>
              <a:gd name="connsiteY41" fmla="*/ 6887 h 10000"/>
              <a:gd name="connsiteX42" fmla="*/ 8670 w 10000"/>
              <a:gd name="connsiteY42" fmla="*/ 6605 h 10000"/>
              <a:gd name="connsiteX43" fmla="*/ 8871 w 10000"/>
              <a:gd name="connsiteY43" fmla="*/ 6299 h 10000"/>
              <a:gd name="connsiteX44" fmla="*/ 9088 w 10000"/>
              <a:gd name="connsiteY44" fmla="*/ 6029 h 10000"/>
              <a:gd name="connsiteX45" fmla="*/ 9242 w 10000"/>
              <a:gd name="connsiteY45" fmla="*/ 5772 h 10000"/>
              <a:gd name="connsiteX46" fmla="*/ 9458 w 10000"/>
              <a:gd name="connsiteY46" fmla="*/ 5379 h 10000"/>
              <a:gd name="connsiteX47" fmla="*/ 9597 w 10000"/>
              <a:gd name="connsiteY47" fmla="*/ 5073 h 10000"/>
              <a:gd name="connsiteX48" fmla="*/ 9768 w 10000"/>
              <a:gd name="connsiteY48" fmla="*/ 4657 h 10000"/>
              <a:gd name="connsiteX49" fmla="*/ 9876 w 10000"/>
              <a:gd name="connsiteY49" fmla="*/ 4191 h 10000"/>
              <a:gd name="connsiteX50" fmla="*/ 9953 w 10000"/>
              <a:gd name="connsiteY50" fmla="*/ 3775 h 10000"/>
              <a:gd name="connsiteX51" fmla="*/ 10000 w 10000"/>
              <a:gd name="connsiteY51" fmla="*/ 3407 h 10000"/>
              <a:gd name="connsiteX52" fmla="*/ 10000 w 10000"/>
              <a:gd name="connsiteY52" fmla="*/ 3015 h 10000"/>
              <a:gd name="connsiteX53" fmla="*/ 9984 w 10000"/>
              <a:gd name="connsiteY53" fmla="*/ 2696 h 10000"/>
              <a:gd name="connsiteX54" fmla="*/ 9922 w 10000"/>
              <a:gd name="connsiteY54" fmla="*/ 2218 h 10000"/>
              <a:gd name="connsiteX55" fmla="*/ 9768 w 10000"/>
              <a:gd name="connsiteY55" fmla="*/ 1740 h 10000"/>
              <a:gd name="connsiteX56" fmla="*/ 9628 w 10000"/>
              <a:gd name="connsiteY56" fmla="*/ 1324 h 10000"/>
              <a:gd name="connsiteX57" fmla="*/ 9458 w 10000"/>
              <a:gd name="connsiteY57" fmla="*/ 980 h 10000"/>
              <a:gd name="connsiteX58" fmla="*/ 9304 w 10000"/>
              <a:gd name="connsiteY58" fmla="*/ 699 h 10000"/>
              <a:gd name="connsiteX59" fmla="*/ 9165 w 10000"/>
              <a:gd name="connsiteY59" fmla="*/ 478 h 10000"/>
              <a:gd name="connsiteX60" fmla="*/ 8994 w 10000"/>
              <a:gd name="connsiteY60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813 w 10000"/>
              <a:gd name="connsiteY5" fmla="*/ 2365 h 10000"/>
              <a:gd name="connsiteX6" fmla="*/ 2967 w 10000"/>
              <a:gd name="connsiteY6" fmla="*/ 2622 h 10000"/>
              <a:gd name="connsiteX7" fmla="*/ 3030 w 10000"/>
              <a:gd name="connsiteY7" fmla="*/ 2806 h 10000"/>
              <a:gd name="connsiteX8" fmla="*/ 3076 w 10000"/>
              <a:gd name="connsiteY8" fmla="*/ 3125 h 10000"/>
              <a:gd name="connsiteX9" fmla="*/ 3045 w 10000"/>
              <a:gd name="connsiteY9" fmla="*/ 3505 h 10000"/>
              <a:gd name="connsiteX10" fmla="*/ 2982 w 10000"/>
              <a:gd name="connsiteY10" fmla="*/ 3737 h 10000"/>
              <a:gd name="connsiteX11" fmla="*/ 2844 w 10000"/>
              <a:gd name="connsiteY11" fmla="*/ 3995 h 10000"/>
              <a:gd name="connsiteX12" fmla="*/ 2674 w 10000"/>
              <a:gd name="connsiteY12" fmla="*/ 4240 h 10000"/>
              <a:gd name="connsiteX13" fmla="*/ 2458 w 10000"/>
              <a:gd name="connsiteY13" fmla="*/ 4473 h 10000"/>
              <a:gd name="connsiteX14" fmla="*/ 2210 w 10000"/>
              <a:gd name="connsiteY14" fmla="*/ 4682 h 10000"/>
              <a:gd name="connsiteX15" fmla="*/ 1947 w 10000"/>
              <a:gd name="connsiteY15" fmla="*/ 4841 h 10000"/>
              <a:gd name="connsiteX16" fmla="*/ 1685 w 10000"/>
              <a:gd name="connsiteY16" fmla="*/ 4975 h 10000"/>
              <a:gd name="connsiteX17" fmla="*/ 1296 w 10000"/>
              <a:gd name="connsiteY17" fmla="*/ 5202 h 10000"/>
              <a:gd name="connsiteX18" fmla="*/ 623 w 10000"/>
              <a:gd name="connsiteY18" fmla="*/ 5473 h 10000"/>
              <a:gd name="connsiteX19" fmla="*/ 2102 w 10000"/>
              <a:gd name="connsiteY19" fmla="*/ 7634 h 10000"/>
              <a:gd name="connsiteX20" fmla="*/ 0 w 10000"/>
              <a:gd name="connsiteY20" fmla="*/ 10000 h 10000"/>
              <a:gd name="connsiteX21" fmla="*/ 418 w 10000"/>
              <a:gd name="connsiteY21" fmla="*/ 9988 h 10000"/>
              <a:gd name="connsiteX22" fmla="*/ 850 w 10000"/>
              <a:gd name="connsiteY22" fmla="*/ 9975 h 10000"/>
              <a:gd name="connsiteX23" fmla="*/ 1329 w 10000"/>
              <a:gd name="connsiteY23" fmla="*/ 9926 h 10000"/>
              <a:gd name="connsiteX24" fmla="*/ 1824 w 10000"/>
              <a:gd name="connsiteY24" fmla="*/ 9877 h 10000"/>
              <a:gd name="connsiteX25" fmla="*/ 2302 w 10000"/>
              <a:gd name="connsiteY25" fmla="*/ 9792 h 10000"/>
              <a:gd name="connsiteX26" fmla="*/ 2782 w 10000"/>
              <a:gd name="connsiteY26" fmla="*/ 9706 h 10000"/>
              <a:gd name="connsiteX27" fmla="*/ 3153 w 10000"/>
              <a:gd name="connsiteY27" fmla="*/ 9620 h 10000"/>
              <a:gd name="connsiteX28" fmla="*/ 3554 w 10000"/>
              <a:gd name="connsiteY28" fmla="*/ 9521 h 10000"/>
              <a:gd name="connsiteX29" fmla="*/ 4049 w 10000"/>
              <a:gd name="connsiteY29" fmla="*/ 9387 h 10000"/>
              <a:gd name="connsiteX30" fmla="*/ 4467 w 10000"/>
              <a:gd name="connsiteY30" fmla="*/ 9240 h 10000"/>
              <a:gd name="connsiteX31" fmla="*/ 4868 w 10000"/>
              <a:gd name="connsiteY31" fmla="*/ 9105 h 10000"/>
              <a:gd name="connsiteX32" fmla="*/ 5301 w 10000"/>
              <a:gd name="connsiteY32" fmla="*/ 8922 h 10000"/>
              <a:gd name="connsiteX33" fmla="*/ 5734 w 10000"/>
              <a:gd name="connsiteY33" fmla="*/ 8737 h 10000"/>
              <a:gd name="connsiteX34" fmla="*/ 6089 w 10000"/>
              <a:gd name="connsiteY34" fmla="*/ 8566 h 10000"/>
              <a:gd name="connsiteX35" fmla="*/ 6491 w 10000"/>
              <a:gd name="connsiteY35" fmla="*/ 8333 h 10000"/>
              <a:gd name="connsiteX36" fmla="*/ 6893 w 10000"/>
              <a:gd name="connsiteY36" fmla="*/ 8101 h 10000"/>
              <a:gd name="connsiteX37" fmla="*/ 7249 w 10000"/>
              <a:gd name="connsiteY37" fmla="*/ 7843 h 10000"/>
              <a:gd name="connsiteX38" fmla="*/ 7542 w 10000"/>
              <a:gd name="connsiteY38" fmla="*/ 7634 h 10000"/>
              <a:gd name="connsiteX39" fmla="*/ 7867 w 10000"/>
              <a:gd name="connsiteY39" fmla="*/ 7377 h 10000"/>
              <a:gd name="connsiteX40" fmla="*/ 8114 w 10000"/>
              <a:gd name="connsiteY40" fmla="*/ 7157 h 10000"/>
              <a:gd name="connsiteX41" fmla="*/ 8393 w 10000"/>
              <a:gd name="connsiteY41" fmla="*/ 6887 h 10000"/>
              <a:gd name="connsiteX42" fmla="*/ 8670 w 10000"/>
              <a:gd name="connsiteY42" fmla="*/ 6605 h 10000"/>
              <a:gd name="connsiteX43" fmla="*/ 8871 w 10000"/>
              <a:gd name="connsiteY43" fmla="*/ 6299 h 10000"/>
              <a:gd name="connsiteX44" fmla="*/ 9088 w 10000"/>
              <a:gd name="connsiteY44" fmla="*/ 6029 h 10000"/>
              <a:gd name="connsiteX45" fmla="*/ 9242 w 10000"/>
              <a:gd name="connsiteY45" fmla="*/ 5772 h 10000"/>
              <a:gd name="connsiteX46" fmla="*/ 9458 w 10000"/>
              <a:gd name="connsiteY46" fmla="*/ 5379 h 10000"/>
              <a:gd name="connsiteX47" fmla="*/ 9597 w 10000"/>
              <a:gd name="connsiteY47" fmla="*/ 5073 h 10000"/>
              <a:gd name="connsiteX48" fmla="*/ 9768 w 10000"/>
              <a:gd name="connsiteY48" fmla="*/ 4657 h 10000"/>
              <a:gd name="connsiteX49" fmla="*/ 9876 w 10000"/>
              <a:gd name="connsiteY49" fmla="*/ 4191 h 10000"/>
              <a:gd name="connsiteX50" fmla="*/ 9953 w 10000"/>
              <a:gd name="connsiteY50" fmla="*/ 3775 h 10000"/>
              <a:gd name="connsiteX51" fmla="*/ 10000 w 10000"/>
              <a:gd name="connsiteY51" fmla="*/ 3407 h 10000"/>
              <a:gd name="connsiteX52" fmla="*/ 10000 w 10000"/>
              <a:gd name="connsiteY52" fmla="*/ 3015 h 10000"/>
              <a:gd name="connsiteX53" fmla="*/ 9984 w 10000"/>
              <a:gd name="connsiteY53" fmla="*/ 2696 h 10000"/>
              <a:gd name="connsiteX54" fmla="*/ 9922 w 10000"/>
              <a:gd name="connsiteY54" fmla="*/ 2218 h 10000"/>
              <a:gd name="connsiteX55" fmla="*/ 9768 w 10000"/>
              <a:gd name="connsiteY55" fmla="*/ 1740 h 10000"/>
              <a:gd name="connsiteX56" fmla="*/ 9628 w 10000"/>
              <a:gd name="connsiteY56" fmla="*/ 1324 h 10000"/>
              <a:gd name="connsiteX57" fmla="*/ 9458 w 10000"/>
              <a:gd name="connsiteY57" fmla="*/ 980 h 10000"/>
              <a:gd name="connsiteX58" fmla="*/ 9304 w 10000"/>
              <a:gd name="connsiteY58" fmla="*/ 699 h 10000"/>
              <a:gd name="connsiteX59" fmla="*/ 9165 w 10000"/>
              <a:gd name="connsiteY59" fmla="*/ 478 h 10000"/>
              <a:gd name="connsiteX60" fmla="*/ 8994 w 10000"/>
              <a:gd name="connsiteY60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813 w 10000"/>
              <a:gd name="connsiteY5" fmla="*/ 2365 h 10000"/>
              <a:gd name="connsiteX6" fmla="*/ 2967 w 10000"/>
              <a:gd name="connsiteY6" fmla="*/ 2622 h 10000"/>
              <a:gd name="connsiteX7" fmla="*/ 3030 w 10000"/>
              <a:gd name="connsiteY7" fmla="*/ 2806 h 10000"/>
              <a:gd name="connsiteX8" fmla="*/ 3076 w 10000"/>
              <a:gd name="connsiteY8" fmla="*/ 3125 h 10000"/>
              <a:gd name="connsiteX9" fmla="*/ 3045 w 10000"/>
              <a:gd name="connsiteY9" fmla="*/ 3505 h 10000"/>
              <a:gd name="connsiteX10" fmla="*/ 2982 w 10000"/>
              <a:gd name="connsiteY10" fmla="*/ 3737 h 10000"/>
              <a:gd name="connsiteX11" fmla="*/ 2844 w 10000"/>
              <a:gd name="connsiteY11" fmla="*/ 3995 h 10000"/>
              <a:gd name="connsiteX12" fmla="*/ 2674 w 10000"/>
              <a:gd name="connsiteY12" fmla="*/ 4240 h 10000"/>
              <a:gd name="connsiteX13" fmla="*/ 2458 w 10000"/>
              <a:gd name="connsiteY13" fmla="*/ 4473 h 10000"/>
              <a:gd name="connsiteX14" fmla="*/ 2210 w 10000"/>
              <a:gd name="connsiteY14" fmla="*/ 4682 h 10000"/>
              <a:gd name="connsiteX15" fmla="*/ 1947 w 10000"/>
              <a:gd name="connsiteY15" fmla="*/ 4841 h 10000"/>
              <a:gd name="connsiteX16" fmla="*/ 1685 w 10000"/>
              <a:gd name="connsiteY16" fmla="*/ 4975 h 10000"/>
              <a:gd name="connsiteX17" fmla="*/ 1296 w 10000"/>
              <a:gd name="connsiteY17" fmla="*/ 5202 h 10000"/>
              <a:gd name="connsiteX18" fmla="*/ 623 w 10000"/>
              <a:gd name="connsiteY18" fmla="*/ 5473 h 10000"/>
              <a:gd name="connsiteX19" fmla="*/ 2102 w 10000"/>
              <a:gd name="connsiteY19" fmla="*/ 7634 h 10000"/>
              <a:gd name="connsiteX20" fmla="*/ 0 w 10000"/>
              <a:gd name="connsiteY20" fmla="*/ 10000 h 10000"/>
              <a:gd name="connsiteX21" fmla="*/ 418 w 10000"/>
              <a:gd name="connsiteY21" fmla="*/ 9988 h 10000"/>
              <a:gd name="connsiteX22" fmla="*/ 850 w 10000"/>
              <a:gd name="connsiteY22" fmla="*/ 9975 h 10000"/>
              <a:gd name="connsiteX23" fmla="*/ 1329 w 10000"/>
              <a:gd name="connsiteY23" fmla="*/ 9926 h 10000"/>
              <a:gd name="connsiteX24" fmla="*/ 1824 w 10000"/>
              <a:gd name="connsiteY24" fmla="*/ 9877 h 10000"/>
              <a:gd name="connsiteX25" fmla="*/ 2302 w 10000"/>
              <a:gd name="connsiteY25" fmla="*/ 9792 h 10000"/>
              <a:gd name="connsiteX26" fmla="*/ 2782 w 10000"/>
              <a:gd name="connsiteY26" fmla="*/ 9706 h 10000"/>
              <a:gd name="connsiteX27" fmla="*/ 3153 w 10000"/>
              <a:gd name="connsiteY27" fmla="*/ 9620 h 10000"/>
              <a:gd name="connsiteX28" fmla="*/ 3554 w 10000"/>
              <a:gd name="connsiteY28" fmla="*/ 9521 h 10000"/>
              <a:gd name="connsiteX29" fmla="*/ 4049 w 10000"/>
              <a:gd name="connsiteY29" fmla="*/ 9387 h 10000"/>
              <a:gd name="connsiteX30" fmla="*/ 4467 w 10000"/>
              <a:gd name="connsiteY30" fmla="*/ 9240 h 10000"/>
              <a:gd name="connsiteX31" fmla="*/ 4868 w 10000"/>
              <a:gd name="connsiteY31" fmla="*/ 9105 h 10000"/>
              <a:gd name="connsiteX32" fmla="*/ 5301 w 10000"/>
              <a:gd name="connsiteY32" fmla="*/ 8922 h 10000"/>
              <a:gd name="connsiteX33" fmla="*/ 5734 w 10000"/>
              <a:gd name="connsiteY33" fmla="*/ 8737 h 10000"/>
              <a:gd name="connsiteX34" fmla="*/ 6089 w 10000"/>
              <a:gd name="connsiteY34" fmla="*/ 8566 h 10000"/>
              <a:gd name="connsiteX35" fmla="*/ 6491 w 10000"/>
              <a:gd name="connsiteY35" fmla="*/ 8333 h 10000"/>
              <a:gd name="connsiteX36" fmla="*/ 6893 w 10000"/>
              <a:gd name="connsiteY36" fmla="*/ 8101 h 10000"/>
              <a:gd name="connsiteX37" fmla="*/ 7249 w 10000"/>
              <a:gd name="connsiteY37" fmla="*/ 7843 h 10000"/>
              <a:gd name="connsiteX38" fmla="*/ 7542 w 10000"/>
              <a:gd name="connsiteY38" fmla="*/ 7634 h 10000"/>
              <a:gd name="connsiteX39" fmla="*/ 7867 w 10000"/>
              <a:gd name="connsiteY39" fmla="*/ 7377 h 10000"/>
              <a:gd name="connsiteX40" fmla="*/ 8114 w 10000"/>
              <a:gd name="connsiteY40" fmla="*/ 7157 h 10000"/>
              <a:gd name="connsiteX41" fmla="*/ 8393 w 10000"/>
              <a:gd name="connsiteY41" fmla="*/ 6887 h 10000"/>
              <a:gd name="connsiteX42" fmla="*/ 8670 w 10000"/>
              <a:gd name="connsiteY42" fmla="*/ 6605 h 10000"/>
              <a:gd name="connsiteX43" fmla="*/ 8871 w 10000"/>
              <a:gd name="connsiteY43" fmla="*/ 6299 h 10000"/>
              <a:gd name="connsiteX44" fmla="*/ 9088 w 10000"/>
              <a:gd name="connsiteY44" fmla="*/ 6029 h 10000"/>
              <a:gd name="connsiteX45" fmla="*/ 9242 w 10000"/>
              <a:gd name="connsiteY45" fmla="*/ 5772 h 10000"/>
              <a:gd name="connsiteX46" fmla="*/ 9458 w 10000"/>
              <a:gd name="connsiteY46" fmla="*/ 5379 h 10000"/>
              <a:gd name="connsiteX47" fmla="*/ 9597 w 10000"/>
              <a:gd name="connsiteY47" fmla="*/ 5073 h 10000"/>
              <a:gd name="connsiteX48" fmla="*/ 9768 w 10000"/>
              <a:gd name="connsiteY48" fmla="*/ 4657 h 10000"/>
              <a:gd name="connsiteX49" fmla="*/ 9876 w 10000"/>
              <a:gd name="connsiteY49" fmla="*/ 4191 h 10000"/>
              <a:gd name="connsiteX50" fmla="*/ 9953 w 10000"/>
              <a:gd name="connsiteY50" fmla="*/ 3775 h 10000"/>
              <a:gd name="connsiteX51" fmla="*/ 10000 w 10000"/>
              <a:gd name="connsiteY51" fmla="*/ 3407 h 10000"/>
              <a:gd name="connsiteX52" fmla="*/ 10000 w 10000"/>
              <a:gd name="connsiteY52" fmla="*/ 3015 h 10000"/>
              <a:gd name="connsiteX53" fmla="*/ 9984 w 10000"/>
              <a:gd name="connsiteY53" fmla="*/ 2696 h 10000"/>
              <a:gd name="connsiteX54" fmla="*/ 9922 w 10000"/>
              <a:gd name="connsiteY54" fmla="*/ 2218 h 10000"/>
              <a:gd name="connsiteX55" fmla="*/ 9768 w 10000"/>
              <a:gd name="connsiteY55" fmla="*/ 1740 h 10000"/>
              <a:gd name="connsiteX56" fmla="*/ 9628 w 10000"/>
              <a:gd name="connsiteY56" fmla="*/ 1324 h 10000"/>
              <a:gd name="connsiteX57" fmla="*/ 9458 w 10000"/>
              <a:gd name="connsiteY57" fmla="*/ 980 h 10000"/>
              <a:gd name="connsiteX58" fmla="*/ 9304 w 10000"/>
              <a:gd name="connsiteY58" fmla="*/ 699 h 10000"/>
              <a:gd name="connsiteX59" fmla="*/ 9165 w 10000"/>
              <a:gd name="connsiteY59" fmla="*/ 478 h 10000"/>
              <a:gd name="connsiteX60" fmla="*/ 8994 w 10000"/>
              <a:gd name="connsiteY60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813 w 10000"/>
              <a:gd name="connsiteY5" fmla="*/ 2365 h 10000"/>
              <a:gd name="connsiteX6" fmla="*/ 2967 w 10000"/>
              <a:gd name="connsiteY6" fmla="*/ 2622 h 10000"/>
              <a:gd name="connsiteX7" fmla="*/ 3030 w 10000"/>
              <a:gd name="connsiteY7" fmla="*/ 2806 h 10000"/>
              <a:gd name="connsiteX8" fmla="*/ 3076 w 10000"/>
              <a:gd name="connsiteY8" fmla="*/ 3125 h 10000"/>
              <a:gd name="connsiteX9" fmla="*/ 3045 w 10000"/>
              <a:gd name="connsiteY9" fmla="*/ 3505 h 10000"/>
              <a:gd name="connsiteX10" fmla="*/ 2982 w 10000"/>
              <a:gd name="connsiteY10" fmla="*/ 3737 h 10000"/>
              <a:gd name="connsiteX11" fmla="*/ 2844 w 10000"/>
              <a:gd name="connsiteY11" fmla="*/ 3995 h 10000"/>
              <a:gd name="connsiteX12" fmla="*/ 2674 w 10000"/>
              <a:gd name="connsiteY12" fmla="*/ 4240 h 10000"/>
              <a:gd name="connsiteX13" fmla="*/ 2458 w 10000"/>
              <a:gd name="connsiteY13" fmla="*/ 4473 h 10000"/>
              <a:gd name="connsiteX14" fmla="*/ 2210 w 10000"/>
              <a:gd name="connsiteY14" fmla="*/ 4682 h 10000"/>
              <a:gd name="connsiteX15" fmla="*/ 1947 w 10000"/>
              <a:gd name="connsiteY15" fmla="*/ 4841 h 10000"/>
              <a:gd name="connsiteX16" fmla="*/ 1685 w 10000"/>
              <a:gd name="connsiteY16" fmla="*/ 4975 h 10000"/>
              <a:gd name="connsiteX17" fmla="*/ 1296 w 10000"/>
              <a:gd name="connsiteY17" fmla="*/ 5202 h 10000"/>
              <a:gd name="connsiteX18" fmla="*/ 639 w 10000"/>
              <a:gd name="connsiteY18" fmla="*/ 5467 h 10000"/>
              <a:gd name="connsiteX19" fmla="*/ 2102 w 10000"/>
              <a:gd name="connsiteY19" fmla="*/ 7634 h 10000"/>
              <a:gd name="connsiteX20" fmla="*/ 0 w 10000"/>
              <a:gd name="connsiteY20" fmla="*/ 10000 h 10000"/>
              <a:gd name="connsiteX21" fmla="*/ 418 w 10000"/>
              <a:gd name="connsiteY21" fmla="*/ 9988 h 10000"/>
              <a:gd name="connsiteX22" fmla="*/ 850 w 10000"/>
              <a:gd name="connsiteY22" fmla="*/ 9975 h 10000"/>
              <a:gd name="connsiteX23" fmla="*/ 1329 w 10000"/>
              <a:gd name="connsiteY23" fmla="*/ 9926 h 10000"/>
              <a:gd name="connsiteX24" fmla="*/ 1824 w 10000"/>
              <a:gd name="connsiteY24" fmla="*/ 9877 h 10000"/>
              <a:gd name="connsiteX25" fmla="*/ 2302 w 10000"/>
              <a:gd name="connsiteY25" fmla="*/ 9792 h 10000"/>
              <a:gd name="connsiteX26" fmla="*/ 2782 w 10000"/>
              <a:gd name="connsiteY26" fmla="*/ 9706 h 10000"/>
              <a:gd name="connsiteX27" fmla="*/ 3153 w 10000"/>
              <a:gd name="connsiteY27" fmla="*/ 9620 h 10000"/>
              <a:gd name="connsiteX28" fmla="*/ 3554 w 10000"/>
              <a:gd name="connsiteY28" fmla="*/ 9521 h 10000"/>
              <a:gd name="connsiteX29" fmla="*/ 4049 w 10000"/>
              <a:gd name="connsiteY29" fmla="*/ 9387 h 10000"/>
              <a:gd name="connsiteX30" fmla="*/ 4467 w 10000"/>
              <a:gd name="connsiteY30" fmla="*/ 9240 h 10000"/>
              <a:gd name="connsiteX31" fmla="*/ 4868 w 10000"/>
              <a:gd name="connsiteY31" fmla="*/ 9105 h 10000"/>
              <a:gd name="connsiteX32" fmla="*/ 5301 w 10000"/>
              <a:gd name="connsiteY32" fmla="*/ 8922 h 10000"/>
              <a:gd name="connsiteX33" fmla="*/ 5734 w 10000"/>
              <a:gd name="connsiteY33" fmla="*/ 8737 h 10000"/>
              <a:gd name="connsiteX34" fmla="*/ 6089 w 10000"/>
              <a:gd name="connsiteY34" fmla="*/ 8566 h 10000"/>
              <a:gd name="connsiteX35" fmla="*/ 6491 w 10000"/>
              <a:gd name="connsiteY35" fmla="*/ 8333 h 10000"/>
              <a:gd name="connsiteX36" fmla="*/ 6893 w 10000"/>
              <a:gd name="connsiteY36" fmla="*/ 8101 h 10000"/>
              <a:gd name="connsiteX37" fmla="*/ 7249 w 10000"/>
              <a:gd name="connsiteY37" fmla="*/ 7843 h 10000"/>
              <a:gd name="connsiteX38" fmla="*/ 7542 w 10000"/>
              <a:gd name="connsiteY38" fmla="*/ 7634 h 10000"/>
              <a:gd name="connsiteX39" fmla="*/ 7867 w 10000"/>
              <a:gd name="connsiteY39" fmla="*/ 7377 h 10000"/>
              <a:gd name="connsiteX40" fmla="*/ 8114 w 10000"/>
              <a:gd name="connsiteY40" fmla="*/ 7157 h 10000"/>
              <a:gd name="connsiteX41" fmla="*/ 8393 w 10000"/>
              <a:gd name="connsiteY41" fmla="*/ 6887 h 10000"/>
              <a:gd name="connsiteX42" fmla="*/ 8670 w 10000"/>
              <a:gd name="connsiteY42" fmla="*/ 6605 h 10000"/>
              <a:gd name="connsiteX43" fmla="*/ 8871 w 10000"/>
              <a:gd name="connsiteY43" fmla="*/ 6299 h 10000"/>
              <a:gd name="connsiteX44" fmla="*/ 9088 w 10000"/>
              <a:gd name="connsiteY44" fmla="*/ 6029 h 10000"/>
              <a:gd name="connsiteX45" fmla="*/ 9242 w 10000"/>
              <a:gd name="connsiteY45" fmla="*/ 5772 h 10000"/>
              <a:gd name="connsiteX46" fmla="*/ 9458 w 10000"/>
              <a:gd name="connsiteY46" fmla="*/ 5379 h 10000"/>
              <a:gd name="connsiteX47" fmla="*/ 9597 w 10000"/>
              <a:gd name="connsiteY47" fmla="*/ 5073 h 10000"/>
              <a:gd name="connsiteX48" fmla="*/ 9768 w 10000"/>
              <a:gd name="connsiteY48" fmla="*/ 4657 h 10000"/>
              <a:gd name="connsiteX49" fmla="*/ 9876 w 10000"/>
              <a:gd name="connsiteY49" fmla="*/ 4191 h 10000"/>
              <a:gd name="connsiteX50" fmla="*/ 9953 w 10000"/>
              <a:gd name="connsiteY50" fmla="*/ 3775 h 10000"/>
              <a:gd name="connsiteX51" fmla="*/ 10000 w 10000"/>
              <a:gd name="connsiteY51" fmla="*/ 3407 h 10000"/>
              <a:gd name="connsiteX52" fmla="*/ 10000 w 10000"/>
              <a:gd name="connsiteY52" fmla="*/ 3015 h 10000"/>
              <a:gd name="connsiteX53" fmla="*/ 9984 w 10000"/>
              <a:gd name="connsiteY53" fmla="*/ 2696 h 10000"/>
              <a:gd name="connsiteX54" fmla="*/ 9922 w 10000"/>
              <a:gd name="connsiteY54" fmla="*/ 2218 h 10000"/>
              <a:gd name="connsiteX55" fmla="*/ 9768 w 10000"/>
              <a:gd name="connsiteY55" fmla="*/ 1740 h 10000"/>
              <a:gd name="connsiteX56" fmla="*/ 9628 w 10000"/>
              <a:gd name="connsiteY56" fmla="*/ 1324 h 10000"/>
              <a:gd name="connsiteX57" fmla="*/ 9458 w 10000"/>
              <a:gd name="connsiteY57" fmla="*/ 980 h 10000"/>
              <a:gd name="connsiteX58" fmla="*/ 9304 w 10000"/>
              <a:gd name="connsiteY58" fmla="*/ 699 h 10000"/>
              <a:gd name="connsiteX59" fmla="*/ 9165 w 10000"/>
              <a:gd name="connsiteY59" fmla="*/ 478 h 10000"/>
              <a:gd name="connsiteX60" fmla="*/ 8994 w 10000"/>
              <a:gd name="connsiteY60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813 w 10000"/>
              <a:gd name="connsiteY5" fmla="*/ 2365 h 10000"/>
              <a:gd name="connsiteX6" fmla="*/ 2967 w 10000"/>
              <a:gd name="connsiteY6" fmla="*/ 2622 h 10000"/>
              <a:gd name="connsiteX7" fmla="*/ 3030 w 10000"/>
              <a:gd name="connsiteY7" fmla="*/ 2806 h 10000"/>
              <a:gd name="connsiteX8" fmla="*/ 3076 w 10000"/>
              <a:gd name="connsiteY8" fmla="*/ 3125 h 10000"/>
              <a:gd name="connsiteX9" fmla="*/ 3045 w 10000"/>
              <a:gd name="connsiteY9" fmla="*/ 3505 h 10000"/>
              <a:gd name="connsiteX10" fmla="*/ 2982 w 10000"/>
              <a:gd name="connsiteY10" fmla="*/ 3737 h 10000"/>
              <a:gd name="connsiteX11" fmla="*/ 2844 w 10000"/>
              <a:gd name="connsiteY11" fmla="*/ 3995 h 10000"/>
              <a:gd name="connsiteX12" fmla="*/ 2674 w 10000"/>
              <a:gd name="connsiteY12" fmla="*/ 4240 h 10000"/>
              <a:gd name="connsiteX13" fmla="*/ 2458 w 10000"/>
              <a:gd name="connsiteY13" fmla="*/ 4473 h 10000"/>
              <a:gd name="connsiteX14" fmla="*/ 2210 w 10000"/>
              <a:gd name="connsiteY14" fmla="*/ 4682 h 10000"/>
              <a:gd name="connsiteX15" fmla="*/ 1947 w 10000"/>
              <a:gd name="connsiteY15" fmla="*/ 4841 h 10000"/>
              <a:gd name="connsiteX16" fmla="*/ 1296 w 10000"/>
              <a:gd name="connsiteY16" fmla="*/ 5202 h 10000"/>
              <a:gd name="connsiteX17" fmla="*/ 639 w 10000"/>
              <a:gd name="connsiteY17" fmla="*/ 5467 h 10000"/>
              <a:gd name="connsiteX18" fmla="*/ 2102 w 10000"/>
              <a:gd name="connsiteY18" fmla="*/ 7634 h 10000"/>
              <a:gd name="connsiteX19" fmla="*/ 0 w 10000"/>
              <a:gd name="connsiteY19" fmla="*/ 10000 h 10000"/>
              <a:gd name="connsiteX20" fmla="*/ 418 w 10000"/>
              <a:gd name="connsiteY20" fmla="*/ 9988 h 10000"/>
              <a:gd name="connsiteX21" fmla="*/ 850 w 10000"/>
              <a:gd name="connsiteY21" fmla="*/ 9975 h 10000"/>
              <a:gd name="connsiteX22" fmla="*/ 1329 w 10000"/>
              <a:gd name="connsiteY22" fmla="*/ 9926 h 10000"/>
              <a:gd name="connsiteX23" fmla="*/ 1824 w 10000"/>
              <a:gd name="connsiteY23" fmla="*/ 9877 h 10000"/>
              <a:gd name="connsiteX24" fmla="*/ 2302 w 10000"/>
              <a:gd name="connsiteY24" fmla="*/ 9792 h 10000"/>
              <a:gd name="connsiteX25" fmla="*/ 2782 w 10000"/>
              <a:gd name="connsiteY25" fmla="*/ 9706 h 10000"/>
              <a:gd name="connsiteX26" fmla="*/ 3153 w 10000"/>
              <a:gd name="connsiteY26" fmla="*/ 9620 h 10000"/>
              <a:gd name="connsiteX27" fmla="*/ 3554 w 10000"/>
              <a:gd name="connsiteY27" fmla="*/ 9521 h 10000"/>
              <a:gd name="connsiteX28" fmla="*/ 4049 w 10000"/>
              <a:gd name="connsiteY28" fmla="*/ 9387 h 10000"/>
              <a:gd name="connsiteX29" fmla="*/ 4467 w 10000"/>
              <a:gd name="connsiteY29" fmla="*/ 9240 h 10000"/>
              <a:gd name="connsiteX30" fmla="*/ 4868 w 10000"/>
              <a:gd name="connsiteY30" fmla="*/ 9105 h 10000"/>
              <a:gd name="connsiteX31" fmla="*/ 5301 w 10000"/>
              <a:gd name="connsiteY31" fmla="*/ 8922 h 10000"/>
              <a:gd name="connsiteX32" fmla="*/ 5734 w 10000"/>
              <a:gd name="connsiteY32" fmla="*/ 8737 h 10000"/>
              <a:gd name="connsiteX33" fmla="*/ 6089 w 10000"/>
              <a:gd name="connsiteY33" fmla="*/ 8566 h 10000"/>
              <a:gd name="connsiteX34" fmla="*/ 6491 w 10000"/>
              <a:gd name="connsiteY34" fmla="*/ 8333 h 10000"/>
              <a:gd name="connsiteX35" fmla="*/ 6893 w 10000"/>
              <a:gd name="connsiteY35" fmla="*/ 8101 h 10000"/>
              <a:gd name="connsiteX36" fmla="*/ 7249 w 10000"/>
              <a:gd name="connsiteY36" fmla="*/ 7843 h 10000"/>
              <a:gd name="connsiteX37" fmla="*/ 7542 w 10000"/>
              <a:gd name="connsiteY37" fmla="*/ 7634 h 10000"/>
              <a:gd name="connsiteX38" fmla="*/ 7867 w 10000"/>
              <a:gd name="connsiteY38" fmla="*/ 7377 h 10000"/>
              <a:gd name="connsiteX39" fmla="*/ 8114 w 10000"/>
              <a:gd name="connsiteY39" fmla="*/ 7157 h 10000"/>
              <a:gd name="connsiteX40" fmla="*/ 8393 w 10000"/>
              <a:gd name="connsiteY40" fmla="*/ 6887 h 10000"/>
              <a:gd name="connsiteX41" fmla="*/ 8670 w 10000"/>
              <a:gd name="connsiteY41" fmla="*/ 6605 h 10000"/>
              <a:gd name="connsiteX42" fmla="*/ 8871 w 10000"/>
              <a:gd name="connsiteY42" fmla="*/ 6299 h 10000"/>
              <a:gd name="connsiteX43" fmla="*/ 9088 w 10000"/>
              <a:gd name="connsiteY43" fmla="*/ 6029 h 10000"/>
              <a:gd name="connsiteX44" fmla="*/ 9242 w 10000"/>
              <a:gd name="connsiteY44" fmla="*/ 5772 h 10000"/>
              <a:gd name="connsiteX45" fmla="*/ 9458 w 10000"/>
              <a:gd name="connsiteY45" fmla="*/ 5379 h 10000"/>
              <a:gd name="connsiteX46" fmla="*/ 9597 w 10000"/>
              <a:gd name="connsiteY46" fmla="*/ 5073 h 10000"/>
              <a:gd name="connsiteX47" fmla="*/ 9768 w 10000"/>
              <a:gd name="connsiteY47" fmla="*/ 4657 h 10000"/>
              <a:gd name="connsiteX48" fmla="*/ 9876 w 10000"/>
              <a:gd name="connsiteY48" fmla="*/ 4191 h 10000"/>
              <a:gd name="connsiteX49" fmla="*/ 9953 w 10000"/>
              <a:gd name="connsiteY49" fmla="*/ 3775 h 10000"/>
              <a:gd name="connsiteX50" fmla="*/ 10000 w 10000"/>
              <a:gd name="connsiteY50" fmla="*/ 3407 h 10000"/>
              <a:gd name="connsiteX51" fmla="*/ 10000 w 10000"/>
              <a:gd name="connsiteY51" fmla="*/ 3015 h 10000"/>
              <a:gd name="connsiteX52" fmla="*/ 9984 w 10000"/>
              <a:gd name="connsiteY52" fmla="*/ 2696 h 10000"/>
              <a:gd name="connsiteX53" fmla="*/ 9922 w 10000"/>
              <a:gd name="connsiteY53" fmla="*/ 2218 h 10000"/>
              <a:gd name="connsiteX54" fmla="*/ 9768 w 10000"/>
              <a:gd name="connsiteY54" fmla="*/ 1740 h 10000"/>
              <a:gd name="connsiteX55" fmla="*/ 9628 w 10000"/>
              <a:gd name="connsiteY55" fmla="*/ 1324 h 10000"/>
              <a:gd name="connsiteX56" fmla="*/ 9458 w 10000"/>
              <a:gd name="connsiteY56" fmla="*/ 980 h 10000"/>
              <a:gd name="connsiteX57" fmla="*/ 9304 w 10000"/>
              <a:gd name="connsiteY57" fmla="*/ 699 h 10000"/>
              <a:gd name="connsiteX58" fmla="*/ 9165 w 10000"/>
              <a:gd name="connsiteY58" fmla="*/ 478 h 10000"/>
              <a:gd name="connsiteX59" fmla="*/ 8994 w 10000"/>
              <a:gd name="connsiteY5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813 w 10000"/>
              <a:gd name="connsiteY5" fmla="*/ 2365 h 10000"/>
              <a:gd name="connsiteX6" fmla="*/ 2967 w 10000"/>
              <a:gd name="connsiteY6" fmla="*/ 2622 h 10000"/>
              <a:gd name="connsiteX7" fmla="*/ 3030 w 10000"/>
              <a:gd name="connsiteY7" fmla="*/ 2806 h 10000"/>
              <a:gd name="connsiteX8" fmla="*/ 3076 w 10000"/>
              <a:gd name="connsiteY8" fmla="*/ 3125 h 10000"/>
              <a:gd name="connsiteX9" fmla="*/ 3045 w 10000"/>
              <a:gd name="connsiteY9" fmla="*/ 3505 h 10000"/>
              <a:gd name="connsiteX10" fmla="*/ 2982 w 10000"/>
              <a:gd name="connsiteY10" fmla="*/ 3737 h 10000"/>
              <a:gd name="connsiteX11" fmla="*/ 2844 w 10000"/>
              <a:gd name="connsiteY11" fmla="*/ 3995 h 10000"/>
              <a:gd name="connsiteX12" fmla="*/ 2674 w 10000"/>
              <a:gd name="connsiteY12" fmla="*/ 4240 h 10000"/>
              <a:gd name="connsiteX13" fmla="*/ 2458 w 10000"/>
              <a:gd name="connsiteY13" fmla="*/ 4473 h 10000"/>
              <a:gd name="connsiteX14" fmla="*/ 2210 w 10000"/>
              <a:gd name="connsiteY14" fmla="*/ 4682 h 10000"/>
              <a:gd name="connsiteX15" fmla="*/ 1296 w 10000"/>
              <a:gd name="connsiteY15" fmla="*/ 5202 h 10000"/>
              <a:gd name="connsiteX16" fmla="*/ 639 w 10000"/>
              <a:gd name="connsiteY16" fmla="*/ 5467 h 10000"/>
              <a:gd name="connsiteX17" fmla="*/ 2102 w 10000"/>
              <a:gd name="connsiteY17" fmla="*/ 7634 h 10000"/>
              <a:gd name="connsiteX18" fmla="*/ 0 w 10000"/>
              <a:gd name="connsiteY18" fmla="*/ 10000 h 10000"/>
              <a:gd name="connsiteX19" fmla="*/ 418 w 10000"/>
              <a:gd name="connsiteY19" fmla="*/ 9988 h 10000"/>
              <a:gd name="connsiteX20" fmla="*/ 850 w 10000"/>
              <a:gd name="connsiteY20" fmla="*/ 9975 h 10000"/>
              <a:gd name="connsiteX21" fmla="*/ 1329 w 10000"/>
              <a:gd name="connsiteY21" fmla="*/ 9926 h 10000"/>
              <a:gd name="connsiteX22" fmla="*/ 1824 w 10000"/>
              <a:gd name="connsiteY22" fmla="*/ 9877 h 10000"/>
              <a:gd name="connsiteX23" fmla="*/ 2302 w 10000"/>
              <a:gd name="connsiteY23" fmla="*/ 9792 h 10000"/>
              <a:gd name="connsiteX24" fmla="*/ 2782 w 10000"/>
              <a:gd name="connsiteY24" fmla="*/ 9706 h 10000"/>
              <a:gd name="connsiteX25" fmla="*/ 3153 w 10000"/>
              <a:gd name="connsiteY25" fmla="*/ 9620 h 10000"/>
              <a:gd name="connsiteX26" fmla="*/ 3554 w 10000"/>
              <a:gd name="connsiteY26" fmla="*/ 9521 h 10000"/>
              <a:gd name="connsiteX27" fmla="*/ 4049 w 10000"/>
              <a:gd name="connsiteY27" fmla="*/ 9387 h 10000"/>
              <a:gd name="connsiteX28" fmla="*/ 4467 w 10000"/>
              <a:gd name="connsiteY28" fmla="*/ 9240 h 10000"/>
              <a:gd name="connsiteX29" fmla="*/ 4868 w 10000"/>
              <a:gd name="connsiteY29" fmla="*/ 9105 h 10000"/>
              <a:gd name="connsiteX30" fmla="*/ 5301 w 10000"/>
              <a:gd name="connsiteY30" fmla="*/ 8922 h 10000"/>
              <a:gd name="connsiteX31" fmla="*/ 5734 w 10000"/>
              <a:gd name="connsiteY31" fmla="*/ 8737 h 10000"/>
              <a:gd name="connsiteX32" fmla="*/ 6089 w 10000"/>
              <a:gd name="connsiteY32" fmla="*/ 8566 h 10000"/>
              <a:gd name="connsiteX33" fmla="*/ 6491 w 10000"/>
              <a:gd name="connsiteY33" fmla="*/ 8333 h 10000"/>
              <a:gd name="connsiteX34" fmla="*/ 6893 w 10000"/>
              <a:gd name="connsiteY34" fmla="*/ 8101 h 10000"/>
              <a:gd name="connsiteX35" fmla="*/ 7249 w 10000"/>
              <a:gd name="connsiteY35" fmla="*/ 7843 h 10000"/>
              <a:gd name="connsiteX36" fmla="*/ 7542 w 10000"/>
              <a:gd name="connsiteY36" fmla="*/ 7634 h 10000"/>
              <a:gd name="connsiteX37" fmla="*/ 7867 w 10000"/>
              <a:gd name="connsiteY37" fmla="*/ 7377 h 10000"/>
              <a:gd name="connsiteX38" fmla="*/ 8114 w 10000"/>
              <a:gd name="connsiteY38" fmla="*/ 7157 h 10000"/>
              <a:gd name="connsiteX39" fmla="*/ 8393 w 10000"/>
              <a:gd name="connsiteY39" fmla="*/ 6887 h 10000"/>
              <a:gd name="connsiteX40" fmla="*/ 8670 w 10000"/>
              <a:gd name="connsiteY40" fmla="*/ 6605 h 10000"/>
              <a:gd name="connsiteX41" fmla="*/ 8871 w 10000"/>
              <a:gd name="connsiteY41" fmla="*/ 6299 h 10000"/>
              <a:gd name="connsiteX42" fmla="*/ 9088 w 10000"/>
              <a:gd name="connsiteY42" fmla="*/ 6029 h 10000"/>
              <a:gd name="connsiteX43" fmla="*/ 9242 w 10000"/>
              <a:gd name="connsiteY43" fmla="*/ 5772 h 10000"/>
              <a:gd name="connsiteX44" fmla="*/ 9458 w 10000"/>
              <a:gd name="connsiteY44" fmla="*/ 5379 h 10000"/>
              <a:gd name="connsiteX45" fmla="*/ 9597 w 10000"/>
              <a:gd name="connsiteY45" fmla="*/ 5073 h 10000"/>
              <a:gd name="connsiteX46" fmla="*/ 9768 w 10000"/>
              <a:gd name="connsiteY46" fmla="*/ 4657 h 10000"/>
              <a:gd name="connsiteX47" fmla="*/ 9876 w 10000"/>
              <a:gd name="connsiteY47" fmla="*/ 4191 h 10000"/>
              <a:gd name="connsiteX48" fmla="*/ 9953 w 10000"/>
              <a:gd name="connsiteY48" fmla="*/ 3775 h 10000"/>
              <a:gd name="connsiteX49" fmla="*/ 10000 w 10000"/>
              <a:gd name="connsiteY49" fmla="*/ 3407 h 10000"/>
              <a:gd name="connsiteX50" fmla="*/ 10000 w 10000"/>
              <a:gd name="connsiteY50" fmla="*/ 3015 h 10000"/>
              <a:gd name="connsiteX51" fmla="*/ 9984 w 10000"/>
              <a:gd name="connsiteY51" fmla="*/ 2696 h 10000"/>
              <a:gd name="connsiteX52" fmla="*/ 9922 w 10000"/>
              <a:gd name="connsiteY52" fmla="*/ 2218 h 10000"/>
              <a:gd name="connsiteX53" fmla="*/ 9768 w 10000"/>
              <a:gd name="connsiteY53" fmla="*/ 1740 h 10000"/>
              <a:gd name="connsiteX54" fmla="*/ 9628 w 10000"/>
              <a:gd name="connsiteY54" fmla="*/ 1324 h 10000"/>
              <a:gd name="connsiteX55" fmla="*/ 9458 w 10000"/>
              <a:gd name="connsiteY55" fmla="*/ 980 h 10000"/>
              <a:gd name="connsiteX56" fmla="*/ 9304 w 10000"/>
              <a:gd name="connsiteY56" fmla="*/ 699 h 10000"/>
              <a:gd name="connsiteX57" fmla="*/ 9165 w 10000"/>
              <a:gd name="connsiteY57" fmla="*/ 478 h 10000"/>
              <a:gd name="connsiteX58" fmla="*/ 8994 w 10000"/>
              <a:gd name="connsiteY58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813 w 10000"/>
              <a:gd name="connsiteY5" fmla="*/ 2365 h 10000"/>
              <a:gd name="connsiteX6" fmla="*/ 2967 w 10000"/>
              <a:gd name="connsiteY6" fmla="*/ 2622 h 10000"/>
              <a:gd name="connsiteX7" fmla="*/ 3030 w 10000"/>
              <a:gd name="connsiteY7" fmla="*/ 2806 h 10000"/>
              <a:gd name="connsiteX8" fmla="*/ 3076 w 10000"/>
              <a:gd name="connsiteY8" fmla="*/ 3125 h 10000"/>
              <a:gd name="connsiteX9" fmla="*/ 3045 w 10000"/>
              <a:gd name="connsiteY9" fmla="*/ 3505 h 10000"/>
              <a:gd name="connsiteX10" fmla="*/ 2982 w 10000"/>
              <a:gd name="connsiteY10" fmla="*/ 3737 h 10000"/>
              <a:gd name="connsiteX11" fmla="*/ 2844 w 10000"/>
              <a:gd name="connsiteY11" fmla="*/ 3995 h 10000"/>
              <a:gd name="connsiteX12" fmla="*/ 2674 w 10000"/>
              <a:gd name="connsiteY12" fmla="*/ 4240 h 10000"/>
              <a:gd name="connsiteX13" fmla="*/ 2458 w 10000"/>
              <a:gd name="connsiteY13" fmla="*/ 4473 h 10000"/>
              <a:gd name="connsiteX14" fmla="*/ 1296 w 10000"/>
              <a:gd name="connsiteY14" fmla="*/ 5202 h 10000"/>
              <a:gd name="connsiteX15" fmla="*/ 639 w 10000"/>
              <a:gd name="connsiteY15" fmla="*/ 5467 h 10000"/>
              <a:gd name="connsiteX16" fmla="*/ 2102 w 10000"/>
              <a:gd name="connsiteY16" fmla="*/ 7634 h 10000"/>
              <a:gd name="connsiteX17" fmla="*/ 0 w 10000"/>
              <a:gd name="connsiteY17" fmla="*/ 10000 h 10000"/>
              <a:gd name="connsiteX18" fmla="*/ 418 w 10000"/>
              <a:gd name="connsiteY18" fmla="*/ 9988 h 10000"/>
              <a:gd name="connsiteX19" fmla="*/ 850 w 10000"/>
              <a:gd name="connsiteY19" fmla="*/ 9975 h 10000"/>
              <a:gd name="connsiteX20" fmla="*/ 1329 w 10000"/>
              <a:gd name="connsiteY20" fmla="*/ 9926 h 10000"/>
              <a:gd name="connsiteX21" fmla="*/ 1824 w 10000"/>
              <a:gd name="connsiteY21" fmla="*/ 9877 h 10000"/>
              <a:gd name="connsiteX22" fmla="*/ 2302 w 10000"/>
              <a:gd name="connsiteY22" fmla="*/ 9792 h 10000"/>
              <a:gd name="connsiteX23" fmla="*/ 2782 w 10000"/>
              <a:gd name="connsiteY23" fmla="*/ 9706 h 10000"/>
              <a:gd name="connsiteX24" fmla="*/ 3153 w 10000"/>
              <a:gd name="connsiteY24" fmla="*/ 9620 h 10000"/>
              <a:gd name="connsiteX25" fmla="*/ 3554 w 10000"/>
              <a:gd name="connsiteY25" fmla="*/ 9521 h 10000"/>
              <a:gd name="connsiteX26" fmla="*/ 4049 w 10000"/>
              <a:gd name="connsiteY26" fmla="*/ 9387 h 10000"/>
              <a:gd name="connsiteX27" fmla="*/ 4467 w 10000"/>
              <a:gd name="connsiteY27" fmla="*/ 9240 h 10000"/>
              <a:gd name="connsiteX28" fmla="*/ 4868 w 10000"/>
              <a:gd name="connsiteY28" fmla="*/ 9105 h 10000"/>
              <a:gd name="connsiteX29" fmla="*/ 5301 w 10000"/>
              <a:gd name="connsiteY29" fmla="*/ 8922 h 10000"/>
              <a:gd name="connsiteX30" fmla="*/ 5734 w 10000"/>
              <a:gd name="connsiteY30" fmla="*/ 8737 h 10000"/>
              <a:gd name="connsiteX31" fmla="*/ 6089 w 10000"/>
              <a:gd name="connsiteY31" fmla="*/ 8566 h 10000"/>
              <a:gd name="connsiteX32" fmla="*/ 6491 w 10000"/>
              <a:gd name="connsiteY32" fmla="*/ 8333 h 10000"/>
              <a:gd name="connsiteX33" fmla="*/ 6893 w 10000"/>
              <a:gd name="connsiteY33" fmla="*/ 8101 h 10000"/>
              <a:gd name="connsiteX34" fmla="*/ 7249 w 10000"/>
              <a:gd name="connsiteY34" fmla="*/ 7843 h 10000"/>
              <a:gd name="connsiteX35" fmla="*/ 7542 w 10000"/>
              <a:gd name="connsiteY35" fmla="*/ 7634 h 10000"/>
              <a:gd name="connsiteX36" fmla="*/ 7867 w 10000"/>
              <a:gd name="connsiteY36" fmla="*/ 7377 h 10000"/>
              <a:gd name="connsiteX37" fmla="*/ 8114 w 10000"/>
              <a:gd name="connsiteY37" fmla="*/ 7157 h 10000"/>
              <a:gd name="connsiteX38" fmla="*/ 8393 w 10000"/>
              <a:gd name="connsiteY38" fmla="*/ 6887 h 10000"/>
              <a:gd name="connsiteX39" fmla="*/ 8670 w 10000"/>
              <a:gd name="connsiteY39" fmla="*/ 6605 h 10000"/>
              <a:gd name="connsiteX40" fmla="*/ 8871 w 10000"/>
              <a:gd name="connsiteY40" fmla="*/ 6299 h 10000"/>
              <a:gd name="connsiteX41" fmla="*/ 9088 w 10000"/>
              <a:gd name="connsiteY41" fmla="*/ 6029 h 10000"/>
              <a:gd name="connsiteX42" fmla="*/ 9242 w 10000"/>
              <a:gd name="connsiteY42" fmla="*/ 5772 h 10000"/>
              <a:gd name="connsiteX43" fmla="*/ 9458 w 10000"/>
              <a:gd name="connsiteY43" fmla="*/ 5379 h 10000"/>
              <a:gd name="connsiteX44" fmla="*/ 9597 w 10000"/>
              <a:gd name="connsiteY44" fmla="*/ 5073 h 10000"/>
              <a:gd name="connsiteX45" fmla="*/ 9768 w 10000"/>
              <a:gd name="connsiteY45" fmla="*/ 4657 h 10000"/>
              <a:gd name="connsiteX46" fmla="*/ 9876 w 10000"/>
              <a:gd name="connsiteY46" fmla="*/ 4191 h 10000"/>
              <a:gd name="connsiteX47" fmla="*/ 9953 w 10000"/>
              <a:gd name="connsiteY47" fmla="*/ 3775 h 10000"/>
              <a:gd name="connsiteX48" fmla="*/ 10000 w 10000"/>
              <a:gd name="connsiteY48" fmla="*/ 3407 h 10000"/>
              <a:gd name="connsiteX49" fmla="*/ 10000 w 10000"/>
              <a:gd name="connsiteY49" fmla="*/ 3015 h 10000"/>
              <a:gd name="connsiteX50" fmla="*/ 9984 w 10000"/>
              <a:gd name="connsiteY50" fmla="*/ 2696 h 10000"/>
              <a:gd name="connsiteX51" fmla="*/ 9922 w 10000"/>
              <a:gd name="connsiteY51" fmla="*/ 2218 h 10000"/>
              <a:gd name="connsiteX52" fmla="*/ 9768 w 10000"/>
              <a:gd name="connsiteY52" fmla="*/ 1740 h 10000"/>
              <a:gd name="connsiteX53" fmla="*/ 9628 w 10000"/>
              <a:gd name="connsiteY53" fmla="*/ 1324 h 10000"/>
              <a:gd name="connsiteX54" fmla="*/ 9458 w 10000"/>
              <a:gd name="connsiteY54" fmla="*/ 980 h 10000"/>
              <a:gd name="connsiteX55" fmla="*/ 9304 w 10000"/>
              <a:gd name="connsiteY55" fmla="*/ 699 h 10000"/>
              <a:gd name="connsiteX56" fmla="*/ 9165 w 10000"/>
              <a:gd name="connsiteY56" fmla="*/ 478 h 10000"/>
              <a:gd name="connsiteX57" fmla="*/ 8994 w 10000"/>
              <a:gd name="connsiteY57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813 w 10000"/>
              <a:gd name="connsiteY5" fmla="*/ 2365 h 10000"/>
              <a:gd name="connsiteX6" fmla="*/ 2967 w 10000"/>
              <a:gd name="connsiteY6" fmla="*/ 2622 h 10000"/>
              <a:gd name="connsiteX7" fmla="*/ 3030 w 10000"/>
              <a:gd name="connsiteY7" fmla="*/ 2806 h 10000"/>
              <a:gd name="connsiteX8" fmla="*/ 3076 w 10000"/>
              <a:gd name="connsiteY8" fmla="*/ 3125 h 10000"/>
              <a:gd name="connsiteX9" fmla="*/ 3045 w 10000"/>
              <a:gd name="connsiteY9" fmla="*/ 3505 h 10000"/>
              <a:gd name="connsiteX10" fmla="*/ 2982 w 10000"/>
              <a:gd name="connsiteY10" fmla="*/ 3737 h 10000"/>
              <a:gd name="connsiteX11" fmla="*/ 2844 w 10000"/>
              <a:gd name="connsiteY11" fmla="*/ 3995 h 10000"/>
              <a:gd name="connsiteX12" fmla="*/ 2674 w 10000"/>
              <a:gd name="connsiteY12" fmla="*/ 4240 h 10000"/>
              <a:gd name="connsiteX13" fmla="*/ 2458 w 10000"/>
              <a:gd name="connsiteY13" fmla="*/ 4473 h 10000"/>
              <a:gd name="connsiteX14" fmla="*/ 1296 w 10000"/>
              <a:gd name="connsiteY14" fmla="*/ 5202 h 10000"/>
              <a:gd name="connsiteX15" fmla="*/ 639 w 10000"/>
              <a:gd name="connsiteY15" fmla="*/ 5467 h 10000"/>
              <a:gd name="connsiteX16" fmla="*/ 2102 w 10000"/>
              <a:gd name="connsiteY16" fmla="*/ 7634 h 10000"/>
              <a:gd name="connsiteX17" fmla="*/ 0 w 10000"/>
              <a:gd name="connsiteY17" fmla="*/ 10000 h 10000"/>
              <a:gd name="connsiteX18" fmla="*/ 418 w 10000"/>
              <a:gd name="connsiteY18" fmla="*/ 9988 h 10000"/>
              <a:gd name="connsiteX19" fmla="*/ 850 w 10000"/>
              <a:gd name="connsiteY19" fmla="*/ 9975 h 10000"/>
              <a:gd name="connsiteX20" fmla="*/ 1329 w 10000"/>
              <a:gd name="connsiteY20" fmla="*/ 9926 h 10000"/>
              <a:gd name="connsiteX21" fmla="*/ 1824 w 10000"/>
              <a:gd name="connsiteY21" fmla="*/ 9877 h 10000"/>
              <a:gd name="connsiteX22" fmla="*/ 2302 w 10000"/>
              <a:gd name="connsiteY22" fmla="*/ 9792 h 10000"/>
              <a:gd name="connsiteX23" fmla="*/ 2782 w 10000"/>
              <a:gd name="connsiteY23" fmla="*/ 9706 h 10000"/>
              <a:gd name="connsiteX24" fmla="*/ 3153 w 10000"/>
              <a:gd name="connsiteY24" fmla="*/ 9620 h 10000"/>
              <a:gd name="connsiteX25" fmla="*/ 3554 w 10000"/>
              <a:gd name="connsiteY25" fmla="*/ 9521 h 10000"/>
              <a:gd name="connsiteX26" fmla="*/ 4049 w 10000"/>
              <a:gd name="connsiteY26" fmla="*/ 9387 h 10000"/>
              <a:gd name="connsiteX27" fmla="*/ 4467 w 10000"/>
              <a:gd name="connsiteY27" fmla="*/ 9240 h 10000"/>
              <a:gd name="connsiteX28" fmla="*/ 4868 w 10000"/>
              <a:gd name="connsiteY28" fmla="*/ 9105 h 10000"/>
              <a:gd name="connsiteX29" fmla="*/ 5301 w 10000"/>
              <a:gd name="connsiteY29" fmla="*/ 8922 h 10000"/>
              <a:gd name="connsiteX30" fmla="*/ 5734 w 10000"/>
              <a:gd name="connsiteY30" fmla="*/ 8737 h 10000"/>
              <a:gd name="connsiteX31" fmla="*/ 6089 w 10000"/>
              <a:gd name="connsiteY31" fmla="*/ 8566 h 10000"/>
              <a:gd name="connsiteX32" fmla="*/ 6491 w 10000"/>
              <a:gd name="connsiteY32" fmla="*/ 8333 h 10000"/>
              <a:gd name="connsiteX33" fmla="*/ 6893 w 10000"/>
              <a:gd name="connsiteY33" fmla="*/ 8101 h 10000"/>
              <a:gd name="connsiteX34" fmla="*/ 7249 w 10000"/>
              <a:gd name="connsiteY34" fmla="*/ 7843 h 10000"/>
              <a:gd name="connsiteX35" fmla="*/ 7542 w 10000"/>
              <a:gd name="connsiteY35" fmla="*/ 7634 h 10000"/>
              <a:gd name="connsiteX36" fmla="*/ 7867 w 10000"/>
              <a:gd name="connsiteY36" fmla="*/ 7377 h 10000"/>
              <a:gd name="connsiteX37" fmla="*/ 8114 w 10000"/>
              <a:gd name="connsiteY37" fmla="*/ 7157 h 10000"/>
              <a:gd name="connsiteX38" fmla="*/ 8393 w 10000"/>
              <a:gd name="connsiteY38" fmla="*/ 6887 h 10000"/>
              <a:gd name="connsiteX39" fmla="*/ 8670 w 10000"/>
              <a:gd name="connsiteY39" fmla="*/ 6605 h 10000"/>
              <a:gd name="connsiteX40" fmla="*/ 8871 w 10000"/>
              <a:gd name="connsiteY40" fmla="*/ 6299 h 10000"/>
              <a:gd name="connsiteX41" fmla="*/ 9088 w 10000"/>
              <a:gd name="connsiteY41" fmla="*/ 6029 h 10000"/>
              <a:gd name="connsiteX42" fmla="*/ 9242 w 10000"/>
              <a:gd name="connsiteY42" fmla="*/ 5772 h 10000"/>
              <a:gd name="connsiteX43" fmla="*/ 9458 w 10000"/>
              <a:gd name="connsiteY43" fmla="*/ 5379 h 10000"/>
              <a:gd name="connsiteX44" fmla="*/ 9597 w 10000"/>
              <a:gd name="connsiteY44" fmla="*/ 5073 h 10000"/>
              <a:gd name="connsiteX45" fmla="*/ 9768 w 10000"/>
              <a:gd name="connsiteY45" fmla="*/ 4657 h 10000"/>
              <a:gd name="connsiteX46" fmla="*/ 9876 w 10000"/>
              <a:gd name="connsiteY46" fmla="*/ 4191 h 10000"/>
              <a:gd name="connsiteX47" fmla="*/ 9953 w 10000"/>
              <a:gd name="connsiteY47" fmla="*/ 3775 h 10000"/>
              <a:gd name="connsiteX48" fmla="*/ 10000 w 10000"/>
              <a:gd name="connsiteY48" fmla="*/ 3407 h 10000"/>
              <a:gd name="connsiteX49" fmla="*/ 10000 w 10000"/>
              <a:gd name="connsiteY49" fmla="*/ 3015 h 10000"/>
              <a:gd name="connsiteX50" fmla="*/ 9984 w 10000"/>
              <a:gd name="connsiteY50" fmla="*/ 2696 h 10000"/>
              <a:gd name="connsiteX51" fmla="*/ 9922 w 10000"/>
              <a:gd name="connsiteY51" fmla="*/ 2218 h 10000"/>
              <a:gd name="connsiteX52" fmla="*/ 9768 w 10000"/>
              <a:gd name="connsiteY52" fmla="*/ 1740 h 10000"/>
              <a:gd name="connsiteX53" fmla="*/ 9628 w 10000"/>
              <a:gd name="connsiteY53" fmla="*/ 1324 h 10000"/>
              <a:gd name="connsiteX54" fmla="*/ 9458 w 10000"/>
              <a:gd name="connsiteY54" fmla="*/ 980 h 10000"/>
              <a:gd name="connsiteX55" fmla="*/ 9304 w 10000"/>
              <a:gd name="connsiteY55" fmla="*/ 699 h 10000"/>
              <a:gd name="connsiteX56" fmla="*/ 9165 w 10000"/>
              <a:gd name="connsiteY56" fmla="*/ 478 h 10000"/>
              <a:gd name="connsiteX57" fmla="*/ 8994 w 10000"/>
              <a:gd name="connsiteY57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813 w 10000"/>
              <a:gd name="connsiteY5" fmla="*/ 2365 h 10000"/>
              <a:gd name="connsiteX6" fmla="*/ 2967 w 10000"/>
              <a:gd name="connsiteY6" fmla="*/ 2622 h 10000"/>
              <a:gd name="connsiteX7" fmla="*/ 3030 w 10000"/>
              <a:gd name="connsiteY7" fmla="*/ 2806 h 10000"/>
              <a:gd name="connsiteX8" fmla="*/ 3076 w 10000"/>
              <a:gd name="connsiteY8" fmla="*/ 3125 h 10000"/>
              <a:gd name="connsiteX9" fmla="*/ 3045 w 10000"/>
              <a:gd name="connsiteY9" fmla="*/ 3505 h 10000"/>
              <a:gd name="connsiteX10" fmla="*/ 2982 w 10000"/>
              <a:gd name="connsiteY10" fmla="*/ 3737 h 10000"/>
              <a:gd name="connsiteX11" fmla="*/ 2844 w 10000"/>
              <a:gd name="connsiteY11" fmla="*/ 3995 h 10000"/>
              <a:gd name="connsiteX12" fmla="*/ 2674 w 10000"/>
              <a:gd name="connsiteY12" fmla="*/ 4240 h 10000"/>
              <a:gd name="connsiteX13" fmla="*/ 2458 w 10000"/>
              <a:gd name="connsiteY13" fmla="*/ 4473 h 10000"/>
              <a:gd name="connsiteX14" fmla="*/ 1296 w 10000"/>
              <a:gd name="connsiteY14" fmla="*/ 5202 h 10000"/>
              <a:gd name="connsiteX15" fmla="*/ 639 w 10000"/>
              <a:gd name="connsiteY15" fmla="*/ 5467 h 10000"/>
              <a:gd name="connsiteX16" fmla="*/ 2102 w 10000"/>
              <a:gd name="connsiteY16" fmla="*/ 7634 h 10000"/>
              <a:gd name="connsiteX17" fmla="*/ 0 w 10000"/>
              <a:gd name="connsiteY17" fmla="*/ 10000 h 10000"/>
              <a:gd name="connsiteX18" fmla="*/ 418 w 10000"/>
              <a:gd name="connsiteY18" fmla="*/ 9988 h 10000"/>
              <a:gd name="connsiteX19" fmla="*/ 850 w 10000"/>
              <a:gd name="connsiteY19" fmla="*/ 9975 h 10000"/>
              <a:gd name="connsiteX20" fmla="*/ 1329 w 10000"/>
              <a:gd name="connsiteY20" fmla="*/ 9926 h 10000"/>
              <a:gd name="connsiteX21" fmla="*/ 1824 w 10000"/>
              <a:gd name="connsiteY21" fmla="*/ 9877 h 10000"/>
              <a:gd name="connsiteX22" fmla="*/ 2302 w 10000"/>
              <a:gd name="connsiteY22" fmla="*/ 9792 h 10000"/>
              <a:gd name="connsiteX23" fmla="*/ 2782 w 10000"/>
              <a:gd name="connsiteY23" fmla="*/ 9706 h 10000"/>
              <a:gd name="connsiteX24" fmla="*/ 3153 w 10000"/>
              <a:gd name="connsiteY24" fmla="*/ 9620 h 10000"/>
              <a:gd name="connsiteX25" fmla="*/ 3554 w 10000"/>
              <a:gd name="connsiteY25" fmla="*/ 9521 h 10000"/>
              <a:gd name="connsiteX26" fmla="*/ 4049 w 10000"/>
              <a:gd name="connsiteY26" fmla="*/ 9387 h 10000"/>
              <a:gd name="connsiteX27" fmla="*/ 4467 w 10000"/>
              <a:gd name="connsiteY27" fmla="*/ 9240 h 10000"/>
              <a:gd name="connsiteX28" fmla="*/ 4868 w 10000"/>
              <a:gd name="connsiteY28" fmla="*/ 9105 h 10000"/>
              <a:gd name="connsiteX29" fmla="*/ 5301 w 10000"/>
              <a:gd name="connsiteY29" fmla="*/ 8922 h 10000"/>
              <a:gd name="connsiteX30" fmla="*/ 5734 w 10000"/>
              <a:gd name="connsiteY30" fmla="*/ 8737 h 10000"/>
              <a:gd name="connsiteX31" fmla="*/ 6089 w 10000"/>
              <a:gd name="connsiteY31" fmla="*/ 8566 h 10000"/>
              <a:gd name="connsiteX32" fmla="*/ 6491 w 10000"/>
              <a:gd name="connsiteY32" fmla="*/ 8333 h 10000"/>
              <a:gd name="connsiteX33" fmla="*/ 6893 w 10000"/>
              <a:gd name="connsiteY33" fmla="*/ 8101 h 10000"/>
              <a:gd name="connsiteX34" fmla="*/ 7249 w 10000"/>
              <a:gd name="connsiteY34" fmla="*/ 7843 h 10000"/>
              <a:gd name="connsiteX35" fmla="*/ 7542 w 10000"/>
              <a:gd name="connsiteY35" fmla="*/ 7634 h 10000"/>
              <a:gd name="connsiteX36" fmla="*/ 7867 w 10000"/>
              <a:gd name="connsiteY36" fmla="*/ 7377 h 10000"/>
              <a:gd name="connsiteX37" fmla="*/ 8114 w 10000"/>
              <a:gd name="connsiteY37" fmla="*/ 7157 h 10000"/>
              <a:gd name="connsiteX38" fmla="*/ 8393 w 10000"/>
              <a:gd name="connsiteY38" fmla="*/ 6887 h 10000"/>
              <a:gd name="connsiteX39" fmla="*/ 8670 w 10000"/>
              <a:gd name="connsiteY39" fmla="*/ 6605 h 10000"/>
              <a:gd name="connsiteX40" fmla="*/ 8871 w 10000"/>
              <a:gd name="connsiteY40" fmla="*/ 6299 h 10000"/>
              <a:gd name="connsiteX41" fmla="*/ 9088 w 10000"/>
              <a:gd name="connsiteY41" fmla="*/ 6029 h 10000"/>
              <a:gd name="connsiteX42" fmla="*/ 9242 w 10000"/>
              <a:gd name="connsiteY42" fmla="*/ 5772 h 10000"/>
              <a:gd name="connsiteX43" fmla="*/ 9458 w 10000"/>
              <a:gd name="connsiteY43" fmla="*/ 5379 h 10000"/>
              <a:gd name="connsiteX44" fmla="*/ 9597 w 10000"/>
              <a:gd name="connsiteY44" fmla="*/ 5073 h 10000"/>
              <a:gd name="connsiteX45" fmla="*/ 9768 w 10000"/>
              <a:gd name="connsiteY45" fmla="*/ 4657 h 10000"/>
              <a:gd name="connsiteX46" fmla="*/ 9876 w 10000"/>
              <a:gd name="connsiteY46" fmla="*/ 4191 h 10000"/>
              <a:gd name="connsiteX47" fmla="*/ 9953 w 10000"/>
              <a:gd name="connsiteY47" fmla="*/ 3775 h 10000"/>
              <a:gd name="connsiteX48" fmla="*/ 10000 w 10000"/>
              <a:gd name="connsiteY48" fmla="*/ 3407 h 10000"/>
              <a:gd name="connsiteX49" fmla="*/ 10000 w 10000"/>
              <a:gd name="connsiteY49" fmla="*/ 3015 h 10000"/>
              <a:gd name="connsiteX50" fmla="*/ 9984 w 10000"/>
              <a:gd name="connsiteY50" fmla="*/ 2696 h 10000"/>
              <a:gd name="connsiteX51" fmla="*/ 9922 w 10000"/>
              <a:gd name="connsiteY51" fmla="*/ 2218 h 10000"/>
              <a:gd name="connsiteX52" fmla="*/ 9768 w 10000"/>
              <a:gd name="connsiteY52" fmla="*/ 1740 h 10000"/>
              <a:gd name="connsiteX53" fmla="*/ 9628 w 10000"/>
              <a:gd name="connsiteY53" fmla="*/ 1324 h 10000"/>
              <a:gd name="connsiteX54" fmla="*/ 9458 w 10000"/>
              <a:gd name="connsiteY54" fmla="*/ 980 h 10000"/>
              <a:gd name="connsiteX55" fmla="*/ 9304 w 10000"/>
              <a:gd name="connsiteY55" fmla="*/ 699 h 10000"/>
              <a:gd name="connsiteX56" fmla="*/ 9165 w 10000"/>
              <a:gd name="connsiteY56" fmla="*/ 478 h 10000"/>
              <a:gd name="connsiteX57" fmla="*/ 8994 w 10000"/>
              <a:gd name="connsiteY57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813 w 10000"/>
              <a:gd name="connsiteY5" fmla="*/ 2365 h 10000"/>
              <a:gd name="connsiteX6" fmla="*/ 2967 w 10000"/>
              <a:gd name="connsiteY6" fmla="*/ 2622 h 10000"/>
              <a:gd name="connsiteX7" fmla="*/ 3030 w 10000"/>
              <a:gd name="connsiteY7" fmla="*/ 2806 h 10000"/>
              <a:gd name="connsiteX8" fmla="*/ 3045 w 10000"/>
              <a:gd name="connsiteY8" fmla="*/ 3505 h 10000"/>
              <a:gd name="connsiteX9" fmla="*/ 2982 w 10000"/>
              <a:gd name="connsiteY9" fmla="*/ 3737 h 10000"/>
              <a:gd name="connsiteX10" fmla="*/ 2844 w 10000"/>
              <a:gd name="connsiteY10" fmla="*/ 3995 h 10000"/>
              <a:gd name="connsiteX11" fmla="*/ 2674 w 10000"/>
              <a:gd name="connsiteY11" fmla="*/ 4240 h 10000"/>
              <a:gd name="connsiteX12" fmla="*/ 2458 w 10000"/>
              <a:gd name="connsiteY12" fmla="*/ 4473 h 10000"/>
              <a:gd name="connsiteX13" fmla="*/ 1296 w 10000"/>
              <a:gd name="connsiteY13" fmla="*/ 5202 h 10000"/>
              <a:gd name="connsiteX14" fmla="*/ 639 w 10000"/>
              <a:gd name="connsiteY14" fmla="*/ 5467 h 10000"/>
              <a:gd name="connsiteX15" fmla="*/ 2102 w 10000"/>
              <a:gd name="connsiteY15" fmla="*/ 7634 h 10000"/>
              <a:gd name="connsiteX16" fmla="*/ 0 w 10000"/>
              <a:gd name="connsiteY16" fmla="*/ 10000 h 10000"/>
              <a:gd name="connsiteX17" fmla="*/ 418 w 10000"/>
              <a:gd name="connsiteY17" fmla="*/ 9988 h 10000"/>
              <a:gd name="connsiteX18" fmla="*/ 850 w 10000"/>
              <a:gd name="connsiteY18" fmla="*/ 9975 h 10000"/>
              <a:gd name="connsiteX19" fmla="*/ 1329 w 10000"/>
              <a:gd name="connsiteY19" fmla="*/ 9926 h 10000"/>
              <a:gd name="connsiteX20" fmla="*/ 1824 w 10000"/>
              <a:gd name="connsiteY20" fmla="*/ 9877 h 10000"/>
              <a:gd name="connsiteX21" fmla="*/ 2302 w 10000"/>
              <a:gd name="connsiteY21" fmla="*/ 9792 h 10000"/>
              <a:gd name="connsiteX22" fmla="*/ 2782 w 10000"/>
              <a:gd name="connsiteY22" fmla="*/ 9706 h 10000"/>
              <a:gd name="connsiteX23" fmla="*/ 3153 w 10000"/>
              <a:gd name="connsiteY23" fmla="*/ 9620 h 10000"/>
              <a:gd name="connsiteX24" fmla="*/ 3554 w 10000"/>
              <a:gd name="connsiteY24" fmla="*/ 9521 h 10000"/>
              <a:gd name="connsiteX25" fmla="*/ 4049 w 10000"/>
              <a:gd name="connsiteY25" fmla="*/ 9387 h 10000"/>
              <a:gd name="connsiteX26" fmla="*/ 4467 w 10000"/>
              <a:gd name="connsiteY26" fmla="*/ 9240 h 10000"/>
              <a:gd name="connsiteX27" fmla="*/ 4868 w 10000"/>
              <a:gd name="connsiteY27" fmla="*/ 9105 h 10000"/>
              <a:gd name="connsiteX28" fmla="*/ 5301 w 10000"/>
              <a:gd name="connsiteY28" fmla="*/ 8922 h 10000"/>
              <a:gd name="connsiteX29" fmla="*/ 5734 w 10000"/>
              <a:gd name="connsiteY29" fmla="*/ 8737 h 10000"/>
              <a:gd name="connsiteX30" fmla="*/ 6089 w 10000"/>
              <a:gd name="connsiteY30" fmla="*/ 8566 h 10000"/>
              <a:gd name="connsiteX31" fmla="*/ 6491 w 10000"/>
              <a:gd name="connsiteY31" fmla="*/ 8333 h 10000"/>
              <a:gd name="connsiteX32" fmla="*/ 6893 w 10000"/>
              <a:gd name="connsiteY32" fmla="*/ 8101 h 10000"/>
              <a:gd name="connsiteX33" fmla="*/ 7249 w 10000"/>
              <a:gd name="connsiteY33" fmla="*/ 7843 h 10000"/>
              <a:gd name="connsiteX34" fmla="*/ 7542 w 10000"/>
              <a:gd name="connsiteY34" fmla="*/ 7634 h 10000"/>
              <a:gd name="connsiteX35" fmla="*/ 7867 w 10000"/>
              <a:gd name="connsiteY35" fmla="*/ 7377 h 10000"/>
              <a:gd name="connsiteX36" fmla="*/ 8114 w 10000"/>
              <a:gd name="connsiteY36" fmla="*/ 7157 h 10000"/>
              <a:gd name="connsiteX37" fmla="*/ 8393 w 10000"/>
              <a:gd name="connsiteY37" fmla="*/ 6887 h 10000"/>
              <a:gd name="connsiteX38" fmla="*/ 8670 w 10000"/>
              <a:gd name="connsiteY38" fmla="*/ 6605 h 10000"/>
              <a:gd name="connsiteX39" fmla="*/ 8871 w 10000"/>
              <a:gd name="connsiteY39" fmla="*/ 6299 h 10000"/>
              <a:gd name="connsiteX40" fmla="*/ 9088 w 10000"/>
              <a:gd name="connsiteY40" fmla="*/ 6029 h 10000"/>
              <a:gd name="connsiteX41" fmla="*/ 9242 w 10000"/>
              <a:gd name="connsiteY41" fmla="*/ 5772 h 10000"/>
              <a:gd name="connsiteX42" fmla="*/ 9458 w 10000"/>
              <a:gd name="connsiteY42" fmla="*/ 5379 h 10000"/>
              <a:gd name="connsiteX43" fmla="*/ 9597 w 10000"/>
              <a:gd name="connsiteY43" fmla="*/ 5073 h 10000"/>
              <a:gd name="connsiteX44" fmla="*/ 9768 w 10000"/>
              <a:gd name="connsiteY44" fmla="*/ 4657 h 10000"/>
              <a:gd name="connsiteX45" fmla="*/ 9876 w 10000"/>
              <a:gd name="connsiteY45" fmla="*/ 4191 h 10000"/>
              <a:gd name="connsiteX46" fmla="*/ 9953 w 10000"/>
              <a:gd name="connsiteY46" fmla="*/ 3775 h 10000"/>
              <a:gd name="connsiteX47" fmla="*/ 10000 w 10000"/>
              <a:gd name="connsiteY47" fmla="*/ 3407 h 10000"/>
              <a:gd name="connsiteX48" fmla="*/ 10000 w 10000"/>
              <a:gd name="connsiteY48" fmla="*/ 3015 h 10000"/>
              <a:gd name="connsiteX49" fmla="*/ 9984 w 10000"/>
              <a:gd name="connsiteY49" fmla="*/ 2696 h 10000"/>
              <a:gd name="connsiteX50" fmla="*/ 9922 w 10000"/>
              <a:gd name="connsiteY50" fmla="*/ 2218 h 10000"/>
              <a:gd name="connsiteX51" fmla="*/ 9768 w 10000"/>
              <a:gd name="connsiteY51" fmla="*/ 1740 h 10000"/>
              <a:gd name="connsiteX52" fmla="*/ 9628 w 10000"/>
              <a:gd name="connsiteY52" fmla="*/ 1324 h 10000"/>
              <a:gd name="connsiteX53" fmla="*/ 9458 w 10000"/>
              <a:gd name="connsiteY53" fmla="*/ 980 h 10000"/>
              <a:gd name="connsiteX54" fmla="*/ 9304 w 10000"/>
              <a:gd name="connsiteY54" fmla="*/ 699 h 10000"/>
              <a:gd name="connsiteX55" fmla="*/ 9165 w 10000"/>
              <a:gd name="connsiteY55" fmla="*/ 478 h 10000"/>
              <a:gd name="connsiteX56" fmla="*/ 8994 w 10000"/>
              <a:gd name="connsiteY56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813 w 10000"/>
              <a:gd name="connsiteY5" fmla="*/ 2365 h 10000"/>
              <a:gd name="connsiteX6" fmla="*/ 2967 w 10000"/>
              <a:gd name="connsiteY6" fmla="*/ 2622 h 10000"/>
              <a:gd name="connsiteX7" fmla="*/ 3045 w 10000"/>
              <a:gd name="connsiteY7" fmla="*/ 3505 h 10000"/>
              <a:gd name="connsiteX8" fmla="*/ 2982 w 10000"/>
              <a:gd name="connsiteY8" fmla="*/ 3737 h 10000"/>
              <a:gd name="connsiteX9" fmla="*/ 2844 w 10000"/>
              <a:gd name="connsiteY9" fmla="*/ 3995 h 10000"/>
              <a:gd name="connsiteX10" fmla="*/ 2674 w 10000"/>
              <a:gd name="connsiteY10" fmla="*/ 4240 h 10000"/>
              <a:gd name="connsiteX11" fmla="*/ 2458 w 10000"/>
              <a:gd name="connsiteY11" fmla="*/ 4473 h 10000"/>
              <a:gd name="connsiteX12" fmla="*/ 1296 w 10000"/>
              <a:gd name="connsiteY12" fmla="*/ 5202 h 10000"/>
              <a:gd name="connsiteX13" fmla="*/ 639 w 10000"/>
              <a:gd name="connsiteY13" fmla="*/ 5467 h 10000"/>
              <a:gd name="connsiteX14" fmla="*/ 2102 w 10000"/>
              <a:gd name="connsiteY14" fmla="*/ 7634 h 10000"/>
              <a:gd name="connsiteX15" fmla="*/ 0 w 10000"/>
              <a:gd name="connsiteY15" fmla="*/ 10000 h 10000"/>
              <a:gd name="connsiteX16" fmla="*/ 418 w 10000"/>
              <a:gd name="connsiteY16" fmla="*/ 9988 h 10000"/>
              <a:gd name="connsiteX17" fmla="*/ 850 w 10000"/>
              <a:gd name="connsiteY17" fmla="*/ 9975 h 10000"/>
              <a:gd name="connsiteX18" fmla="*/ 1329 w 10000"/>
              <a:gd name="connsiteY18" fmla="*/ 9926 h 10000"/>
              <a:gd name="connsiteX19" fmla="*/ 1824 w 10000"/>
              <a:gd name="connsiteY19" fmla="*/ 9877 h 10000"/>
              <a:gd name="connsiteX20" fmla="*/ 2302 w 10000"/>
              <a:gd name="connsiteY20" fmla="*/ 9792 h 10000"/>
              <a:gd name="connsiteX21" fmla="*/ 2782 w 10000"/>
              <a:gd name="connsiteY21" fmla="*/ 9706 h 10000"/>
              <a:gd name="connsiteX22" fmla="*/ 3153 w 10000"/>
              <a:gd name="connsiteY22" fmla="*/ 9620 h 10000"/>
              <a:gd name="connsiteX23" fmla="*/ 3554 w 10000"/>
              <a:gd name="connsiteY23" fmla="*/ 9521 h 10000"/>
              <a:gd name="connsiteX24" fmla="*/ 4049 w 10000"/>
              <a:gd name="connsiteY24" fmla="*/ 9387 h 10000"/>
              <a:gd name="connsiteX25" fmla="*/ 4467 w 10000"/>
              <a:gd name="connsiteY25" fmla="*/ 9240 h 10000"/>
              <a:gd name="connsiteX26" fmla="*/ 4868 w 10000"/>
              <a:gd name="connsiteY26" fmla="*/ 9105 h 10000"/>
              <a:gd name="connsiteX27" fmla="*/ 5301 w 10000"/>
              <a:gd name="connsiteY27" fmla="*/ 8922 h 10000"/>
              <a:gd name="connsiteX28" fmla="*/ 5734 w 10000"/>
              <a:gd name="connsiteY28" fmla="*/ 8737 h 10000"/>
              <a:gd name="connsiteX29" fmla="*/ 6089 w 10000"/>
              <a:gd name="connsiteY29" fmla="*/ 8566 h 10000"/>
              <a:gd name="connsiteX30" fmla="*/ 6491 w 10000"/>
              <a:gd name="connsiteY30" fmla="*/ 8333 h 10000"/>
              <a:gd name="connsiteX31" fmla="*/ 6893 w 10000"/>
              <a:gd name="connsiteY31" fmla="*/ 8101 h 10000"/>
              <a:gd name="connsiteX32" fmla="*/ 7249 w 10000"/>
              <a:gd name="connsiteY32" fmla="*/ 7843 h 10000"/>
              <a:gd name="connsiteX33" fmla="*/ 7542 w 10000"/>
              <a:gd name="connsiteY33" fmla="*/ 7634 h 10000"/>
              <a:gd name="connsiteX34" fmla="*/ 7867 w 10000"/>
              <a:gd name="connsiteY34" fmla="*/ 7377 h 10000"/>
              <a:gd name="connsiteX35" fmla="*/ 8114 w 10000"/>
              <a:gd name="connsiteY35" fmla="*/ 7157 h 10000"/>
              <a:gd name="connsiteX36" fmla="*/ 8393 w 10000"/>
              <a:gd name="connsiteY36" fmla="*/ 6887 h 10000"/>
              <a:gd name="connsiteX37" fmla="*/ 8670 w 10000"/>
              <a:gd name="connsiteY37" fmla="*/ 6605 h 10000"/>
              <a:gd name="connsiteX38" fmla="*/ 8871 w 10000"/>
              <a:gd name="connsiteY38" fmla="*/ 6299 h 10000"/>
              <a:gd name="connsiteX39" fmla="*/ 9088 w 10000"/>
              <a:gd name="connsiteY39" fmla="*/ 6029 h 10000"/>
              <a:gd name="connsiteX40" fmla="*/ 9242 w 10000"/>
              <a:gd name="connsiteY40" fmla="*/ 5772 h 10000"/>
              <a:gd name="connsiteX41" fmla="*/ 9458 w 10000"/>
              <a:gd name="connsiteY41" fmla="*/ 5379 h 10000"/>
              <a:gd name="connsiteX42" fmla="*/ 9597 w 10000"/>
              <a:gd name="connsiteY42" fmla="*/ 5073 h 10000"/>
              <a:gd name="connsiteX43" fmla="*/ 9768 w 10000"/>
              <a:gd name="connsiteY43" fmla="*/ 4657 h 10000"/>
              <a:gd name="connsiteX44" fmla="*/ 9876 w 10000"/>
              <a:gd name="connsiteY44" fmla="*/ 4191 h 10000"/>
              <a:gd name="connsiteX45" fmla="*/ 9953 w 10000"/>
              <a:gd name="connsiteY45" fmla="*/ 3775 h 10000"/>
              <a:gd name="connsiteX46" fmla="*/ 10000 w 10000"/>
              <a:gd name="connsiteY46" fmla="*/ 3407 h 10000"/>
              <a:gd name="connsiteX47" fmla="*/ 10000 w 10000"/>
              <a:gd name="connsiteY47" fmla="*/ 3015 h 10000"/>
              <a:gd name="connsiteX48" fmla="*/ 9984 w 10000"/>
              <a:gd name="connsiteY48" fmla="*/ 2696 h 10000"/>
              <a:gd name="connsiteX49" fmla="*/ 9922 w 10000"/>
              <a:gd name="connsiteY49" fmla="*/ 2218 h 10000"/>
              <a:gd name="connsiteX50" fmla="*/ 9768 w 10000"/>
              <a:gd name="connsiteY50" fmla="*/ 1740 h 10000"/>
              <a:gd name="connsiteX51" fmla="*/ 9628 w 10000"/>
              <a:gd name="connsiteY51" fmla="*/ 1324 h 10000"/>
              <a:gd name="connsiteX52" fmla="*/ 9458 w 10000"/>
              <a:gd name="connsiteY52" fmla="*/ 980 h 10000"/>
              <a:gd name="connsiteX53" fmla="*/ 9304 w 10000"/>
              <a:gd name="connsiteY53" fmla="*/ 699 h 10000"/>
              <a:gd name="connsiteX54" fmla="*/ 9165 w 10000"/>
              <a:gd name="connsiteY54" fmla="*/ 478 h 10000"/>
              <a:gd name="connsiteX55" fmla="*/ 8994 w 10000"/>
              <a:gd name="connsiteY55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813 w 10000"/>
              <a:gd name="connsiteY5" fmla="*/ 2365 h 10000"/>
              <a:gd name="connsiteX6" fmla="*/ 2967 w 10000"/>
              <a:gd name="connsiteY6" fmla="*/ 2622 h 10000"/>
              <a:gd name="connsiteX7" fmla="*/ 2982 w 10000"/>
              <a:gd name="connsiteY7" fmla="*/ 3737 h 10000"/>
              <a:gd name="connsiteX8" fmla="*/ 2844 w 10000"/>
              <a:gd name="connsiteY8" fmla="*/ 3995 h 10000"/>
              <a:gd name="connsiteX9" fmla="*/ 2674 w 10000"/>
              <a:gd name="connsiteY9" fmla="*/ 4240 h 10000"/>
              <a:gd name="connsiteX10" fmla="*/ 2458 w 10000"/>
              <a:gd name="connsiteY10" fmla="*/ 4473 h 10000"/>
              <a:gd name="connsiteX11" fmla="*/ 1296 w 10000"/>
              <a:gd name="connsiteY11" fmla="*/ 5202 h 10000"/>
              <a:gd name="connsiteX12" fmla="*/ 639 w 10000"/>
              <a:gd name="connsiteY12" fmla="*/ 5467 h 10000"/>
              <a:gd name="connsiteX13" fmla="*/ 2102 w 10000"/>
              <a:gd name="connsiteY13" fmla="*/ 7634 h 10000"/>
              <a:gd name="connsiteX14" fmla="*/ 0 w 10000"/>
              <a:gd name="connsiteY14" fmla="*/ 10000 h 10000"/>
              <a:gd name="connsiteX15" fmla="*/ 418 w 10000"/>
              <a:gd name="connsiteY15" fmla="*/ 9988 h 10000"/>
              <a:gd name="connsiteX16" fmla="*/ 850 w 10000"/>
              <a:gd name="connsiteY16" fmla="*/ 9975 h 10000"/>
              <a:gd name="connsiteX17" fmla="*/ 1329 w 10000"/>
              <a:gd name="connsiteY17" fmla="*/ 9926 h 10000"/>
              <a:gd name="connsiteX18" fmla="*/ 1824 w 10000"/>
              <a:gd name="connsiteY18" fmla="*/ 9877 h 10000"/>
              <a:gd name="connsiteX19" fmla="*/ 2302 w 10000"/>
              <a:gd name="connsiteY19" fmla="*/ 9792 h 10000"/>
              <a:gd name="connsiteX20" fmla="*/ 2782 w 10000"/>
              <a:gd name="connsiteY20" fmla="*/ 9706 h 10000"/>
              <a:gd name="connsiteX21" fmla="*/ 3153 w 10000"/>
              <a:gd name="connsiteY21" fmla="*/ 9620 h 10000"/>
              <a:gd name="connsiteX22" fmla="*/ 3554 w 10000"/>
              <a:gd name="connsiteY22" fmla="*/ 9521 h 10000"/>
              <a:gd name="connsiteX23" fmla="*/ 4049 w 10000"/>
              <a:gd name="connsiteY23" fmla="*/ 9387 h 10000"/>
              <a:gd name="connsiteX24" fmla="*/ 4467 w 10000"/>
              <a:gd name="connsiteY24" fmla="*/ 9240 h 10000"/>
              <a:gd name="connsiteX25" fmla="*/ 4868 w 10000"/>
              <a:gd name="connsiteY25" fmla="*/ 9105 h 10000"/>
              <a:gd name="connsiteX26" fmla="*/ 5301 w 10000"/>
              <a:gd name="connsiteY26" fmla="*/ 8922 h 10000"/>
              <a:gd name="connsiteX27" fmla="*/ 5734 w 10000"/>
              <a:gd name="connsiteY27" fmla="*/ 8737 h 10000"/>
              <a:gd name="connsiteX28" fmla="*/ 6089 w 10000"/>
              <a:gd name="connsiteY28" fmla="*/ 8566 h 10000"/>
              <a:gd name="connsiteX29" fmla="*/ 6491 w 10000"/>
              <a:gd name="connsiteY29" fmla="*/ 8333 h 10000"/>
              <a:gd name="connsiteX30" fmla="*/ 6893 w 10000"/>
              <a:gd name="connsiteY30" fmla="*/ 8101 h 10000"/>
              <a:gd name="connsiteX31" fmla="*/ 7249 w 10000"/>
              <a:gd name="connsiteY31" fmla="*/ 7843 h 10000"/>
              <a:gd name="connsiteX32" fmla="*/ 7542 w 10000"/>
              <a:gd name="connsiteY32" fmla="*/ 7634 h 10000"/>
              <a:gd name="connsiteX33" fmla="*/ 7867 w 10000"/>
              <a:gd name="connsiteY33" fmla="*/ 7377 h 10000"/>
              <a:gd name="connsiteX34" fmla="*/ 8114 w 10000"/>
              <a:gd name="connsiteY34" fmla="*/ 7157 h 10000"/>
              <a:gd name="connsiteX35" fmla="*/ 8393 w 10000"/>
              <a:gd name="connsiteY35" fmla="*/ 6887 h 10000"/>
              <a:gd name="connsiteX36" fmla="*/ 8670 w 10000"/>
              <a:gd name="connsiteY36" fmla="*/ 6605 h 10000"/>
              <a:gd name="connsiteX37" fmla="*/ 8871 w 10000"/>
              <a:gd name="connsiteY37" fmla="*/ 6299 h 10000"/>
              <a:gd name="connsiteX38" fmla="*/ 9088 w 10000"/>
              <a:gd name="connsiteY38" fmla="*/ 6029 h 10000"/>
              <a:gd name="connsiteX39" fmla="*/ 9242 w 10000"/>
              <a:gd name="connsiteY39" fmla="*/ 5772 h 10000"/>
              <a:gd name="connsiteX40" fmla="*/ 9458 w 10000"/>
              <a:gd name="connsiteY40" fmla="*/ 5379 h 10000"/>
              <a:gd name="connsiteX41" fmla="*/ 9597 w 10000"/>
              <a:gd name="connsiteY41" fmla="*/ 5073 h 10000"/>
              <a:gd name="connsiteX42" fmla="*/ 9768 w 10000"/>
              <a:gd name="connsiteY42" fmla="*/ 4657 h 10000"/>
              <a:gd name="connsiteX43" fmla="*/ 9876 w 10000"/>
              <a:gd name="connsiteY43" fmla="*/ 4191 h 10000"/>
              <a:gd name="connsiteX44" fmla="*/ 9953 w 10000"/>
              <a:gd name="connsiteY44" fmla="*/ 3775 h 10000"/>
              <a:gd name="connsiteX45" fmla="*/ 10000 w 10000"/>
              <a:gd name="connsiteY45" fmla="*/ 3407 h 10000"/>
              <a:gd name="connsiteX46" fmla="*/ 10000 w 10000"/>
              <a:gd name="connsiteY46" fmla="*/ 3015 h 10000"/>
              <a:gd name="connsiteX47" fmla="*/ 9984 w 10000"/>
              <a:gd name="connsiteY47" fmla="*/ 2696 h 10000"/>
              <a:gd name="connsiteX48" fmla="*/ 9922 w 10000"/>
              <a:gd name="connsiteY48" fmla="*/ 2218 h 10000"/>
              <a:gd name="connsiteX49" fmla="*/ 9768 w 10000"/>
              <a:gd name="connsiteY49" fmla="*/ 1740 h 10000"/>
              <a:gd name="connsiteX50" fmla="*/ 9628 w 10000"/>
              <a:gd name="connsiteY50" fmla="*/ 1324 h 10000"/>
              <a:gd name="connsiteX51" fmla="*/ 9458 w 10000"/>
              <a:gd name="connsiteY51" fmla="*/ 980 h 10000"/>
              <a:gd name="connsiteX52" fmla="*/ 9304 w 10000"/>
              <a:gd name="connsiteY52" fmla="*/ 699 h 10000"/>
              <a:gd name="connsiteX53" fmla="*/ 9165 w 10000"/>
              <a:gd name="connsiteY53" fmla="*/ 478 h 10000"/>
              <a:gd name="connsiteX54" fmla="*/ 8994 w 10000"/>
              <a:gd name="connsiteY54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813 w 10000"/>
              <a:gd name="connsiteY5" fmla="*/ 2365 h 10000"/>
              <a:gd name="connsiteX6" fmla="*/ 2967 w 10000"/>
              <a:gd name="connsiteY6" fmla="*/ 2622 h 10000"/>
              <a:gd name="connsiteX7" fmla="*/ 2844 w 10000"/>
              <a:gd name="connsiteY7" fmla="*/ 3995 h 10000"/>
              <a:gd name="connsiteX8" fmla="*/ 2674 w 10000"/>
              <a:gd name="connsiteY8" fmla="*/ 4240 h 10000"/>
              <a:gd name="connsiteX9" fmla="*/ 2458 w 10000"/>
              <a:gd name="connsiteY9" fmla="*/ 4473 h 10000"/>
              <a:gd name="connsiteX10" fmla="*/ 1296 w 10000"/>
              <a:gd name="connsiteY10" fmla="*/ 5202 h 10000"/>
              <a:gd name="connsiteX11" fmla="*/ 639 w 10000"/>
              <a:gd name="connsiteY11" fmla="*/ 5467 h 10000"/>
              <a:gd name="connsiteX12" fmla="*/ 2102 w 10000"/>
              <a:gd name="connsiteY12" fmla="*/ 7634 h 10000"/>
              <a:gd name="connsiteX13" fmla="*/ 0 w 10000"/>
              <a:gd name="connsiteY13" fmla="*/ 10000 h 10000"/>
              <a:gd name="connsiteX14" fmla="*/ 418 w 10000"/>
              <a:gd name="connsiteY14" fmla="*/ 9988 h 10000"/>
              <a:gd name="connsiteX15" fmla="*/ 850 w 10000"/>
              <a:gd name="connsiteY15" fmla="*/ 9975 h 10000"/>
              <a:gd name="connsiteX16" fmla="*/ 1329 w 10000"/>
              <a:gd name="connsiteY16" fmla="*/ 9926 h 10000"/>
              <a:gd name="connsiteX17" fmla="*/ 1824 w 10000"/>
              <a:gd name="connsiteY17" fmla="*/ 9877 h 10000"/>
              <a:gd name="connsiteX18" fmla="*/ 2302 w 10000"/>
              <a:gd name="connsiteY18" fmla="*/ 9792 h 10000"/>
              <a:gd name="connsiteX19" fmla="*/ 2782 w 10000"/>
              <a:gd name="connsiteY19" fmla="*/ 9706 h 10000"/>
              <a:gd name="connsiteX20" fmla="*/ 3153 w 10000"/>
              <a:gd name="connsiteY20" fmla="*/ 9620 h 10000"/>
              <a:gd name="connsiteX21" fmla="*/ 3554 w 10000"/>
              <a:gd name="connsiteY21" fmla="*/ 9521 h 10000"/>
              <a:gd name="connsiteX22" fmla="*/ 4049 w 10000"/>
              <a:gd name="connsiteY22" fmla="*/ 9387 h 10000"/>
              <a:gd name="connsiteX23" fmla="*/ 4467 w 10000"/>
              <a:gd name="connsiteY23" fmla="*/ 9240 h 10000"/>
              <a:gd name="connsiteX24" fmla="*/ 4868 w 10000"/>
              <a:gd name="connsiteY24" fmla="*/ 9105 h 10000"/>
              <a:gd name="connsiteX25" fmla="*/ 5301 w 10000"/>
              <a:gd name="connsiteY25" fmla="*/ 8922 h 10000"/>
              <a:gd name="connsiteX26" fmla="*/ 5734 w 10000"/>
              <a:gd name="connsiteY26" fmla="*/ 8737 h 10000"/>
              <a:gd name="connsiteX27" fmla="*/ 6089 w 10000"/>
              <a:gd name="connsiteY27" fmla="*/ 8566 h 10000"/>
              <a:gd name="connsiteX28" fmla="*/ 6491 w 10000"/>
              <a:gd name="connsiteY28" fmla="*/ 8333 h 10000"/>
              <a:gd name="connsiteX29" fmla="*/ 6893 w 10000"/>
              <a:gd name="connsiteY29" fmla="*/ 8101 h 10000"/>
              <a:gd name="connsiteX30" fmla="*/ 7249 w 10000"/>
              <a:gd name="connsiteY30" fmla="*/ 7843 h 10000"/>
              <a:gd name="connsiteX31" fmla="*/ 7542 w 10000"/>
              <a:gd name="connsiteY31" fmla="*/ 7634 h 10000"/>
              <a:gd name="connsiteX32" fmla="*/ 7867 w 10000"/>
              <a:gd name="connsiteY32" fmla="*/ 7377 h 10000"/>
              <a:gd name="connsiteX33" fmla="*/ 8114 w 10000"/>
              <a:gd name="connsiteY33" fmla="*/ 7157 h 10000"/>
              <a:gd name="connsiteX34" fmla="*/ 8393 w 10000"/>
              <a:gd name="connsiteY34" fmla="*/ 6887 h 10000"/>
              <a:gd name="connsiteX35" fmla="*/ 8670 w 10000"/>
              <a:gd name="connsiteY35" fmla="*/ 6605 h 10000"/>
              <a:gd name="connsiteX36" fmla="*/ 8871 w 10000"/>
              <a:gd name="connsiteY36" fmla="*/ 6299 h 10000"/>
              <a:gd name="connsiteX37" fmla="*/ 9088 w 10000"/>
              <a:gd name="connsiteY37" fmla="*/ 6029 h 10000"/>
              <a:gd name="connsiteX38" fmla="*/ 9242 w 10000"/>
              <a:gd name="connsiteY38" fmla="*/ 5772 h 10000"/>
              <a:gd name="connsiteX39" fmla="*/ 9458 w 10000"/>
              <a:gd name="connsiteY39" fmla="*/ 5379 h 10000"/>
              <a:gd name="connsiteX40" fmla="*/ 9597 w 10000"/>
              <a:gd name="connsiteY40" fmla="*/ 5073 h 10000"/>
              <a:gd name="connsiteX41" fmla="*/ 9768 w 10000"/>
              <a:gd name="connsiteY41" fmla="*/ 4657 h 10000"/>
              <a:gd name="connsiteX42" fmla="*/ 9876 w 10000"/>
              <a:gd name="connsiteY42" fmla="*/ 4191 h 10000"/>
              <a:gd name="connsiteX43" fmla="*/ 9953 w 10000"/>
              <a:gd name="connsiteY43" fmla="*/ 3775 h 10000"/>
              <a:gd name="connsiteX44" fmla="*/ 10000 w 10000"/>
              <a:gd name="connsiteY44" fmla="*/ 3407 h 10000"/>
              <a:gd name="connsiteX45" fmla="*/ 10000 w 10000"/>
              <a:gd name="connsiteY45" fmla="*/ 3015 h 10000"/>
              <a:gd name="connsiteX46" fmla="*/ 9984 w 10000"/>
              <a:gd name="connsiteY46" fmla="*/ 2696 h 10000"/>
              <a:gd name="connsiteX47" fmla="*/ 9922 w 10000"/>
              <a:gd name="connsiteY47" fmla="*/ 2218 h 10000"/>
              <a:gd name="connsiteX48" fmla="*/ 9768 w 10000"/>
              <a:gd name="connsiteY48" fmla="*/ 1740 h 10000"/>
              <a:gd name="connsiteX49" fmla="*/ 9628 w 10000"/>
              <a:gd name="connsiteY49" fmla="*/ 1324 h 10000"/>
              <a:gd name="connsiteX50" fmla="*/ 9458 w 10000"/>
              <a:gd name="connsiteY50" fmla="*/ 980 h 10000"/>
              <a:gd name="connsiteX51" fmla="*/ 9304 w 10000"/>
              <a:gd name="connsiteY51" fmla="*/ 699 h 10000"/>
              <a:gd name="connsiteX52" fmla="*/ 9165 w 10000"/>
              <a:gd name="connsiteY52" fmla="*/ 478 h 10000"/>
              <a:gd name="connsiteX53" fmla="*/ 8994 w 10000"/>
              <a:gd name="connsiteY53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813 w 10000"/>
              <a:gd name="connsiteY5" fmla="*/ 2365 h 10000"/>
              <a:gd name="connsiteX6" fmla="*/ 2967 w 10000"/>
              <a:gd name="connsiteY6" fmla="*/ 2622 h 10000"/>
              <a:gd name="connsiteX7" fmla="*/ 2844 w 10000"/>
              <a:gd name="connsiteY7" fmla="*/ 3995 h 10000"/>
              <a:gd name="connsiteX8" fmla="*/ 2674 w 10000"/>
              <a:gd name="connsiteY8" fmla="*/ 4240 h 10000"/>
              <a:gd name="connsiteX9" fmla="*/ 2458 w 10000"/>
              <a:gd name="connsiteY9" fmla="*/ 4473 h 10000"/>
              <a:gd name="connsiteX10" fmla="*/ 1296 w 10000"/>
              <a:gd name="connsiteY10" fmla="*/ 5202 h 10000"/>
              <a:gd name="connsiteX11" fmla="*/ 639 w 10000"/>
              <a:gd name="connsiteY11" fmla="*/ 5467 h 10000"/>
              <a:gd name="connsiteX12" fmla="*/ 2102 w 10000"/>
              <a:gd name="connsiteY12" fmla="*/ 7634 h 10000"/>
              <a:gd name="connsiteX13" fmla="*/ 0 w 10000"/>
              <a:gd name="connsiteY13" fmla="*/ 10000 h 10000"/>
              <a:gd name="connsiteX14" fmla="*/ 418 w 10000"/>
              <a:gd name="connsiteY14" fmla="*/ 9988 h 10000"/>
              <a:gd name="connsiteX15" fmla="*/ 850 w 10000"/>
              <a:gd name="connsiteY15" fmla="*/ 9975 h 10000"/>
              <a:gd name="connsiteX16" fmla="*/ 1329 w 10000"/>
              <a:gd name="connsiteY16" fmla="*/ 9926 h 10000"/>
              <a:gd name="connsiteX17" fmla="*/ 1824 w 10000"/>
              <a:gd name="connsiteY17" fmla="*/ 9877 h 10000"/>
              <a:gd name="connsiteX18" fmla="*/ 2302 w 10000"/>
              <a:gd name="connsiteY18" fmla="*/ 9792 h 10000"/>
              <a:gd name="connsiteX19" fmla="*/ 2782 w 10000"/>
              <a:gd name="connsiteY19" fmla="*/ 9706 h 10000"/>
              <a:gd name="connsiteX20" fmla="*/ 3153 w 10000"/>
              <a:gd name="connsiteY20" fmla="*/ 9620 h 10000"/>
              <a:gd name="connsiteX21" fmla="*/ 3554 w 10000"/>
              <a:gd name="connsiteY21" fmla="*/ 9521 h 10000"/>
              <a:gd name="connsiteX22" fmla="*/ 4049 w 10000"/>
              <a:gd name="connsiteY22" fmla="*/ 9387 h 10000"/>
              <a:gd name="connsiteX23" fmla="*/ 4467 w 10000"/>
              <a:gd name="connsiteY23" fmla="*/ 9240 h 10000"/>
              <a:gd name="connsiteX24" fmla="*/ 4868 w 10000"/>
              <a:gd name="connsiteY24" fmla="*/ 9105 h 10000"/>
              <a:gd name="connsiteX25" fmla="*/ 5301 w 10000"/>
              <a:gd name="connsiteY25" fmla="*/ 8922 h 10000"/>
              <a:gd name="connsiteX26" fmla="*/ 5734 w 10000"/>
              <a:gd name="connsiteY26" fmla="*/ 8737 h 10000"/>
              <a:gd name="connsiteX27" fmla="*/ 6089 w 10000"/>
              <a:gd name="connsiteY27" fmla="*/ 8566 h 10000"/>
              <a:gd name="connsiteX28" fmla="*/ 6491 w 10000"/>
              <a:gd name="connsiteY28" fmla="*/ 8333 h 10000"/>
              <a:gd name="connsiteX29" fmla="*/ 6893 w 10000"/>
              <a:gd name="connsiteY29" fmla="*/ 8101 h 10000"/>
              <a:gd name="connsiteX30" fmla="*/ 7249 w 10000"/>
              <a:gd name="connsiteY30" fmla="*/ 7843 h 10000"/>
              <a:gd name="connsiteX31" fmla="*/ 7542 w 10000"/>
              <a:gd name="connsiteY31" fmla="*/ 7634 h 10000"/>
              <a:gd name="connsiteX32" fmla="*/ 7867 w 10000"/>
              <a:gd name="connsiteY32" fmla="*/ 7377 h 10000"/>
              <a:gd name="connsiteX33" fmla="*/ 8114 w 10000"/>
              <a:gd name="connsiteY33" fmla="*/ 7157 h 10000"/>
              <a:gd name="connsiteX34" fmla="*/ 8393 w 10000"/>
              <a:gd name="connsiteY34" fmla="*/ 6887 h 10000"/>
              <a:gd name="connsiteX35" fmla="*/ 8670 w 10000"/>
              <a:gd name="connsiteY35" fmla="*/ 6605 h 10000"/>
              <a:gd name="connsiteX36" fmla="*/ 8871 w 10000"/>
              <a:gd name="connsiteY36" fmla="*/ 6299 h 10000"/>
              <a:gd name="connsiteX37" fmla="*/ 9088 w 10000"/>
              <a:gd name="connsiteY37" fmla="*/ 6029 h 10000"/>
              <a:gd name="connsiteX38" fmla="*/ 9242 w 10000"/>
              <a:gd name="connsiteY38" fmla="*/ 5772 h 10000"/>
              <a:gd name="connsiteX39" fmla="*/ 9458 w 10000"/>
              <a:gd name="connsiteY39" fmla="*/ 5379 h 10000"/>
              <a:gd name="connsiteX40" fmla="*/ 9597 w 10000"/>
              <a:gd name="connsiteY40" fmla="*/ 5073 h 10000"/>
              <a:gd name="connsiteX41" fmla="*/ 9768 w 10000"/>
              <a:gd name="connsiteY41" fmla="*/ 4657 h 10000"/>
              <a:gd name="connsiteX42" fmla="*/ 9876 w 10000"/>
              <a:gd name="connsiteY42" fmla="*/ 4191 h 10000"/>
              <a:gd name="connsiteX43" fmla="*/ 9953 w 10000"/>
              <a:gd name="connsiteY43" fmla="*/ 3775 h 10000"/>
              <a:gd name="connsiteX44" fmla="*/ 10000 w 10000"/>
              <a:gd name="connsiteY44" fmla="*/ 3407 h 10000"/>
              <a:gd name="connsiteX45" fmla="*/ 10000 w 10000"/>
              <a:gd name="connsiteY45" fmla="*/ 3015 h 10000"/>
              <a:gd name="connsiteX46" fmla="*/ 9984 w 10000"/>
              <a:gd name="connsiteY46" fmla="*/ 2696 h 10000"/>
              <a:gd name="connsiteX47" fmla="*/ 9922 w 10000"/>
              <a:gd name="connsiteY47" fmla="*/ 2218 h 10000"/>
              <a:gd name="connsiteX48" fmla="*/ 9768 w 10000"/>
              <a:gd name="connsiteY48" fmla="*/ 1740 h 10000"/>
              <a:gd name="connsiteX49" fmla="*/ 9628 w 10000"/>
              <a:gd name="connsiteY49" fmla="*/ 1324 h 10000"/>
              <a:gd name="connsiteX50" fmla="*/ 9458 w 10000"/>
              <a:gd name="connsiteY50" fmla="*/ 980 h 10000"/>
              <a:gd name="connsiteX51" fmla="*/ 9304 w 10000"/>
              <a:gd name="connsiteY51" fmla="*/ 699 h 10000"/>
              <a:gd name="connsiteX52" fmla="*/ 9165 w 10000"/>
              <a:gd name="connsiteY52" fmla="*/ 478 h 10000"/>
              <a:gd name="connsiteX53" fmla="*/ 8994 w 10000"/>
              <a:gd name="connsiteY53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813 w 10000"/>
              <a:gd name="connsiteY5" fmla="*/ 2365 h 10000"/>
              <a:gd name="connsiteX6" fmla="*/ 2892 w 10000"/>
              <a:gd name="connsiteY6" fmla="*/ 2931 h 10000"/>
              <a:gd name="connsiteX7" fmla="*/ 2844 w 10000"/>
              <a:gd name="connsiteY7" fmla="*/ 3995 h 10000"/>
              <a:gd name="connsiteX8" fmla="*/ 2674 w 10000"/>
              <a:gd name="connsiteY8" fmla="*/ 4240 h 10000"/>
              <a:gd name="connsiteX9" fmla="*/ 2458 w 10000"/>
              <a:gd name="connsiteY9" fmla="*/ 4473 h 10000"/>
              <a:gd name="connsiteX10" fmla="*/ 1296 w 10000"/>
              <a:gd name="connsiteY10" fmla="*/ 5202 h 10000"/>
              <a:gd name="connsiteX11" fmla="*/ 639 w 10000"/>
              <a:gd name="connsiteY11" fmla="*/ 5467 h 10000"/>
              <a:gd name="connsiteX12" fmla="*/ 2102 w 10000"/>
              <a:gd name="connsiteY12" fmla="*/ 7634 h 10000"/>
              <a:gd name="connsiteX13" fmla="*/ 0 w 10000"/>
              <a:gd name="connsiteY13" fmla="*/ 10000 h 10000"/>
              <a:gd name="connsiteX14" fmla="*/ 418 w 10000"/>
              <a:gd name="connsiteY14" fmla="*/ 9988 h 10000"/>
              <a:gd name="connsiteX15" fmla="*/ 850 w 10000"/>
              <a:gd name="connsiteY15" fmla="*/ 9975 h 10000"/>
              <a:gd name="connsiteX16" fmla="*/ 1329 w 10000"/>
              <a:gd name="connsiteY16" fmla="*/ 9926 h 10000"/>
              <a:gd name="connsiteX17" fmla="*/ 1824 w 10000"/>
              <a:gd name="connsiteY17" fmla="*/ 9877 h 10000"/>
              <a:gd name="connsiteX18" fmla="*/ 2302 w 10000"/>
              <a:gd name="connsiteY18" fmla="*/ 9792 h 10000"/>
              <a:gd name="connsiteX19" fmla="*/ 2782 w 10000"/>
              <a:gd name="connsiteY19" fmla="*/ 9706 h 10000"/>
              <a:gd name="connsiteX20" fmla="*/ 3153 w 10000"/>
              <a:gd name="connsiteY20" fmla="*/ 9620 h 10000"/>
              <a:gd name="connsiteX21" fmla="*/ 3554 w 10000"/>
              <a:gd name="connsiteY21" fmla="*/ 9521 h 10000"/>
              <a:gd name="connsiteX22" fmla="*/ 4049 w 10000"/>
              <a:gd name="connsiteY22" fmla="*/ 9387 h 10000"/>
              <a:gd name="connsiteX23" fmla="*/ 4467 w 10000"/>
              <a:gd name="connsiteY23" fmla="*/ 9240 h 10000"/>
              <a:gd name="connsiteX24" fmla="*/ 4868 w 10000"/>
              <a:gd name="connsiteY24" fmla="*/ 9105 h 10000"/>
              <a:gd name="connsiteX25" fmla="*/ 5301 w 10000"/>
              <a:gd name="connsiteY25" fmla="*/ 8922 h 10000"/>
              <a:gd name="connsiteX26" fmla="*/ 5734 w 10000"/>
              <a:gd name="connsiteY26" fmla="*/ 8737 h 10000"/>
              <a:gd name="connsiteX27" fmla="*/ 6089 w 10000"/>
              <a:gd name="connsiteY27" fmla="*/ 8566 h 10000"/>
              <a:gd name="connsiteX28" fmla="*/ 6491 w 10000"/>
              <a:gd name="connsiteY28" fmla="*/ 8333 h 10000"/>
              <a:gd name="connsiteX29" fmla="*/ 6893 w 10000"/>
              <a:gd name="connsiteY29" fmla="*/ 8101 h 10000"/>
              <a:gd name="connsiteX30" fmla="*/ 7249 w 10000"/>
              <a:gd name="connsiteY30" fmla="*/ 7843 h 10000"/>
              <a:gd name="connsiteX31" fmla="*/ 7542 w 10000"/>
              <a:gd name="connsiteY31" fmla="*/ 7634 h 10000"/>
              <a:gd name="connsiteX32" fmla="*/ 7867 w 10000"/>
              <a:gd name="connsiteY32" fmla="*/ 7377 h 10000"/>
              <a:gd name="connsiteX33" fmla="*/ 8114 w 10000"/>
              <a:gd name="connsiteY33" fmla="*/ 7157 h 10000"/>
              <a:gd name="connsiteX34" fmla="*/ 8393 w 10000"/>
              <a:gd name="connsiteY34" fmla="*/ 6887 h 10000"/>
              <a:gd name="connsiteX35" fmla="*/ 8670 w 10000"/>
              <a:gd name="connsiteY35" fmla="*/ 6605 h 10000"/>
              <a:gd name="connsiteX36" fmla="*/ 8871 w 10000"/>
              <a:gd name="connsiteY36" fmla="*/ 6299 h 10000"/>
              <a:gd name="connsiteX37" fmla="*/ 9088 w 10000"/>
              <a:gd name="connsiteY37" fmla="*/ 6029 h 10000"/>
              <a:gd name="connsiteX38" fmla="*/ 9242 w 10000"/>
              <a:gd name="connsiteY38" fmla="*/ 5772 h 10000"/>
              <a:gd name="connsiteX39" fmla="*/ 9458 w 10000"/>
              <a:gd name="connsiteY39" fmla="*/ 5379 h 10000"/>
              <a:gd name="connsiteX40" fmla="*/ 9597 w 10000"/>
              <a:gd name="connsiteY40" fmla="*/ 5073 h 10000"/>
              <a:gd name="connsiteX41" fmla="*/ 9768 w 10000"/>
              <a:gd name="connsiteY41" fmla="*/ 4657 h 10000"/>
              <a:gd name="connsiteX42" fmla="*/ 9876 w 10000"/>
              <a:gd name="connsiteY42" fmla="*/ 4191 h 10000"/>
              <a:gd name="connsiteX43" fmla="*/ 9953 w 10000"/>
              <a:gd name="connsiteY43" fmla="*/ 3775 h 10000"/>
              <a:gd name="connsiteX44" fmla="*/ 10000 w 10000"/>
              <a:gd name="connsiteY44" fmla="*/ 3407 h 10000"/>
              <a:gd name="connsiteX45" fmla="*/ 10000 w 10000"/>
              <a:gd name="connsiteY45" fmla="*/ 3015 h 10000"/>
              <a:gd name="connsiteX46" fmla="*/ 9984 w 10000"/>
              <a:gd name="connsiteY46" fmla="*/ 2696 h 10000"/>
              <a:gd name="connsiteX47" fmla="*/ 9922 w 10000"/>
              <a:gd name="connsiteY47" fmla="*/ 2218 h 10000"/>
              <a:gd name="connsiteX48" fmla="*/ 9768 w 10000"/>
              <a:gd name="connsiteY48" fmla="*/ 1740 h 10000"/>
              <a:gd name="connsiteX49" fmla="*/ 9628 w 10000"/>
              <a:gd name="connsiteY49" fmla="*/ 1324 h 10000"/>
              <a:gd name="connsiteX50" fmla="*/ 9458 w 10000"/>
              <a:gd name="connsiteY50" fmla="*/ 980 h 10000"/>
              <a:gd name="connsiteX51" fmla="*/ 9304 w 10000"/>
              <a:gd name="connsiteY51" fmla="*/ 699 h 10000"/>
              <a:gd name="connsiteX52" fmla="*/ 9165 w 10000"/>
              <a:gd name="connsiteY52" fmla="*/ 478 h 10000"/>
              <a:gd name="connsiteX53" fmla="*/ 8994 w 10000"/>
              <a:gd name="connsiteY53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813 w 10000"/>
              <a:gd name="connsiteY5" fmla="*/ 2365 h 10000"/>
              <a:gd name="connsiteX6" fmla="*/ 2892 w 10000"/>
              <a:gd name="connsiteY6" fmla="*/ 2931 h 10000"/>
              <a:gd name="connsiteX7" fmla="*/ 2844 w 10000"/>
              <a:gd name="connsiteY7" fmla="*/ 3995 h 10000"/>
              <a:gd name="connsiteX8" fmla="*/ 2674 w 10000"/>
              <a:gd name="connsiteY8" fmla="*/ 4240 h 10000"/>
              <a:gd name="connsiteX9" fmla="*/ 2458 w 10000"/>
              <a:gd name="connsiteY9" fmla="*/ 4473 h 10000"/>
              <a:gd name="connsiteX10" fmla="*/ 1296 w 10000"/>
              <a:gd name="connsiteY10" fmla="*/ 5202 h 10000"/>
              <a:gd name="connsiteX11" fmla="*/ 639 w 10000"/>
              <a:gd name="connsiteY11" fmla="*/ 5467 h 10000"/>
              <a:gd name="connsiteX12" fmla="*/ 2102 w 10000"/>
              <a:gd name="connsiteY12" fmla="*/ 7634 h 10000"/>
              <a:gd name="connsiteX13" fmla="*/ 0 w 10000"/>
              <a:gd name="connsiteY13" fmla="*/ 10000 h 10000"/>
              <a:gd name="connsiteX14" fmla="*/ 418 w 10000"/>
              <a:gd name="connsiteY14" fmla="*/ 9988 h 10000"/>
              <a:gd name="connsiteX15" fmla="*/ 850 w 10000"/>
              <a:gd name="connsiteY15" fmla="*/ 9975 h 10000"/>
              <a:gd name="connsiteX16" fmla="*/ 1329 w 10000"/>
              <a:gd name="connsiteY16" fmla="*/ 9926 h 10000"/>
              <a:gd name="connsiteX17" fmla="*/ 1824 w 10000"/>
              <a:gd name="connsiteY17" fmla="*/ 9877 h 10000"/>
              <a:gd name="connsiteX18" fmla="*/ 2302 w 10000"/>
              <a:gd name="connsiteY18" fmla="*/ 9792 h 10000"/>
              <a:gd name="connsiteX19" fmla="*/ 2782 w 10000"/>
              <a:gd name="connsiteY19" fmla="*/ 9706 h 10000"/>
              <a:gd name="connsiteX20" fmla="*/ 3153 w 10000"/>
              <a:gd name="connsiteY20" fmla="*/ 9620 h 10000"/>
              <a:gd name="connsiteX21" fmla="*/ 3554 w 10000"/>
              <a:gd name="connsiteY21" fmla="*/ 9521 h 10000"/>
              <a:gd name="connsiteX22" fmla="*/ 4049 w 10000"/>
              <a:gd name="connsiteY22" fmla="*/ 9387 h 10000"/>
              <a:gd name="connsiteX23" fmla="*/ 4467 w 10000"/>
              <a:gd name="connsiteY23" fmla="*/ 9240 h 10000"/>
              <a:gd name="connsiteX24" fmla="*/ 4868 w 10000"/>
              <a:gd name="connsiteY24" fmla="*/ 9105 h 10000"/>
              <a:gd name="connsiteX25" fmla="*/ 5301 w 10000"/>
              <a:gd name="connsiteY25" fmla="*/ 8922 h 10000"/>
              <a:gd name="connsiteX26" fmla="*/ 5734 w 10000"/>
              <a:gd name="connsiteY26" fmla="*/ 8737 h 10000"/>
              <a:gd name="connsiteX27" fmla="*/ 6089 w 10000"/>
              <a:gd name="connsiteY27" fmla="*/ 8566 h 10000"/>
              <a:gd name="connsiteX28" fmla="*/ 6491 w 10000"/>
              <a:gd name="connsiteY28" fmla="*/ 8333 h 10000"/>
              <a:gd name="connsiteX29" fmla="*/ 6893 w 10000"/>
              <a:gd name="connsiteY29" fmla="*/ 8101 h 10000"/>
              <a:gd name="connsiteX30" fmla="*/ 7249 w 10000"/>
              <a:gd name="connsiteY30" fmla="*/ 7843 h 10000"/>
              <a:gd name="connsiteX31" fmla="*/ 7542 w 10000"/>
              <a:gd name="connsiteY31" fmla="*/ 7634 h 10000"/>
              <a:gd name="connsiteX32" fmla="*/ 7867 w 10000"/>
              <a:gd name="connsiteY32" fmla="*/ 7377 h 10000"/>
              <a:gd name="connsiteX33" fmla="*/ 8114 w 10000"/>
              <a:gd name="connsiteY33" fmla="*/ 7157 h 10000"/>
              <a:gd name="connsiteX34" fmla="*/ 8393 w 10000"/>
              <a:gd name="connsiteY34" fmla="*/ 6887 h 10000"/>
              <a:gd name="connsiteX35" fmla="*/ 8670 w 10000"/>
              <a:gd name="connsiteY35" fmla="*/ 6605 h 10000"/>
              <a:gd name="connsiteX36" fmla="*/ 8871 w 10000"/>
              <a:gd name="connsiteY36" fmla="*/ 6299 h 10000"/>
              <a:gd name="connsiteX37" fmla="*/ 9088 w 10000"/>
              <a:gd name="connsiteY37" fmla="*/ 6029 h 10000"/>
              <a:gd name="connsiteX38" fmla="*/ 9242 w 10000"/>
              <a:gd name="connsiteY38" fmla="*/ 5772 h 10000"/>
              <a:gd name="connsiteX39" fmla="*/ 9458 w 10000"/>
              <a:gd name="connsiteY39" fmla="*/ 5379 h 10000"/>
              <a:gd name="connsiteX40" fmla="*/ 9597 w 10000"/>
              <a:gd name="connsiteY40" fmla="*/ 5073 h 10000"/>
              <a:gd name="connsiteX41" fmla="*/ 9768 w 10000"/>
              <a:gd name="connsiteY41" fmla="*/ 4657 h 10000"/>
              <a:gd name="connsiteX42" fmla="*/ 9876 w 10000"/>
              <a:gd name="connsiteY42" fmla="*/ 4191 h 10000"/>
              <a:gd name="connsiteX43" fmla="*/ 9953 w 10000"/>
              <a:gd name="connsiteY43" fmla="*/ 3775 h 10000"/>
              <a:gd name="connsiteX44" fmla="*/ 10000 w 10000"/>
              <a:gd name="connsiteY44" fmla="*/ 3407 h 10000"/>
              <a:gd name="connsiteX45" fmla="*/ 10000 w 10000"/>
              <a:gd name="connsiteY45" fmla="*/ 3015 h 10000"/>
              <a:gd name="connsiteX46" fmla="*/ 9984 w 10000"/>
              <a:gd name="connsiteY46" fmla="*/ 2696 h 10000"/>
              <a:gd name="connsiteX47" fmla="*/ 9922 w 10000"/>
              <a:gd name="connsiteY47" fmla="*/ 2218 h 10000"/>
              <a:gd name="connsiteX48" fmla="*/ 9768 w 10000"/>
              <a:gd name="connsiteY48" fmla="*/ 1740 h 10000"/>
              <a:gd name="connsiteX49" fmla="*/ 9628 w 10000"/>
              <a:gd name="connsiteY49" fmla="*/ 1324 h 10000"/>
              <a:gd name="connsiteX50" fmla="*/ 9458 w 10000"/>
              <a:gd name="connsiteY50" fmla="*/ 980 h 10000"/>
              <a:gd name="connsiteX51" fmla="*/ 9304 w 10000"/>
              <a:gd name="connsiteY51" fmla="*/ 699 h 10000"/>
              <a:gd name="connsiteX52" fmla="*/ 9165 w 10000"/>
              <a:gd name="connsiteY52" fmla="*/ 478 h 10000"/>
              <a:gd name="connsiteX53" fmla="*/ 8994 w 10000"/>
              <a:gd name="connsiteY53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579 w 10000"/>
              <a:gd name="connsiteY5" fmla="*/ 2348 h 10000"/>
              <a:gd name="connsiteX6" fmla="*/ 2892 w 10000"/>
              <a:gd name="connsiteY6" fmla="*/ 2931 h 10000"/>
              <a:gd name="connsiteX7" fmla="*/ 2844 w 10000"/>
              <a:gd name="connsiteY7" fmla="*/ 3995 h 10000"/>
              <a:gd name="connsiteX8" fmla="*/ 2674 w 10000"/>
              <a:gd name="connsiteY8" fmla="*/ 4240 h 10000"/>
              <a:gd name="connsiteX9" fmla="*/ 2458 w 10000"/>
              <a:gd name="connsiteY9" fmla="*/ 4473 h 10000"/>
              <a:gd name="connsiteX10" fmla="*/ 1296 w 10000"/>
              <a:gd name="connsiteY10" fmla="*/ 5202 h 10000"/>
              <a:gd name="connsiteX11" fmla="*/ 639 w 10000"/>
              <a:gd name="connsiteY11" fmla="*/ 5467 h 10000"/>
              <a:gd name="connsiteX12" fmla="*/ 2102 w 10000"/>
              <a:gd name="connsiteY12" fmla="*/ 7634 h 10000"/>
              <a:gd name="connsiteX13" fmla="*/ 0 w 10000"/>
              <a:gd name="connsiteY13" fmla="*/ 10000 h 10000"/>
              <a:gd name="connsiteX14" fmla="*/ 418 w 10000"/>
              <a:gd name="connsiteY14" fmla="*/ 9988 h 10000"/>
              <a:gd name="connsiteX15" fmla="*/ 850 w 10000"/>
              <a:gd name="connsiteY15" fmla="*/ 9975 h 10000"/>
              <a:gd name="connsiteX16" fmla="*/ 1329 w 10000"/>
              <a:gd name="connsiteY16" fmla="*/ 9926 h 10000"/>
              <a:gd name="connsiteX17" fmla="*/ 1824 w 10000"/>
              <a:gd name="connsiteY17" fmla="*/ 9877 h 10000"/>
              <a:gd name="connsiteX18" fmla="*/ 2302 w 10000"/>
              <a:gd name="connsiteY18" fmla="*/ 9792 h 10000"/>
              <a:gd name="connsiteX19" fmla="*/ 2782 w 10000"/>
              <a:gd name="connsiteY19" fmla="*/ 9706 h 10000"/>
              <a:gd name="connsiteX20" fmla="*/ 3153 w 10000"/>
              <a:gd name="connsiteY20" fmla="*/ 9620 h 10000"/>
              <a:gd name="connsiteX21" fmla="*/ 3554 w 10000"/>
              <a:gd name="connsiteY21" fmla="*/ 9521 h 10000"/>
              <a:gd name="connsiteX22" fmla="*/ 4049 w 10000"/>
              <a:gd name="connsiteY22" fmla="*/ 9387 h 10000"/>
              <a:gd name="connsiteX23" fmla="*/ 4467 w 10000"/>
              <a:gd name="connsiteY23" fmla="*/ 9240 h 10000"/>
              <a:gd name="connsiteX24" fmla="*/ 4868 w 10000"/>
              <a:gd name="connsiteY24" fmla="*/ 9105 h 10000"/>
              <a:gd name="connsiteX25" fmla="*/ 5301 w 10000"/>
              <a:gd name="connsiteY25" fmla="*/ 8922 h 10000"/>
              <a:gd name="connsiteX26" fmla="*/ 5734 w 10000"/>
              <a:gd name="connsiteY26" fmla="*/ 8737 h 10000"/>
              <a:gd name="connsiteX27" fmla="*/ 6089 w 10000"/>
              <a:gd name="connsiteY27" fmla="*/ 8566 h 10000"/>
              <a:gd name="connsiteX28" fmla="*/ 6491 w 10000"/>
              <a:gd name="connsiteY28" fmla="*/ 8333 h 10000"/>
              <a:gd name="connsiteX29" fmla="*/ 6893 w 10000"/>
              <a:gd name="connsiteY29" fmla="*/ 8101 h 10000"/>
              <a:gd name="connsiteX30" fmla="*/ 7249 w 10000"/>
              <a:gd name="connsiteY30" fmla="*/ 7843 h 10000"/>
              <a:gd name="connsiteX31" fmla="*/ 7542 w 10000"/>
              <a:gd name="connsiteY31" fmla="*/ 7634 h 10000"/>
              <a:gd name="connsiteX32" fmla="*/ 7867 w 10000"/>
              <a:gd name="connsiteY32" fmla="*/ 7377 h 10000"/>
              <a:gd name="connsiteX33" fmla="*/ 8114 w 10000"/>
              <a:gd name="connsiteY33" fmla="*/ 7157 h 10000"/>
              <a:gd name="connsiteX34" fmla="*/ 8393 w 10000"/>
              <a:gd name="connsiteY34" fmla="*/ 6887 h 10000"/>
              <a:gd name="connsiteX35" fmla="*/ 8670 w 10000"/>
              <a:gd name="connsiteY35" fmla="*/ 6605 h 10000"/>
              <a:gd name="connsiteX36" fmla="*/ 8871 w 10000"/>
              <a:gd name="connsiteY36" fmla="*/ 6299 h 10000"/>
              <a:gd name="connsiteX37" fmla="*/ 9088 w 10000"/>
              <a:gd name="connsiteY37" fmla="*/ 6029 h 10000"/>
              <a:gd name="connsiteX38" fmla="*/ 9242 w 10000"/>
              <a:gd name="connsiteY38" fmla="*/ 5772 h 10000"/>
              <a:gd name="connsiteX39" fmla="*/ 9458 w 10000"/>
              <a:gd name="connsiteY39" fmla="*/ 5379 h 10000"/>
              <a:gd name="connsiteX40" fmla="*/ 9597 w 10000"/>
              <a:gd name="connsiteY40" fmla="*/ 5073 h 10000"/>
              <a:gd name="connsiteX41" fmla="*/ 9768 w 10000"/>
              <a:gd name="connsiteY41" fmla="*/ 4657 h 10000"/>
              <a:gd name="connsiteX42" fmla="*/ 9876 w 10000"/>
              <a:gd name="connsiteY42" fmla="*/ 4191 h 10000"/>
              <a:gd name="connsiteX43" fmla="*/ 9953 w 10000"/>
              <a:gd name="connsiteY43" fmla="*/ 3775 h 10000"/>
              <a:gd name="connsiteX44" fmla="*/ 10000 w 10000"/>
              <a:gd name="connsiteY44" fmla="*/ 3407 h 10000"/>
              <a:gd name="connsiteX45" fmla="*/ 10000 w 10000"/>
              <a:gd name="connsiteY45" fmla="*/ 3015 h 10000"/>
              <a:gd name="connsiteX46" fmla="*/ 9984 w 10000"/>
              <a:gd name="connsiteY46" fmla="*/ 2696 h 10000"/>
              <a:gd name="connsiteX47" fmla="*/ 9922 w 10000"/>
              <a:gd name="connsiteY47" fmla="*/ 2218 h 10000"/>
              <a:gd name="connsiteX48" fmla="*/ 9768 w 10000"/>
              <a:gd name="connsiteY48" fmla="*/ 1740 h 10000"/>
              <a:gd name="connsiteX49" fmla="*/ 9628 w 10000"/>
              <a:gd name="connsiteY49" fmla="*/ 1324 h 10000"/>
              <a:gd name="connsiteX50" fmla="*/ 9458 w 10000"/>
              <a:gd name="connsiteY50" fmla="*/ 980 h 10000"/>
              <a:gd name="connsiteX51" fmla="*/ 9304 w 10000"/>
              <a:gd name="connsiteY51" fmla="*/ 699 h 10000"/>
              <a:gd name="connsiteX52" fmla="*/ 9165 w 10000"/>
              <a:gd name="connsiteY52" fmla="*/ 478 h 10000"/>
              <a:gd name="connsiteX53" fmla="*/ 8994 w 10000"/>
              <a:gd name="connsiteY53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579 w 10000"/>
              <a:gd name="connsiteY5" fmla="*/ 2348 h 10000"/>
              <a:gd name="connsiteX6" fmla="*/ 2892 w 10000"/>
              <a:gd name="connsiteY6" fmla="*/ 2931 h 10000"/>
              <a:gd name="connsiteX7" fmla="*/ 2844 w 10000"/>
              <a:gd name="connsiteY7" fmla="*/ 3995 h 10000"/>
              <a:gd name="connsiteX8" fmla="*/ 2674 w 10000"/>
              <a:gd name="connsiteY8" fmla="*/ 4240 h 10000"/>
              <a:gd name="connsiteX9" fmla="*/ 2458 w 10000"/>
              <a:gd name="connsiteY9" fmla="*/ 4473 h 10000"/>
              <a:gd name="connsiteX10" fmla="*/ 1296 w 10000"/>
              <a:gd name="connsiteY10" fmla="*/ 5202 h 10000"/>
              <a:gd name="connsiteX11" fmla="*/ 639 w 10000"/>
              <a:gd name="connsiteY11" fmla="*/ 5467 h 10000"/>
              <a:gd name="connsiteX12" fmla="*/ 2102 w 10000"/>
              <a:gd name="connsiteY12" fmla="*/ 7634 h 10000"/>
              <a:gd name="connsiteX13" fmla="*/ 0 w 10000"/>
              <a:gd name="connsiteY13" fmla="*/ 10000 h 10000"/>
              <a:gd name="connsiteX14" fmla="*/ 418 w 10000"/>
              <a:gd name="connsiteY14" fmla="*/ 9988 h 10000"/>
              <a:gd name="connsiteX15" fmla="*/ 850 w 10000"/>
              <a:gd name="connsiteY15" fmla="*/ 9975 h 10000"/>
              <a:gd name="connsiteX16" fmla="*/ 1329 w 10000"/>
              <a:gd name="connsiteY16" fmla="*/ 9926 h 10000"/>
              <a:gd name="connsiteX17" fmla="*/ 1824 w 10000"/>
              <a:gd name="connsiteY17" fmla="*/ 9877 h 10000"/>
              <a:gd name="connsiteX18" fmla="*/ 2302 w 10000"/>
              <a:gd name="connsiteY18" fmla="*/ 9792 h 10000"/>
              <a:gd name="connsiteX19" fmla="*/ 2782 w 10000"/>
              <a:gd name="connsiteY19" fmla="*/ 9706 h 10000"/>
              <a:gd name="connsiteX20" fmla="*/ 3153 w 10000"/>
              <a:gd name="connsiteY20" fmla="*/ 9620 h 10000"/>
              <a:gd name="connsiteX21" fmla="*/ 3554 w 10000"/>
              <a:gd name="connsiteY21" fmla="*/ 9521 h 10000"/>
              <a:gd name="connsiteX22" fmla="*/ 4049 w 10000"/>
              <a:gd name="connsiteY22" fmla="*/ 9387 h 10000"/>
              <a:gd name="connsiteX23" fmla="*/ 4467 w 10000"/>
              <a:gd name="connsiteY23" fmla="*/ 9240 h 10000"/>
              <a:gd name="connsiteX24" fmla="*/ 4868 w 10000"/>
              <a:gd name="connsiteY24" fmla="*/ 9105 h 10000"/>
              <a:gd name="connsiteX25" fmla="*/ 5301 w 10000"/>
              <a:gd name="connsiteY25" fmla="*/ 8922 h 10000"/>
              <a:gd name="connsiteX26" fmla="*/ 5734 w 10000"/>
              <a:gd name="connsiteY26" fmla="*/ 8737 h 10000"/>
              <a:gd name="connsiteX27" fmla="*/ 6089 w 10000"/>
              <a:gd name="connsiteY27" fmla="*/ 8566 h 10000"/>
              <a:gd name="connsiteX28" fmla="*/ 6491 w 10000"/>
              <a:gd name="connsiteY28" fmla="*/ 8333 h 10000"/>
              <a:gd name="connsiteX29" fmla="*/ 6893 w 10000"/>
              <a:gd name="connsiteY29" fmla="*/ 8101 h 10000"/>
              <a:gd name="connsiteX30" fmla="*/ 7249 w 10000"/>
              <a:gd name="connsiteY30" fmla="*/ 7843 h 10000"/>
              <a:gd name="connsiteX31" fmla="*/ 7542 w 10000"/>
              <a:gd name="connsiteY31" fmla="*/ 7634 h 10000"/>
              <a:gd name="connsiteX32" fmla="*/ 7867 w 10000"/>
              <a:gd name="connsiteY32" fmla="*/ 7377 h 10000"/>
              <a:gd name="connsiteX33" fmla="*/ 8114 w 10000"/>
              <a:gd name="connsiteY33" fmla="*/ 7157 h 10000"/>
              <a:gd name="connsiteX34" fmla="*/ 8393 w 10000"/>
              <a:gd name="connsiteY34" fmla="*/ 6887 h 10000"/>
              <a:gd name="connsiteX35" fmla="*/ 8670 w 10000"/>
              <a:gd name="connsiteY35" fmla="*/ 6605 h 10000"/>
              <a:gd name="connsiteX36" fmla="*/ 8871 w 10000"/>
              <a:gd name="connsiteY36" fmla="*/ 6299 h 10000"/>
              <a:gd name="connsiteX37" fmla="*/ 9088 w 10000"/>
              <a:gd name="connsiteY37" fmla="*/ 6029 h 10000"/>
              <a:gd name="connsiteX38" fmla="*/ 9242 w 10000"/>
              <a:gd name="connsiteY38" fmla="*/ 5772 h 10000"/>
              <a:gd name="connsiteX39" fmla="*/ 9458 w 10000"/>
              <a:gd name="connsiteY39" fmla="*/ 5379 h 10000"/>
              <a:gd name="connsiteX40" fmla="*/ 9597 w 10000"/>
              <a:gd name="connsiteY40" fmla="*/ 5073 h 10000"/>
              <a:gd name="connsiteX41" fmla="*/ 9768 w 10000"/>
              <a:gd name="connsiteY41" fmla="*/ 4657 h 10000"/>
              <a:gd name="connsiteX42" fmla="*/ 9876 w 10000"/>
              <a:gd name="connsiteY42" fmla="*/ 4191 h 10000"/>
              <a:gd name="connsiteX43" fmla="*/ 9953 w 10000"/>
              <a:gd name="connsiteY43" fmla="*/ 3775 h 10000"/>
              <a:gd name="connsiteX44" fmla="*/ 10000 w 10000"/>
              <a:gd name="connsiteY44" fmla="*/ 3407 h 10000"/>
              <a:gd name="connsiteX45" fmla="*/ 10000 w 10000"/>
              <a:gd name="connsiteY45" fmla="*/ 3015 h 10000"/>
              <a:gd name="connsiteX46" fmla="*/ 9984 w 10000"/>
              <a:gd name="connsiteY46" fmla="*/ 2696 h 10000"/>
              <a:gd name="connsiteX47" fmla="*/ 9922 w 10000"/>
              <a:gd name="connsiteY47" fmla="*/ 2218 h 10000"/>
              <a:gd name="connsiteX48" fmla="*/ 9768 w 10000"/>
              <a:gd name="connsiteY48" fmla="*/ 1740 h 10000"/>
              <a:gd name="connsiteX49" fmla="*/ 9628 w 10000"/>
              <a:gd name="connsiteY49" fmla="*/ 1324 h 10000"/>
              <a:gd name="connsiteX50" fmla="*/ 9458 w 10000"/>
              <a:gd name="connsiteY50" fmla="*/ 980 h 10000"/>
              <a:gd name="connsiteX51" fmla="*/ 9304 w 10000"/>
              <a:gd name="connsiteY51" fmla="*/ 699 h 10000"/>
              <a:gd name="connsiteX52" fmla="*/ 9165 w 10000"/>
              <a:gd name="connsiteY52" fmla="*/ 478 h 10000"/>
              <a:gd name="connsiteX53" fmla="*/ 8994 w 10000"/>
              <a:gd name="connsiteY53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579 w 10000"/>
              <a:gd name="connsiteY5" fmla="*/ 2348 h 10000"/>
              <a:gd name="connsiteX6" fmla="*/ 2892 w 10000"/>
              <a:gd name="connsiteY6" fmla="*/ 2931 h 10000"/>
              <a:gd name="connsiteX7" fmla="*/ 2844 w 10000"/>
              <a:gd name="connsiteY7" fmla="*/ 3995 h 10000"/>
              <a:gd name="connsiteX8" fmla="*/ 2674 w 10000"/>
              <a:gd name="connsiteY8" fmla="*/ 4240 h 10000"/>
              <a:gd name="connsiteX9" fmla="*/ 2458 w 10000"/>
              <a:gd name="connsiteY9" fmla="*/ 4473 h 10000"/>
              <a:gd name="connsiteX10" fmla="*/ 1296 w 10000"/>
              <a:gd name="connsiteY10" fmla="*/ 5202 h 10000"/>
              <a:gd name="connsiteX11" fmla="*/ 639 w 10000"/>
              <a:gd name="connsiteY11" fmla="*/ 5467 h 10000"/>
              <a:gd name="connsiteX12" fmla="*/ 2102 w 10000"/>
              <a:gd name="connsiteY12" fmla="*/ 7634 h 10000"/>
              <a:gd name="connsiteX13" fmla="*/ 0 w 10000"/>
              <a:gd name="connsiteY13" fmla="*/ 10000 h 10000"/>
              <a:gd name="connsiteX14" fmla="*/ 418 w 10000"/>
              <a:gd name="connsiteY14" fmla="*/ 9988 h 10000"/>
              <a:gd name="connsiteX15" fmla="*/ 850 w 10000"/>
              <a:gd name="connsiteY15" fmla="*/ 9975 h 10000"/>
              <a:gd name="connsiteX16" fmla="*/ 1329 w 10000"/>
              <a:gd name="connsiteY16" fmla="*/ 9926 h 10000"/>
              <a:gd name="connsiteX17" fmla="*/ 1824 w 10000"/>
              <a:gd name="connsiteY17" fmla="*/ 9877 h 10000"/>
              <a:gd name="connsiteX18" fmla="*/ 2302 w 10000"/>
              <a:gd name="connsiteY18" fmla="*/ 9792 h 10000"/>
              <a:gd name="connsiteX19" fmla="*/ 2782 w 10000"/>
              <a:gd name="connsiteY19" fmla="*/ 9706 h 10000"/>
              <a:gd name="connsiteX20" fmla="*/ 3153 w 10000"/>
              <a:gd name="connsiteY20" fmla="*/ 9620 h 10000"/>
              <a:gd name="connsiteX21" fmla="*/ 3554 w 10000"/>
              <a:gd name="connsiteY21" fmla="*/ 9521 h 10000"/>
              <a:gd name="connsiteX22" fmla="*/ 4049 w 10000"/>
              <a:gd name="connsiteY22" fmla="*/ 9387 h 10000"/>
              <a:gd name="connsiteX23" fmla="*/ 4467 w 10000"/>
              <a:gd name="connsiteY23" fmla="*/ 9240 h 10000"/>
              <a:gd name="connsiteX24" fmla="*/ 4868 w 10000"/>
              <a:gd name="connsiteY24" fmla="*/ 9105 h 10000"/>
              <a:gd name="connsiteX25" fmla="*/ 5301 w 10000"/>
              <a:gd name="connsiteY25" fmla="*/ 8922 h 10000"/>
              <a:gd name="connsiteX26" fmla="*/ 5734 w 10000"/>
              <a:gd name="connsiteY26" fmla="*/ 8737 h 10000"/>
              <a:gd name="connsiteX27" fmla="*/ 6089 w 10000"/>
              <a:gd name="connsiteY27" fmla="*/ 8566 h 10000"/>
              <a:gd name="connsiteX28" fmla="*/ 6491 w 10000"/>
              <a:gd name="connsiteY28" fmla="*/ 8333 h 10000"/>
              <a:gd name="connsiteX29" fmla="*/ 6893 w 10000"/>
              <a:gd name="connsiteY29" fmla="*/ 8101 h 10000"/>
              <a:gd name="connsiteX30" fmla="*/ 7249 w 10000"/>
              <a:gd name="connsiteY30" fmla="*/ 7843 h 10000"/>
              <a:gd name="connsiteX31" fmla="*/ 7542 w 10000"/>
              <a:gd name="connsiteY31" fmla="*/ 7634 h 10000"/>
              <a:gd name="connsiteX32" fmla="*/ 7867 w 10000"/>
              <a:gd name="connsiteY32" fmla="*/ 7377 h 10000"/>
              <a:gd name="connsiteX33" fmla="*/ 8114 w 10000"/>
              <a:gd name="connsiteY33" fmla="*/ 7157 h 10000"/>
              <a:gd name="connsiteX34" fmla="*/ 8393 w 10000"/>
              <a:gd name="connsiteY34" fmla="*/ 6887 h 10000"/>
              <a:gd name="connsiteX35" fmla="*/ 8670 w 10000"/>
              <a:gd name="connsiteY35" fmla="*/ 6605 h 10000"/>
              <a:gd name="connsiteX36" fmla="*/ 8871 w 10000"/>
              <a:gd name="connsiteY36" fmla="*/ 6299 h 10000"/>
              <a:gd name="connsiteX37" fmla="*/ 9088 w 10000"/>
              <a:gd name="connsiteY37" fmla="*/ 6029 h 10000"/>
              <a:gd name="connsiteX38" fmla="*/ 9242 w 10000"/>
              <a:gd name="connsiteY38" fmla="*/ 5772 h 10000"/>
              <a:gd name="connsiteX39" fmla="*/ 9458 w 10000"/>
              <a:gd name="connsiteY39" fmla="*/ 5379 h 10000"/>
              <a:gd name="connsiteX40" fmla="*/ 9597 w 10000"/>
              <a:gd name="connsiteY40" fmla="*/ 5073 h 10000"/>
              <a:gd name="connsiteX41" fmla="*/ 9768 w 10000"/>
              <a:gd name="connsiteY41" fmla="*/ 4657 h 10000"/>
              <a:gd name="connsiteX42" fmla="*/ 9876 w 10000"/>
              <a:gd name="connsiteY42" fmla="*/ 4191 h 10000"/>
              <a:gd name="connsiteX43" fmla="*/ 9953 w 10000"/>
              <a:gd name="connsiteY43" fmla="*/ 3775 h 10000"/>
              <a:gd name="connsiteX44" fmla="*/ 10000 w 10000"/>
              <a:gd name="connsiteY44" fmla="*/ 3407 h 10000"/>
              <a:gd name="connsiteX45" fmla="*/ 10000 w 10000"/>
              <a:gd name="connsiteY45" fmla="*/ 3015 h 10000"/>
              <a:gd name="connsiteX46" fmla="*/ 9984 w 10000"/>
              <a:gd name="connsiteY46" fmla="*/ 2696 h 10000"/>
              <a:gd name="connsiteX47" fmla="*/ 9922 w 10000"/>
              <a:gd name="connsiteY47" fmla="*/ 2218 h 10000"/>
              <a:gd name="connsiteX48" fmla="*/ 9768 w 10000"/>
              <a:gd name="connsiteY48" fmla="*/ 1740 h 10000"/>
              <a:gd name="connsiteX49" fmla="*/ 9628 w 10000"/>
              <a:gd name="connsiteY49" fmla="*/ 1324 h 10000"/>
              <a:gd name="connsiteX50" fmla="*/ 9458 w 10000"/>
              <a:gd name="connsiteY50" fmla="*/ 980 h 10000"/>
              <a:gd name="connsiteX51" fmla="*/ 9304 w 10000"/>
              <a:gd name="connsiteY51" fmla="*/ 699 h 10000"/>
              <a:gd name="connsiteX52" fmla="*/ 9165 w 10000"/>
              <a:gd name="connsiteY52" fmla="*/ 478 h 10000"/>
              <a:gd name="connsiteX53" fmla="*/ 8994 w 10000"/>
              <a:gd name="connsiteY53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579 w 10000"/>
              <a:gd name="connsiteY5" fmla="*/ 2348 h 10000"/>
              <a:gd name="connsiteX6" fmla="*/ 2892 w 10000"/>
              <a:gd name="connsiteY6" fmla="*/ 2931 h 10000"/>
              <a:gd name="connsiteX7" fmla="*/ 2844 w 10000"/>
              <a:gd name="connsiteY7" fmla="*/ 3995 h 10000"/>
              <a:gd name="connsiteX8" fmla="*/ 2674 w 10000"/>
              <a:gd name="connsiteY8" fmla="*/ 4240 h 10000"/>
              <a:gd name="connsiteX9" fmla="*/ 2458 w 10000"/>
              <a:gd name="connsiteY9" fmla="*/ 4473 h 10000"/>
              <a:gd name="connsiteX10" fmla="*/ 1296 w 10000"/>
              <a:gd name="connsiteY10" fmla="*/ 5202 h 10000"/>
              <a:gd name="connsiteX11" fmla="*/ 639 w 10000"/>
              <a:gd name="connsiteY11" fmla="*/ 5467 h 10000"/>
              <a:gd name="connsiteX12" fmla="*/ 2102 w 10000"/>
              <a:gd name="connsiteY12" fmla="*/ 7634 h 10000"/>
              <a:gd name="connsiteX13" fmla="*/ 0 w 10000"/>
              <a:gd name="connsiteY13" fmla="*/ 10000 h 10000"/>
              <a:gd name="connsiteX14" fmla="*/ 418 w 10000"/>
              <a:gd name="connsiteY14" fmla="*/ 9988 h 10000"/>
              <a:gd name="connsiteX15" fmla="*/ 850 w 10000"/>
              <a:gd name="connsiteY15" fmla="*/ 9975 h 10000"/>
              <a:gd name="connsiteX16" fmla="*/ 1329 w 10000"/>
              <a:gd name="connsiteY16" fmla="*/ 9926 h 10000"/>
              <a:gd name="connsiteX17" fmla="*/ 1824 w 10000"/>
              <a:gd name="connsiteY17" fmla="*/ 9877 h 10000"/>
              <a:gd name="connsiteX18" fmla="*/ 2302 w 10000"/>
              <a:gd name="connsiteY18" fmla="*/ 9792 h 10000"/>
              <a:gd name="connsiteX19" fmla="*/ 2782 w 10000"/>
              <a:gd name="connsiteY19" fmla="*/ 9706 h 10000"/>
              <a:gd name="connsiteX20" fmla="*/ 3153 w 10000"/>
              <a:gd name="connsiteY20" fmla="*/ 9620 h 10000"/>
              <a:gd name="connsiteX21" fmla="*/ 3554 w 10000"/>
              <a:gd name="connsiteY21" fmla="*/ 9521 h 10000"/>
              <a:gd name="connsiteX22" fmla="*/ 4049 w 10000"/>
              <a:gd name="connsiteY22" fmla="*/ 9387 h 10000"/>
              <a:gd name="connsiteX23" fmla="*/ 4467 w 10000"/>
              <a:gd name="connsiteY23" fmla="*/ 9240 h 10000"/>
              <a:gd name="connsiteX24" fmla="*/ 4868 w 10000"/>
              <a:gd name="connsiteY24" fmla="*/ 9105 h 10000"/>
              <a:gd name="connsiteX25" fmla="*/ 5301 w 10000"/>
              <a:gd name="connsiteY25" fmla="*/ 8922 h 10000"/>
              <a:gd name="connsiteX26" fmla="*/ 5734 w 10000"/>
              <a:gd name="connsiteY26" fmla="*/ 8737 h 10000"/>
              <a:gd name="connsiteX27" fmla="*/ 6089 w 10000"/>
              <a:gd name="connsiteY27" fmla="*/ 8566 h 10000"/>
              <a:gd name="connsiteX28" fmla="*/ 6491 w 10000"/>
              <a:gd name="connsiteY28" fmla="*/ 8333 h 10000"/>
              <a:gd name="connsiteX29" fmla="*/ 6893 w 10000"/>
              <a:gd name="connsiteY29" fmla="*/ 8101 h 10000"/>
              <a:gd name="connsiteX30" fmla="*/ 7249 w 10000"/>
              <a:gd name="connsiteY30" fmla="*/ 7843 h 10000"/>
              <a:gd name="connsiteX31" fmla="*/ 7542 w 10000"/>
              <a:gd name="connsiteY31" fmla="*/ 7634 h 10000"/>
              <a:gd name="connsiteX32" fmla="*/ 7867 w 10000"/>
              <a:gd name="connsiteY32" fmla="*/ 7377 h 10000"/>
              <a:gd name="connsiteX33" fmla="*/ 8114 w 10000"/>
              <a:gd name="connsiteY33" fmla="*/ 7157 h 10000"/>
              <a:gd name="connsiteX34" fmla="*/ 8393 w 10000"/>
              <a:gd name="connsiteY34" fmla="*/ 6887 h 10000"/>
              <a:gd name="connsiteX35" fmla="*/ 8670 w 10000"/>
              <a:gd name="connsiteY35" fmla="*/ 6605 h 10000"/>
              <a:gd name="connsiteX36" fmla="*/ 8871 w 10000"/>
              <a:gd name="connsiteY36" fmla="*/ 6299 h 10000"/>
              <a:gd name="connsiteX37" fmla="*/ 9088 w 10000"/>
              <a:gd name="connsiteY37" fmla="*/ 6029 h 10000"/>
              <a:gd name="connsiteX38" fmla="*/ 9242 w 10000"/>
              <a:gd name="connsiteY38" fmla="*/ 5772 h 10000"/>
              <a:gd name="connsiteX39" fmla="*/ 9458 w 10000"/>
              <a:gd name="connsiteY39" fmla="*/ 5379 h 10000"/>
              <a:gd name="connsiteX40" fmla="*/ 9597 w 10000"/>
              <a:gd name="connsiteY40" fmla="*/ 5073 h 10000"/>
              <a:gd name="connsiteX41" fmla="*/ 9768 w 10000"/>
              <a:gd name="connsiteY41" fmla="*/ 4657 h 10000"/>
              <a:gd name="connsiteX42" fmla="*/ 9876 w 10000"/>
              <a:gd name="connsiteY42" fmla="*/ 4191 h 10000"/>
              <a:gd name="connsiteX43" fmla="*/ 9953 w 10000"/>
              <a:gd name="connsiteY43" fmla="*/ 3775 h 10000"/>
              <a:gd name="connsiteX44" fmla="*/ 10000 w 10000"/>
              <a:gd name="connsiteY44" fmla="*/ 3407 h 10000"/>
              <a:gd name="connsiteX45" fmla="*/ 10000 w 10000"/>
              <a:gd name="connsiteY45" fmla="*/ 3015 h 10000"/>
              <a:gd name="connsiteX46" fmla="*/ 9984 w 10000"/>
              <a:gd name="connsiteY46" fmla="*/ 2696 h 10000"/>
              <a:gd name="connsiteX47" fmla="*/ 9922 w 10000"/>
              <a:gd name="connsiteY47" fmla="*/ 2218 h 10000"/>
              <a:gd name="connsiteX48" fmla="*/ 9768 w 10000"/>
              <a:gd name="connsiteY48" fmla="*/ 1740 h 10000"/>
              <a:gd name="connsiteX49" fmla="*/ 9628 w 10000"/>
              <a:gd name="connsiteY49" fmla="*/ 1324 h 10000"/>
              <a:gd name="connsiteX50" fmla="*/ 9458 w 10000"/>
              <a:gd name="connsiteY50" fmla="*/ 980 h 10000"/>
              <a:gd name="connsiteX51" fmla="*/ 9304 w 10000"/>
              <a:gd name="connsiteY51" fmla="*/ 699 h 10000"/>
              <a:gd name="connsiteX52" fmla="*/ 9165 w 10000"/>
              <a:gd name="connsiteY52" fmla="*/ 478 h 10000"/>
              <a:gd name="connsiteX53" fmla="*/ 8994 w 10000"/>
              <a:gd name="connsiteY53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579 w 10000"/>
              <a:gd name="connsiteY5" fmla="*/ 2348 h 10000"/>
              <a:gd name="connsiteX6" fmla="*/ 2892 w 10000"/>
              <a:gd name="connsiteY6" fmla="*/ 2931 h 10000"/>
              <a:gd name="connsiteX7" fmla="*/ 2844 w 10000"/>
              <a:gd name="connsiteY7" fmla="*/ 3995 h 10000"/>
              <a:gd name="connsiteX8" fmla="*/ 2674 w 10000"/>
              <a:gd name="connsiteY8" fmla="*/ 4240 h 10000"/>
              <a:gd name="connsiteX9" fmla="*/ 2458 w 10000"/>
              <a:gd name="connsiteY9" fmla="*/ 4473 h 10000"/>
              <a:gd name="connsiteX10" fmla="*/ 1296 w 10000"/>
              <a:gd name="connsiteY10" fmla="*/ 5202 h 10000"/>
              <a:gd name="connsiteX11" fmla="*/ 639 w 10000"/>
              <a:gd name="connsiteY11" fmla="*/ 5467 h 10000"/>
              <a:gd name="connsiteX12" fmla="*/ 2102 w 10000"/>
              <a:gd name="connsiteY12" fmla="*/ 7634 h 10000"/>
              <a:gd name="connsiteX13" fmla="*/ 0 w 10000"/>
              <a:gd name="connsiteY13" fmla="*/ 10000 h 10000"/>
              <a:gd name="connsiteX14" fmla="*/ 418 w 10000"/>
              <a:gd name="connsiteY14" fmla="*/ 9988 h 10000"/>
              <a:gd name="connsiteX15" fmla="*/ 850 w 10000"/>
              <a:gd name="connsiteY15" fmla="*/ 9975 h 10000"/>
              <a:gd name="connsiteX16" fmla="*/ 1329 w 10000"/>
              <a:gd name="connsiteY16" fmla="*/ 9926 h 10000"/>
              <a:gd name="connsiteX17" fmla="*/ 1824 w 10000"/>
              <a:gd name="connsiteY17" fmla="*/ 9877 h 10000"/>
              <a:gd name="connsiteX18" fmla="*/ 2302 w 10000"/>
              <a:gd name="connsiteY18" fmla="*/ 9792 h 10000"/>
              <a:gd name="connsiteX19" fmla="*/ 2782 w 10000"/>
              <a:gd name="connsiteY19" fmla="*/ 9706 h 10000"/>
              <a:gd name="connsiteX20" fmla="*/ 3153 w 10000"/>
              <a:gd name="connsiteY20" fmla="*/ 9620 h 10000"/>
              <a:gd name="connsiteX21" fmla="*/ 3554 w 10000"/>
              <a:gd name="connsiteY21" fmla="*/ 9521 h 10000"/>
              <a:gd name="connsiteX22" fmla="*/ 4049 w 10000"/>
              <a:gd name="connsiteY22" fmla="*/ 9387 h 10000"/>
              <a:gd name="connsiteX23" fmla="*/ 4467 w 10000"/>
              <a:gd name="connsiteY23" fmla="*/ 9240 h 10000"/>
              <a:gd name="connsiteX24" fmla="*/ 4868 w 10000"/>
              <a:gd name="connsiteY24" fmla="*/ 9105 h 10000"/>
              <a:gd name="connsiteX25" fmla="*/ 5301 w 10000"/>
              <a:gd name="connsiteY25" fmla="*/ 8922 h 10000"/>
              <a:gd name="connsiteX26" fmla="*/ 5734 w 10000"/>
              <a:gd name="connsiteY26" fmla="*/ 8737 h 10000"/>
              <a:gd name="connsiteX27" fmla="*/ 6089 w 10000"/>
              <a:gd name="connsiteY27" fmla="*/ 8566 h 10000"/>
              <a:gd name="connsiteX28" fmla="*/ 6491 w 10000"/>
              <a:gd name="connsiteY28" fmla="*/ 8333 h 10000"/>
              <a:gd name="connsiteX29" fmla="*/ 6893 w 10000"/>
              <a:gd name="connsiteY29" fmla="*/ 8101 h 10000"/>
              <a:gd name="connsiteX30" fmla="*/ 7249 w 10000"/>
              <a:gd name="connsiteY30" fmla="*/ 7843 h 10000"/>
              <a:gd name="connsiteX31" fmla="*/ 7542 w 10000"/>
              <a:gd name="connsiteY31" fmla="*/ 7634 h 10000"/>
              <a:gd name="connsiteX32" fmla="*/ 7867 w 10000"/>
              <a:gd name="connsiteY32" fmla="*/ 7377 h 10000"/>
              <a:gd name="connsiteX33" fmla="*/ 8114 w 10000"/>
              <a:gd name="connsiteY33" fmla="*/ 7157 h 10000"/>
              <a:gd name="connsiteX34" fmla="*/ 8393 w 10000"/>
              <a:gd name="connsiteY34" fmla="*/ 6887 h 10000"/>
              <a:gd name="connsiteX35" fmla="*/ 8670 w 10000"/>
              <a:gd name="connsiteY35" fmla="*/ 6605 h 10000"/>
              <a:gd name="connsiteX36" fmla="*/ 8871 w 10000"/>
              <a:gd name="connsiteY36" fmla="*/ 6299 h 10000"/>
              <a:gd name="connsiteX37" fmla="*/ 9088 w 10000"/>
              <a:gd name="connsiteY37" fmla="*/ 6029 h 10000"/>
              <a:gd name="connsiteX38" fmla="*/ 9242 w 10000"/>
              <a:gd name="connsiteY38" fmla="*/ 5772 h 10000"/>
              <a:gd name="connsiteX39" fmla="*/ 9458 w 10000"/>
              <a:gd name="connsiteY39" fmla="*/ 5379 h 10000"/>
              <a:gd name="connsiteX40" fmla="*/ 9597 w 10000"/>
              <a:gd name="connsiteY40" fmla="*/ 5073 h 10000"/>
              <a:gd name="connsiteX41" fmla="*/ 9768 w 10000"/>
              <a:gd name="connsiteY41" fmla="*/ 4657 h 10000"/>
              <a:gd name="connsiteX42" fmla="*/ 9876 w 10000"/>
              <a:gd name="connsiteY42" fmla="*/ 4191 h 10000"/>
              <a:gd name="connsiteX43" fmla="*/ 9953 w 10000"/>
              <a:gd name="connsiteY43" fmla="*/ 3775 h 10000"/>
              <a:gd name="connsiteX44" fmla="*/ 10000 w 10000"/>
              <a:gd name="connsiteY44" fmla="*/ 3407 h 10000"/>
              <a:gd name="connsiteX45" fmla="*/ 10000 w 10000"/>
              <a:gd name="connsiteY45" fmla="*/ 3015 h 10000"/>
              <a:gd name="connsiteX46" fmla="*/ 9984 w 10000"/>
              <a:gd name="connsiteY46" fmla="*/ 2696 h 10000"/>
              <a:gd name="connsiteX47" fmla="*/ 9922 w 10000"/>
              <a:gd name="connsiteY47" fmla="*/ 2218 h 10000"/>
              <a:gd name="connsiteX48" fmla="*/ 9768 w 10000"/>
              <a:gd name="connsiteY48" fmla="*/ 1740 h 10000"/>
              <a:gd name="connsiteX49" fmla="*/ 9628 w 10000"/>
              <a:gd name="connsiteY49" fmla="*/ 1324 h 10000"/>
              <a:gd name="connsiteX50" fmla="*/ 9458 w 10000"/>
              <a:gd name="connsiteY50" fmla="*/ 980 h 10000"/>
              <a:gd name="connsiteX51" fmla="*/ 9304 w 10000"/>
              <a:gd name="connsiteY51" fmla="*/ 699 h 10000"/>
              <a:gd name="connsiteX52" fmla="*/ 9165 w 10000"/>
              <a:gd name="connsiteY52" fmla="*/ 478 h 10000"/>
              <a:gd name="connsiteX53" fmla="*/ 8994 w 10000"/>
              <a:gd name="connsiteY53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579 w 10000"/>
              <a:gd name="connsiteY5" fmla="*/ 2348 h 10000"/>
              <a:gd name="connsiteX6" fmla="*/ 2892 w 10000"/>
              <a:gd name="connsiteY6" fmla="*/ 2931 h 10000"/>
              <a:gd name="connsiteX7" fmla="*/ 2674 w 10000"/>
              <a:gd name="connsiteY7" fmla="*/ 4240 h 10000"/>
              <a:gd name="connsiteX8" fmla="*/ 2458 w 10000"/>
              <a:gd name="connsiteY8" fmla="*/ 4473 h 10000"/>
              <a:gd name="connsiteX9" fmla="*/ 1296 w 10000"/>
              <a:gd name="connsiteY9" fmla="*/ 5202 h 10000"/>
              <a:gd name="connsiteX10" fmla="*/ 639 w 10000"/>
              <a:gd name="connsiteY10" fmla="*/ 5467 h 10000"/>
              <a:gd name="connsiteX11" fmla="*/ 2102 w 10000"/>
              <a:gd name="connsiteY11" fmla="*/ 7634 h 10000"/>
              <a:gd name="connsiteX12" fmla="*/ 0 w 10000"/>
              <a:gd name="connsiteY12" fmla="*/ 10000 h 10000"/>
              <a:gd name="connsiteX13" fmla="*/ 418 w 10000"/>
              <a:gd name="connsiteY13" fmla="*/ 9988 h 10000"/>
              <a:gd name="connsiteX14" fmla="*/ 850 w 10000"/>
              <a:gd name="connsiteY14" fmla="*/ 9975 h 10000"/>
              <a:gd name="connsiteX15" fmla="*/ 1329 w 10000"/>
              <a:gd name="connsiteY15" fmla="*/ 9926 h 10000"/>
              <a:gd name="connsiteX16" fmla="*/ 1824 w 10000"/>
              <a:gd name="connsiteY16" fmla="*/ 9877 h 10000"/>
              <a:gd name="connsiteX17" fmla="*/ 2302 w 10000"/>
              <a:gd name="connsiteY17" fmla="*/ 9792 h 10000"/>
              <a:gd name="connsiteX18" fmla="*/ 2782 w 10000"/>
              <a:gd name="connsiteY18" fmla="*/ 9706 h 10000"/>
              <a:gd name="connsiteX19" fmla="*/ 3153 w 10000"/>
              <a:gd name="connsiteY19" fmla="*/ 9620 h 10000"/>
              <a:gd name="connsiteX20" fmla="*/ 3554 w 10000"/>
              <a:gd name="connsiteY20" fmla="*/ 9521 h 10000"/>
              <a:gd name="connsiteX21" fmla="*/ 4049 w 10000"/>
              <a:gd name="connsiteY21" fmla="*/ 9387 h 10000"/>
              <a:gd name="connsiteX22" fmla="*/ 4467 w 10000"/>
              <a:gd name="connsiteY22" fmla="*/ 9240 h 10000"/>
              <a:gd name="connsiteX23" fmla="*/ 4868 w 10000"/>
              <a:gd name="connsiteY23" fmla="*/ 9105 h 10000"/>
              <a:gd name="connsiteX24" fmla="*/ 5301 w 10000"/>
              <a:gd name="connsiteY24" fmla="*/ 8922 h 10000"/>
              <a:gd name="connsiteX25" fmla="*/ 5734 w 10000"/>
              <a:gd name="connsiteY25" fmla="*/ 8737 h 10000"/>
              <a:gd name="connsiteX26" fmla="*/ 6089 w 10000"/>
              <a:gd name="connsiteY26" fmla="*/ 8566 h 10000"/>
              <a:gd name="connsiteX27" fmla="*/ 6491 w 10000"/>
              <a:gd name="connsiteY27" fmla="*/ 8333 h 10000"/>
              <a:gd name="connsiteX28" fmla="*/ 6893 w 10000"/>
              <a:gd name="connsiteY28" fmla="*/ 8101 h 10000"/>
              <a:gd name="connsiteX29" fmla="*/ 7249 w 10000"/>
              <a:gd name="connsiteY29" fmla="*/ 7843 h 10000"/>
              <a:gd name="connsiteX30" fmla="*/ 7542 w 10000"/>
              <a:gd name="connsiteY30" fmla="*/ 7634 h 10000"/>
              <a:gd name="connsiteX31" fmla="*/ 7867 w 10000"/>
              <a:gd name="connsiteY31" fmla="*/ 7377 h 10000"/>
              <a:gd name="connsiteX32" fmla="*/ 8114 w 10000"/>
              <a:gd name="connsiteY32" fmla="*/ 7157 h 10000"/>
              <a:gd name="connsiteX33" fmla="*/ 8393 w 10000"/>
              <a:gd name="connsiteY33" fmla="*/ 6887 h 10000"/>
              <a:gd name="connsiteX34" fmla="*/ 8670 w 10000"/>
              <a:gd name="connsiteY34" fmla="*/ 6605 h 10000"/>
              <a:gd name="connsiteX35" fmla="*/ 8871 w 10000"/>
              <a:gd name="connsiteY35" fmla="*/ 6299 h 10000"/>
              <a:gd name="connsiteX36" fmla="*/ 9088 w 10000"/>
              <a:gd name="connsiteY36" fmla="*/ 6029 h 10000"/>
              <a:gd name="connsiteX37" fmla="*/ 9242 w 10000"/>
              <a:gd name="connsiteY37" fmla="*/ 5772 h 10000"/>
              <a:gd name="connsiteX38" fmla="*/ 9458 w 10000"/>
              <a:gd name="connsiteY38" fmla="*/ 5379 h 10000"/>
              <a:gd name="connsiteX39" fmla="*/ 9597 w 10000"/>
              <a:gd name="connsiteY39" fmla="*/ 5073 h 10000"/>
              <a:gd name="connsiteX40" fmla="*/ 9768 w 10000"/>
              <a:gd name="connsiteY40" fmla="*/ 4657 h 10000"/>
              <a:gd name="connsiteX41" fmla="*/ 9876 w 10000"/>
              <a:gd name="connsiteY41" fmla="*/ 4191 h 10000"/>
              <a:gd name="connsiteX42" fmla="*/ 9953 w 10000"/>
              <a:gd name="connsiteY42" fmla="*/ 3775 h 10000"/>
              <a:gd name="connsiteX43" fmla="*/ 10000 w 10000"/>
              <a:gd name="connsiteY43" fmla="*/ 3407 h 10000"/>
              <a:gd name="connsiteX44" fmla="*/ 10000 w 10000"/>
              <a:gd name="connsiteY44" fmla="*/ 3015 h 10000"/>
              <a:gd name="connsiteX45" fmla="*/ 9984 w 10000"/>
              <a:gd name="connsiteY45" fmla="*/ 2696 h 10000"/>
              <a:gd name="connsiteX46" fmla="*/ 9922 w 10000"/>
              <a:gd name="connsiteY46" fmla="*/ 2218 h 10000"/>
              <a:gd name="connsiteX47" fmla="*/ 9768 w 10000"/>
              <a:gd name="connsiteY47" fmla="*/ 1740 h 10000"/>
              <a:gd name="connsiteX48" fmla="*/ 9628 w 10000"/>
              <a:gd name="connsiteY48" fmla="*/ 1324 h 10000"/>
              <a:gd name="connsiteX49" fmla="*/ 9458 w 10000"/>
              <a:gd name="connsiteY49" fmla="*/ 980 h 10000"/>
              <a:gd name="connsiteX50" fmla="*/ 9304 w 10000"/>
              <a:gd name="connsiteY50" fmla="*/ 699 h 10000"/>
              <a:gd name="connsiteX51" fmla="*/ 9165 w 10000"/>
              <a:gd name="connsiteY51" fmla="*/ 478 h 10000"/>
              <a:gd name="connsiteX52" fmla="*/ 8994 w 10000"/>
              <a:gd name="connsiteY52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579 w 10000"/>
              <a:gd name="connsiteY5" fmla="*/ 2348 h 10000"/>
              <a:gd name="connsiteX6" fmla="*/ 2892 w 10000"/>
              <a:gd name="connsiteY6" fmla="*/ 2931 h 10000"/>
              <a:gd name="connsiteX7" fmla="*/ 2674 w 10000"/>
              <a:gd name="connsiteY7" fmla="*/ 4240 h 10000"/>
              <a:gd name="connsiteX8" fmla="*/ 2458 w 10000"/>
              <a:gd name="connsiteY8" fmla="*/ 4473 h 10000"/>
              <a:gd name="connsiteX9" fmla="*/ 1296 w 10000"/>
              <a:gd name="connsiteY9" fmla="*/ 5202 h 10000"/>
              <a:gd name="connsiteX10" fmla="*/ 639 w 10000"/>
              <a:gd name="connsiteY10" fmla="*/ 5467 h 10000"/>
              <a:gd name="connsiteX11" fmla="*/ 2102 w 10000"/>
              <a:gd name="connsiteY11" fmla="*/ 7634 h 10000"/>
              <a:gd name="connsiteX12" fmla="*/ 0 w 10000"/>
              <a:gd name="connsiteY12" fmla="*/ 10000 h 10000"/>
              <a:gd name="connsiteX13" fmla="*/ 418 w 10000"/>
              <a:gd name="connsiteY13" fmla="*/ 9988 h 10000"/>
              <a:gd name="connsiteX14" fmla="*/ 850 w 10000"/>
              <a:gd name="connsiteY14" fmla="*/ 9975 h 10000"/>
              <a:gd name="connsiteX15" fmla="*/ 1329 w 10000"/>
              <a:gd name="connsiteY15" fmla="*/ 9926 h 10000"/>
              <a:gd name="connsiteX16" fmla="*/ 1824 w 10000"/>
              <a:gd name="connsiteY16" fmla="*/ 9877 h 10000"/>
              <a:gd name="connsiteX17" fmla="*/ 2302 w 10000"/>
              <a:gd name="connsiteY17" fmla="*/ 9792 h 10000"/>
              <a:gd name="connsiteX18" fmla="*/ 2782 w 10000"/>
              <a:gd name="connsiteY18" fmla="*/ 9706 h 10000"/>
              <a:gd name="connsiteX19" fmla="*/ 3153 w 10000"/>
              <a:gd name="connsiteY19" fmla="*/ 9620 h 10000"/>
              <a:gd name="connsiteX20" fmla="*/ 3554 w 10000"/>
              <a:gd name="connsiteY20" fmla="*/ 9521 h 10000"/>
              <a:gd name="connsiteX21" fmla="*/ 4049 w 10000"/>
              <a:gd name="connsiteY21" fmla="*/ 9387 h 10000"/>
              <a:gd name="connsiteX22" fmla="*/ 4467 w 10000"/>
              <a:gd name="connsiteY22" fmla="*/ 9240 h 10000"/>
              <a:gd name="connsiteX23" fmla="*/ 4868 w 10000"/>
              <a:gd name="connsiteY23" fmla="*/ 9105 h 10000"/>
              <a:gd name="connsiteX24" fmla="*/ 5301 w 10000"/>
              <a:gd name="connsiteY24" fmla="*/ 8922 h 10000"/>
              <a:gd name="connsiteX25" fmla="*/ 5734 w 10000"/>
              <a:gd name="connsiteY25" fmla="*/ 8737 h 10000"/>
              <a:gd name="connsiteX26" fmla="*/ 6089 w 10000"/>
              <a:gd name="connsiteY26" fmla="*/ 8566 h 10000"/>
              <a:gd name="connsiteX27" fmla="*/ 6491 w 10000"/>
              <a:gd name="connsiteY27" fmla="*/ 8333 h 10000"/>
              <a:gd name="connsiteX28" fmla="*/ 6893 w 10000"/>
              <a:gd name="connsiteY28" fmla="*/ 8101 h 10000"/>
              <a:gd name="connsiteX29" fmla="*/ 7249 w 10000"/>
              <a:gd name="connsiteY29" fmla="*/ 7843 h 10000"/>
              <a:gd name="connsiteX30" fmla="*/ 7542 w 10000"/>
              <a:gd name="connsiteY30" fmla="*/ 7634 h 10000"/>
              <a:gd name="connsiteX31" fmla="*/ 7867 w 10000"/>
              <a:gd name="connsiteY31" fmla="*/ 7377 h 10000"/>
              <a:gd name="connsiteX32" fmla="*/ 8114 w 10000"/>
              <a:gd name="connsiteY32" fmla="*/ 7157 h 10000"/>
              <a:gd name="connsiteX33" fmla="*/ 8393 w 10000"/>
              <a:gd name="connsiteY33" fmla="*/ 6887 h 10000"/>
              <a:gd name="connsiteX34" fmla="*/ 8670 w 10000"/>
              <a:gd name="connsiteY34" fmla="*/ 6605 h 10000"/>
              <a:gd name="connsiteX35" fmla="*/ 8871 w 10000"/>
              <a:gd name="connsiteY35" fmla="*/ 6299 h 10000"/>
              <a:gd name="connsiteX36" fmla="*/ 9088 w 10000"/>
              <a:gd name="connsiteY36" fmla="*/ 6029 h 10000"/>
              <a:gd name="connsiteX37" fmla="*/ 9242 w 10000"/>
              <a:gd name="connsiteY37" fmla="*/ 5772 h 10000"/>
              <a:gd name="connsiteX38" fmla="*/ 9458 w 10000"/>
              <a:gd name="connsiteY38" fmla="*/ 5379 h 10000"/>
              <a:gd name="connsiteX39" fmla="*/ 9597 w 10000"/>
              <a:gd name="connsiteY39" fmla="*/ 5073 h 10000"/>
              <a:gd name="connsiteX40" fmla="*/ 9768 w 10000"/>
              <a:gd name="connsiteY40" fmla="*/ 4657 h 10000"/>
              <a:gd name="connsiteX41" fmla="*/ 9876 w 10000"/>
              <a:gd name="connsiteY41" fmla="*/ 4191 h 10000"/>
              <a:gd name="connsiteX42" fmla="*/ 9953 w 10000"/>
              <a:gd name="connsiteY42" fmla="*/ 3775 h 10000"/>
              <a:gd name="connsiteX43" fmla="*/ 10000 w 10000"/>
              <a:gd name="connsiteY43" fmla="*/ 3407 h 10000"/>
              <a:gd name="connsiteX44" fmla="*/ 10000 w 10000"/>
              <a:gd name="connsiteY44" fmla="*/ 3015 h 10000"/>
              <a:gd name="connsiteX45" fmla="*/ 9984 w 10000"/>
              <a:gd name="connsiteY45" fmla="*/ 2696 h 10000"/>
              <a:gd name="connsiteX46" fmla="*/ 9922 w 10000"/>
              <a:gd name="connsiteY46" fmla="*/ 2218 h 10000"/>
              <a:gd name="connsiteX47" fmla="*/ 9768 w 10000"/>
              <a:gd name="connsiteY47" fmla="*/ 1740 h 10000"/>
              <a:gd name="connsiteX48" fmla="*/ 9628 w 10000"/>
              <a:gd name="connsiteY48" fmla="*/ 1324 h 10000"/>
              <a:gd name="connsiteX49" fmla="*/ 9458 w 10000"/>
              <a:gd name="connsiteY49" fmla="*/ 980 h 10000"/>
              <a:gd name="connsiteX50" fmla="*/ 9304 w 10000"/>
              <a:gd name="connsiteY50" fmla="*/ 699 h 10000"/>
              <a:gd name="connsiteX51" fmla="*/ 9165 w 10000"/>
              <a:gd name="connsiteY51" fmla="*/ 478 h 10000"/>
              <a:gd name="connsiteX52" fmla="*/ 8994 w 10000"/>
              <a:gd name="connsiteY52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579 w 10000"/>
              <a:gd name="connsiteY5" fmla="*/ 2348 h 10000"/>
              <a:gd name="connsiteX6" fmla="*/ 2892 w 10000"/>
              <a:gd name="connsiteY6" fmla="*/ 2931 h 10000"/>
              <a:gd name="connsiteX7" fmla="*/ 2674 w 10000"/>
              <a:gd name="connsiteY7" fmla="*/ 4240 h 10000"/>
              <a:gd name="connsiteX8" fmla="*/ 2458 w 10000"/>
              <a:gd name="connsiteY8" fmla="*/ 4473 h 10000"/>
              <a:gd name="connsiteX9" fmla="*/ 1296 w 10000"/>
              <a:gd name="connsiteY9" fmla="*/ 5202 h 10000"/>
              <a:gd name="connsiteX10" fmla="*/ 639 w 10000"/>
              <a:gd name="connsiteY10" fmla="*/ 5467 h 10000"/>
              <a:gd name="connsiteX11" fmla="*/ 2102 w 10000"/>
              <a:gd name="connsiteY11" fmla="*/ 7634 h 10000"/>
              <a:gd name="connsiteX12" fmla="*/ 0 w 10000"/>
              <a:gd name="connsiteY12" fmla="*/ 10000 h 10000"/>
              <a:gd name="connsiteX13" fmla="*/ 418 w 10000"/>
              <a:gd name="connsiteY13" fmla="*/ 9988 h 10000"/>
              <a:gd name="connsiteX14" fmla="*/ 850 w 10000"/>
              <a:gd name="connsiteY14" fmla="*/ 9975 h 10000"/>
              <a:gd name="connsiteX15" fmla="*/ 1329 w 10000"/>
              <a:gd name="connsiteY15" fmla="*/ 9926 h 10000"/>
              <a:gd name="connsiteX16" fmla="*/ 1824 w 10000"/>
              <a:gd name="connsiteY16" fmla="*/ 9877 h 10000"/>
              <a:gd name="connsiteX17" fmla="*/ 2302 w 10000"/>
              <a:gd name="connsiteY17" fmla="*/ 9792 h 10000"/>
              <a:gd name="connsiteX18" fmla="*/ 2782 w 10000"/>
              <a:gd name="connsiteY18" fmla="*/ 9706 h 10000"/>
              <a:gd name="connsiteX19" fmla="*/ 3153 w 10000"/>
              <a:gd name="connsiteY19" fmla="*/ 9620 h 10000"/>
              <a:gd name="connsiteX20" fmla="*/ 3554 w 10000"/>
              <a:gd name="connsiteY20" fmla="*/ 9521 h 10000"/>
              <a:gd name="connsiteX21" fmla="*/ 4049 w 10000"/>
              <a:gd name="connsiteY21" fmla="*/ 9387 h 10000"/>
              <a:gd name="connsiteX22" fmla="*/ 4467 w 10000"/>
              <a:gd name="connsiteY22" fmla="*/ 9240 h 10000"/>
              <a:gd name="connsiteX23" fmla="*/ 4868 w 10000"/>
              <a:gd name="connsiteY23" fmla="*/ 9105 h 10000"/>
              <a:gd name="connsiteX24" fmla="*/ 5301 w 10000"/>
              <a:gd name="connsiteY24" fmla="*/ 8922 h 10000"/>
              <a:gd name="connsiteX25" fmla="*/ 5734 w 10000"/>
              <a:gd name="connsiteY25" fmla="*/ 8737 h 10000"/>
              <a:gd name="connsiteX26" fmla="*/ 6089 w 10000"/>
              <a:gd name="connsiteY26" fmla="*/ 8566 h 10000"/>
              <a:gd name="connsiteX27" fmla="*/ 6491 w 10000"/>
              <a:gd name="connsiteY27" fmla="*/ 8333 h 10000"/>
              <a:gd name="connsiteX28" fmla="*/ 6893 w 10000"/>
              <a:gd name="connsiteY28" fmla="*/ 8101 h 10000"/>
              <a:gd name="connsiteX29" fmla="*/ 7249 w 10000"/>
              <a:gd name="connsiteY29" fmla="*/ 7843 h 10000"/>
              <a:gd name="connsiteX30" fmla="*/ 7542 w 10000"/>
              <a:gd name="connsiteY30" fmla="*/ 7634 h 10000"/>
              <a:gd name="connsiteX31" fmla="*/ 7867 w 10000"/>
              <a:gd name="connsiteY31" fmla="*/ 7377 h 10000"/>
              <a:gd name="connsiteX32" fmla="*/ 8114 w 10000"/>
              <a:gd name="connsiteY32" fmla="*/ 7157 h 10000"/>
              <a:gd name="connsiteX33" fmla="*/ 8393 w 10000"/>
              <a:gd name="connsiteY33" fmla="*/ 6887 h 10000"/>
              <a:gd name="connsiteX34" fmla="*/ 8670 w 10000"/>
              <a:gd name="connsiteY34" fmla="*/ 6605 h 10000"/>
              <a:gd name="connsiteX35" fmla="*/ 8871 w 10000"/>
              <a:gd name="connsiteY35" fmla="*/ 6299 h 10000"/>
              <a:gd name="connsiteX36" fmla="*/ 9088 w 10000"/>
              <a:gd name="connsiteY36" fmla="*/ 6029 h 10000"/>
              <a:gd name="connsiteX37" fmla="*/ 9242 w 10000"/>
              <a:gd name="connsiteY37" fmla="*/ 5772 h 10000"/>
              <a:gd name="connsiteX38" fmla="*/ 9458 w 10000"/>
              <a:gd name="connsiteY38" fmla="*/ 5379 h 10000"/>
              <a:gd name="connsiteX39" fmla="*/ 9597 w 10000"/>
              <a:gd name="connsiteY39" fmla="*/ 5073 h 10000"/>
              <a:gd name="connsiteX40" fmla="*/ 9768 w 10000"/>
              <a:gd name="connsiteY40" fmla="*/ 4657 h 10000"/>
              <a:gd name="connsiteX41" fmla="*/ 9876 w 10000"/>
              <a:gd name="connsiteY41" fmla="*/ 4191 h 10000"/>
              <a:gd name="connsiteX42" fmla="*/ 9953 w 10000"/>
              <a:gd name="connsiteY42" fmla="*/ 3775 h 10000"/>
              <a:gd name="connsiteX43" fmla="*/ 10000 w 10000"/>
              <a:gd name="connsiteY43" fmla="*/ 3407 h 10000"/>
              <a:gd name="connsiteX44" fmla="*/ 10000 w 10000"/>
              <a:gd name="connsiteY44" fmla="*/ 3015 h 10000"/>
              <a:gd name="connsiteX45" fmla="*/ 9984 w 10000"/>
              <a:gd name="connsiteY45" fmla="*/ 2696 h 10000"/>
              <a:gd name="connsiteX46" fmla="*/ 9922 w 10000"/>
              <a:gd name="connsiteY46" fmla="*/ 2218 h 10000"/>
              <a:gd name="connsiteX47" fmla="*/ 9768 w 10000"/>
              <a:gd name="connsiteY47" fmla="*/ 1740 h 10000"/>
              <a:gd name="connsiteX48" fmla="*/ 9628 w 10000"/>
              <a:gd name="connsiteY48" fmla="*/ 1324 h 10000"/>
              <a:gd name="connsiteX49" fmla="*/ 9458 w 10000"/>
              <a:gd name="connsiteY49" fmla="*/ 980 h 10000"/>
              <a:gd name="connsiteX50" fmla="*/ 9304 w 10000"/>
              <a:gd name="connsiteY50" fmla="*/ 699 h 10000"/>
              <a:gd name="connsiteX51" fmla="*/ 9165 w 10000"/>
              <a:gd name="connsiteY51" fmla="*/ 478 h 10000"/>
              <a:gd name="connsiteX52" fmla="*/ 8994 w 10000"/>
              <a:gd name="connsiteY52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892 w 10000"/>
              <a:gd name="connsiteY5" fmla="*/ 2931 h 10000"/>
              <a:gd name="connsiteX6" fmla="*/ 2674 w 10000"/>
              <a:gd name="connsiteY6" fmla="*/ 4240 h 10000"/>
              <a:gd name="connsiteX7" fmla="*/ 2458 w 10000"/>
              <a:gd name="connsiteY7" fmla="*/ 4473 h 10000"/>
              <a:gd name="connsiteX8" fmla="*/ 1296 w 10000"/>
              <a:gd name="connsiteY8" fmla="*/ 5202 h 10000"/>
              <a:gd name="connsiteX9" fmla="*/ 639 w 10000"/>
              <a:gd name="connsiteY9" fmla="*/ 5467 h 10000"/>
              <a:gd name="connsiteX10" fmla="*/ 2102 w 10000"/>
              <a:gd name="connsiteY10" fmla="*/ 7634 h 10000"/>
              <a:gd name="connsiteX11" fmla="*/ 0 w 10000"/>
              <a:gd name="connsiteY11" fmla="*/ 10000 h 10000"/>
              <a:gd name="connsiteX12" fmla="*/ 418 w 10000"/>
              <a:gd name="connsiteY12" fmla="*/ 9988 h 10000"/>
              <a:gd name="connsiteX13" fmla="*/ 850 w 10000"/>
              <a:gd name="connsiteY13" fmla="*/ 9975 h 10000"/>
              <a:gd name="connsiteX14" fmla="*/ 1329 w 10000"/>
              <a:gd name="connsiteY14" fmla="*/ 9926 h 10000"/>
              <a:gd name="connsiteX15" fmla="*/ 1824 w 10000"/>
              <a:gd name="connsiteY15" fmla="*/ 9877 h 10000"/>
              <a:gd name="connsiteX16" fmla="*/ 2302 w 10000"/>
              <a:gd name="connsiteY16" fmla="*/ 9792 h 10000"/>
              <a:gd name="connsiteX17" fmla="*/ 2782 w 10000"/>
              <a:gd name="connsiteY17" fmla="*/ 9706 h 10000"/>
              <a:gd name="connsiteX18" fmla="*/ 3153 w 10000"/>
              <a:gd name="connsiteY18" fmla="*/ 9620 h 10000"/>
              <a:gd name="connsiteX19" fmla="*/ 3554 w 10000"/>
              <a:gd name="connsiteY19" fmla="*/ 9521 h 10000"/>
              <a:gd name="connsiteX20" fmla="*/ 4049 w 10000"/>
              <a:gd name="connsiteY20" fmla="*/ 9387 h 10000"/>
              <a:gd name="connsiteX21" fmla="*/ 4467 w 10000"/>
              <a:gd name="connsiteY21" fmla="*/ 9240 h 10000"/>
              <a:gd name="connsiteX22" fmla="*/ 4868 w 10000"/>
              <a:gd name="connsiteY22" fmla="*/ 9105 h 10000"/>
              <a:gd name="connsiteX23" fmla="*/ 5301 w 10000"/>
              <a:gd name="connsiteY23" fmla="*/ 8922 h 10000"/>
              <a:gd name="connsiteX24" fmla="*/ 5734 w 10000"/>
              <a:gd name="connsiteY24" fmla="*/ 8737 h 10000"/>
              <a:gd name="connsiteX25" fmla="*/ 6089 w 10000"/>
              <a:gd name="connsiteY25" fmla="*/ 8566 h 10000"/>
              <a:gd name="connsiteX26" fmla="*/ 6491 w 10000"/>
              <a:gd name="connsiteY26" fmla="*/ 8333 h 10000"/>
              <a:gd name="connsiteX27" fmla="*/ 6893 w 10000"/>
              <a:gd name="connsiteY27" fmla="*/ 8101 h 10000"/>
              <a:gd name="connsiteX28" fmla="*/ 7249 w 10000"/>
              <a:gd name="connsiteY28" fmla="*/ 7843 h 10000"/>
              <a:gd name="connsiteX29" fmla="*/ 7542 w 10000"/>
              <a:gd name="connsiteY29" fmla="*/ 7634 h 10000"/>
              <a:gd name="connsiteX30" fmla="*/ 7867 w 10000"/>
              <a:gd name="connsiteY30" fmla="*/ 7377 h 10000"/>
              <a:gd name="connsiteX31" fmla="*/ 8114 w 10000"/>
              <a:gd name="connsiteY31" fmla="*/ 7157 h 10000"/>
              <a:gd name="connsiteX32" fmla="*/ 8393 w 10000"/>
              <a:gd name="connsiteY32" fmla="*/ 6887 h 10000"/>
              <a:gd name="connsiteX33" fmla="*/ 8670 w 10000"/>
              <a:gd name="connsiteY33" fmla="*/ 6605 h 10000"/>
              <a:gd name="connsiteX34" fmla="*/ 8871 w 10000"/>
              <a:gd name="connsiteY34" fmla="*/ 6299 h 10000"/>
              <a:gd name="connsiteX35" fmla="*/ 9088 w 10000"/>
              <a:gd name="connsiteY35" fmla="*/ 6029 h 10000"/>
              <a:gd name="connsiteX36" fmla="*/ 9242 w 10000"/>
              <a:gd name="connsiteY36" fmla="*/ 5772 h 10000"/>
              <a:gd name="connsiteX37" fmla="*/ 9458 w 10000"/>
              <a:gd name="connsiteY37" fmla="*/ 5379 h 10000"/>
              <a:gd name="connsiteX38" fmla="*/ 9597 w 10000"/>
              <a:gd name="connsiteY38" fmla="*/ 5073 h 10000"/>
              <a:gd name="connsiteX39" fmla="*/ 9768 w 10000"/>
              <a:gd name="connsiteY39" fmla="*/ 4657 h 10000"/>
              <a:gd name="connsiteX40" fmla="*/ 9876 w 10000"/>
              <a:gd name="connsiteY40" fmla="*/ 4191 h 10000"/>
              <a:gd name="connsiteX41" fmla="*/ 9953 w 10000"/>
              <a:gd name="connsiteY41" fmla="*/ 3775 h 10000"/>
              <a:gd name="connsiteX42" fmla="*/ 10000 w 10000"/>
              <a:gd name="connsiteY42" fmla="*/ 3407 h 10000"/>
              <a:gd name="connsiteX43" fmla="*/ 10000 w 10000"/>
              <a:gd name="connsiteY43" fmla="*/ 3015 h 10000"/>
              <a:gd name="connsiteX44" fmla="*/ 9984 w 10000"/>
              <a:gd name="connsiteY44" fmla="*/ 2696 h 10000"/>
              <a:gd name="connsiteX45" fmla="*/ 9922 w 10000"/>
              <a:gd name="connsiteY45" fmla="*/ 2218 h 10000"/>
              <a:gd name="connsiteX46" fmla="*/ 9768 w 10000"/>
              <a:gd name="connsiteY46" fmla="*/ 1740 h 10000"/>
              <a:gd name="connsiteX47" fmla="*/ 9628 w 10000"/>
              <a:gd name="connsiteY47" fmla="*/ 1324 h 10000"/>
              <a:gd name="connsiteX48" fmla="*/ 9458 w 10000"/>
              <a:gd name="connsiteY48" fmla="*/ 980 h 10000"/>
              <a:gd name="connsiteX49" fmla="*/ 9304 w 10000"/>
              <a:gd name="connsiteY49" fmla="*/ 699 h 10000"/>
              <a:gd name="connsiteX50" fmla="*/ 9165 w 10000"/>
              <a:gd name="connsiteY50" fmla="*/ 478 h 10000"/>
              <a:gd name="connsiteX51" fmla="*/ 8994 w 10000"/>
              <a:gd name="connsiteY51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892 w 10000"/>
              <a:gd name="connsiteY5" fmla="*/ 2931 h 10000"/>
              <a:gd name="connsiteX6" fmla="*/ 2674 w 10000"/>
              <a:gd name="connsiteY6" fmla="*/ 4240 h 10000"/>
              <a:gd name="connsiteX7" fmla="*/ 2458 w 10000"/>
              <a:gd name="connsiteY7" fmla="*/ 4473 h 10000"/>
              <a:gd name="connsiteX8" fmla="*/ 1296 w 10000"/>
              <a:gd name="connsiteY8" fmla="*/ 5202 h 10000"/>
              <a:gd name="connsiteX9" fmla="*/ 639 w 10000"/>
              <a:gd name="connsiteY9" fmla="*/ 5467 h 10000"/>
              <a:gd name="connsiteX10" fmla="*/ 2102 w 10000"/>
              <a:gd name="connsiteY10" fmla="*/ 7634 h 10000"/>
              <a:gd name="connsiteX11" fmla="*/ 0 w 10000"/>
              <a:gd name="connsiteY11" fmla="*/ 10000 h 10000"/>
              <a:gd name="connsiteX12" fmla="*/ 418 w 10000"/>
              <a:gd name="connsiteY12" fmla="*/ 9988 h 10000"/>
              <a:gd name="connsiteX13" fmla="*/ 850 w 10000"/>
              <a:gd name="connsiteY13" fmla="*/ 9975 h 10000"/>
              <a:gd name="connsiteX14" fmla="*/ 1329 w 10000"/>
              <a:gd name="connsiteY14" fmla="*/ 9926 h 10000"/>
              <a:gd name="connsiteX15" fmla="*/ 1824 w 10000"/>
              <a:gd name="connsiteY15" fmla="*/ 9877 h 10000"/>
              <a:gd name="connsiteX16" fmla="*/ 2302 w 10000"/>
              <a:gd name="connsiteY16" fmla="*/ 9792 h 10000"/>
              <a:gd name="connsiteX17" fmla="*/ 2782 w 10000"/>
              <a:gd name="connsiteY17" fmla="*/ 9706 h 10000"/>
              <a:gd name="connsiteX18" fmla="*/ 3153 w 10000"/>
              <a:gd name="connsiteY18" fmla="*/ 9620 h 10000"/>
              <a:gd name="connsiteX19" fmla="*/ 3554 w 10000"/>
              <a:gd name="connsiteY19" fmla="*/ 9521 h 10000"/>
              <a:gd name="connsiteX20" fmla="*/ 4049 w 10000"/>
              <a:gd name="connsiteY20" fmla="*/ 9387 h 10000"/>
              <a:gd name="connsiteX21" fmla="*/ 4467 w 10000"/>
              <a:gd name="connsiteY21" fmla="*/ 9240 h 10000"/>
              <a:gd name="connsiteX22" fmla="*/ 4868 w 10000"/>
              <a:gd name="connsiteY22" fmla="*/ 9105 h 10000"/>
              <a:gd name="connsiteX23" fmla="*/ 5301 w 10000"/>
              <a:gd name="connsiteY23" fmla="*/ 8922 h 10000"/>
              <a:gd name="connsiteX24" fmla="*/ 5734 w 10000"/>
              <a:gd name="connsiteY24" fmla="*/ 8737 h 10000"/>
              <a:gd name="connsiteX25" fmla="*/ 6089 w 10000"/>
              <a:gd name="connsiteY25" fmla="*/ 8566 h 10000"/>
              <a:gd name="connsiteX26" fmla="*/ 6491 w 10000"/>
              <a:gd name="connsiteY26" fmla="*/ 8333 h 10000"/>
              <a:gd name="connsiteX27" fmla="*/ 6893 w 10000"/>
              <a:gd name="connsiteY27" fmla="*/ 8101 h 10000"/>
              <a:gd name="connsiteX28" fmla="*/ 7249 w 10000"/>
              <a:gd name="connsiteY28" fmla="*/ 7843 h 10000"/>
              <a:gd name="connsiteX29" fmla="*/ 7542 w 10000"/>
              <a:gd name="connsiteY29" fmla="*/ 7634 h 10000"/>
              <a:gd name="connsiteX30" fmla="*/ 7867 w 10000"/>
              <a:gd name="connsiteY30" fmla="*/ 7377 h 10000"/>
              <a:gd name="connsiteX31" fmla="*/ 8114 w 10000"/>
              <a:gd name="connsiteY31" fmla="*/ 7157 h 10000"/>
              <a:gd name="connsiteX32" fmla="*/ 8393 w 10000"/>
              <a:gd name="connsiteY32" fmla="*/ 6887 h 10000"/>
              <a:gd name="connsiteX33" fmla="*/ 8670 w 10000"/>
              <a:gd name="connsiteY33" fmla="*/ 6605 h 10000"/>
              <a:gd name="connsiteX34" fmla="*/ 8871 w 10000"/>
              <a:gd name="connsiteY34" fmla="*/ 6299 h 10000"/>
              <a:gd name="connsiteX35" fmla="*/ 9088 w 10000"/>
              <a:gd name="connsiteY35" fmla="*/ 6029 h 10000"/>
              <a:gd name="connsiteX36" fmla="*/ 9242 w 10000"/>
              <a:gd name="connsiteY36" fmla="*/ 5772 h 10000"/>
              <a:gd name="connsiteX37" fmla="*/ 9458 w 10000"/>
              <a:gd name="connsiteY37" fmla="*/ 5379 h 10000"/>
              <a:gd name="connsiteX38" fmla="*/ 9597 w 10000"/>
              <a:gd name="connsiteY38" fmla="*/ 5073 h 10000"/>
              <a:gd name="connsiteX39" fmla="*/ 9768 w 10000"/>
              <a:gd name="connsiteY39" fmla="*/ 4657 h 10000"/>
              <a:gd name="connsiteX40" fmla="*/ 9876 w 10000"/>
              <a:gd name="connsiteY40" fmla="*/ 4191 h 10000"/>
              <a:gd name="connsiteX41" fmla="*/ 9953 w 10000"/>
              <a:gd name="connsiteY41" fmla="*/ 3775 h 10000"/>
              <a:gd name="connsiteX42" fmla="*/ 10000 w 10000"/>
              <a:gd name="connsiteY42" fmla="*/ 3407 h 10000"/>
              <a:gd name="connsiteX43" fmla="*/ 10000 w 10000"/>
              <a:gd name="connsiteY43" fmla="*/ 3015 h 10000"/>
              <a:gd name="connsiteX44" fmla="*/ 9984 w 10000"/>
              <a:gd name="connsiteY44" fmla="*/ 2696 h 10000"/>
              <a:gd name="connsiteX45" fmla="*/ 9922 w 10000"/>
              <a:gd name="connsiteY45" fmla="*/ 2218 h 10000"/>
              <a:gd name="connsiteX46" fmla="*/ 9768 w 10000"/>
              <a:gd name="connsiteY46" fmla="*/ 1740 h 10000"/>
              <a:gd name="connsiteX47" fmla="*/ 9628 w 10000"/>
              <a:gd name="connsiteY47" fmla="*/ 1324 h 10000"/>
              <a:gd name="connsiteX48" fmla="*/ 9458 w 10000"/>
              <a:gd name="connsiteY48" fmla="*/ 980 h 10000"/>
              <a:gd name="connsiteX49" fmla="*/ 9304 w 10000"/>
              <a:gd name="connsiteY49" fmla="*/ 699 h 10000"/>
              <a:gd name="connsiteX50" fmla="*/ 9165 w 10000"/>
              <a:gd name="connsiteY50" fmla="*/ 478 h 10000"/>
              <a:gd name="connsiteX51" fmla="*/ 8994 w 10000"/>
              <a:gd name="connsiteY51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892 w 10000"/>
              <a:gd name="connsiteY5" fmla="*/ 2931 h 10000"/>
              <a:gd name="connsiteX6" fmla="*/ 2674 w 10000"/>
              <a:gd name="connsiteY6" fmla="*/ 4240 h 10000"/>
              <a:gd name="connsiteX7" fmla="*/ 2458 w 10000"/>
              <a:gd name="connsiteY7" fmla="*/ 4473 h 10000"/>
              <a:gd name="connsiteX8" fmla="*/ 1296 w 10000"/>
              <a:gd name="connsiteY8" fmla="*/ 5202 h 10000"/>
              <a:gd name="connsiteX9" fmla="*/ 639 w 10000"/>
              <a:gd name="connsiteY9" fmla="*/ 5467 h 10000"/>
              <a:gd name="connsiteX10" fmla="*/ 2102 w 10000"/>
              <a:gd name="connsiteY10" fmla="*/ 7634 h 10000"/>
              <a:gd name="connsiteX11" fmla="*/ 0 w 10000"/>
              <a:gd name="connsiteY11" fmla="*/ 10000 h 10000"/>
              <a:gd name="connsiteX12" fmla="*/ 418 w 10000"/>
              <a:gd name="connsiteY12" fmla="*/ 9988 h 10000"/>
              <a:gd name="connsiteX13" fmla="*/ 850 w 10000"/>
              <a:gd name="connsiteY13" fmla="*/ 9975 h 10000"/>
              <a:gd name="connsiteX14" fmla="*/ 1329 w 10000"/>
              <a:gd name="connsiteY14" fmla="*/ 9926 h 10000"/>
              <a:gd name="connsiteX15" fmla="*/ 1824 w 10000"/>
              <a:gd name="connsiteY15" fmla="*/ 9877 h 10000"/>
              <a:gd name="connsiteX16" fmla="*/ 2302 w 10000"/>
              <a:gd name="connsiteY16" fmla="*/ 9792 h 10000"/>
              <a:gd name="connsiteX17" fmla="*/ 2782 w 10000"/>
              <a:gd name="connsiteY17" fmla="*/ 9706 h 10000"/>
              <a:gd name="connsiteX18" fmla="*/ 3153 w 10000"/>
              <a:gd name="connsiteY18" fmla="*/ 9620 h 10000"/>
              <a:gd name="connsiteX19" fmla="*/ 3554 w 10000"/>
              <a:gd name="connsiteY19" fmla="*/ 9521 h 10000"/>
              <a:gd name="connsiteX20" fmla="*/ 4049 w 10000"/>
              <a:gd name="connsiteY20" fmla="*/ 9387 h 10000"/>
              <a:gd name="connsiteX21" fmla="*/ 4467 w 10000"/>
              <a:gd name="connsiteY21" fmla="*/ 9240 h 10000"/>
              <a:gd name="connsiteX22" fmla="*/ 4868 w 10000"/>
              <a:gd name="connsiteY22" fmla="*/ 9105 h 10000"/>
              <a:gd name="connsiteX23" fmla="*/ 5301 w 10000"/>
              <a:gd name="connsiteY23" fmla="*/ 8922 h 10000"/>
              <a:gd name="connsiteX24" fmla="*/ 5734 w 10000"/>
              <a:gd name="connsiteY24" fmla="*/ 8737 h 10000"/>
              <a:gd name="connsiteX25" fmla="*/ 6089 w 10000"/>
              <a:gd name="connsiteY25" fmla="*/ 8566 h 10000"/>
              <a:gd name="connsiteX26" fmla="*/ 6491 w 10000"/>
              <a:gd name="connsiteY26" fmla="*/ 8333 h 10000"/>
              <a:gd name="connsiteX27" fmla="*/ 6893 w 10000"/>
              <a:gd name="connsiteY27" fmla="*/ 8101 h 10000"/>
              <a:gd name="connsiteX28" fmla="*/ 7249 w 10000"/>
              <a:gd name="connsiteY28" fmla="*/ 7843 h 10000"/>
              <a:gd name="connsiteX29" fmla="*/ 7542 w 10000"/>
              <a:gd name="connsiteY29" fmla="*/ 7634 h 10000"/>
              <a:gd name="connsiteX30" fmla="*/ 7867 w 10000"/>
              <a:gd name="connsiteY30" fmla="*/ 7377 h 10000"/>
              <a:gd name="connsiteX31" fmla="*/ 8114 w 10000"/>
              <a:gd name="connsiteY31" fmla="*/ 7157 h 10000"/>
              <a:gd name="connsiteX32" fmla="*/ 8393 w 10000"/>
              <a:gd name="connsiteY32" fmla="*/ 6887 h 10000"/>
              <a:gd name="connsiteX33" fmla="*/ 8670 w 10000"/>
              <a:gd name="connsiteY33" fmla="*/ 6605 h 10000"/>
              <a:gd name="connsiteX34" fmla="*/ 8871 w 10000"/>
              <a:gd name="connsiteY34" fmla="*/ 6299 h 10000"/>
              <a:gd name="connsiteX35" fmla="*/ 9088 w 10000"/>
              <a:gd name="connsiteY35" fmla="*/ 6029 h 10000"/>
              <a:gd name="connsiteX36" fmla="*/ 9242 w 10000"/>
              <a:gd name="connsiteY36" fmla="*/ 5772 h 10000"/>
              <a:gd name="connsiteX37" fmla="*/ 9458 w 10000"/>
              <a:gd name="connsiteY37" fmla="*/ 5379 h 10000"/>
              <a:gd name="connsiteX38" fmla="*/ 9597 w 10000"/>
              <a:gd name="connsiteY38" fmla="*/ 5073 h 10000"/>
              <a:gd name="connsiteX39" fmla="*/ 9768 w 10000"/>
              <a:gd name="connsiteY39" fmla="*/ 4657 h 10000"/>
              <a:gd name="connsiteX40" fmla="*/ 9876 w 10000"/>
              <a:gd name="connsiteY40" fmla="*/ 4191 h 10000"/>
              <a:gd name="connsiteX41" fmla="*/ 9953 w 10000"/>
              <a:gd name="connsiteY41" fmla="*/ 3775 h 10000"/>
              <a:gd name="connsiteX42" fmla="*/ 10000 w 10000"/>
              <a:gd name="connsiteY42" fmla="*/ 3407 h 10000"/>
              <a:gd name="connsiteX43" fmla="*/ 10000 w 10000"/>
              <a:gd name="connsiteY43" fmla="*/ 3015 h 10000"/>
              <a:gd name="connsiteX44" fmla="*/ 9984 w 10000"/>
              <a:gd name="connsiteY44" fmla="*/ 2696 h 10000"/>
              <a:gd name="connsiteX45" fmla="*/ 9922 w 10000"/>
              <a:gd name="connsiteY45" fmla="*/ 2218 h 10000"/>
              <a:gd name="connsiteX46" fmla="*/ 9768 w 10000"/>
              <a:gd name="connsiteY46" fmla="*/ 1740 h 10000"/>
              <a:gd name="connsiteX47" fmla="*/ 9628 w 10000"/>
              <a:gd name="connsiteY47" fmla="*/ 1324 h 10000"/>
              <a:gd name="connsiteX48" fmla="*/ 9458 w 10000"/>
              <a:gd name="connsiteY48" fmla="*/ 980 h 10000"/>
              <a:gd name="connsiteX49" fmla="*/ 9304 w 10000"/>
              <a:gd name="connsiteY49" fmla="*/ 699 h 10000"/>
              <a:gd name="connsiteX50" fmla="*/ 9165 w 10000"/>
              <a:gd name="connsiteY50" fmla="*/ 478 h 10000"/>
              <a:gd name="connsiteX51" fmla="*/ 8994 w 10000"/>
              <a:gd name="connsiteY51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892 w 10000"/>
              <a:gd name="connsiteY5" fmla="*/ 2931 h 10000"/>
              <a:gd name="connsiteX6" fmla="*/ 2674 w 10000"/>
              <a:gd name="connsiteY6" fmla="*/ 4240 h 10000"/>
              <a:gd name="connsiteX7" fmla="*/ 2458 w 10000"/>
              <a:gd name="connsiteY7" fmla="*/ 4473 h 10000"/>
              <a:gd name="connsiteX8" fmla="*/ 1296 w 10000"/>
              <a:gd name="connsiteY8" fmla="*/ 5202 h 10000"/>
              <a:gd name="connsiteX9" fmla="*/ 639 w 10000"/>
              <a:gd name="connsiteY9" fmla="*/ 5467 h 10000"/>
              <a:gd name="connsiteX10" fmla="*/ 2102 w 10000"/>
              <a:gd name="connsiteY10" fmla="*/ 7634 h 10000"/>
              <a:gd name="connsiteX11" fmla="*/ 0 w 10000"/>
              <a:gd name="connsiteY11" fmla="*/ 10000 h 10000"/>
              <a:gd name="connsiteX12" fmla="*/ 418 w 10000"/>
              <a:gd name="connsiteY12" fmla="*/ 9988 h 10000"/>
              <a:gd name="connsiteX13" fmla="*/ 850 w 10000"/>
              <a:gd name="connsiteY13" fmla="*/ 9975 h 10000"/>
              <a:gd name="connsiteX14" fmla="*/ 1329 w 10000"/>
              <a:gd name="connsiteY14" fmla="*/ 9926 h 10000"/>
              <a:gd name="connsiteX15" fmla="*/ 1824 w 10000"/>
              <a:gd name="connsiteY15" fmla="*/ 9877 h 10000"/>
              <a:gd name="connsiteX16" fmla="*/ 2302 w 10000"/>
              <a:gd name="connsiteY16" fmla="*/ 9792 h 10000"/>
              <a:gd name="connsiteX17" fmla="*/ 2782 w 10000"/>
              <a:gd name="connsiteY17" fmla="*/ 9706 h 10000"/>
              <a:gd name="connsiteX18" fmla="*/ 3153 w 10000"/>
              <a:gd name="connsiteY18" fmla="*/ 9620 h 10000"/>
              <a:gd name="connsiteX19" fmla="*/ 3554 w 10000"/>
              <a:gd name="connsiteY19" fmla="*/ 9521 h 10000"/>
              <a:gd name="connsiteX20" fmla="*/ 4049 w 10000"/>
              <a:gd name="connsiteY20" fmla="*/ 9387 h 10000"/>
              <a:gd name="connsiteX21" fmla="*/ 4467 w 10000"/>
              <a:gd name="connsiteY21" fmla="*/ 9240 h 10000"/>
              <a:gd name="connsiteX22" fmla="*/ 4868 w 10000"/>
              <a:gd name="connsiteY22" fmla="*/ 9105 h 10000"/>
              <a:gd name="connsiteX23" fmla="*/ 5301 w 10000"/>
              <a:gd name="connsiteY23" fmla="*/ 8922 h 10000"/>
              <a:gd name="connsiteX24" fmla="*/ 5734 w 10000"/>
              <a:gd name="connsiteY24" fmla="*/ 8737 h 10000"/>
              <a:gd name="connsiteX25" fmla="*/ 6089 w 10000"/>
              <a:gd name="connsiteY25" fmla="*/ 8566 h 10000"/>
              <a:gd name="connsiteX26" fmla="*/ 6491 w 10000"/>
              <a:gd name="connsiteY26" fmla="*/ 8333 h 10000"/>
              <a:gd name="connsiteX27" fmla="*/ 6893 w 10000"/>
              <a:gd name="connsiteY27" fmla="*/ 8101 h 10000"/>
              <a:gd name="connsiteX28" fmla="*/ 7249 w 10000"/>
              <a:gd name="connsiteY28" fmla="*/ 7843 h 10000"/>
              <a:gd name="connsiteX29" fmla="*/ 7542 w 10000"/>
              <a:gd name="connsiteY29" fmla="*/ 7634 h 10000"/>
              <a:gd name="connsiteX30" fmla="*/ 7867 w 10000"/>
              <a:gd name="connsiteY30" fmla="*/ 7377 h 10000"/>
              <a:gd name="connsiteX31" fmla="*/ 8114 w 10000"/>
              <a:gd name="connsiteY31" fmla="*/ 7157 h 10000"/>
              <a:gd name="connsiteX32" fmla="*/ 8393 w 10000"/>
              <a:gd name="connsiteY32" fmla="*/ 6887 h 10000"/>
              <a:gd name="connsiteX33" fmla="*/ 8670 w 10000"/>
              <a:gd name="connsiteY33" fmla="*/ 6605 h 10000"/>
              <a:gd name="connsiteX34" fmla="*/ 8871 w 10000"/>
              <a:gd name="connsiteY34" fmla="*/ 6299 h 10000"/>
              <a:gd name="connsiteX35" fmla="*/ 9088 w 10000"/>
              <a:gd name="connsiteY35" fmla="*/ 6029 h 10000"/>
              <a:gd name="connsiteX36" fmla="*/ 9242 w 10000"/>
              <a:gd name="connsiteY36" fmla="*/ 5772 h 10000"/>
              <a:gd name="connsiteX37" fmla="*/ 9458 w 10000"/>
              <a:gd name="connsiteY37" fmla="*/ 5379 h 10000"/>
              <a:gd name="connsiteX38" fmla="*/ 9597 w 10000"/>
              <a:gd name="connsiteY38" fmla="*/ 5073 h 10000"/>
              <a:gd name="connsiteX39" fmla="*/ 9768 w 10000"/>
              <a:gd name="connsiteY39" fmla="*/ 4657 h 10000"/>
              <a:gd name="connsiteX40" fmla="*/ 9876 w 10000"/>
              <a:gd name="connsiteY40" fmla="*/ 4191 h 10000"/>
              <a:gd name="connsiteX41" fmla="*/ 9953 w 10000"/>
              <a:gd name="connsiteY41" fmla="*/ 3775 h 10000"/>
              <a:gd name="connsiteX42" fmla="*/ 10000 w 10000"/>
              <a:gd name="connsiteY42" fmla="*/ 3407 h 10000"/>
              <a:gd name="connsiteX43" fmla="*/ 10000 w 10000"/>
              <a:gd name="connsiteY43" fmla="*/ 3015 h 10000"/>
              <a:gd name="connsiteX44" fmla="*/ 9984 w 10000"/>
              <a:gd name="connsiteY44" fmla="*/ 2696 h 10000"/>
              <a:gd name="connsiteX45" fmla="*/ 9922 w 10000"/>
              <a:gd name="connsiteY45" fmla="*/ 2218 h 10000"/>
              <a:gd name="connsiteX46" fmla="*/ 9768 w 10000"/>
              <a:gd name="connsiteY46" fmla="*/ 1740 h 10000"/>
              <a:gd name="connsiteX47" fmla="*/ 9628 w 10000"/>
              <a:gd name="connsiteY47" fmla="*/ 1324 h 10000"/>
              <a:gd name="connsiteX48" fmla="*/ 9458 w 10000"/>
              <a:gd name="connsiteY48" fmla="*/ 980 h 10000"/>
              <a:gd name="connsiteX49" fmla="*/ 9304 w 10000"/>
              <a:gd name="connsiteY49" fmla="*/ 699 h 10000"/>
              <a:gd name="connsiteX50" fmla="*/ 9165 w 10000"/>
              <a:gd name="connsiteY50" fmla="*/ 478 h 10000"/>
              <a:gd name="connsiteX51" fmla="*/ 8994 w 10000"/>
              <a:gd name="connsiteY51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892 w 10000"/>
              <a:gd name="connsiteY5" fmla="*/ 2931 h 10000"/>
              <a:gd name="connsiteX6" fmla="*/ 2458 w 10000"/>
              <a:gd name="connsiteY6" fmla="*/ 4473 h 10000"/>
              <a:gd name="connsiteX7" fmla="*/ 1296 w 10000"/>
              <a:gd name="connsiteY7" fmla="*/ 5202 h 10000"/>
              <a:gd name="connsiteX8" fmla="*/ 639 w 10000"/>
              <a:gd name="connsiteY8" fmla="*/ 5467 h 10000"/>
              <a:gd name="connsiteX9" fmla="*/ 2102 w 10000"/>
              <a:gd name="connsiteY9" fmla="*/ 7634 h 10000"/>
              <a:gd name="connsiteX10" fmla="*/ 0 w 10000"/>
              <a:gd name="connsiteY10" fmla="*/ 10000 h 10000"/>
              <a:gd name="connsiteX11" fmla="*/ 418 w 10000"/>
              <a:gd name="connsiteY11" fmla="*/ 9988 h 10000"/>
              <a:gd name="connsiteX12" fmla="*/ 850 w 10000"/>
              <a:gd name="connsiteY12" fmla="*/ 9975 h 10000"/>
              <a:gd name="connsiteX13" fmla="*/ 1329 w 10000"/>
              <a:gd name="connsiteY13" fmla="*/ 9926 h 10000"/>
              <a:gd name="connsiteX14" fmla="*/ 1824 w 10000"/>
              <a:gd name="connsiteY14" fmla="*/ 9877 h 10000"/>
              <a:gd name="connsiteX15" fmla="*/ 2302 w 10000"/>
              <a:gd name="connsiteY15" fmla="*/ 9792 h 10000"/>
              <a:gd name="connsiteX16" fmla="*/ 2782 w 10000"/>
              <a:gd name="connsiteY16" fmla="*/ 9706 h 10000"/>
              <a:gd name="connsiteX17" fmla="*/ 3153 w 10000"/>
              <a:gd name="connsiteY17" fmla="*/ 9620 h 10000"/>
              <a:gd name="connsiteX18" fmla="*/ 3554 w 10000"/>
              <a:gd name="connsiteY18" fmla="*/ 9521 h 10000"/>
              <a:gd name="connsiteX19" fmla="*/ 4049 w 10000"/>
              <a:gd name="connsiteY19" fmla="*/ 9387 h 10000"/>
              <a:gd name="connsiteX20" fmla="*/ 4467 w 10000"/>
              <a:gd name="connsiteY20" fmla="*/ 9240 h 10000"/>
              <a:gd name="connsiteX21" fmla="*/ 4868 w 10000"/>
              <a:gd name="connsiteY21" fmla="*/ 9105 h 10000"/>
              <a:gd name="connsiteX22" fmla="*/ 5301 w 10000"/>
              <a:gd name="connsiteY22" fmla="*/ 8922 h 10000"/>
              <a:gd name="connsiteX23" fmla="*/ 5734 w 10000"/>
              <a:gd name="connsiteY23" fmla="*/ 8737 h 10000"/>
              <a:gd name="connsiteX24" fmla="*/ 6089 w 10000"/>
              <a:gd name="connsiteY24" fmla="*/ 8566 h 10000"/>
              <a:gd name="connsiteX25" fmla="*/ 6491 w 10000"/>
              <a:gd name="connsiteY25" fmla="*/ 8333 h 10000"/>
              <a:gd name="connsiteX26" fmla="*/ 6893 w 10000"/>
              <a:gd name="connsiteY26" fmla="*/ 8101 h 10000"/>
              <a:gd name="connsiteX27" fmla="*/ 7249 w 10000"/>
              <a:gd name="connsiteY27" fmla="*/ 7843 h 10000"/>
              <a:gd name="connsiteX28" fmla="*/ 7542 w 10000"/>
              <a:gd name="connsiteY28" fmla="*/ 7634 h 10000"/>
              <a:gd name="connsiteX29" fmla="*/ 7867 w 10000"/>
              <a:gd name="connsiteY29" fmla="*/ 7377 h 10000"/>
              <a:gd name="connsiteX30" fmla="*/ 8114 w 10000"/>
              <a:gd name="connsiteY30" fmla="*/ 7157 h 10000"/>
              <a:gd name="connsiteX31" fmla="*/ 8393 w 10000"/>
              <a:gd name="connsiteY31" fmla="*/ 6887 h 10000"/>
              <a:gd name="connsiteX32" fmla="*/ 8670 w 10000"/>
              <a:gd name="connsiteY32" fmla="*/ 6605 h 10000"/>
              <a:gd name="connsiteX33" fmla="*/ 8871 w 10000"/>
              <a:gd name="connsiteY33" fmla="*/ 6299 h 10000"/>
              <a:gd name="connsiteX34" fmla="*/ 9088 w 10000"/>
              <a:gd name="connsiteY34" fmla="*/ 6029 h 10000"/>
              <a:gd name="connsiteX35" fmla="*/ 9242 w 10000"/>
              <a:gd name="connsiteY35" fmla="*/ 5772 h 10000"/>
              <a:gd name="connsiteX36" fmla="*/ 9458 w 10000"/>
              <a:gd name="connsiteY36" fmla="*/ 5379 h 10000"/>
              <a:gd name="connsiteX37" fmla="*/ 9597 w 10000"/>
              <a:gd name="connsiteY37" fmla="*/ 5073 h 10000"/>
              <a:gd name="connsiteX38" fmla="*/ 9768 w 10000"/>
              <a:gd name="connsiteY38" fmla="*/ 4657 h 10000"/>
              <a:gd name="connsiteX39" fmla="*/ 9876 w 10000"/>
              <a:gd name="connsiteY39" fmla="*/ 4191 h 10000"/>
              <a:gd name="connsiteX40" fmla="*/ 9953 w 10000"/>
              <a:gd name="connsiteY40" fmla="*/ 3775 h 10000"/>
              <a:gd name="connsiteX41" fmla="*/ 10000 w 10000"/>
              <a:gd name="connsiteY41" fmla="*/ 3407 h 10000"/>
              <a:gd name="connsiteX42" fmla="*/ 10000 w 10000"/>
              <a:gd name="connsiteY42" fmla="*/ 3015 h 10000"/>
              <a:gd name="connsiteX43" fmla="*/ 9984 w 10000"/>
              <a:gd name="connsiteY43" fmla="*/ 2696 h 10000"/>
              <a:gd name="connsiteX44" fmla="*/ 9922 w 10000"/>
              <a:gd name="connsiteY44" fmla="*/ 2218 h 10000"/>
              <a:gd name="connsiteX45" fmla="*/ 9768 w 10000"/>
              <a:gd name="connsiteY45" fmla="*/ 1740 h 10000"/>
              <a:gd name="connsiteX46" fmla="*/ 9628 w 10000"/>
              <a:gd name="connsiteY46" fmla="*/ 1324 h 10000"/>
              <a:gd name="connsiteX47" fmla="*/ 9458 w 10000"/>
              <a:gd name="connsiteY47" fmla="*/ 980 h 10000"/>
              <a:gd name="connsiteX48" fmla="*/ 9304 w 10000"/>
              <a:gd name="connsiteY48" fmla="*/ 699 h 10000"/>
              <a:gd name="connsiteX49" fmla="*/ 9165 w 10000"/>
              <a:gd name="connsiteY49" fmla="*/ 478 h 10000"/>
              <a:gd name="connsiteX50" fmla="*/ 8994 w 10000"/>
              <a:gd name="connsiteY50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892 w 10000"/>
              <a:gd name="connsiteY5" fmla="*/ 2931 h 10000"/>
              <a:gd name="connsiteX6" fmla="*/ 2458 w 10000"/>
              <a:gd name="connsiteY6" fmla="*/ 4473 h 10000"/>
              <a:gd name="connsiteX7" fmla="*/ 1296 w 10000"/>
              <a:gd name="connsiteY7" fmla="*/ 5202 h 10000"/>
              <a:gd name="connsiteX8" fmla="*/ 639 w 10000"/>
              <a:gd name="connsiteY8" fmla="*/ 5467 h 10000"/>
              <a:gd name="connsiteX9" fmla="*/ 2102 w 10000"/>
              <a:gd name="connsiteY9" fmla="*/ 7634 h 10000"/>
              <a:gd name="connsiteX10" fmla="*/ 0 w 10000"/>
              <a:gd name="connsiteY10" fmla="*/ 10000 h 10000"/>
              <a:gd name="connsiteX11" fmla="*/ 418 w 10000"/>
              <a:gd name="connsiteY11" fmla="*/ 9988 h 10000"/>
              <a:gd name="connsiteX12" fmla="*/ 850 w 10000"/>
              <a:gd name="connsiteY12" fmla="*/ 9975 h 10000"/>
              <a:gd name="connsiteX13" fmla="*/ 1329 w 10000"/>
              <a:gd name="connsiteY13" fmla="*/ 9926 h 10000"/>
              <a:gd name="connsiteX14" fmla="*/ 1824 w 10000"/>
              <a:gd name="connsiteY14" fmla="*/ 9877 h 10000"/>
              <a:gd name="connsiteX15" fmla="*/ 2302 w 10000"/>
              <a:gd name="connsiteY15" fmla="*/ 9792 h 10000"/>
              <a:gd name="connsiteX16" fmla="*/ 2782 w 10000"/>
              <a:gd name="connsiteY16" fmla="*/ 9706 h 10000"/>
              <a:gd name="connsiteX17" fmla="*/ 3153 w 10000"/>
              <a:gd name="connsiteY17" fmla="*/ 9620 h 10000"/>
              <a:gd name="connsiteX18" fmla="*/ 3554 w 10000"/>
              <a:gd name="connsiteY18" fmla="*/ 9521 h 10000"/>
              <a:gd name="connsiteX19" fmla="*/ 4049 w 10000"/>
              <a:gd name="connsiteY19" fmla="*/ 9387 h 10000"/>
              <a:gd name="connsiteX20" fmla="*/ 4467 w 10000"/>
              <a:gd name="connsiteY20" fmla="*/ 9240 h 10000"/>
              <a:gd name="connsiteX21" fmla="*/ 4868 w 10000"/>
              <a:gd name="connsiteY21" fmla="*/ 9105 h 10000"/>
              <a:gd name="connsiteX22" fmla="*/ 5301 w 10000"/>
              <a:gd name="connsiteY22" fmla="*/ 8922 h 10000"/>
              <a:gd name="connsiteX23" fmla="*/ 5734 w 10000"/>
              <a:gd name="connsiteY23" fmla="*/ 8737 h 10000"/>
              <a:gd name="connsiteX24" fmla="*/ 6089 w 10000"/>
              <a:gd name="connsiteY24" fmla="*/ 8566 h 10000"/>
              <a:gd name="connsiteX25" fmla="*/ 6491 w 10000"/>
              <a:gd name="connsiteY25" fmla="*/ 8333 h 10000"/>
              <a:gd name="connsiteX26" fmla="*/ 6893 w 10000"/>
              <a:gd name="connsiteY26" fmla="*/ 8101 h 10000"/>
              <a:gd name="connsiteX27" fmla="*/ 7249 w 10000"/>
              <a:gd name="connsiteY27" fmla="*/ 7843 h 10000"/>
              <a:gd name="connsiteX28" fmla="*/ 7542 w 10000"/>
              <a:gd name="connsiteY28" fmla="*/ 7634 h 10000"/>
              <a:gd name="connsiteX29" fmla="*/ 7867 w 10000"/>
              <a:gd name="connsiteY29" fmla="*/ 7377 h 10000"/>
              <a:gd name="connsiteX30" fmla="*/ 8114 w 10000"/>
              <a:gd name="connsiteY30" fmla="*/ 7157 h 10000"/>
              <a:gd name="connsiteX31" fmla="*/ 8393 w 10000"/>
              <a:gd name="connsiteY31" fmla="*/ 6887 h 10000"/>
              <a:gd name="connsiteX32" fmla="*/ 8670 w 10000"/>
              <a:gd name="connsiteY32" fmla="*/ 6605 h 10000"/>
              <a:gd name="connsiteX33" fmla="*/ 8871 w 10000"/>
              <a:gd name="connsiteY33" fmla="*/ 6299 h 10000"/>
              <a:gd name="connsiteX34" fmla="*/ 9088 w 10000"/>
              <a:gd name="connsiteY34" fmla="*/ 6029 h 10000"/>
              <a:gd name="connsiteX35" fmla="*/ 9242 w 10000"/>
              <a:gd name="connsiteY35" fmla="*/ 5772 h 10000"/>
              <a:gd name="connsiteX36" fmla="*/ 9458 w 10000"/>
              <a:gd name="connsiteY36" fmla="*/ 5379 h 10000"/>
              <a:gd name="connsiteX37" fmla="*/ 9597 w 10000"/>
              <a:gd name="connsiteY37" fmla="*/ 5073 h 10000"/>
              <a:gd name="connsiteX38" fmla="*/ 9768 w 10000"/>
              <a:gd name="connsiteY38" fmla="*/ 4657 h 10000"/>
              <a:gd name="connsiteX39" fmla="*/ 9876 w 10000"/>
              <a:gd name="connsiteY39" fmla="*/ 4191 h 10000"/>
              <a:gd name="connsiteX40" fmla="*/ 9953 w 10000"/>
              <a:gd name="connsiteY40" fmla="*/ 3775 h 10000"/>
              <a:gd name="connsiteX41" fmla="*/ 10000 w 10000"/>
              <a:gd name="connsiteY41" fmla="*/ 3407 h 10000"/>
              <a:gd name="connsiteX42" fmla="*/ 10000 w 10000"/>
              <a:gd name="connsiteY42" fmla="*/ 3015 h 10000"/>
              <a:gd name="connsiteX43" fmla="*/ 9984 w 10000"/>
              <a:gd name="connsiteY43" fmla="*/ 2696 h 10000"/>
              <a:gd name="connsiteX44" fmla="*/ 9922 w 10000"/>
              <a:gd name="connsiteY44" fmla="*/ 2218 h 10000"/>
              <a:gd name="connsiteX45" fmla="*/ 9768 w 10000"/>
              <a:gd name="connsiteY45" fmla="*/ 1740 h 10000"/>
              <a:gd name="connsiteX46" fmla="*/ 9628 w 10000"/>
              <a:gd name="connsiteY46" fmla="*/ 1324 h 10000"/>
              <a:gd name="connsiteX47" fmla="*/ 9458 w 10000"/>
              <a:gd name="connsiteY47" fmla="*/ 980 h 10000"/>
              <a:gd name="connsiteX48" fmla="*/ 9304 w 10000"/>
              <a:gd name="connsiteY48" fmla="*/ 699 h 10000"/>
              <a:gd name="connsiteX49" fmla="*/ 9165 w 10000"/>
              <a:gd name="connsiteY49" fmla="*/ 478 h 10000"/>
              <a:gd name="connsiteX50" fmla="*/ 8994 w 10000"/>
              <a:gd name="connsiteY50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892 w 10000"/>
              <a:gd name="connsiteY5" fmla="*/ 2931 h 10000"/>
              <a:gd name="connsiteX6" fmla="*/ 1296 w 10000"/>
              <a:gd name="connsiteY6" fmla="*/ 5202 h 10000"/>
              <a:gd name="connsiteX7" fmla="*/ 639 w 10000"/>
              <a:gd name="connsiteY7" fmla="*/ 5467 h 10000"/>
              <a:gd name="connsiteX8" fmla="*/ 2102 w 10000"/>
              <a:gd name="connsiteY8" fmla="*/ 7634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6 h 10000"/>
              <a:gd name="connsiteX13" fmla="*/ 1824 w 10000"/>
              <a:gd name="connsiteY13" fmla="*/ 9877 h 10000"/>
              <a:gd name="connsiteX14" fmla="*/ 2302 w 10000"/>
              <a:gd name="connsiteY14" fmla="*/ 9792 h 10000"/>
              <a:gd name="connsiteX15" fmla="*/ 2782 w 10000"/>
              <a:gd name="connsiteY15" fmla="*/ 9706 h 10000"/>
              <a:gd name="connsiteX16" fmla="*/ 3153 w 10000"/>
              <a:gd name="connsiteY16" fmla="*/ 9620 h 10000"/>
              <a:gd name="connsiteX17" fmla="*/ 3554 w 10000"/>
              <a:gd name="connsiteY17" fmla="*/ 9521 h 10000"/>
              <a:gd name="connsiteX18" fmla="*/ 4049 w 10000"/>
              <a:gd name="connsiteY18" fmla="*/ 9387 h 10000"/>
              <a:gd name="connsiteX19" fmla="*/ 4467 w 10000"/>
              <a:gd name="connsiteY19" fmla="*/ 9240 h 10000"/>
              <a:gd name="connsiteX20" fmla="*/ 4868 w 10000"/>
              <a:gd name="connsiteY20" fmla="*/ 9105 h 10000"/>
              <a:gd name="connsiteX21" fmla="*/ 5301 w 10000"/>
              <a:gd name="connsiteY21" fmla="*/ 8922 h 10000"/>
              <a:gd name="connsiteX22" fmla="*/ 5734 w 10000"/>
              <a:gd name="connsiteY22" fmla="*/ 8737 h 10000"/>
              <a:gd name="connsiteX23" fmla="*/ 6089 w 10000"/>
              <a:gd name="connsiteY23" fmla="*/ 8566 h 10000"/>
              <a:gd name="connsiteX24" fmla="*/ 6491 w 10000"/>
              <a:gd name="connsiteY24" fmla="*/ 8333 h 10000"/>
              <a:gd name="connsiteX25" fmla="*/ 6893 w 10000"/>
              <a:gd name="connsiteY25" fmla="*/ 8101 h 10000"/>
              <a:gd name="connsiteX26" fmla="*/ 7249 w 10000"/>
              <a:gd name="connsiteY26" fmla="*/ 7843 h 10000"/>
              <a:gd name="connsiteX27" fmla="*/ 7542 w 10000"/>
              <a:gd name="connsiteY27" fmla="*/ 7634 h 10000"/>
              <a:gd name="connsiteX28" fmla="*/ 7867 w 10000"/>
              <a:gd name="connsiteY28" fmla="*/ 7377 h 10000"/>
              <a:gd name="connsiteX29" fmla="*/ 8114 w 10000"/>
              <a:gd name="connsiteY29" fmla="*/ 7157 h 10000"/>
              <a:gd name="connsiteX30" fmla="*/ 8393 w 10000"/>
              <a:gd name="connsiteY30" fmla="*/ 6887 h 10000"/>
              <a:gd name="connsiteX31" fmla="*/ 8670 w 10000"/>
              <a:gd name="connsiteY31" fmla="*/ 6605 h 10000"/>
              <a:gd name="connsiteX32" fmla="*/ 8871 w 10000"/>
              <a:gd name="connsiteY32" fmla="*/ 6299 h 10000"/>
              <a:gd name="connsiteX33" fmla="*/ 9088 w 10000"/>
              <a:gd name="connsiteY33" fmla="*/ 6029 h 10000"/>
              <a:gd name="connsiteX34" fmla="*/ 9242 w 10000"/>
              <a:gd name="connsiteY34" fmla="*/ 5772 h 10000"/>
              <a:gd name="connsiteX35" fmla="*/ 9458 w 10000"/>
              <a:gd name="connsiteY35" fmla="*/ 5379 h 10000"/>
              <a:gd name="connsiteX36" fmla="*/ 9597 w 10000"/>
              <a:gd name="connsiteY36" fmla="*/ 5073 h 10000"/>
              <a:gd name="connsiteX37" fmla="*/ 9768 w 10000"/>
              <a:gd name="connsiteY37" fmla="*/ 4657 h 10000"/>
              <a:gd name="connsiteX38" fmla="*/ 9876 w 10000"/>
              <a:gd name="connsiteY38" fmla="*/ 4191 h 10000"/>
              <a:gd name="connsiteX39" fmla="*/ 9953 w 10000"/>
              <a:gd name="connsiteY39" fmla="*/ 3775 h 10000"/>
              <a:gd name="connsiteX40" fmla="*/ 10000 w 10000"/>
              <a:gd name="connsiteY40" fmla="*/ 3407 h 10000"/>
              <a:gd name="connsiteX41" fmla="*/ 10000 w 10000"/>
              <a:gd name="connsiteY41" fmla="*/ 3015 h 10000"/>
              <a:gd name="connsiteX42" fmla="*/ 9984 w 10000"/>
              <a:gd name="connsiteY42" fmla="*/ 2696 h 10000"/>
              <a:gd name="connsiteX43" fmla="*/ 9922 w 10000"/>
              <a:gd name="connsiteY43" fmla="*/ 2218 h 10000"/>
              <a:gd name="connsiteX44" fmla="*/ 9768 w 10000"/>
              <a:gd name="connsiteY44" fmla="*/ 1740 h 10000"/>
              <a:gd name="connsiteX45" fmla="*/ 9628 w 10000"/>
              <a:gd name="connsiteY45" fmla="*/ 1324 h 10000"/>
              <a:gd name="connsiteX46" fmla="*/ 9458 w 10000"/>
              <a:gd name="connsiteY46" fmla="*/ 980 h 10000"/>
              <a:gd name="connsiteX47" fmla="*/ 9304 w 10000"/>
              <a:gd name="connsiteY47" fmla="*/ 699 h 10000"/>
              <a:gd name="connsiteX48" fmla="*/ 9165 w 10000"/>
              <a:gd name="connsiteY48" fmla="*/ 478 h 10000"/>
              <a:gd name="connsiteX49" fmla="*/ 8994 w 10000"/>
              <a:gd name="connsiteY4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1296 w 10000"/>
              <a:gd name="connsiteY5" fmla="*/ 5202 h 10000"/>
              <a:gd name="connsiteX6" fmla="*/ 639 w 10000"/>
              <a:gd name="connsiteY6" fmla="*/ 5467 h 10000"/>
              <a:gd name="connsiteX7" fmla="*/ 2102 w 10000"/>
              <a:gd name="connsiteY7" fmla="*/ 7634 h 10000"/>
              <a:gd name="connsiteX8" fmla="*/ 0 w 10000"/>
              <a:gd name="connsiteY8" fmla="*/ 10000 h 10000"/>
              <a:gd name="connsiteX9" fmla="*/ 418 w 10000"/>
              <a:gd name="connsiteY9" fmla="*/ 9988 h 10000"/>
              <a:gd name="connsiteX10" fmla="*/ 850 w 10000"/>
              <a:gd name="connsiteY10" fmla="*/ 9975 h 10000"/>
              <a:gd name="connsiteX11" fmla="*/ 1329 w 10000"/>
              <a:gd name="connsiteY11" fmla="*/ 9926 h 10000"/>
              <a:gd name="connsiteX12" fmla="*/ 1824 w 10000"/>
              <a:gd name="connsiteY12" fmla="*/ 9877 h 10000"/>
              <a:gd name="connsiteX13" fmla="*/ 2302 w 10000"/>
              <a:gd name="connsiteY13" fmla="*/ 9792 h 10000"/>
              <a:gd name="connsiteX14" fmla="*/ 2782 w 10000"/>
              <a:gd name="connsiteY14" fmla="*/ 9706 h 10000"/>
              <a:gd name="connsiteX15" fmla="*/ 3153 w 10000"/>
              <a:gd name="connsiteY15" fmla="*/ 9620 h 10000"/>
              <a:gd name="connsiteX16" fmla="*/ 3554 w 10000"/>
              <a:gd name="connsiteY16" fmla="*/ 9521 h 10000"/>
              <a:gd name="connsiteX17" fmla="*/ 4049 w 10000"/>
              <a:gd name="connsiteY17" fmla="*/ 9387 h 10000"/>
              <a:gd name="connsiteX18" fmla="*/ 4467 w 10000"/>
              <a:gd name="connsiteY18" fmla="*/ 9240 h 10000"/>
              <a:gd name="connsiteX19" fmla="*/ 4868 w 10000"/>
              <a:gd name="connsiteY19" fmla="*/ 9105 h 10000"/>
              <a:gd name="connsiteX20" fmla="*/ 5301 w 10000"/>
              <a:gd name="connsiteY20" fmla="*/ 8922 h 10000"/>
              <a:gd name="connsiteX21" fmla="*/ 5734 w 10000"/>
              <a:gd name="connsiteY21" fmla="*/ 8737 h 10000"/>
              <a:gd name="connsiteX22" fmla="*/ 6089 w 10000"/>
              <a:gd name="connsiteY22" fmla="*/ 8566 h 10000"/>
              <a:gd name="connsiteX23" fmla="*/ 6491 w 10000"/>
              <a:gd name="connsiteY23" fmla="*/ 8333 h 10000"/>
              <a:gd name="connsiteX24" fmla="*/ 6893 w 10000"/>
              <a:gd name="connsiteY24" fmla="*/ 8101 h 10000"/>
              <a:gd name="connsiteX25" fmla="*/ 7249 w 10000"/>
              <a:gd name="connsiteY25" fmla="*/ 7843 h 10000"/>
              <a:gd name="connsiteX26" fmla="*/ 7542 w 10000"/>
              <a:gd name="connsiteY26" fmla="*/ 7634 h 10000"/>
              <a:gd name="connsiteX27" fmla="*/ 7867 w 10000"/>
              <a:gd name="connsiteY27" fmla="*/ 7377 h 10000"/>
              <a:gd name="connsiteX28" fmla="*/ 8114 w 10000"/>
              <a:gd name="connsiteY28" fmla="*/ 7157 h 10000"/>
              <a:gd name="connsiteX29" fmla="*/ 8393 w 10000"/>
              <a:gd name="connsiteY29" fmla="*/ 6887 h 10000"/>
              <a:gd name="connsiteX30" fmla="*/ 8670 w 10000"/>
              <a:gd name="connsiteY30" fmla="*/ 6605 h 10000"/>
              <a:gd name="connsiteX31" fmla="*/ 8871 w 10000"/>
              <a:gd name="connsiteY31" fmla="*/ 6299 h 10000"/>
              <a:gd name="connsiteX32" fmla="*/ 9088 w 10000"/>
              <a:gd name="connsiteY32" fmla="*/ 6029 h 10000"/>
              <a:gd name="connsiteX33" fmla="*/ 9242 w 10000"/>
              <a:gd name="connsiteY33" fmla="*/ 5772 h 10000"/>
              <a:gd name="connsiteX34" fmla="*/ 9458 w 10000"/>
              <a:gd name="connsiteY34" fmla="*/ 5379 h 10000"/>
              <a:gd name="connsiteX35" fmla="*/ 9597 w 10000"/>
              <a:gd name="connsiteY35" fmla="*/ 5073 h 10000"/>
              <a:gd name="connsiteX36" fmla="*/ 9768 w 10000"/>
              <a:gd name="connsiteY36" fmla="*/ 4657 h 10000"/>
              <a:gd name="connsiteX37" fmla="*/ 9876 w 10000"/>
              <a:gd name="connsiteY37" fmla="*/ 4191 h 10000"/>
              <a:gd name="connsiteX38" fmla="*/ 9953 w 10000"/>
              <a:gd name="connsiteY38" fmla="*/ 3775 h 10000"/>
              <a:gd name="connsiteX39" fmla="*/ 10000 w 10000"/>
              <a:gd name="connsiteY39" fmla="*/ 3407 h 10000"/>
              <a:gd name="connsiteX40" fmla="*/ 10000 w 10000"/>
              <a:gd name="connsiteY40" fmla="*/ 3015 h 10000"/>
              <a:gd name="connsiteX41" fmla="*/ 9984 w 10000"/>
              <a:gd name="connsiteY41" fmla="*/ 2696 h 10000"/>
              <a:gd name="connsiteX42" fmla="*/ 9922 w 10000"/>
              <a:gd name="connsiteY42" fmla="*/ 2218 h 10000"/>
              <a:gd name="connsiteX43" fmla="*/ 9768 w 10000"/>
              <a:gd name="connsiteY43" fmla="*/ 1740 h 10000"/>
              <a:gd name="connsiteX44" fmla="*/ 9628 w 10000"/>
              <a:gd name="connsiteY44" fmla="*/ 1324 h 10000"/>
              <a:gd name="connsiteX45" fmla="*/ 9458 w 10000"/>
              <a:gd name="connsiteY45" fmla="*/ 980 h 10000"/>
              <a:gd name="connsiteX46" fmla="*/ 9304 w 10000"/>
              <a:gd name="connsiteY46" fmla="*/ 699 h 10000"/>
              <a:gd name="connsiteX47" fmla="*/ 9165 w 10000"/>
              <a:gd name="connsiteY47" fmla="*/ 478 h 10000"/>
              <a:gd name="connsiteX48" fmla="*/ 8994 w 10000"/>
              <a:gd name="connsiteY48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652 w 10000"/>
              <a:gd name="connsiteY5" fmla="*/ 4265 h 10000"/>
              <a:gd name="connsiteX6" fmla="*/ 639 w 10000"/>
              <a:gd name="connsiteY6" fmla="*/ 5467 h 10000"/>
              <a:gd name="connsiteX7" fmla="*/ 2102 w 10000"/>
              <a:gd name="connsiteY7" fmla="*/ 7634 h 10000"/>
              <a:gd name="connsiteX8" fmla="*/ 0 w 10000"/>
              <a:gd name="connsiteY8" fmla="*/ 10000 h 10000"/>
              <a:gd name="connsiteX9" fmla="*/ 418 w 10000"/>
              <a:gd name="connsiteY9" fmla="*/ 9988 h 10000"/>
              <a:gd name="connsiteX10" fmla="*/ 850 w 10000"/>
              <a:gd name="connsiteY10" fmla="*/ 9975 h 10000"/>
              <a:gd name="connsiteX11" fmla="*/ 1329 w 10000"/>
              <a:gd name="connsiteY11" fmla="*/ 9926 h 10000"/>
              <a:gd name="connsiteX12" fmla="*/ 1824 w 10000"/>
              <a:gd name="connsiteY12" fmla="*/ 9877 h 10000"/>
              <a:gd name="connsiteX13" fmla="*/ 2302 w 10000"/>
              <a:gd name="connsiteY13" fmla="*/ 9792 h 10000"/>
              <a:gd name="connsiteX14" fmla="*/ 2782 w 10000"/>
              <a:gd name="connsiteY14" fmla="*/ 9706 h 10000"/>
              <a:gd name="connsiteX15" fmla="*/ 3153 w 10000"/>
              <a:gd name="connsiteY15" fmla="*/ 9620 h 10000"/>
              <a:gd name="connsiteX16" fmla="*/ 3554 w 10000"/>
              <a:gd name="connsiteY16" fmla="*/ 9521 h 10000"/>
              <a:gd name="connsiteX17" fmla="*/ 4049 w 10000"/>
              <a:gd name="connsiteY17" fmla="*/ 9387 h 10000"/>
              <a:gd name="connsiteX18" fmla="*/ 4467 w 10000"/>
              <a:gd name="connsiteY18" fmla="*/ 9240 h 10000"/>
              <a:gd name="connsiteX19" fmla="*/ 4868 w 10000"/>
              <a:gd name="connsiteY19" fmla="*/ 9105 h 10000"/>
              <a:gd name="connsiteX20" fmla="*/ 5301 w 10000"/>
              <a:gd name="connsiteY20" fmla="*/ 8922 h 10000"/>
              <a:gd name="connsiteX21" fmla="*/ 5734 w 10000"/>
              <a:gd name="connsiteY21" fmla="*/ 8737 h 10000"/>
              <a:gd name="connsiteX22" fmla="*/ 6089 w 10000"/>
              <a:gd name="connsiteY22" fmla="*/ 8566 h 10000"/>
              <a:gd name="connsiteX23" fmla="*/ 6491 w 10000"/>
              <a:gd name="connsiteY23" fmla="*/ 8333 h 10000"/>
              <a:gd name="connsiteX24" fmla="*/ 6893 w 10000"/>
              <a:gd name="connsiteY24" fmla="*/ 8101 h 10000"/>
              <a:gd name="connsiteX25" fmla="*/ 7249 w 10000"/>
              <a:gd name="connsiteY25" fmla="*/ 7843 h 10000"/>
              <a:gd name="connsiteX26" fmla="*/ 7542 w 10000"/>
              <a:gd name="connsiteY26" fmla="*/ 7634 h 10000"/>
              <a:gd name="connsiteX27" fmla="*/ 7867 w 10000"/>
              <a:gd name="connsiteY27" fmla="*/ 7377 h 10000"/>
              <a:gd name="connsiteX28" fmla="*/ 8114 w 10000"/>
              <a:gd name="connsiteY28" fmla="*/ 7157 h 10000"/>
              <a:gd name="connsiteX29" fmla="*/ 8393 w 10000"/>
              <a:gd name="connsiteY29" fmla="*/ 6887 h 10000"/>
              <a:gd name="connsiteX30" fmla="*/ 8670 w 10000"/>
              <a:gd name="connsiteY30" fmla="*/ 6605 h 10000"/>
              <a:gd name="connsiteX31" fmla="*/ 8871 w 10000"/>
              <a:gd name="connsiteY31" fmla="*/ 6299 h 10000"/>
              <a:gd name="connsiteX32" fmla="*/ 9088 w 10000"/>
              <a:gd name="connsiteY32" fmla="*/ 6029 h 10000"/>
              <a:gd name="connsiteX33" fmla="*/ 9242 w 10000"/>
              <a:gd name="connsiteY33" fmla="*/ 5772 h 10000"/>
              <a:gd name="connsiteX34" fmla="*/ 9458 w 10000"/>
              <a:gd name="connsiteY34" fmla="*/ 5379 h 10000"/>
              <a:gd name="connsiteX35" fmla="*/ 9597 w 10000"/>
              <a:gd name="connsiteY35" fmla="*/ 5073 h 10000"/>
              <a:gd name="connsiteX36" fmla="*/ 9768 w 10000"/>
              <a:gd name="connsiteY36" fmla="*/ 4657 h 10000"/>
              <a:gd name="connsiteX37" fmla="*/ 9876 w 10000"/>
              <a:gd name="connsiteY37" fmla="*/ 4191 h 10000"/>
              <a:gd name="connsiteX38" fmla="*/ 9953 w 10000"/>
              <a:gd name="connsiteY38" fmla="*/ 3775 h 10000"/>
              <a:gd name="connsiteX39" fmla="*/ 10000 w 10000"/>
              <a:gd name="connsiteY39" fmla="*/ 3407 h 10000"/>
              <a:gd name="connsiteX40" fmla="*/ 10000 w 10000"/>
              <a:gd name="connsiteY40" fmla="*/ 3015 h 10000"/>
              <a:gd name="connsiteX41" fmla="*/ 9984 w 10000"/>
              <a:gd name="connsiteY41" fmla="*/ 2696 h 10000"/>
              <a:gd name="connsiteX42" fmla="*/ 9922 w 10000"/>
              <a:gd name="connsiteY42" fmla="*/ 2218 h 10000"/>
              <a:gd name="connsiteX43" fmla="*/ 9768 w 10000"/>
              <a:gd name="connsiteY43" fmla="*/ 1740 h 10000"/>
              <a:gd name="connsiteX44" fmla="*/ 9628 w 10000"/>
              <a:gd name="connsiteY44" fmla="*/ 1324 h 10000"/>
              <a:gd name="connsiteX45" fmla="*/ 9458 w 10000"/>
              <a:gd name="connsiteY45" fmla="*/ 980 h 10000"/>
              <a:gd name="connsiteX46" fmla="*/ 9304 w 10000"/>
              <a:gd name="connsiteY46" fmla="*/ 699 h 10000"/>
              <a:gd name="connsiteX47" fmla="*/ 9165 w 10000"/>
              <a:gd name="connsiteY47" fmla="*/ 478 h 10000"/>
              <a:gd name="connsiteX48" fmla="*/ 8994 w 10000"/>
              <a:gd name="connsiteY48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652 w 10000"/>
              <a:gd name="connsiteY5" fmla="*/ 4265 h 10000"/>
              <a:gd name="connsiteX6" fmla="*/ 639 w 10000"/>
              <a:gd name="connsiteY6" fmla="*/ 5467 h 10000"/>
              <a:gd name="connsiteX7" fmla="*/ 2102 w 10000"/>
              <a:gd name="connsiteY7" fmla="*/ 7634 h 10000"/>
              <a:gd name="connsiteX8" fmla="*/ 0 w 10000"/>
              <a:gd name="connsiteY8" fmla="*/ 10000 h 10000"/>
              <a:gd name="connsiteX9" fmla="*/ 418 w 10000"/>
              <a:gd name="connsiteY9" fmla="*/ 9988 h 10000"/>
              <a:gd name="connsiteX10" fmla="*/ 850 w 10000"/>
              <a:gd name="connsiteY10" fmla="*/ 9975 h 10000"/>
              <a:gd name="connsiteX11" fmla="*/ 1329 w 10000"/>
              <a:gd name="connsiteY11" fmla="*/ 9926 h 10000"/>
              <a:gd name="connsiteX12" fmla="*/ 1824 w 10000"/>
              <a:gd name="connsiteY12" fmla="*/ 9877 h 10000"/>
              <a:gd name="connsiteX13" fmla="*/ 2302 w 10000"/>
              <a:gd name="connsiteY13" fmla="*/ 9792 h 10000"/>
              <a:gd name="connsiteX14" fmla="*/ 2782 w 10000"/>
              <a:gd name="connsiteY14" fmla="*/ 9706 h 10000"/>
              <a:gd name="connsiteX15" fmla="*/ 3153 w 10000"/>
              <a:gd name="connsiteY15" fmla="*/ 9620 h 10000"/>
              <a:gd name="connsiteX16" fmla="*/ 3554 w 10000"/>
              <a:gd name="connsiteY16" fmla="*/ 9521 h 10000"/>
              <a:gd name="connsiteX17" fmla="*/ 4049 w 10000"/>
              <a:gd name="connsiteY17" fmla="*/ 9387 h 10000"/>
              <a:gd name="connsiteX18" fmla="*/ 4467 w 10000"/>
              <a:gd name="connsiteY18" fmla="*/ 9240 h 10000"/>
              <a:gd name="connsiteX19" fmla="*/ 4868 w 10000"/>
              <a:gd name="connsiteY19" fmla="*/ 9105 h 10000"/>
              <a:gd name="connsiteX20" fmla="*/ 5301 w 10000"/>
              <a:gd name="connsiteY20" fmla="*/ 8922 h 10000"/>
              <a:gd name="connsiteX21" fmla="*/ 5734 w 10000"/>
              <a:gd name="connsiteY21" fmla="*/ 8737 h 10000"/>
              <a:gd name="connsiteX22" fmla="*/ 6089 w 10000"/>
              <a:gd name="connsiteY22" fmla="*/ 8566 h 10000"/>
              <a:gd name="connsiteX23" fmla="*/ 6491 w 10000"/>
              <a:gd name="connsiteY23" fmla="*/ 8333 h 10000"/>
              <a:gd name="connsiteX24" fmla="*/ 6893 w 10000"/>
              <a:gd name="connsiteY24" fmla="*/ 8101 h 10000"/>
              <a:gd name="connsiteX25" fmla="*/ 7249 w 10000"/>
              <a:gd name="connsiteY25" fmla="*/ 7843 h 10000"/>
              <a:gd name="connsiteX26" fmla="*/ 7542 w 10000"/>
              <a:gd name="connsiteY26" fmla="*/ 7634 h 10000"/>
              <a:gd name="connsiteX27" fmla="*/ 7867 w 10000"/>
              <a:gd name="connsiteY27" fmla="*/ 7377 h 10000"/>
              <a:gd name="connsiteX28" fmla="*/ 8114 w 10000"/>
              <a:gd name="connsiteY28" fmla="*/ 7157 h 10000"/>
              <a:gd name="connsiteX29" fmla="*/ 8393 w 10000"/>
              <a:gd name="connsiteY29" fmla="*/ 6887 h 10000"/>
              <a:gd name="connsiteX30" fmla="*/ 8670 w 10000"/>
              <a:gd name="connsiteY30" fmla="*/ 6605 h 10000"/>
              <a:gd name="connsiteX31" fmla="*/ 8871 w 10000"/>
              <a:gd name="connsiteY31" fmla="*/ 6299 h 10000"/>
              <a:gd name="connsiteX32" fmla="*/ 9088 w 10000"/>
              <a:gd name="connsiteY32" fmla="*/ 6029 h 10000"/>
              <a:gd name="connsiteX33" fmla="*/ 9242 w 10000"/>
              <a:gd name="connsiteY33" fmla="*/ 5772 h 10000"/>
              <a:gd name="connsiteX34" fmla="*/ 9458 w 10000"/>
              <a:gd name="connsiteY34" fmla="*/ 5379 h 10000"/>
              <a:gd name="connsiteX35" fmla="*/ 9597 w 10000"/>
              <a:gd name="connsiteY35" fmla="*/ 5073 h 10000"/>
              <a:gd name="connsiteX36" fmla="*/ 9768 w 10000"/>
              <a:gd name="connsiteY36" fmla="*/ 4657 h 10000"/>
              <a:gd name="connsiteX37" fmla="*/ 9876 w 10000"/>
              <a:gd name="connsiteY37" fmla="*/ 4191 h 10000"/>
              <a:gd name="connsiteX38" fmla="*/ 9953 w 10000"/>
              <a:gd name="connsiteY38" fmla="*/ 3775 h 10000"/>
              <a:gd name="connsiteX39" fmla="*/ 10000 w 10000"/>
              <a:gd name="connsiteY39" fmla="*/ 3407 h 10000"/>
              <a:gd name="connsiteX40" fmla="*/ 10000 w 10000"/>
              <a:gd name="connsiteY40" fmla="*/ 3015 h 10000"/>
              <a:gd name="connsiteX41" fmla="*/ 9984 w 10000"/>
              <a:gd name="connsiteY41" fmla="*/ 2696 h 10000"/>
              <a:gd name="connsiteX42" fmla="*/ 9922 w 10000"/>
              <a:gd name="connsiteY42" fmla="*/ 2218 h 10000"/>
              <a:gd name="connsiteX43" fmla="*/ 9768 w 10000"/>
              <a:gd name="connsiteY43" fmla="*/ 1740 h 10000"/>
              <a:gd name="connsiteX44" fmla="*/ 9628 w 10000"/>
              <a:gd name="connsiteY44" fmla="*/ 1324 h 10000"/>
              <a:gd name="connsiteX45" fmla="*/ 9458 w 10000"/>
              <a:gd name="connsiteY45" fmla="*/ 980 h 10000"/>
              <a:gd name="connsiteX46" fmla="*/ 9304 w 10000"/>
              <a:gd name="connsiteY46" fmla="*/ 699 h 10000"/>
              <a:gd name="connsiteX47" fmla="*/ 9165 w 10000"/>
              <a:gd name="connsiteY47" fmla="*/ 478 h 10000"/>
              <a:gd name="connsiteX48" fmla="*/ 8994 w 10000"/>
              <a:gd name="connsiteY48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652 w 10000"/>
              <a:gd name="connsiteY5" fmla="*/ 4265 h 10000"/>
              <a:gd name="connsiteX6" fmla="*/ 639 w 10000"/>
              <a:gd name="connsiteY6" fmla="*/ 5467 h 10000"/>
              <a:gd name="connsiteX7" fmla="*/ 2102 w 10000"/>
              <a:gd name="connsiteY7" fmla="*/ 7634 h 10000"/>
              <a:gd name="connsiteX8" fmla="*/ 0 w 10000"/>
              <a:gd name="connsiteY8" fmla="*/ 10000 h 10000"/>
              <a:gd name="connsiteX9" fmla="*/ 418 w 10000"/>
              <a:gd name="connsiteY9" fmla="*/ 9988 h 10000"/>
              <a:gd name="connsiteX10" fmla="*/ 850 w 10000"/>
              <a:gd name="connsiteY10" fmla="*/ 9975 h 10000"/>
              <a:gd name="connsiteX11" fmla="*/ 1329 w 10000"/>
              <a:gd name="connsiteY11" fmla="*/ 9926 h 10000"/>
              <a:gd name="connsiteX12" fmla="*/ 1824 w 10000"/>
              <a:gd name="connsiteY12" fmla="*/ 9877 h 10000"/>
              <a:gd name="connsiteX13" fmla="*/ 2302 w 10000"/>
              <a:gd name="connsiteY13" fmla="*/ 9792 h 10000"/>
              <a:gd name="connsiteX14" fmla="*/ 2782 w 10000"/>
              <a:gd name="connsiteY14" fmla="*/ 9706 h 10000"/>
              <a:gd name="connsiteX15" fmla="*/ 3153 w 10000"/>
              <a:gd name="connsiteY15" fmla="*/ 9620 h 10000"/>
              <a:gd name="connsiteX16" fmla="*/ 3554 w 10000"/>
              <a:gd name="connsiteY16" fmla="*/ 9521 h 10000"/>
              <a:gd name="connsiteX17" fmla="*/ 4049 w 10000"/>
              <a:gd name="connsiteY17" fmla="*/ 9387 h 10000"/>
              <a:gd name="connsiteX18" fmla="*/ 4467 w 10000"/>
              <a:gd name="connsiteY18" fmla="*/ 9240 h 10000"/>
              <a:gd name="connsiteX19" fmla="*/ 4868 w 10000"/>
              <a:gd name="connsiteY19" fmla="*/ 9105 h 10000"/>
              <a:gd name="connsiteX20" fmla="*/ 5301 w 10000"/>
              <a:gd name="connsiteY20" fmla="*/ 8922 h 10000"/>
              <a:gd name="connsiteX21" fmla="*/ 5734 w 10000"/>
              <a:gd name="connsiteY21" fmla="*/ 8737 h 10000"/>
              <a:gd name="connsiteX22" fmla="*/ 6089 w 10000"/>
              <a:gd name="connsiteY22" fmla="*/ 8566 h 10000"/>
              <a:gd name="connsiteX23" fmla="*/ 6491 w 10000"/>
              <a:gd name="connsiteY23" fmla="*/ 8333 h 10000"/>
              <a:gd name="connsiteX24" fmla="*/ 6893 w 10000"/>
              <a:gd name="connsiteY24" fmla="*/ 8101 h 10000"/>
              <a:gd name="connsiteX25" fmla="*/ 7249 w 10000"/>
              <a:gd name="connsiteY25" fmla="*/ 7843 h 10000"/>
              <a:gd name="connsiteX26" fmla="*/ 7542 w 10000"/>
              <a:gd name="connsiteY26" fmla="*/ 7634 h 10000"/>
              <a:gd name="connsiteX27" fmla="*/ 7867 w 10000"/>
              <a:gd name="connsiteY27" fmla="*/ 7377 h 10000"/>
              <a:gd name="connsiteX28" fmla="*/ 8114 w 10000"/>
              <a:gd name="connsiteY28" fmla="*/ 7157 h 10000"/>
              <a:gd name="connsiteX29" fmla="*/ 8393 w 10000"/>
              <a:gd name="connsiteY29" fmla="*/ 6887 h 10000"/>
              <a:gd name="connsiteX30" fmla="*/ 8670 w 10000"/>
              <a:gd name="connsiteY30" fmla="*/ 6605 h 10000"/>
              <a:gd name="connsiteX31" fmla="*/ 8871 w 10000"/>
              <a:gd name="connsiteY31" fmla="*/ 6299 h 10000"/>
              <a:gd name="connsiteX32" fmla="*/ 9088 w 10000"/>
              <a:gd name="connsiteY32" fmla="*/ 6029 h 10000"/>
              <a:gd name="connsiteX33" fmla="*/ 9242 w 10000"/>
              <a:gd name="connsiteY33" fmla="*/ 5772 h 10000"/>
              <a:gd name="connsiteX34" fmla="*/ 9458 w 10000"/>
              <a:gd name="connsiteY34" fmla="*/ 5379 h 10000"/>
              <a:gd name="connsiteX35" fmla="*/ 9597 w 10000"/>
              <a:gd name="connsiteY35" fmla="*/ 5073 h 10000"/>
              <a:gd name="connsiteX36" fmla="*/ 9768 w 10000"/>
              <a:gd name="connsiteY36" fmla="*/ 4657 h 10000"/>
              <a:gd name="connsiteX37" fmla="*/ 9876 w 10000"/>
              <a:gd name="connsiteY37" fmla="*/ 4191 h 10000"/>
              <a:gd name="connsiteX38" fmla="*/ 9953 w 10000"/>
              <a:gd name="connsiteY38" fmla="*/ 3775 h 10000"/>
              <a:gd name="connsiteX39" fmla="*/ 10000 w 10000"/>
              <a:gd name="connsiteY39" fmla="*/ 3407 h 10000"/>
              <a:gd name="connsiteX40" fmla="*/ 10000 w 10000"/>
              <a:gd name="connsiteY40" fmla="*/ 3015 h 10000"/>
              <a:gd name="connsiteX41" fmla="*/ 9984 w 10000"/>
              <a:gd name="connsiteY41" fmla="*/ 2696 h 10000"/>
              <a:gd name="connsiteX42" fmla="*/ 9922 w 10000"/>
              <a:gd name="connsiteY42" fmla="*/ 2218 h 10000"/>
              <a:gd name="connsiteX43" fmla="*/ 9768 w 10000"/>
              <a:gd name="connsiteY43" fmla="*/ 1740 h 10000"/>
              <a:gd name="connsiteX44" fmla="*/ 9628 w 10000"/>
              <a:gd name="connsiteY44" fmla="*/ 1324 h 10000"/>
              <a:gd name="connsiteX45" fmla="*/ 9458 w 10000"/>
              <a:gd name="connsiteY45" fmla="*/ 980 h 10000"/>
              <a:gd name="connsiteX46" fmla="*/ 9304 w 10000"/>
              <a:gd name="connsiteY46" fmla="*/ 699 h 10000"/>
              <a:gd name="connsiteX47" fmla="*/ 9165 w 10000"/>
              <a:gd name="connsiteY47" fmla="*/ 478 h 10000"/>
              <a:gd name="connsiteX48" fmla="*/ 8994 w 10000"/>
              <a:gd name="connsiteY48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652 w 10000"/>
              <a:gd name="connsiteY5" fmla="*/ 4265 h 10000"/>
              <a:gd name="connsiteX6" fmla="*/ 639 w 10000"/>
              <a:gd name="connsiteY6" fmla="*/ 5467 h 10000"/>
              <a:gd name="connsiteX7" fmla="*/ 2102 w 10000"/>
              <a:gd name="connsiteY7" fmla="*/ 7634 h 10000"/>
              <a:gd name="connsiteX8" fmla="*/ 0 w 10000"/>
              <a:gd name="connsiteY8" fmla="*/ 10000 h 10000"/>
              <a:gd name="connsiteX9" fmla="*/ 418 w 10000"/>
              <a:gd name="connsiteY9" fmla="*/ 9988 h 10000"/>
              <a:gd name="connsiteX10" fmla="*/ 850 w 10000"/>
              <a:gd name="connsiteY10" fmla="*/ 9975 h 10000"/>
              <a:gd name="connsiteX11" fmla="*/ 1329 w 10000"/>
              <a:gd name="connsiteY11" fmla="*/ 9926 h 10000"/>
              <a:gd name="connsiteX12" fmla="*/ 1824 w 10000"/>
              <a:gd name="connsiteY12" fmla="*/ 9877 h 10000"/>
              <a:gd name="connsiteX13" fmla="*/ 2302 w 10000"/>
              <a:gd name="connsiteY13" fmla="*/ 9792 h 10000"/>
              <a:gd name="connsiteX14" fmla="*/ 2782 w 10000"/>
              <a:gd name="connsiteY14" fmla="*/ 9706 h 10000"/>
              <a:gd name="connsiteX15" fmla="*/ 3153 w 10000"/>
              <a:gd name="connsiteY15" fmla="*/ 9620 h 10000"/>
              <a:gd name="connsiteX16" fmla="*/ 3554 w 10000"/>
              <a:gd name="connsiteY16" fmla="*/ 9521 h 10000"/>
              <a:gd name="connsiteX17" fmla="*/ 4049 w 10000"/>
              <a:gd name="connsiteY17" fmla="*/ 9387 h 10000"/>
              <a:gd name="connsiteX18" fmla="*/ 4467 w 10000"/>
              <a:gd name="connsiteY18" fmla="*/ 9240 h 10000"/>
              <a:gd name="connsiteX19" fmla="*/ 4868 w 10000"/>
              <a:gd name="connsiteY19" fmla="*/ 9105 h 10000"/>
              <a:gd name="connsiteX20" fmla="*/ 5301 w 10000"/>
              <a:gd name="connsiteY20" fmla="*/ 8922 h 10000"/>
              <a:gd name="connsiteX21" fmla="*/ 5734 w 10000"/>
              <a:gd name="connsiteY21" fmla="*/ 8737 h 10000"/>
              <a:gd name="connsiteX22" fmla="*/ 6089 w 10000"/>
              <a:gd name="connsiteY22" fmla="*/ 8566 h 10000"/>
              <a:gd name="connsiteX23" fmla="*/ 6491 w 10000"/>
              <a:gd name="connsiteY23" fmla="*/ 8333 h 10000"/>
              <a:gd name="connsiteX24" fmla="*/ 6893 w 10000"/>
              <a:gd name="connsiteY24" fmla="*/ 8101 h 10000"/>
              <a:gd name="connsiteX25" fmla="*/ 7249 w 10000"/>
              <a:gd name="connsiteY25" fmla="*/ 7843 h 10000"/>
              <a:gd name="connsiteX26" fmla="*/ 7542 w 10000"/>
              <a:gd name="connsiteY26" fmla="*/ 7634 h 10000"/>
              <a:gd name="connsiteX27" fmla="*/ 7867 w 10000"/>
              <a:gd name="connsiteY27" fmla="*/ 7377 h 10000"/>
              <a:gd name="connsiteX28" fmla="*/ 8114 w 10000"/>
              <a:gd name="connsiteY28" fmla="*/ 7157 h 10000"/>
              <a:gd name="connsiteX29" fmla="*/ 8393 w 10000"/>
              <a:gd name="connsiteY29" fmla="*/ 6887 h 10000"/>
              <a:gd name="connsiteX30" fmla="*/ 8670 w 10000"/>
              <a:gd name="connsiteY30" fmla="*/ 6605 h 10000"/>
              <a:gd name="connsiteX31" fmla="*/ 8871 w 10000"/>
              <a:gd name="connsiteY31" fmla="*/ 6299 h 10000"/>
              <a:gd name="connsiteX32" fmla="*/ 9088 w 10000"/>
              <a:gd name="connsiteY32" fmla="*/ 6029 h 10000"/>
              <a:gd name="connsiteX33" fmla="*/ 9242 w 10000"/>
              <a:gd name="connsiteY33" fmla="*/ 5772 h 10000"/>
              <a:gd name="connsiteX34" fmla="*/ 9458 w 10000"/>
              <a:gd name="connsiteY34" fmla="*/ 5379 h 10000"/>
              <a:gd name="connsiteX35" fmla="*/ 9597 w 10000"/>
              <a:gd name="connsiteY35" fmla="*/ 5073 h 10000"/>
              <a:gd name="connsiteX36" fmla="*/ 9768 w 10000"/>
              <a:gd name="connsiteY36" fmla="*/ 4657 h 10000"/>
              <a:gd name="connsiteX37" fmla="*/ 9876 w 10000"/>
              <a:gd name="connsiteY37" fmla="*/ 4191 h 10000"/>
              <a:gd name="connsiteX38" fmla="*/ 9953 w 10000"/>
              <a:gd name="connsiteY38" fmla="*/ 3775 h 10000"/>
              <a:gd name="connsiteX39" fmla="*/ 10000 w 10000"/>
              <a:gd name="connsiteY39" fmla="*/ 3407 h 10000"/>
              <a:gd name="connsiteX40" fmla="*/ 10000 w 10000"/>
              <a:gd name="connsiteY40" fmla="*/ 3015 h 10000"/>
              <a:gd name="connsiteX41" fmla="*/ 9984 w 10000"/>
              <a:gd name="connsiteY41" fmla="*/ 2696 h 10000"/>
              <a:gd name="connsiteX42" fmla="*/ 9922 w 10000"/>
              <a:gd name="connsiteY42" fmla="*/ 2218 h 10000"/>
              <a:gd name="connsiteX43" fmla="*/ 9768 w 10000"/>
              <a:gd name="connsiteY43" fmla="*/ 1740 h 10000"/>
              <a:gd name="connsiteX44" fmla="*/ 9628 w 10000"/>
              <a:gd name="connsiteY44" fmla="*/ 1324 h 10000"/>
              <a:gd name="connsiteX45" fmla="*/ 9458 w 10000"/>
              <a:gd name="connsiteY45" fmla="*/ 980 h 10000"/>
              <a:gd name="connsiteX46" fmla="*/ 9304 w 10000"/>
              <a:gd name="connsiteY46" fmla="*/ 699 h 10000"/>
              <a:gd name="connsiteX47" fmla="*/ 9165 w 10000"/>
              <a:gd name="connsiteY47" fmla="*/ 478 h 10000"/>
              <a:gd name="connsiteX48" fmla="*/ 8994 w 10000"/>
              <a:gd name="connsiteY48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652 w 10000"/>
              <a:gd name="connsiteY5" fmla="*/ 4265 h 10000"/>
              <a:gd name="connsiteX6" fmla="*/ 1603 w 10000"/>
              <a:gd name="connsiteY6" fmla="*/ 4995 h 10000"/>
              <a:gd name="connsiteX7" fmla="*/ 639 w 10000"/>
              <a:gd name="connsiteY7" fmla="*/ 5467 h 10000"/>
              <a:gd name="connsiteX8" fmla="*/ 2102 w 10000"/>
              <a:gd name="connsiteY8" fmla="*/ 7634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6 h 10000"/>
              <a:gd name="connsiteX13" fmla="*/ 1824 w 10000"/>
              <a:gd name="connsiteY13" fmla="*/ 9877 h 10000"/>
              <a:gd name="connsiteX14" fmla="*/ 2302 w 10000"/>
              <a:gd name="connsiteY14" fmla="*/ 9792 h 10000"/>
              <a:gd name="connsiteX15" fmla="*/ 2782 w 10000"/>
              <a:gd name="connsiteY15" fmla="*/ 9706 h 10000"/>
              <a:gd name="connsiteX16" fmla="*/ 3153 w 10000"/>
              <a:gd name="connsiteY16" fmla="*/ 9620 h 10000"/>
              <a:gd name="connsiteX17" fmla="*/ 3554 w 10000"/>
              <a:gd name="connsiteY17" fmla="*/ 9521 h 10000"/>
              <a:gd name="connsiteX18" fmla="*/ 4049 w 10000"/>
              <a:gd name="connsiteY18" fmla="*/ 9387 h 10000"/>
              <a:gd name="connsiteX19" fmla="*/ 4467 w 10000"/>
              <a:gd name="connsiteY19" fmla="*/ 9240 h 10000"/>
              <a:gd name="connsiteX20" fmla="*/ 4868 w 10000"/>
              <a:gd name="connsiteY20" fmla="*/ 9105 h 10000"/>
              <a:gd name="connsiteX21" fmla="*/ 5301 w 10000"/>
              <a:gd name="connsiteY21" fmla="*/ 8922 h 10000"/>
              <a:gd name="connsiteX22" fmla="*/ 5734 w 10000"/>
              <a:gd name="connsiteY22" fmla="*/ 8737 h 10000"/>
              <a:gd name="connsiteX23" fmla="*/ 6089 w 10000"/>
              <a:gd name="connsiteY23" fmla="*/ 8566 h 10000"/>
              <a:gd name="connsiteX24" fmla="*/ 6491 w 10000"/>
              <a:gd name="connsiteY24" fmla="*/ 8333 h 10000"/>
              <a:gd name="connsiteX25" fmla="*/ 6893 w 10000"/>
              <a:gd name="connsiteY25" fmla="*/ 8101 h 10000"/>
              <a:gd name="connsiteX26" fmla="*/ 7249 w 10000"/>
              <a:gd name="connsiteY26" fmla="*/ 7843 h 10000"/>
              <a:gd name="connsiteX27" fmla="*/ 7542 w 10000"/>
              <a:gd name="connsiteY27" fmla="*/ 7634 h 10000"/>
              <a:gd name="connsiteX28" fmla="*/ 7867 w 10000"/>
              <a:gd name="connsiteY28" fmla="*/ 7377 h 10000"/>
              <a:gd name="connsiteX29" fmla="*/ 8114 w 10000"/>
              <a:gd name="connsiteY29" fmla="*/ 7157 h 10000"/>
              <a:gd name="connsiteX30" fmla="*/ 8393 w 10000"/>
              <a:gd name="connsiteY30" fmla="*/ 6887 h 10000"/>
              <a:gd name="connsiteX31" fmla="*/ 8670 w 10000"/>
              <a:gd name="connsiteY31" fmla="*/ 6605 h 10000"/>
              <a:gd name="connsiteX32" fmla="*/ 8871 w 10000"/>
              <a:gd name="connsiteY32" fmla="*/ 6299 h 10000"/>
              <a:gd name="connsiteX33" fmla="*/ 9088 w 10000"/>
              <a:gd name="connsiteY33" fmla="*/ 6029 h 10000"/>
              <a:gd name="connsiteX34" fmla="*/ 9242 w 10000"/>
              <a:gd name="connsiteY34" fmla="*/ 5772 h 10000"/>
              <a:gd name="connsiteX35" fmla="*/ 9458 w 10000"/>
              <a:gd name="connsiteY35" fmla="*/ 5379 h 10000"/>
              <a:gd name="connsiteX36" fmla="*/ 9597 w 10000"/>
              <a:gd name="connsiteY36" fmla="*/ 5073 h 10000"/>
              <a:gd name="connsiteX37" fmla="*/ 9768 w 10000"/>
              <a:gd name="connsiteY37" fmla="*/ 4657 h 10000"/>
              <a:gd name="connsiteX38" fmla="*/ 9876 w 10000"/>
              <a:gd name="connsiteY38" fmla="*/ 4191 h 10000"/>
              <a:gd name="connsiteX39" fmla="*/ 9953 w 10000"/>
              <a:gd name="connsiteY39" fmla="*/ 3775 h 10000"/>
              <a:gd name="connsiteX40" fmla="*/ 10000 w 10000"/>
              <a:gd name="connsiteY40" fmla="*/ 3407 h 10000"/>
              <a:gd name="connsiteX41" fmla="*/ 10000 w 10000"/>
              <a:gd name="connsiteY41" fmla="*/ 3015 h 10000"/>
              <a:gd name="connsiteX42" fmla="*/ 9984 w 10000"/>
              <a:gd name="connsiteY42" fmla="*/ 2696 h 10000"/>
              <a:gd name="connsiteX43" fmla="*/ 9922 w 10000"/>
              <a:gd name="connsiteY43" fmla="*/ 2218 h 10000"/>
              <a:gd name="connsiteX44" fmla="*/ 9768 w 10000"/>
              <a:gd name="connsiteY44" fmla="*/ 1740 h 10000"/>
              <a:gd name="connsiteX45" fmla="*/ 9628 w 10000"/>
              <a:gd name="connsiteY45" fmla="*/ 1324 h 10000"/>
              <a:gd name="connsiteX46" fmla="*/ 9458 w 10000"/>
              <a:gd name="connsiteY46" fmla="*/ 980 h 10000"/>
              <a:gd name="connsiteX47" fmla="*/ 9304 w 10000"/>
              <a:gd name="connsiteY47" fmla="*/ 699 h 10000"/>
              <a:gd name="connsiteX48" fmla="*/ 9165 w 10000"/>
              <a:gd name="connsiteY48" fmla="*/ 478 h 10000"/>
              <a:gd name="connsiteX49" fmla="*/ 8994 w 10000"/>
              <a:gd name="connsiteY4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652 w 10000"/>
              <a:gd name="connsiteY5" fmla="*/ 4265 h 10000"/>
              <a:gd name="connsiteX6" fmla="*/ 1603 w 10000"/>
              <a:gd name="connsiteY6" fmla="*/ 4995 h 10000"/>
              <a:gd name="connsiteX7" fmla="*/ 639 w 10000"/>
              <a:gd name="connsiteY7" fmla="*/ 5467 h 10000"/>
              <a:gd name="connsiteX8" fmla="*/ 2102 w 10000"/>
              <a:gd name="connsiteY8" fmla="*/ 7634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6 h 10000"/>
              <a:gd name="connsiteX13" fmla="*/ 1824 w 10000"/>
              <a:gd name="connsiteY13" fmla="*/ 9877 h 10000"/>
              <a:gd name="connsiteX14" fmla="*/ 2302 w 10000"/>
              <a:gd name="connsiteY14" fmla="*/ 9792 h 10000"/>
              <a:gd name="connsiteX15" fmla="*/ 2782 w 10000"/>
              <a:gd name="connsiteY15" fmla="*/ 9706 h 10000"/>
              <a:gd name="connsiteX16" fmla="*/ 3153 w 10000"/>
              <a:gd name="connsiteY16" fmla="*/ 9620 h 10000"/>
              <a:gd name="connsiteX17" fmla="*/ 3554 w 10000"/>
              <a:gd name="connsiteY17" fmla="*/ 9521 h 10000"/>
              <a:gd name="connsiteX18" fmla="*/ 4049 w 10000"/>
              <a:gd name="connsiteY18" fmla="*/ 9387 h 10000"/>
              <a:gd name="connsiteX19" fmla="*/ 4467 w 10000"/>
              <a:gd name="connsiteY19" fmla="*/ 9240 h 10000"/>
              <a:gd name="connsiteX20" fmla="*/ 4868 w 10000"/>
              <a:gd name="connsiteY20" fmla="*/ 9105 h 10000"/>
              <a:gd name="connsiteX21" fmla="*/ 5301 w 10000"/>
              <a:gd name="connsiteY21" fmla="*/ 8922 h 10000"/>
              <a:gd name="connsiteX22" fmla="*/ 5734 w 10000"/>
              <a:gd name="connsiteY22" fmla="*/ 8737 h 10000"/>
              <a:gd name="connsiteX23" fmla="*/ 6089 w 10000"/>
              <a:gd name="connsiteY23" fmla="*/ 8566 h 10000"/>
              <a:gd name="connsiteX24" fmla="*/ 6491 w 10000"/>
              <a:gd name="connsiteY24" fmla="*/ 8333 h 10000"/>
              <a:gd name="connsiteX25" fmla="*/ 6893 w 10000"/>
              <a:gd name="connsiteY25" fmla="*/ 8101 h 10000"/>
              <a:gd name="connsiteX26" fmla="*/ 7249 w 10000"/>
              <a:gd name="connsiteY26" fmla="*/ 7843 h 10000"/>
              <a:gd name="connsiteX27" fmla="*/ 7542 w 10000"/>
              <a:gd name="connsiteY27" fmla="*/ 7634 h 10000"/>
              <a:gd name="connsiteX28" fmla="*/ 7867 w 10000"/>
              <a:gd name="connsiteY28" fmla="*/ 7377 h 10000"/>
              <a:gd name="connsiteX29" fmla="*/ 8114 w 10000"/>
              <a:gd name="connsiteY29" fmla="*/ 7157 h 10000"/>
              <a:gd name="connsiteX30" fmla="*/ 8393 w 10000"/>
              <a:gd name="connsiteY30" fmla="*/ 6887 h 10000"/>
              <a:gd name="connsiteX31" fmla="*/ 8670 w 10000"/>
              <a:gd name="connsiteY31" fmla="*/ 6605 h 10000"/>
              <a:gd name="connsiteX32" fmla="*/ 8871 w 10000"/>
              <a:gd name="connsiteY32" fmla="*/ 6299 h 10000"/>
              <a:gd name="connsiteX33" fmla="*/ 9088 w 10000"/>
              <a:gd name="connsiteY33" fmla="*/ 6029 h 10000"/>
              <a:gd name="connsiteX34" fmla="*/ 9242 w 10000"/>
              <a:gd name="connsiteY34" fmla="*/ 5772 h 10000"/>
              <a:gd name="connsiteX35" fmla="*/ 9458 w 10000"/>
              <a:gd name="connsiteY35" fmla="*/ 5379 h 10000"/>
              <a:gd name="connsiteX36" fmla="*/ 9597 w 10000"/>
              <a:gd name="connsiteY36" fmla="*/ 5073 h 10000"/>
              <a:gd name="connsiteX37" fmla="*/ 9768 w 10000"/>
              <a:gd name="connsiteY37" fmla="*/ 4657 h 10000"/>
              <a:gd name="connsiteX38" fmla="*/ 9876 w 10000"/>
              <a:gd name="connsiteY38" fmla="*/ 4191 h 10000"/>
              <a:gd name="connsiteX39" fmla="*/ 9953 w 10000"/>
              <a:gd name="connsiteY39" fmla="*/ 3775 h 10000"/>
              <a:gd name="connsiteX40" fmla="*/ 10000 w 10000"/>
              <a:gd name="connsiteY40" fmla="*/ 3407 h 10000"/>
              <a:gd name="connsiteX41" fmla="*/ 10000 w 10000"/>
              <a:gd name="connsiteY41" fmla="*/ 3015 h 10000"/>
              <a:gd name="connsiteX42" fmla="*/ 9984 w 10000"/>
              <a:gd name="connsiteY42" fmla="*/ 2696 h 10000"/>
              <a:gd name="connsiteX43" fmla="*/ 9922 w 10000"/>
              <a:gd name="connsiteY43" fmla="*/ 2218 h 10000"/>
              <a:gd name="connsiteX44" fmla="*/ 9768 w 10000"/>
              <a:gd name="connsiteY44" fmla="*/ 1740 h 10000"/>
              <a:gd name="connsiteX45" fmla="*/ 9628 w 10000"/>
              <a:gd name="connsiteY45" fmla="*/ 1324 h 10000"/>
              <a:gd name="connsiteX46" fmla="*/ 9458 w 10000"/>
              <a:gd name="connsiteY46" fmla="*/ 980 h 10000"/>
              <a:gd name="connsiteX47" fmla="*/ 9304 w 10000"/>
              <a:gd name="connsiteY47" fmla="*/ 699 h 10000"/>
              <a:gd name="connsiteX48" fmla="*/ 9165 w 10000"/>
              <a:gd name="connsiteY48" fmla="*/ 478 h 10000"/>
              <a:gd name="connsiteX49" fmla="*/ 8994 w 10000"/>
              <a:gd name="connsiteY4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652 w 10000"/>
              <a:gd name="connsiteY5" fmla="*/ 4265 h 10000"/>
              <a:gd name="connsiteX6" fmla="*/ 1603 w 10000"/>
              <a:gd name="connsiteY6" fmla="*/ 4995 h 10000"/>
              <a:gd name="connsiteX7" fmla="*/ 639 w 10000"/>
              <a:gd name="connsiteY7" fmla="*/ 5467 h 10000"/>
              <a:gd name="connsiteX8" fmla="*/ 2102 w 10000"/>
              <a:gd name="connsiteY8" fmla="*/ 7634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6 h 10000"/>
              <a:gd name="connsiteX13" fmla="*/ 1824 w 10000"/>
              <a:gd name="connsiteY13" fmla="*/ 9877 h 10000"/>
              <a:gd name="connsiteX14" fmla="*/ 2302 w 10000"/>
              <a:gd name="connsiteY14" fmla="*/ 9792 h 10000"/>
              <a:gd name="connsiteX15" fmla="*/ 2782 w 10000"/>
              <a:gd name="connsiteY15" fmla="*/ 9706 h 10000"/>
              <a:gd name="connsiteX16" fmla="*/ 3153 w 10000"/>
              <a:gd name="connsiteY16" fmla="*/ 9620 h 10000"/>
              <a:gd name="connsiteX17" fmla="*/ 3554 w 10000"/>
              <a:gd name="connsiteY17" fmla="*/ 9521 h 10000"/>
              <a:gd name="connsiteX18" fmla="*/ 4049 w 10000"/>
              <a:gd name="connsiteY18" fmla="*/ 9387 h 10000"/>
              <a:gd name="connsiteX19" fmla="*/ 4467 w 10000"/>
              <a:gd name="connsiteY19" fmla="*/ 9240 h 10000"/>
              <a:gd name="connsiteX20" fmla="*/ 4868 w 10000"/>
              <a:gd name="connsiteY20" fmla="*/ 9105 h 10000"/>
              <a:gd name="connsiteX21" fmla="*/ 5301 w 10000"/>
              <a:gd name="connsiteY21" fmla="*/ 8922 h 10000"/>
              <a:gd name="connsiteX22" fmla="*/ 5734 w 10000"/>
              <a:gd name="connsiteY22" fmla="*/ 8737 h 10000"/>
              <a:gd name="connsiteX23" fmla="*/ 6089 w 10000"/>
              <a:gd name="connsiteY23" fmla="*/ 8566 h 10000"/>
              <a:gd name="connsiteX24" fmla="*/ 6491 w 10000"/>
              <a:gd name="connsiteY24" fmla="*/ 8333 h 10000"/>
              <a:gd name="connsiteX25" fmla="*/ 6893 w 10000"/>
              <a:gd name="connsiteY25" fmla="*/ 8101 h 10000"/>
              <a:gd name="connsiteX26" fmla="*/ 7249 w 10000"/>
              <a:gd name="connsiteY26" fmla="*/ 7843 h 10000"/>
              <a:gd name="connsiteX27" fmla="*/ 7542 w 10000"/>
              <a:gd name="connsiteY27" fmla="*/ 7634 h 10000"/>
              <a:gd name="connsiteX28" fmla="*/ 7867 w 10000"/>
              <a:gd name="connsiteY28" fmla="*/ 7377 h 10000"/>
              <a:gd name="connsiteX29" fmla="*/ 8114 w 10000"/>
              <a:gd name="connsiteY29" fmla="*/ 7157 h 10000"/>
              <a:gd name="connsiteX30" fmla="*/ 8393 w 10000"/>
              <a:gd name="connsiteY30" fmla="*/ 6887 h 10000"/>
              <a:gd name="connsiteX31" fmla="*/ 8670 w 10000"/>
              <a:gd name="connsiteY31" fmla="*/ 6605 h 10000"/>
              <a:gd name="connsiteX32" fmla="*/ 8871 w 10000"/>
              <a:gd name="connsiteY32" fmla="*/ 6299 h 10000"/>
              <a:gd name="connsiteX33" fmla="*/ 9088 w 10000"/>
              <a:gd name="connsiteY33" fmla="*/ 6029 h 10000"/>
              <a:gd name="connsiteX34" fmla="*/ 9242 w 10000"/>
              <a:gd name="connsiteY34" fmla="*/ 5772 h 10000"/>
              <a:gd name="connsiteX35" fmla="*/ 9458 w 10000"/>
              <a:gd name="connsiteY35" fmla="*/ 5379 h 10000"/>
              <a:gd name="connsiteX36" fmla="*/ 9597 w 10000"/>
              <a:gd name="connsiteY36" fmla="*/ 5073 h 10000"/>
              <a:gd name="connsiteX37" fmla="*/ 9768 w 10000"/>
              <a:gd name="connsiteY37" fmla="*/ 4657 h 10000"/>
              <a:gd name="connsiteX38" fmla="*/ 9876 w 10000"/>
              <a:gd name="connsiteY38" fmla="*/ 4191 h 10000"/>
              <a:gd name="connsiteX39" fmla="*/ 9953 w 10000"/>
              <a:gd name="connsiteY39" fmla="*/ 3775 h 10000"/>
              <a:gd name="connsiteX40" fmla="*/ 10000 w 10000"/>
              <a:gd name="connsiteY40" fmla="*/ 3407 h 10000"/>
              <a:gd name="connsiteX41" fmla="*/ 10000 w 10000"/>
              <a:gd name="connsiteY41" fmla="*/ 3015 h 10000"/>
              <a:gd name="connsiteX42" fmla="*/ 9984 w 10000"/>
              <a:gd name="connsiteY42" fmla="*/ 2696 h 10000"/>
              <a:gd name="connsiteX43" fmla="*/ 9922 w 10000"/>
              <a:gd name="connsiteY43" fmla="*/ 2218 h 10000"/>
              <a:gd name="connsiteX44" fmla="*/ 9768 w 10000"/>
              <a:gd name="connsiteY44" fmla="*/ 1740 h 10000"/>
              <a:gd name="connsiteX45" fmla="*/ 9628 w 10000"/>
              <a:gd name="connsiteY45" fmla="*/ 1324 h 10000"/>
              <a:gd name="connsiteX46" fmla="*/ 9458 w 10000"/>
              <a:gd name="connsiteY46" fmla="*/ 980 h 10000"/>
              <a:gd name="connsiteX47" fmla="*/ 9304 w 10000"/>
              <a:gd name="connsiteY47" fmla="*/ 699 h 10000"/>
              <a:gd name="connsiteX48" fmla="*/ 9165 w 10000"/>
              <a:gd name="connsiteY48" fmla="*/ 478 h 10000"/>
              <a:gd name="connsiteX49" fmla="*/ 8994 w 10000"/>
              <a:gd name="connsiteY4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652 w 10000"/>
              <a:gd name="connsiteY5" fmla="*/ 4265 h 10000"/>
              <a:gd name="connsiteX6" fmla="*/ 1603 w 10000"/>
              <a:gd name="connsiteY6" fmla="*/ 4995 h 10000"/>
              <a:gd name="connsiteX7" fmla="*/ 565 w 10000"/>
              <a:gd name="connsiteY7" fmla="*/ 5393 h 10000"/>
              <a:gd name="connsiteX8" fmla="*/ 2102 w 10000"/>
              <a:gd name="connsiteY8" fmla="*/ 7634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6 h 10000"/>
              <a:gd name="connsiteX13" fmla="*/ 1824 w 10000"/>
              <a:gd name="connsiteY13" fmla="*/ 9877 h 10000"/>
              <a:gd name="connsiteX14" fmla="*/ 2302 w 10000"/>
              <a:gd name="connsiteY14" fmla="*/ 9792 h 10000"/>
              <a:gd name="connsiteX15" fmla="*/ 2782 w 10000"/>
              <a:gd name="connsiteY15" fmla="*/ 9706 h 10000"/>
              <a:gd name="connsiteX16" fmla="*/ 3153 w 10000"/>
              <a:gd name="connsiteY16" fmla="*/ 9620 h 10000"/>
              <a:gd name="connsiteX17" fmla="*/ 3554 w 10000"/>
              <a:gd name="connsiteY17" fmla="*/ 9521 h 10000"/>
              <a:gd name="connsiteX18" fmla="*/ 4049 w 10000"/>
              <a:gd name="connsiteY18" fmla="*/ 9387 h 10000"/>
              <a:gd name="connsiteX19" fmla="*/ 4467 w 10000"/>
              <a:gd name="connsiteY19" fmla="*/ 9240 h 10000"/>
              <a:gd name="connsiteX20" fmla="*/ 4868 w 10000"/>
              <a:gd name="connsiteY20" fmla="*/ 9105 h 10000"/>
              <a:gd name="connsiteX21" fmla="*/ 5301 w 10000"/>
              <a:gd name="connsiteY21" fmla="*/ 8922 h 10000"/>
              <a:gd name="connsiteX22" fmla="*/ 5734 w 10000"/>
              <a:gd name="connsiteY22" fmla="*/ 8737 h 10000"/>
              <a:gd name="connsiteX23" fmla="*/ 6089 w 10000"/>
              <a:gd name="connsiteY23" fmla="*/ 8566 h 10000"/>
              <a:gd name="connsiteX24" fmla="*/ 6491 w 10000"/>
              <a:gd name="connsiteY24" fmla="*/ 8333 h 10000"/>
              <a:gd name="connsiteX25" fmla="*/ 6893 w 10000"/>
              <a:gd name="connsiteY25" fmla="*/ 8101 h 10000"/>
              <a:gd name="connsiteX26" fmla="*/ 7249 w 10000"/>
              <a:gd name="connsiteY26" fmla="*/ 7843 h 10000"/>
              <a:gd name="connsiteX27" fmla="*/ 7542 w 10000"/>
              <a:gd name="connsiteY27" fmla="*/ 7634 h 10000"/>
              <a:gd name="connsiteX28" fmla="*/ 7867 w 10000"/>
              <a:gd name="connsiteY28" fmla="*/ 7377 h 10000"/>
              <a:gd name="connsiteX29" fmla="*/ 8114 w 10000"/>
              <a:gd name="connsiteY29" fmla="*/ 7157 h 10000"/>
              <a:gd name="connsiteX30" fmla="*/ 8393 w 10000"/>
              <a:gd name="connsiteY30" fmla="*/ 6887 h 10000"/>
              <a:gd name="connsiteX31" fmla="*/ 8670 w 10000"/>
              <a:gd name="connsiteY31" fmla="*/ 6605 h 10000"/>
              <a:gd name="connsiteX32" fmla="*/ 8871 w 10000"/>
              <a:gd name="connsiteY32" fmla="*/ 6299 h 10000"/>
              <a:gd name="connsiteX33" fmla="*/ 9088 w 10000"/>
              <a:gd name="connsiteY33" fmla="*/ 6029 h 10000"/>
              <a:gd name="connsiteX34" fmla="*/ 9242 w 10000"/>
              <a:gd name="connsiteY34" fmla="*/ 5772 h 10000"/>
              <a:gd name="connsiteX35" fmla="*/ 9458 w 10000"/>
              <a:gd name="connsiteY35" fmla="*/ 5379 h 10000"/>
              <a:gd name="connsiteX36" fmla="*/ 9597 w 10000"/>
              <a:gd name="connsiteY36" fmla="*/ 5073 h 10000"/>
              <a:gd name="connsiteX37" fmla="*/ 9768 w 10000"/>
              <a:gd name="connsiteY37" fmla="*/ 4657 h 10000"/>
              <a:gd name="connsiteX38" fmla="*/ 9876 w 10000"/>
              <a:gd name="connsiteY38" fmla="*/ 4191 h 10000"/>
              <a:gd name="connsiteX39" fmla="*/ 9953 w 10000"/>
              <a:gd name="connsiteY39" fmla="*/ 3775 h 10000"/>
              <a:gd name="connsiteX40" fmla="*/ 10000 w 10000"/>
              <a:gd name="connsiteY40" fmla="*/ 3407 h 10000"/>
              <a:gd name="connsiteX41" fmla="*/ 10000 w 10000"/>
              <a:gd name="connsiteY41" fmla="*/ 3015 h 10000"/>
              <a:gd name="connsiteX42" fmla="*/ 9984 w 10000"/>
              <a:gd name="connsiteY42" fmla="*/ 2696 h 10000"/>
              <a:gd name="connsiteX43" fmla="*/ 9922 w 10000"/>
              <a:gd name="connsiteY43" fmla="*/ 2218 h 10000"/>
              <a:gd name="connsiteX44" fmla="*/ 9768 w 10000"/>
              <a:gd name="connsiteY44" fmla="*/ 1740 h 10000"/>
              <a:gd name="connsiteX45" fmla="*/ 9628 w 10000"/>
              <a:gd name="connsiteY45" fmla="*/ 1324 h 10000"/>
              <a:gd name="connsiteX46" fmla="*/ 9458 w 10000"/>
              <a:gd name="connsiteY46" fmla="*/ 980 h 10000"/>
              <a:gd name="connsiteX47" fmla="*/ 9304 w 10000"/>
              <a:gd name="connsiteY47" fmla="*/ 699 h 10000"/>
              <a:gd name="connsiteX48" fmla="*/ 9165 w 10000"/>
              <a:gd name="connsiteY48" fmla="*/ 478 h 10000"/>
              <a:gd name="connsiteX49" fmla="*/ 8994 w 10000"/>
              <a:gd name="connsiteY4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652 w 10000"/>
              <a:gd name="connsiteY5" fmla="*/ 4265 h 10000"/>
              <a:gd name="connsiteX6" fmla="*/ 1603 w 10000"/>
              <a:gd name="connsiteY6" fmla="*/ 4995 h 10000"/>
              <a:gd name="connsiteX7" fmla="*/ 565 w 10000"/>
              <a:gd name="connsiteY7" fmla="*/ 5393 h 10000"/>
              <a:gd name="connsiteX8" fmla="*/ 2102 w 10000"/>
              <a:gd name="connsiteY8" fmla="*/ 7634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6 h 10000"/>
              <a:gd name="connsiteX13" fmla="*/ 1824 w 10000"/>
              <a:gd name="connsiteY13" fmla="*/ 9877 h 10000"/>
              <a:gd name="connsiteX14" fmla="*/ 2302 w 10000"/>
              <a:gd name="connsiteY14" fmla="*/ 9792 h 10000"/>
              <a:gd name="connsiteX15" fmla="*/ 2782 w 10000"/>
              <a:gd name="connsiteY15" fmla="*/ 9706 h 10000"/>
              <a:gd name="connsiteX16" fmla="*/ 3153 w 10000"/>
              <a:gd name="connsiteY16" fmla="*/ 9620 h 10000"/>
              <a:gd name="connsiteX17" fmla="*/ 3554 w 10000"/>
              <a:gd name="connsiteY17" fmla="*/ 9521 h 10000"/>
              <a:gd name="connsiteX18" fmla="*/ 4049 w 10000"/>
              <a:gd name="connsiteY18" fmla="*/ 9387 h 10000"/>
              <a:gd name="connsiteX19" fmla="*/ 4467 w 10000"/>
              <a:gd name="connsiteY19" fmla="*/ 9240 h 10000"/>
              <a:gd name="connsiteX20" fmla="*/ 4868 w 10000"/>
              <a:gd name="connsiteY20" fmla="*/ 9105 h 10000"/>
              <a:gd name="connsiteX21" fmla="*/ 5301 w 10000"/>
              <a:gd name="connsiteY21" fmla="*/ 8922 h 10000"/>
              <a:gd name="connsiteX22" fmla="*/ 5734 w 10000"/>
              <a:gd name="connsiteY22" fmla="*/ 8737 h 10000"/>
              <a:gd name="connsiteX23" fmla="*/ 6089 w 10000"/>
              <a:gd name="connsiteY23" fmla="*/ 8566 h 10000"/>
              <a:gd name="connsiteX24" fmla="*/ 6491 w 10000"/>
              <a:gd name="connsiteY24" fmla="*/ 8333 h 10000"/>
              <a:gd name="connsiteX25" fmla="*/ 6893 w 10000"/>
              <a:gd name="connsiteY25" fmla="*/ 8101 h 10000"/>
              <a:gd name="connsiteX26" fmla="*/ 7249 w 10000"/>
              <a:gd name="connsiteY26" fmla="*/ 7843 h 10000"/>
              <a:gd name="connsiteX27" fmla="*/ 7542 w 10000"/>
              <a:gd name="connsiteY27" fmla="*/ 7634 h 10000"/>
              <a:gd name="connsiteX28" fmla="*/ 7867 w 10000"/>
              <a:gd name="connsiteY28" fmla="*/ 7377 h 10000"/>
              <a:gd name="connsiteX29" fmla="*/ 8114 w 10000"/>
              <a:gd name="connsiteY29" fmla="*/ 7157 h 10000"/>
              <a:gd name="connsiteX30" fmla="*/ 8393 w 10000"/>
              <a:gd name="connsiteY30" fmla="*/ 6887 h 10000"/>
              <a:gd name="connsiteX31" fmla="*/ 8670 w 10000"/>
              <a:gd name="connsiteY31" fmla="*/ 6605 h 10000"/>
              <a:gd name="connsiteX32" fmla="*/ 8871 w 10000"/>
              <a:gd name="connsiteY32" fmla="*/ 6299 h 10000"/>
              <a:gd name="connsiteX33" fmla="*/ 9088 w 10000"/>
              <a:gd name="connsiteY33" fmla="*/ 6029 h 10000"/>
              <a:gd name="connsiteX34" fmla="*/ 9242 w 10000"/>
              <a:gd name="connsiteY34" fmla="*/ 5772 h 10000"/>
              <a:gd name="connsiteX35" fmla="*/ 9458 w 10000"/>
              <a:gd name="connsiteY35" fmla="*/ 5379 h 10000"/>
              <a:gd name="connsiteX36" fmla="*/ 9597 w 10000"/>
              <a:gd name="connsiteY36" fmla="*/ 5073 h 10000"/>
              <a:gd name="connsiteX37" fmla="*/ 9768 w 10000"/>
              <a:gd name="connsiteY37" fmla="*/ 4657 h 10000"/>
              <a:gd name="connsiteX38" fmla="*/ 9876 w 10000"/>
              <a:gd name="connsiteY38" fmla="*/ 4191 h 10000"/>
              <a:gd name="connsiteX39" fmla="*/ 9953 w 10000"/>
              <a:gd name="connsiteY39" fmla="*/ 3775 h 10000"/>
              <a:gd name="connsiteX40" fmla="*/ 10000 w 10000"/>
              <a:gd name="connsiteY40" fmla="*/ 3407 h 10000"/>
              <a:gd name="connsiteX41" fmla="*/ 10000 w 10000"/>
              <a:gd name="connsiteY41" fmla="*/ 3015 h 10000"/>
              <a:gd name="connsiteX42" fmla="*/ 9984 w 10000"/>
              <a:gd name="connsiteY42" fmla="*/ 2696 h 10000"/>
              <a:gd name="connsiteX43" fmla="*/ 9922 w 10000"/>
              <a:gd name="connsiteY43" fmla="*/ 2218 h 10000"/>
              <a:gd name="connsiteX44" fmla="*/ 9768 w 10000"/>
              <a:gd name="connsiteY44" fmla="*/ 1740 h 10000"/>
              <a:gd name="connsiteX45" fmla="*/ 9628 w 10000"/>
              <a:gd name="connsiteY45" fmla="*/ 1324 h 10000"/>
              <a:gd name="connsiteX46" fmla="*/ 9458 w 10000"/>
              <a:gd name="connsiteY46" fmla="*/ 980 h 10000"/>
              <a:gd name="connsiteX47" fmla="*/ 9304 w 10000"/>
              <a:gd name="connsiteY47" fmla="*/ 699 h 10000"/>
              <a:gd name="connsiteX48" fmla="*/ 9165 w 10000"/>
              <a:gd name="connsiteY48" fmla="*/ 478 h 10000"/>
              <a:gd name="connsiteX49" fmla="*/ 8994 w 10000"/>
              <a:gd name="connsiteY4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652 w 10000"/>
              <a:gd name="connsiteY5" fmla="*/ 4265 h 10000"/>
              <a:gd name="connsiteX6" fmla="*/ 1708 w 10000"/>
              <a:gd name="connsiteY6" fmla="*/ 5025 h 10000"/>
              <a:gd name="connsiteX7" fmla="*/ 565 w 10000"/>
              <a:gd name="connsiteY7" fmla="*/ 5393 h 10000"/>
              <a:gd name="connsiteX8" fmla="*/ 2102 w 10000"/>
              <a:gd name="connsiteY8" fmla="*/ 7634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6 h 10000"/>
              <a:gd name="connsiteX13" fmla="*/ 1824 w 10000"/>
              <a:gd name="connsiteY13" fmla="*/ 9877 h 10000"/>
              <a:gd name="connsiteX14" fmla="*/ 2302 w 10000"/>
              <a:gd name="connsiteY14" fmla="*/ 9792 h 10000"/>
              <a:gd name="connsiteX15" fmla="*/ 2782 w 10000"/>
              <a:gd name="connsiteY15" fmla="*/ 9706 h 10000"/>
              <a:gd name="connsiteX16" fmla="*/ 3153 w 10000"/>
              <a:gd name="connsiteY16" fmla="*/ 9620 h 10000"/>
              <a:gd name="connsiteX17" fmla="*/ 3554 w 10000"/>
              <a:gd name="connsiteY17" fmla="*/ 9521 h 10000"/>
              <a:gd name="connsiteX18" fmla="*/ 4049 w 10000"/>
              <a:gd name="connsiteY18" fmla="*/ 9387 h 10000"/>
              <a:gd name="connsiteX19" fmla="*/ 4467 w 10000"/>
              <a:gd name="connsiteY19" fmla="*/ 9240 h 10000"/>
              <a:gd name="connsiteX20" fmla="*/ 4868 w 10000"/>
              <a:gd name="connsiteY20" fmla="*/ 9105 h 10000"/>
              <a:gd name="connsiteX21" fmla="*/ 5301 w 10000"/>
              <a:gd name="connsiteY21" fmla="*/ 8922 h 10000"/>
              <a:gd name="connsiteX22" fmla="*/ 5734 w 10000"/>
              <a:gd name="connsiteY22" fmla="*/ 8737 h 10000"/>
              <a:gd name="connsiteX23" fmla="*/ 6089 w 10000"/>
              <a:gd name="connsiteY23" fmla="*/ 8566 h 10000"/>
              <a:gd name="connsiteX24" fmla="*/ 6491 w 10000"/>
              <a:gd name="connsiteY24" fmla="*/ 8333 h 10000"/>
              <a:gd name="connsiteX25" fmla="*/ 6893 w 10000"/>
              <a:gd name="connsiteY25" fmla="*/ 8101 h 10000"/>
              <a:gd name="connsiteX26" fmla="*/ 7249 w 10000"/>
              <a:gd name="connsiteY26" fmla="*/ 7843 h 10000"/>
              <a:gd name="connsiteX27" fmla="*/ 7542 w 10000"/>
              <a:gd name="connsiteY27" fmla="*/ 7634 h 10000"/>
              <a:gd name="connsiteX28" fmla="*/ 7867 w 10000"/>
              <a:gd name="connsiteY28" fmla="*/ 7377 h 10000"/>
              <a:gd name="connsiteX29" fmla="*/ 8114 w 10000"/>
              <a:gd name="connsiteY29" fmla="*/ 7157 h 10000"/>
              <a:gd name="connsiteX30" fmla="*/ 8393 w 10000"/>
              <a:gd name="connsiteY30" fmla="*/ 6887 h 10000"/>
              <a:gd name="connsiteX31" fmla="*/ 8670 w 10000"/>
              <a:gd name="connsiteY31" fmla="*/ 6605 h 10000"/>
              <a:gd name="connsiteX32" fmla="*/ 8871 w 10000"/>
              <a:gd name="connsiteY32" fmla="*/ 6299 h 10000"/>
              <a:gd name="connsiteX33" fmla="*/ 9088 w 10000"/>
              <a:gd name="connsiteY33" fmla="*/ 6029 h 10000"/>
              <a:gd name="connsiteX34" fmla="*/ 9242 w 10000"/>
              <a:gd name="connsiteY34" fmla="*/ 5772 h 10000"/>
              <a:gd name="connsiteX35" fmla="*/ 9458 w 10000"/>
              <a:gd name="connsiteY35" fmla="*/ 5379 h 10000"/>
              <a:gd name="connsiteX36" fmla="*/ 9597 w 10000"/>
              <a:gd name="connsiteY36" fmla="*/ 5073 h 10000"/>
              <a:gd name="connsiteX37" fmla="*/ 9768 w 10000"/>
              <a:gd name="connsiteY37" fmla="*/ 4657 h 10000"/>
              <a:gd name="connsiteX38" fmla="*/ 9876 w 10000"/>
              <a:gd name="connsiteY38" fmla="*/ 4191 h 10000"/>
              <a:gd name="connsiteX39" fmla="*/ 9953 w 10000"/>
              <a:gd name="connsiteY39" fmla="*/ 3775 h 10000"/>
              <a:gd name="connsiteX40" fmla="*/ 10000 w 10000"/>
              <a:gd name="connsiteY40" fmla="*/ 3407 h 10000"/>
              <a:gd name="connsiteX41" fmla="*/ 10000 w 10000"/>
              <a:gd name="connsiteY41" fmla="*/ 3015 h 10000"/>
              <a:gd name="connsiteX42" fmla="*/ 9984 w 10000"/>
              <a:gd name="connsiteY42" fmla="*/ 2696 h 10000"/>
              <a:gd name="connsiteX43" fmla="*/ 9922 w 10000"/>
              <a:gd name="connsiteY43" fmla="*/ 2218 h 10000"/>
              <a:gd name="connsiteX44" fmla="*/ 9768 w 10000"/>
              <a:gd name="connsiteY44" fmla="*/ 1740 h 10000"/>
              <a:gd name="connsiteX45" fmla="*/ 9628 w 10000"/>
              <a:gd name="connsiteY45" fmla="*/ 1324 h 10000"/>
              <a:gd name="connsiteX46" fmla="*/ 9458 w 10000"/>
              <a:gd name="connsiteY46" fmla="*/ 980 h 10000"/>
              <a:gd name="connsiteX47" fmla="*/ 9304 w 10000"/>
              <a:gd name="connsiteY47" fmla="*/ 699 h 10000"/>
              <a:gd name="connsiteX48" fmla="*/ 9165 w 10000"/>
              <a:gd name="connsiteY48" fmla="*/ 478 h 10000"/>
              <a:gd name="connsiteX49" fmla="*/ 8994 w 10000"/>
              <a:gd name="connsiteY4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652 w 10000"/>
              <a:gd name="connsiteY5" fmla="*/ 4265 h 10000"/>
              <a:gd name="connsiteX6" fmla="*/ 1708 w 10000"/>
              <a:gd name="connsiteY6" fmla="*/ 5025 h 10000"/>
              <a:gd name="connsiteX7" fmla="*/ 565 w 10000"/>
              <a:gd name="connsiteY7" fmla="*/ 5393 h 10000"/>
              <a:gd name="connsiteX8" fmla="*/ 2102 w 10000"/>
              <a:gd name="connsiteY8" fmla="*/ 7634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6 h 10000"/>
              <a:gd name="connsiteX13" fmla="*/ 1824 w 10000"/>
              <a:gd name="connsiteY13" fmla="*/ 9877 h 10000"/>
              <a:gd name="connsiteX14" fmla="*/ 2302 w 10000"/>
              <a:gd name="connsiteY14" fmla="*/ 9792 h 10000"/>
              <a:gd name="connsiteX15" fmla="*/ 2782 w 10000"/>
              <a:gd name="connsiteY15" fmla="*/ 9706 h 10000"/>
              <a:gd name="connsiteX16" fmla="*/ 3153 w 10000"/>
              <a:gd name="connsiteY16" fmla="*/ 9620 h 10000"/>
              <a:gd name="connsiteX17" fmla="*/ 3554 w 10000"/>
              <a:gd name="connsiteY17" fmla="*/ 9521 h 10000"/>
              <a:gd name="connsiteX18" fmla="*/ 4049 w 10000"/>
              <a:gd name="connsiteY18" fmla="*/ 9387 h 10000"/>
              <a:gd name="connsiteX19" fmla="*/ 4467 w 10000"/>
              <a:gd name="connsiteY19" fmla="*/ 9240 h 10000"/>
              <a:gd name="connsiteX20" fmla="*/ 4868 w 10000"/>
              <a:gd name="connsiteY20" fmla="*/ 9105 h 10000"/>
              <a:gd name="connsiteX21" fmla="*/ 5301 w 10000"/>
              <a:gd name="connsiteY21" fmla="*/ 8922 h 10000"/>
              <a:gd name="connsiteX22" fmla="*/ 5734 w 10000"/>
              <a:gd name="connsiteY22" fmla="*/ 8737 h 10000"/>
              <a:gd name="connsiteX23" fmla="*/ 6089 w 10000"/>
              <a:gd name="connsiteY23" fmla="*/ 8566 h 10000"/>
              <a:gd name="connsiteX24" fmla="*/ 6491 w 10000"/>
              <a:gd name="connsiteY24" fmla="*/ 8333 h 10000"/>
              <a:gd name="connsiteX25" fmla="*/ 6893 w 10000"/>
              <a:gd name="connsiteY25" fmla="*/ 8101 h 10000"/>
              <a:gd name="connsiteX26" fmla="*/ 7249 w 10000"/>
              <a:gd name="connsiteY26" fmla="*/ 7843 h 10000"/>
              <a:gd name="connsiteX27" fmla="*/ 7542 w 10000"/>
              <a:gd name="connsiteY27" fmla="*/ 7634 h 10000"/>
              <a:gd name="connsiteX28" fmla="*/ 7867 w 10000"/>
              <a:gd name="connsiteY28" fmla="*/ 7377 h 10000"/>
              <a:gd name="connsiteX29" fmla="*/ 8114 w 10000"/>
              <a:gd name="connsiteY29" fmla="*/ 7157 h 10000"/>
              <a:gd name="connsiteX30" fmla="*/ 8393 w 10000"/>
              <a:gd name="connsiteY30" fmla="*/ 6887 h 10000"/>
              <a:gd name="connsiteX31" fmla="*/ 8670 w 10000"/>
              <a:gd name="connsiteY31" fmla="*/ 6605 h 10000"/>
              <a:gd name="connsiteX32" fmla="*/ 8871 w 10000"/>
              <a:gd name="connsiteY32" fmla="*/ 6299 h 10000"/>
              <a:gd name="connsiteX33" fmla="*/ 9088 w 10000"/>
              <a:gd name="connsiteY33" fmla="*/ 6029 h 10000"/>
              <a:gd name="connsiteX34" fmla="*/ 9242 w 10000"/>
              <a:gd name="connsiteY34" fmla="*/ 5772 h 10000"/>
              <a:gd name="connsiteX35" fmla="*/ 9458 w 10000"/>
              <a:gd name="connsiteY35" fmla="*/ 5379 h 10000"/>
              <a:gd name="connsiteX36" fmla="*/ 9597 w 10000"/>
              <a:gd name="connsiteY36" fmla="*/ 5073 h 10000"/>
              <a:gd name="connsiteX37" fmla="*/ 9768 w 10000"/>
              <a:gd name="connsiteY37" fmla="*/ 4657 h 10000"/>
              <a:gd name="connsiteX38" fmla="*/ 9876 w 10000"/>
              <a:gd name="connsiteY38" fmla="*/ 4191 h 10000"/>
              <a:gd name="connsiteX39" fmla="*/ 9953 w 10000"/>
              <a:gd name="connsiteY39" fmla="*/ 3775 h 10000"/>
              <a:gd name="connsiteX40" fmla="*/ 10000 w 10000"/>
              <a:gd name="connsiteY40" fmla="*/ 3407 h 10000"/>
              <a:gd name="connsiteX41" fmla="*/ 10000 w 10000"/>
              <a:gd name="connsiteY41" fmla="*/ 3015 h 10000"/>
              <a:gd name="connsiteX42" fmla="*/ 9984 w 10000"/>
              <a:gd name="connsiteY42" fmla="*/ 2696 h 10000"/>
              <a:gd name="connsiteX43" fmla="*/ 9922 w 10000"/>
              <a:gd name="connsiteY43" fmla="*/ 2218 h 10000"/>
              <a:gd name="connsiteX44" fmla="*/ 9768 w 10000"/>
              <a:gd name="connsiteY44" fmla="*/ 1740 h 10000"/>
              <a:gd name="connsiteX45" fmla="*/ 9628 w 10000"/>
              <a:gd name="connsiteY45" fmla="*/ 1324 h 10000"/>
              <a:gd name="connsiteX46" fmla="*/ 9458 w 10000"/>
              <a:gd name="connsiteY46" fmla="*/ 980 h 10000"/>
              <a:gd name="connsiteX47" fmla="*/ 9304 w 10000"/>
              <a:gd name="connsiteY47" fmla="*/ 699 h 10000"/>
              <a:gd name="connsiteX48" fmla="*/ 9165 w 10000"/>
              <a:gd name="connsiteY48" fmla="*/ 478 h 10000"/>
              <a:gd name="connsiteX49" fmla="*/ 8994 w 10000"/>
              <a:gd name="connsiteY4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652 w 10000"/>
              <a:gd name="connsiteY5" fmla="*/ 4265 h 10000"/>
              <a:gd name="connsiteX6" fmla="*/ 1708 w 10000"/>
              <a:gd name="connsiteY6" fmla="*/ 5025 h 10000"/>
              <a:gd name="connsiteX7" fmla="*/ 565 w 10000"/>
              <a:gd name="connsiteY7" fmla="*/ 5393 h 10000"/>
              <a:gd name="connsiteX8" fmla="*/ 2102 w 10000"/>
              <a:gd name="connsiteY8" fmla="*/ 7634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6 h 10000"/>
              <a:gd name="connsiteX13" fmla="*/ 1824 w 10000"/>
              <a:gd name="connsiteY13" fmla="*/ 9877 h 10000"/>
              <a:gd name="connsiteX14" fmla="*/ 2302 w 10000"/>
              <a:gd name="connsiteY14" fmla="*/ 9792 h 10000"/>
              <a:gd name="connsiteX15" fmla="*/ 2782 w 10000"/>
              <a:gd name="connsiteY15" fmla="*/ 9706 h 10000"/>
              <a:gd name="connsiteX16" fmla="*/ 3153 w 10000"/>
              <a:gd name="connsiteY16" fmla="*/ 9620 h 10000"/>
              <a:gd name="connsiteX17" fmla="*/ 3554 w 10000"/>
              <a:gd name="connsiteY17" fmla="*/ 9521 h 10000"/>
              <a:gd name="connsiteX18" fmla="*/ 4049 w 10000"/>
              <a:gd name="connsiteY18" fmla="*/ 9387 h 10000"/>
              <a:gd name="connsiteX19" fmla="*/ 4467 w 10000"/>
              <a:gd name="connsiteY19" fmla="*/ 9240 h 10000"/>
              <a:gd name="connsiteX20" fmla="*/ 4868 w 10000"/>
              <a:gd name="connsiteY20" fmla="*/ 9105 h 10000"/>
              <a:gd name="connsiteX21" fmla="*/ 5301 w 10000"/>
              <a:gd name="connsiteY21" fmla="*/ 8922 h 10000"/>
              <a:gd name="connsiteX22" fmla="*/ 5734 w 10000"/>
              <a:gd name="connsiteY22" fmla="*/ 8737 h 10000"/>
              <a:gd name="connsiteX23" fmla="*/ 6089 w 10000"/>
              <a:gd name="connsiteY23" fmla="*/ 8566 h 10000"/>
              <a:gd name="connsiteX24" fmla="*/ 6491 w 10000"/>
              <a:gd name="connsiteY24" fmla="*/ 8333 h 10000"/>
              <a:gd name="connsiteX25" fmla="*/ 6893 w 10000"/>
              <a:gd name="connsiteY25" fmla="*/ 8101 h 10000"/>
              <a:gd name="connsiteX26" fmla="*/ 7249 w 10000"/>
              <a:gd name="connsiteY26" fmla="*/ 7843 h 10000"/>
              <a:gd name="connsiteX27" fmla="*/ 7542 w 10000"/>
              <a:gd name="connsiteY27" fmla="*/ 7634 h 10000"/>
              <a:gd name="connsiteX28" fmla="*/ 7867 w 10000"/>
              <a:gd name="connsiteY28" fmla="*/ 7377 h 10000"/>
              <a:gd name="connsiteX29" fmla="*/ 8114 w 10000"/>
              <a:gd name="connsiteY29" fmla="*/ 7157 h 10000"/>
              <a:gd name="connsiteX30" fmla="*/ 8393 w 10000"/>
              <a:gd name="connsiteY30" fmla="*/ 6887 h 10000"/>
              <a:gd name="connsiteX31" fmla="*/ 8670 w 10000"/>
              <a:gd name="connsiteY31" fmla="*/ 6605 h 10000"/>
              <a:gd name="connsiteX32" fmla="*/ 8871 w 10000"/>
              <a:gd name="connsiteY32" fmla="*/ 6299 h 10000"/>
              <a:gd name="connsiteX33" fmla="*/ 9088 w 10000"/>
              <a:gd name="connsiteY33" fmla="*/ 6029 h 10000"/>
              <a:gd name="connsiteX34" fmla="*/ 9242 w 10000"/>
              <a:gd name="connsiteY34" fmla="*/ 5772 h 10000"/>
              <a:gd name="connsiteX35" fmla="*/ 9458 w 10000"/>
              <a:gd name="connsiteY35" fmla="*/ 5379 h 10000"/>
              <a:gd name="connsiteX36" fmla="*/ 9597 w 10000"/>
              <a:gd name="connsiteY36" fmla="*/ 5073 h 10000"/>
              <a:gd name="connsiteX37" fmla="*/ 9768 w 10000"/>
              <a:gd name="connsiteY37" fmla="*/ 4657 h 10000"/>
              <a:gd name="connsiteX38" fmla="*/ 9876 w 10000"/>
              <a:gd name="connsiteY38" fmla="*/ 4191 h 10000"/>
              <a:gd name="connsiteX39" fmla="*/ 9953 w 10000"/>
              <a:gd name="connsiteY39" fmla="*/ 3775 h 10000"/>
              <a:gd name="connsiteX40" fmla="*/ 10000 w 10000"/>
              <a:gd name="connsiteY40" fmla="*/ 3407 h 10000"/>
              <a:gd name="connsiteX41" fmla="*/ 10000 w 10000"/>
              <a:gd name="connsiteY41" fmla="*/ 3015 h 10000"/>
              <a:gd name="connsiteX42" fmla="*/ 9984 w 10000"/>
              <a:gd name="connsiteY42" fmla="*/ 2696 h 10000"/>
              <a:gd name="connsiteX43" fmla="*/ 9922 w 10000"/>
              <a:gd name="connsiteY43" fmla="*/ 2218 h 10000"/>
              <a:gd name="connsiteX44" fmla="*/ 9768 w 10000"/>
              <a:gd name="connsiteY44" fmla="*/ 1740 h 10000"/>
              <a:gd name="connsiteX45" fmla="*/ 9628 w 10000"/>
              <a:gd name="connsiteY45" fmla="*/ 1324 h 10000"/>
              <a:gd name="connsiteX46" fmla="*/ 9458 w 10000"/>
              <a:gd name="connsiteY46" fmla="*/ 980 h 10000"/>
              <a:gd name="connsiteX47" fmla="*/ 9304 w 10000"/>
              <a:gd name="connsiteY47" fmla="*/ 699 h 10000"/>
              <a:gd name="connsiteX48" fmla="*/ 9165 w 10000"/>
              <a:gd name="connsiteY48" fmla="*/ 478 h 10000"/>
              <a:gd name="connsiteX49" fmla="*/ 8994 w 10000"/>
              <a:gd name="connsiteY4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237 w 10000"/>
              <a:gd name="connsiteY5" fmla="*/ 4219 h 10000"/>
              <a:gd name="connsiteX6" fmla="*/ 1708 w 10000"/>
              <a:gd name="connsiteY6" fmla="*/ 5025 h 10000"/>
              <a:gd name="connsiteX7" fmla="*/ 565 w 10000"/>
              <a:gd name="connsiteY7" fmla="*/ 5393 h 10000"/>
              <a:gd name="connsiteX8" fmla="*/ 2102 w 10000"/>
              <a:gd name="connsiteY8" fmla="*/ 7634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6 h 10000"/>
              <a:gd name="connsiteX13" fmla="*/ 1824 w 10000"/>
              <a:gd name="connsiteY13" fmla="*/ 9877 h 10000"/>
              <a:gd name="connsiteX14" fmla="*/ 2302 w 10000"/>
              <a:gd name="connsiteY14" fmla="*/ 9792 h 10000"/>
              <a:gd name="connsiteX15" fmla="*/ 2782 w 10000"/>
              <a:gd name="connsiteY15" fmla="*/ 9706 h 10000"/>
              <a:gd name="connsiteX16" fmla="*/ 3153 w 10000"/>
              <a:gd name="connsiteY16" fmla="*/ 9620 h 10000"/>
              <a:gd name="connsiteX17" fmla="*/ 3554 w 10000"/>
              <a:gd name="connsiteY17" fmla="*/ 9521 h 10000"/>
              <a:gd name="connsiteX18" fmla="*/ 4049 w 10000"/>
              <a:gd name="connsiteY18" fmla="*/ 9387 h 10000"/>
              <a:gd name="connsiteX19" fmla="*/ 4467 w 10000"/>
              <a:gd name="connsiteY19" fmla="*/ 9240 h 10000"/>
              <a:gd name="connsiteX20" fmla="*/ 4868 w 10000"/>
              <a:gd name="connsiteY20" fmla="*/ 9105 h 10000"/>
              <a:gd name="connsiteX21" fmla="*/ 5301 w 10000"/>
              <a:gd name="connsiteY21" fmla="*/ 8922 h 10000"/>
              <a:gd name="connsiteX22" fmla="*/ 5734 w 10000"/>
              <a:gd name="connsiteY22" fmla="*/ 8737 h 10000"/>
              <a:gd name="connsiteX23" fmla="*/ 6089 w 10000"/>
              <a:gd name="connsiteY23" fmla="*/ 8566 h 10000"/>
              <a:gd name="connsiteX24" fmla="*/ 6491 w 10000"/>
              <a:gd name="connsiteY24" fmla="*/ 8333 h 10000"/>
              <a:gd name="connsiteX25" fmla="*/ 6893 w 10000"/>
              <a:gd name="connsiteY25" fmla="*/ 8101 h 10000"/>
              <a:gd name="connsiteX26" fmla="*/ 7249 w 10000"/>
              <a:gd name="connsiteY26" fmla="*/ 7843 h 10000"/>
              <a:gd name="connsiteX27" fmla="*/ 7542 w 10000"/>
              <a:gd name="connsiteY27" fmla="*/ 7634 h 10000"/>
              <a:gd name="connsiteX28" fmla="*/ 7867 w 10000"/>
              <a:gd name="connsiteY28" fmla="*/ 7377 h 10000"/>
              <a:gd name="connsiteX29" fmla="*/ 8114 w 10000"/>
              <a:gd name="connsiteY29" fmla="*/ 7157 h 10000"/>
              <a:gd name="connsiteX30" fmla="*/ 8393 w 10000"/>
              <a:gd name="connsiteY30" fmla="*/ 6887 h 10000"/>
              <a:gd name="connsiteX31" fmla="*/ 8670 w 10000"/>
              <a:gd name="connsiteY31" fmla="*/ 6605 h 10000"/>
              <a:gd name="connsiteX32" fmla="*/ 8871 w 10000"/>
              <a:gd name="connsiteY32" fmla="*/ 6299 h 10000"/>
              <a:gd name="connsiteX33" fmla="*/ 9088 w 10000"/>
              <a:gd name="connsiteY33" fmla="*/ 6029 h 10000"/>
              <a:gd name="connsiteX34" fmla="*/ 9242 w 10000"/>
              <a:gd name="connsiteY34" fmla="*/ 5772 h 10000"/>
              <a:gd name="connsiteX35" fmla="*/ 9458 w 10000"/>
              <a:gd name="connsiteY35" fmla="*/ 5379 h 10000"/>
              <a:gd name="connsiteX36" fmla="*/ 9597 w 10000"/>
              <a:gd name="connsiteY36" fmla="*/ 5073 h 10000"/>
              <a:gd name="connsiteX37" fmla="*/ 9768 w 10000"/>
              <a:gd name="connsiteY37" fmla="*/ 4657 h 10000"/>
              <a:gd name="connsiteX38" fmla="*/ 9876 w 10000"/>
              <a:gd name="connsiteY38" fmla="*/ 4191 h 10000"/>
              <a:gd name="connsiteX39" fmla="*/ 9953 w 10000"/>
              <a:gd name="connsiteY39" fmla="*/ 3775 h 10000"/>
              <a:gd name="connsiteX40" fmla="*/ 10000 w 10000"/>
              <a:gd name="connsiteY40" fmla="*/ 3407 h 10000"/>
              <a:gd name="connsiteX41" fmla="*/ 10000 w 10000"/>
              <a:gd name="connsiteY41" fmla="*/ 3015 h 10000"/>
              <a:gd name="connsiteX42" fmla="*/ 9984 w 10000"/>
              <a:gd name="connsiteY42" fmla="*/ 2696 h 10000"/>
              <a:gd name="connsiteX43" fmla="*/ 9922 w 10000"/>
              <a:gd name="connsiteY43" fmla="*/ 2218 h 10000"/>
              <a:gd name="connsiteX44" fmla="*/ 9768 w 10000"/>
              <a:gd name="connsiteY44" fmla="*/ 1740 h 10000"/>
              <a:gd name="connsiteX45" fmla="*/ 9628 w 10000"/>
              <a:gd name="connsiteY45" fmla="*/ 1324 h 10000"/>
              <a:gd name="connsiteX46" fmla="*/ 9458 w 10000"/>
              <a:gd name="connsiteY46" fmla="*/ 980 h 10000"/>
              <a:gd name="connsiteX47" fmla="*/ 9304 w 10000"/>
              <a:gd name="connsiteY47" fmla="*/ 699 h 10000"/>
              <a:gd name="connsiteX48" fmla="*/ 9165 w 10000"/>
              <a:gd name="connsiteY48" fmla="*/ 478 h 10000"/>
              <a:gd name="connsiteX49" fmla="*/ 8994 w 10000"/>
              <a:gd name="connsiteY4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728 w 10000"/>
              <a:gd name="connsiteY5" fmla="*/ 4142 h 10000"/>
              <a:gd name="connsiteX6" fmla="*/ 1708 w 10000"/>
              <a:gd name="connsiteY6" fmla="*/ 5025 h 10000"/>
              <a:gd name="connsiteX7" fmla="*/ 565 w 10000"/>
              <a:gd name="connsiteY7" fmla="*/ 5393 h 10000"/>
              <a:gd name="connsiteX8" fmla="*/ 2102 w 10000"/>
              <a:gd name="connsiteY8" fmla="*/ 7634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6 h 10000"/>
              <a:gd name="connsiteX13" fmla="*/ 1824 w 10000"/>
              <a:gd name="connsiteY13" fmla="*/ 9877 h 10000"/>
              <a:gd name="connsiteX14" fmla="*/ 2302 w 10000"/>
              <a:gd name="connsiteY14" fmla="*/ 9792 h 10000"/>
              <a:gd name="connsiteX15" fmla="*/ 2782 w 10000"/>
              <a:gd name="connsiteY15" fmla="*/ 9706 h 10000"/>
              <a:gd name="connsiteX16" fmla="*/ 3153 w 10000"/>
              <a:gd name="connsiteY16" fmla="*/ 9620 h 10000"/>
              <a:gd name="connsiteX17" fmla="*/ 3554 w 10000"/>
              <a:gd name="connsiteY17" fmla="*/ 9521 h 10000"/>
              <a:gd name="connsiteX18" fmla="*/ 4049 w 10000"/>
              <a:gd name="connsiteY18" fmla="*/ 9387 h 10000"/>
              <a:gd name="connsiteX19" fmla="*/ 4467 w 10000"/>
              <a:gd name="connsiteY19" fmla="*/ 9240 h 10000"/>
              <a:gd name="connsiteX20" fmla="*/ 4868 w 10000"/>
              <a:gd name="connsiteY20" fmla="*/ 9105 h 10000"/>
              <a:gd name="connsiteX21" fmla="*/ 5301 w 10000"/>
              <a:gd name="connsiteY21" fmla="*/ 8922 h 10000"/>
              <a:gd name="connsiteX22" fmla="*/ 5734 w 10000"/>
              <a:gd name="connsiteY22" fmla="*/ 8737 h 10000"/>
              <a:gd name="connsiteX23" fmla="*/ 6089 w 10000"/>
              <a:gd name="connsiteY23" fmla="*/ 8566 h 10000"/>
              <a:gd name="connsiteX24" fmla="*/ 6491 w 10000"/>
              <a:gd name="connsiteY24" fmla="*/ 8333 h 10000"/>
              <a:gd name="connsiteX25" fmla="*/ 6893 w 10000"/>
              <a:gd name="connsiteY25" fmla="*/ 8101 h 10000"/>
              <a:gd name="connsiteX26" fmla="*/ 7249 w 10000"/>
              <a:gd name="connsiteY26" fmla="*/ 7843 h 10000"/>
              <a:gd name="connsiteX27" fmla="*/ 7542 w 10000"/>
              <a:gd name="connsiteY27" fmla="*/ 7634 h 10000"/>
              <a:gd name="connsiteX28" fmla="*/ 7867 w 10000"/>
              <a:gd name="connsiteY28" fmla="*/ 7377 h 10000"/>
              <a:gd name="connsiteX29" fmla="*/ 8114 w 10000"/>
              <a:gd name="connsiteY29" fmla="*/ 7157 h 10000"/>
              <a:gd name="connsiteX30" fmla="*/ 8393 w 10000"/>
              <a:gd name="connsiteY30" fmla="*/ 6887 h 10000"/>
              <a:gd name="connsiteX31" fmla="*/ 8670 w 10000"/>
              <a:gd name="connsiteY31" fmla="*/ 6605 h 10000"/>
              <a:gd name="connsiteX32" fmla="*/ 8871 w 10000"/>
              <a:gd name="connsiteY32" fmla="*/ 6299 h 10000"/>
              <a:gd name="connsiteX33" fmla="*/ 9088 w 10000"/>
              <a:gd name="connsiteY33" fmla="*/ 6029 h 10000"/>
              <a:gd name="connsiteX34" fmla="*/ 9242 w 10000"/>
              <a:gd name="connsiteY34" fmla="*/ 5772 h 10000"/>
              <a:gd name="connsiteX35" fmla="*/ 9458 w 10000"/>
              <a:gd name="connsiteY35" fmla="*/ 5379 h 10000"/>
              <a:gd name="connsiteX36" fmla="*/ 9597 w 10000"/>
              <a:gd name="connsiteY36" fmla="*/ 5073 h 10000"/>
              <a:gd name="connsiteX37" fmla="*/ 9768 w 10000"/>
              <a:gd name="connsiteY37" fmla="*/ 4657 h 10000"/>
              <a:gd name="connsiteX38" fmla="*/ 9876 w 10000"/>
              <a:gd name="connsiteY38" fmla="*/ 4191 h 10000"/>
              <a:gd name="connsiteX39" fmla="*/ 9953 w 10000"/>
              <a:gd name="connsiteY39" fmla="*/ 3775 h 10000"/>
              <a:gd name="connsiteX40" fmla="*/ 10000 w 10000"/>
              <a:gd name="connsiteY40" fmla="*/ 3407 h 10000"/>
              <a:gd name="connsiteX41" fmla="*/ 10000 w 10000"/>
              <a:gd name="connsiteY41" fmla="*/ 3015 h 10000"/>
              <a:gd name="connsiteX42" fmla="*/ 9984 w 10000"/>
              <a:gd name="connsiteY42" fmla="*/ 2696 h 10000"/>
              <a:gd name="connsiteX43" fmla="*/ 9922 w 10000"/>
              <a:gd name="connsiteY43" fmla="*/ 2218 h 10000"/>
              <a:gd name="connsiteX44" fmla="*/ 9768 w 10000"/>
              <a:gd name="connsiteY44" fmla="*/ 1740 h 10000"/>
              <a:gd name="connsiteX45" fmla="*/ 9628 w 10000"/>
              <a:gd name="connsiteY45" fmla="*/ 1324 h 10000"/>
              <a:gd name="connsiteX46" fmla="*/ 9458 w 10000"/>
              <a:gd name="connsiteY46" fmla="*/ 980 h 10000"/>
              <a:gd name="connsiteX47" fmla="*/ 9304 w 10000"/>
              <a:gd name="connsiteY47" fmla="*/ 699 h 10000"/>
              <a:gd name="connsiteX48" fmla="*/ 9165 w 10000"/>
              <a:gd name="connsiteY48" fmla="*/ 478 h 10000"/>
              <a:gd name="connsiteX49" fmla="*/ 8994 w 10000"/>
              <a:gd name="connsiteY4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728 w 10000"/>
              <a:gd name="connsiteY5" fmla="*/ 4142 h 10000"/>
              <a:gd name="connsiteX6" fmla="*/ 1708 w 10000"/>
              <a:gd name="connsiteY6" fmla="*/ 5025 h 10000"/>
              <a:gd name="connsiteX7" fmla="*/ 565 w 10000"/>
              <a:gd name="connsiteY7" fmla="*/ 5393 h 10000"/>
              <a:gd name="connsiteX8" fmla="*/ 2102 w 10000"/>
              <a:gd name="connsiteY8" fmla="*/ 7634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6 h 10000"/>
              <a:gd name="connsiteX13" fmla="*/ 1824 w 10000"/>
              <a:gd name="connsiteY13" fmla="*/ 9877 h 10000"/>
              <a:gd name="connsiteX14" fmla="*/ 2302 w 10000"/>
              <a:gd name="connsiteY14" fmla="*/ 9792 h 10000"/>
              <a:gd name="connsiteX15" fmla="*/ 2782 w 10000"/>
              <a:gd name="connsiteY15" fmla="*/ 9706 h 10000"/>
              <a:gd name="connsiteX16" fmla="*/ 3153 w 10000"/>
              <a:gd name="connsiteY16" fmla="*/ 9620 h 10000"/>
              <a:gd name="connsiteX17" fmla="*/ 3554 w 10000"/>
              <a:gd name="connsiteY17" fmla="*/ 9521 h 10000"/>
              <a:gd name="connsiteX18" fmla="*/ 4049 w 10000"/>
              <a:gd name="connsiteY18" fmla="*/ 9387 h 10000"/>
              <a:gd name="connsiteX19" fmla="*/ 4467 w 10000"/>
              <a:gd name="connsiteY19" fmla="*/ 9240 h 10000"/>
              <a:gd name="connsiteX20" fmla="*/ 4868 w 10000"/>
              <a:gd name="connsiteY20" fmla="*/ 9105 h 10000"/>
              <a:gd name="connsiteX21" fmla="*/ 5301 w 10000"/>
              <a:gd name="connsiteY21" fmla="*/ 8922 h 10000"/>
              <a:gd name="connsiteX22" fmla="*/ 5734 w 10000"/>
              <a:gd name="connsiteY22" fmla="*/ 8737 h 10000"/>
              <a:gd name="connsiteX23" fmla="*/ 6089 w 10000"/>
              <a:gd name="connsiteY23" fmla="*/ 8566 h 10000"/>
              <a:gd name="connsiteX24" fmla="*/ 6491 w 10000"/>
              <a:gd name="connsiteY24" fmla="*/ 8333 h 10000"/>
              <a:gd name="connsiteX25" fmla="*/ 6893 w 10000"/>
              <a:gd name="connsiteY25" fmla="*/ 8101 h 10000"/>
              <a:gd name="connsiteX26" fmla="*/ 7249 w 10000"/>
              <a:gd name="connsiteY26" fmla="*/ 7843 h 10000"/>
              <a:gd name="connsiteX27" fmla="*/ 7542 w 10000"/>
              <a:gd name="connsiteY27" fmla="*/ 7634 h 10000"/>
              <a:gd name="connsiteX28" fmla="*/ 7867 w 10000"/>
              <a:gd name="connsiteY28" fmla="*/ 7377 h 10000"/>
              <a:gd name="connsiteX29" fmla="*/ 8114 w 10000"/>
              <a:gd name="connsiteY29" fmla="*/ 7157 h 10000"/>
              <a:gd name="connsiteX30" fmla="*/ 8393 w 10000"/>
              <a:gd name="connsiteY30" fmla="*/ 6887 h 10000"/>
              <a:gd name="connsiteX31" fmla="*/ 8670 w 10000"/>
              <a:gd name="connsiteY31" fmla="*/ 6605 h 10000"/>
              <a:gd name="connsiteX32" fmla="*/ 8871 w 10000"/>
              <a:gd name="connsiteY32" fmla="*/ 6299 h 10000"/>
              <a:gd name="connsiteX33" fmla="*/ 9088 w 10000"/>
              <a:gd name="connsiteY33" fmla="*/ 6029 h 10000"/>
              <a:gd name="connsiteX34" fmla="*/ 9242 w 10000"/>
              <a:gd name="connsiteY34" fmla="*/ 5772 h 10000"/>
              <a:gd name="connsiteX35" fmla="*/ 9458 w 10000"/>
              <a:gd name="connsiteY35" fmla="*/ 5379 h 10000"/>
              <a:gd name="connsiteX36" fmla="*/ 9597 w 10000"/>
              <a:gd name="connsiteY36" fmla="*/ 5073 h 10000"/>
              <a:gd name="connsiteX37" fmla="*/ 9768 w 10000"/>
              <a:gd name="connsiteY37" fmla="*/ 4657 h 10000"/>
              <a:gd name="connsiteX38" fmla="*/ 9876 w 10000"/>
              <a:gd name="connsiteY38" fmla="*/ 4191 h 10000"/>
              <a:gd name="connsiteX39" fmla="*/ 9953 w 10000"/>
              <a:gd name="connsiteY39" fmla="*/ 3775 h 10000"/>
              <a:gd name="connsiteX40" fmla="*/ 10000 w 10000"/>
              <a:gd name="connsiteY40" fmla="*/ 3407 h 10000"/>
              <a:gd name="connsiteX41" fmla="*/ 10000 w 10000"/>
              <a:gd name="connsiteY41" fmla="*/ 3015 h 10000"/>
              <a:gd name="connsiteX42" fmla="*/ 9984 w 10000"/>
              <a:gd name="connsiteY42" fmla="*/ 2696 h 10000"/>
              <a:gd name="connsiteX43" fmla="*/ 9922 w 10000"/>
              <a:gd name="connsiteY43" fmla="*/ 2218 h 10000"/>
              <a:gd name="connsiteX44" fmla="*/ 9768 w 10000"/>
              <a:gd name="connsiteY44" fmla="*/ 1740 h 10000"/>
              <a:gd name="connsiteX45" fmla="*/ 9628 w 10000"/>
              <a:gd name="connsiteY45" fmla="*/ 1324 h 10000"/>
              <a:gd name="connsiteX46" fmla="*/ 9458 w 10000"/>
              <a:gd name="connsiteY46" fmla="*/ 980 h 10000"/>
              <a:gd name="connsiteX47" fmla="*/ 9304 w 10000"/>
              <a:gd name="connsiteY47" fmla="*/ 699 h 10000"/>
              <a:gd name="connsiteX48" fmla="*/ 9165 w 10000"/>
              <a:gd name="connsiteY48" fmla="*/ 478 h 10000"/>
              <a:gd name="connsiteX49" fmla="*/ 8994 w 10000"/>
              <a:gd name="connsiteY4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728 w 10000"/>
              <a:gd name="connsiteY5" fmla="*/ 4142 h 10000"/>
              <a:gd name="connsiteX6" fmla="*/ 1708 w 10000"/>
              <a:gd name="connsiteY6" fmla="*/ 5025 h 10000"/>
              <a:gd name="connsiteX7" fmla="*/ 565 w 10000"/>
              <a:gd name="connsiteY7" fmla="*/ 5393 h 10000"/>
              <a:gd name="connsiteX8" fmla="*/ 2102 w 10000"/>
              <a:gd name="connsiteY8" fmla="*/ 7634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6 h 10000"/>
              <a:gd name="connsiteX13" fmla="*/ 1824 w 10000"/>
              <a:gd name="connsiteY13" fmla="*/ 9877 h 10000"/>
              <a:gd name="connsiteX14" fmla="*/ 2302 w 10000"/>
              <a:gd name="connsiteY14" fmla="*/ 9792 h 10000"/>
              <a:gd name="connsiteX15" fmla="*/ 2782 w 10000"/>
              <a:gd name="connsiteY15" fmla="*/ 9706 h 10000"/>
              <a:gd name="connsiteX16" fmla="*/ 3153 w 10000"/>
              <a:gd name="connsiteY16" fmla="*/ 9620 h 10000"/>
              <a:gd name="connsiteX17" fmla="*/ 3554 w 10000"/>
              <a:gd name="connsiteY17" fmla="*/ 9521 h 10000"/>
              <a:gd name="connsiteX18" fmla="*/ 4049 w 10000"/>
              <a:gd name="connsiteY18" fmla="*/ 9387 h 10000"/>
              <a:gd name="connsiteX19" fmla="*/ 4467 w 10000"/>
              <a:gd name="connsiteY19" fmla="*/ 9240 h 10000"/>
              <a:gd name="connsiteX20" fmla="*/ 4868 w 10000"/>
              <a:gd name="connsiteY20" fmla="*/ 9105 h 10000"/>
              <a:gd name="connsiteX21" fmla="*/ 5301 w 10000"/>
              <a:gd name="connsiteY21" fmla="*/ 8922 h 10000"/>
              <a:gd name="connsiteX22" fmla="*/ 5734 w 10000"/>
              <a:gd name="connsiteY22" fmla="*/ 8737 h 10000"/>
              <a:gd name="connsiteX23" fmla="*/ 6089 w 10000"/>
              <a:gd name="connsiteY23" fmla="*/ 8566 h 10000"/>
              <a:gd name="connsiteX24" fmla="*/ 6491 w 10000"/>
              <a:gd name="connsiteY24" fmla="*/ 8333 h 10000"/>
              <a:gd name="connsiteX25" fmla="*/ 6893 w 10000"/>
              <a:gd name="connsiteY25" fmla="*/ 8101 h 10000"/>
              <a:gd name="connsiteX26" fmla="*/ 7249 w 10000"/>
              <a:gd name="connsiteY26" fmla="*/ 7843 h 10000"/>
              <a:gd name="connsiteX27" fmla="*/ 7542 w 10000"/>
              <a:gd name="connsiteY27" fmla="*/ 7634 h 10000"/>
              <a:gd name="connsiteX28" fmla="*/ 7867 w 10000"/>
              <a:gd name="connsiteY28" fmla="*/ 7377 h 10000"/>
              <a:gd name="connsiteX29" fmla="*/ 8114 w 10000"/>
              <a:gd name="connsiteY29" fmla="*/ 7157 h 10000"/>
              <a:gd name="connsiteX30" fmla="*/ 8393 w 10000"/>
              <a:gd name="connsiteY30" fmla="*/ 6887 h 10000"/>
              <a:gd name="connsiteX31" fmla="*/ 8670 w 10000"/>
              <a:gd name="connsiteY31" fmla="*/ 6605 h 10000"/>
              <a:gd name="connsiteX32" fmla="*/ 8871 w 10000"/>
              <a:gd name="connsiteY32" fmla="*/ 6299 h 10000"/>
              <a:gd name="connsiteX33" fmla="*/ 9088 w 10000"/>
              <a:gd name="connsiteY33" fmla="*/ 6029 h 10000"/>
              <a:gd name="connsiteX34" fmla="*/ 9242 w 10000"/>
              <a:gd name="connsiteY34" fmla="*/ 5772 h 10000"/>
              <a:gd name="connsiteX35" fmla="*/ 9458 w 10000"/>
              <a:gd name="connsiteY35" fmla="*/ 5379 h 10000"/>
              <a:gd name="connsiteX36" fmla="*/ 9597 w 10000"/>
              <a:gd name="connsiteY36" fmla="*/ 5073 h 10000"/>
              <a:gd name="connsiteX37" fmla="*/ 9768 w 10000"/>
              <a:gd name="connsiteY37" fmla="*/ 4657 h 10000"/>
              <a:gd name="connsiteX38" fmla="*/ 9876 w 10000"/>
              <a:gd name="connsiteY38" fmla="*/ 4191 h 10000"/>
              <a:gd name="connsiteX39" fmla="*/ 9953 w 10000"/>
              <a:gd name="connsiteY39" fmla="*/ 3775 h 10000"/>
              <a:gd name="connsiteX40" fmla="*/ 10000 w 10000"/>
              <a:gd name="connsiteY40" fmla="*/ 3407 h 10000"/>
              <a:gd name="connsiteX41" fmla="*/ 10000 w 10000"/>
              <a:gd name="connsiteY41" fmla="*/ 3015 h 10000"/>
              <a:gd name="connsiteX42" fmla="*/ 9984 w 10000"/>
              <a:gd name="connsiteY42" fmla="*/ 2696 h 10000"/>
              <a:gd name="connsiteX43" fmla="*/ 9922 w 10000"/>
              <a:gd name="connsiteY43" fmla="*/ 2218 h 10000"/>
              <a:gd name="connsiteX44" fmla="*/ 9768 w 10000"/>
              <a:gd name="connsiteY44" fmla="*/ 1740 h 10000"/>
              <a:gd name="connsiteX45" fmla="*/ 9628 w 10000"/>
              <a:gd name="connsiteY45" fmla="*/ 1324 h 10000"/>
              <a:gd name="connsiteX46" fmla="*/ 9458 w 10000"/>
              <a:gd name="connsiteY46" fmla="*/ 980 h 10000"/>
              <a:gd name="connsiteX47" fmla="*/ 9304 w 10000"/>
              <a:gd name="connsiteY47" fmla="*/ 699 h 10000"/>
              <a:gd name="connsiteX48" fmla="*/ 9165 w 10000"/>
              <a:gd name="connsiteY48" fmla="*/ 478 h 10000"/>
              <a:gd name="connsiteX49" fmla="*/ 8994 w 10000"/>
              <a:gd name="connsiteY4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728 w 10000"/>
              <a:gd name="connsiteY5" fmla="*/ 4142 h 10000"/>
              <a:gd name="connsiteX6" fmla="*/ 1708 w 10000"/>
              <a:gd name="connsiteY6" fmla="*/ 5025 h 10000"/>
              <a:gd name="connsiteX7" fmla="*/ 565 w 10000"/>
              <a:gd name="connsiteY7" fmla="*/ 5393 h 10000"/>
              <a:gd name="connsiteX8" fmla="*/ 2102 w 10000"/>
              <a:gd name="connsiteY8" fmla="*/ 7634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6 h 10000"/>
              <a:gd name="connsiteX13" fmla="*/ 1824 w 10000"/>
              <a:gd name="connsiteY13" fmla="*/ 9877 h 10000"/>
              <a:gd name="connsiteX14" fmla="*/ 2302 w 10000"/>
              <a:gd name="connsiteY14" fmla="*/ 9792 h 10000"/>
              <a:gd name="connsiteX15" fmla="*/ 2782 w 10000"/>
              <a:gd name="connsiteY15" fmla="*/ 9706 h 10000"/>
              <a:gd name="connsiteX16" fmla="*/ 3153 w 10000"/>
              <a:gd name="connsiteY16" fmla="*/ 9620 h 10000"/>
              <a:gd name="connsiteX17" fmla="*/ 3554 w 10000"/>
              <a:gd name="connsiteY17" fmla="*/ 9521 h 10000"/>
              <a:gd name="connsiteX18" fmla="*/ 4049 w 10000"/>
              <a:gd name="connsiteY18" fmla="*/ 9387 h 10000"/>
              <a:gd name="connsiteX19" fmla="*/ 4467 w 10000"/>
              <a:gd name="connsiteY19" fmla="*/ 9240 h 10000"/>
              <a:gd name="connsiteX20" fmla="*/ 4868 w 10000"/>
              <a:gd name="connsiteY20" fmla="*/ 9105 h 10000"/>
              <a:gd name="connsiteX21" fmla="*/ 5301 w 10000"/>
              <a:gd name="connsiteY21" fmla="*/ 8922 h 10000"/>
              <a:gd name="connsiteX22" fmla="*/ 5734 w 10000"/>
              <a:gd name="connsiteY22" fmla="*/ 8737 h 10000"/>
              <a:gd name="connsiteX23" fmla="*/ 6089 w 10000"/>
              <a:gd name="connsiteY23" fmla="*/ 8566 h 10000"/>
              <a:gd name="connsiteX24" fmla="*/ 6491 w 10000"/>
              <a:gd name="connsiteY24" fmla="*/ 8333 h 10000"/>
              <a:gd name="connsiteX25" fmla="*/ 6893 w 10000"/>
              <a:gd name="connsiteY25" fmla="*/ 8101 h 10000"/>
              <a:gd name="connsiteX26" fmla="*/ 7249 w 10000"/>
              <a:gd name="connsiteY26" fmla="*/ 7843 h 10000"/>
              <a:gd name="connsiteX27" fmla="*/ 7542 w 10000"/>
              <a:gd name="connsiteY27" fmla="*/ 7634 h 10000"/>
              <a:gd name="connsiteX28" fmla="*/ 7867 w 10000"/>
              <a:gd name="connsiteY28" fmla="*/ 7377 h 10000"/>
              <a:gd name="connsiteX29" fmla="*/ 8114 w 10000"/>
              <a:gd name="connsiteY29" fmla="*/ 7157 h 10000"/>
              <a:gd name="connsiteX30" fmla="*/ 8393 w 10000"/>
              <a:gd name="connsiteY30" fmla="*/ 6887 h 10000"/>
              <a:gd name="connsiteX31" fmla="*/ 8670 w 10000"/>
              <a:gd name="connsiteY31" fmla="*/ 6605 h 10000"/>
              <a:gd name="connsiteX32" fmla="*/ 8871 w 10000"/>
              <a:gd name="connsiteY32" fmla="*/ 6299 h 10000"/>
              <a:gd name="connsiteX33" fmla="*/ 9088 w 10000"/>
              <a:gd name="connsiteY33" fmla="*/ 6029 h 10000"/>
              <a:gd name="connsiteX34" fmla="*/ 9242 w 10000"/>
              <a:gd name="connsiteY34" fmla="*/ 5772 h 10000"/>
              <a:gd name="connsiteX35" fmla="*/ 9458 w 10000"/>
              <a:gd name="connsiteY35" fmla="*/ 5379 h 10000"/>
              <a:gd name="connsiteX36" fmla="*/ 9597 w 10000"/>
              <a:gd name="connsiteY36" fmla="*/ 5073 h 10000"/>
              <a:gd name="connsiteX37" fmla="*/ 9768 w 10000"/>
              <a:gd name="connsiteY37" fmla="*/ 4657 h 10000"/>
              <a:gd name="connsiteX38" fmla="*/ 9876 w 10000"/>
              <a:gd name="connsiteY38" fmla="*/ 4191 h 10000"/>
              <a:gd name="connsiteX39" fmla="*/ 9953 w 10000"/>
              <a:gd name="connsiteY39" fmla="*/ 3775 h 10000"/>
              <a:gd name="connsiteX40" fmla="*/ 10000 w 10000"/>
              <a:gd name="connsiteY40" fmla="*/ 3407 h 10000"/>
              <a:gd name="connsiteX41" fmla="*/ 10000 w 10000"/>
              <a:gd name="connsiteY41" fmla="*/ 3015 h 10000"/>
              <a:gd name="connsiteX42" fmla="*/ 9984 w 10000"/>
              <a:gd name="connsiteY42" fmla="*/ 2696 h 10000"/>
              <a:gd name="connsiteX43" fmla="*/ 9922 w 10000"/>
              <a:gd name="connsiteY43" fmla="*/ 2218 h 10000"/>
              <a:gd name="connsiteX44" fmla="*/ 9768 w 10000"/>
              <a:gd name="connsiteY44" fmla="*/ 1740 h 10000"/>
              <a:gd name="connsiteX45" fmla="*/ 9628 w 10000"/>
              <a:gd name="connsiteY45" fmla="*/ 1324 h 10000"/>
              <a:gd name="connsiteX46" fmla="*/ 9458 w 10000"/>
              <a:gd name="connsiteY46" fmla="*/ 980 h 10000"/>
              <a:gd name="connsiteX47" fmla="*/ 9304 w 10000"/>
              <a:gd name="connsiteY47" fmla="*/ 699 h 10000"/>
              <a:gd name="connsiteX48" fmla="*/ 9165 w 10000"/>
              <a:gd name="connsiteY48" fmla="*/ 478 h 10000"/>
              <a:gd name="connsiteX49" fmla="*/ 8994 w 10000"/>
              <a:gd name="connsiteY4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728 w 10000"/>
              <a:gd name="connsiteY5" fmla="*/ 4142 h 10000"/>
              <a:gd name="connsiteX6" fmla="*/ 1708 w 10000"/>
              <a:gd name="connsiteY6" fmla="*/ 5025 h 10000"/>
              <a:gd name="connsiteX7" fmla="*/ 565 w 10000"/>
              <a:gd name="connsiteY7" fmla="*/ 5393 h 10000"/>
              <a:gd name="connsiteX8" fmla="*/ 2102 w 10000"/>
              <a:gd name="connsiteY8" fmla="*/ 7634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6 h 10000"/>
              <a:gd name="connsiteX13" fmla="*/ 1824 w 10000"/>
              <a:gd name="connsiteY13" fmla="*/ 9877 h 10000"/>
              <a:gd name="connsiteX14" fmla="*/ 2302 w 10000"/>
              <a:gd name="connsiteY14" fmla="*/ 9792 h 10000"/>
              <a:gd name="connsiteX15" fmla="*/ 2782 w 10000"/>
              <a:gd name="connsiteY15" fmla="*/ 9706 h 10000"/>
              <a:gd name="connsiteX16" fmla="*/ 3153 w 10000"/>
              <a:gd name="connsiteY16" fmla="*/ 9620 h 10000"/>
              <a:gd name="connsiteX17" fmla="*/ 3554 w 10000"/>
              <a:gd name="connsiteY17" fmla="*/ 9521 h 10000"/>
              <a:gd name="connsiteX18" fmla="*/ 4049 w 10000"/>
              <a:gd name="connsiteY18" fmla="*/ 9387 h 10000"/>
              <a:gd name="connsiteX19" fmla="*/ 4467 w 10000"/>
              <a:gd name="connsiteY19" fmla="*/ 9240 h 10000"/>
              <a:gd name="connsiteX20" fmla="*/ 4868 w 10000"/>
              <a:gd name="connsiteY20" fmla="*/ 9105 h 10000"/>
              <a:gd name="connsiteX21" fmla="*/ 5301 w 10000"/>
              <a:gd name="connsiteY21" fmla="*/ 8922 h 10000"/>
              <a:gd name="connsiteX22" fmla="*/ 5734 w 10000"/>
              <a:gd name="connsiteY22" fmla="*/ 8737 h 10000"/>
              <a:gd name="connsiteX23" fmla="*/ 6089 w 10000"/>
              <a:gd name="connsiteY23" fmla="*/ 8566 h 10000"/>
              <a:gd name="connsiteX24" fmla="*/ 6491 w 10000"/>
              <a:gd name="connsiteY24" fmla="*/ 8333 h 10000"/>
              <a:gd name="connsiteX25" fmla="*/ 6893 w 10000"/>
              <a:gd name="connsiteY25" fmla="*/ 8101 h 10000"/>
              <a:gd name="connsiteX26" fmla="*/ 7249 w 10000"/>
              <a:gd name="connsiteY26" fmla="*/ 7843 h 10000"/>
              <a:gd name="connsiteX27" fmla="*/ 7542 w 10000"/>
              <a:gd name="connsiteY27" fmla="*/ 7634 h 10000"/>
              <a:gd name="connsiteX28" fmla="*/ 7867 w 10000"/>
              <a:gd name="connsiteY28" fmla="*/ 7377 h 10000"/>
              <a:gd name="connsiteX29" fmla="*/ 8114 w 10000"/>
              <a:gd name="connsiteY29" fmla="*/ 7157 h 10000"/>
              <a:gd name="connsiteX30" fmla="*/ 8393 w 10000"/>
              <a:gd name="connsiteY30" fmla="*/ 6887 h 10000"/>
              <a:gd name="connsiteX31" fmla="*/ 8670 w 10000"/>
              <a:gd name="connsiteY31" fmla="*/ 6605 h 10000"/>
              <a:gd name="connsiteX32" fmla="*/ 8871 w 10000"/>
              <a:gd name="connsiteY32" fmla="*/ 6299 h 10000"/>
              <a:gd name="connsiteX33" fmla="*/ 9088 w 10000"/>
              <a:gd name="connsiteY33" fmla="*/ 6029 h 10000"/>
              <a:gd name="connsiteX34" fmla="*/ 9242 w 10000"/>
              <a:gd name="connsiteY34" fmla="*/ 5772 h 10000"/>
              <a:gd name="connsiteX35" fmla="*/ 9458 w 10000"/>
              <a:gd name="connsiteY35" fmla="*/ 5379 h 10000"/>
              <a:gd name="connsiteX36" fmla="*/ 9597 w 10000"/>
              <a:gd name="connsiteY36" fmla="*/ 5073 h 10000"/>
              <a:gd name="connsiteX37" fmla="*/ 9768 w 10000"/>
              <a:gd name="connsiteY37" fmla="*/ 4657 h 10000"/>
              <a:gd name="connsiteX38" fmla="*/ 9876 w 10000"/>
              <a:gd name="connsiteY38" fmla="*/ 4191 h 10000"/>
              <a:gd name="connsiteX39" fmla="*/ 9953 w 10000"/>
              <a:gd name="connsiteY39" fmla="*/ 3775 h 10000"/>
              <a:gd name="connsiteX40" fmla="*/ 10000 w 10000"/>
              <a:gd name="connsiteY40" fmla="*/ 3407 h 10000"/>
              <a:gd name="connsiteX41" fmla="*/ 10000 w 10000"/>
              <a:gd name="connsiteY41" fmla="*/ 3015 h 10000"/>
              <a:gd name="connsiteX42" fmla="*/ 9984 w 10000"/>
              <a:gd name="connsiteY42" fmla="*/ 2696 h 10000"/>
              <a:gd name="connsiteX43" fmla="*/ 9922 w 10000"/>
              <a:gd name="connsiteY43" fmla="*/ 2218 h 10000"/>
              <a:gd name="connsiteX44" fmla="*/ 9768 w 10000"/>
              <a:gd name="connsiteY44" fmla="*/ 1740 h 10000"/>
              <a:gd name="connsiteX45" fmla="*/ 9628 w 10000"/>
              <a:gd name="connsiteY45" fmla="*/ 1324 h 10000"/>
              <a:gd name="connsiteX46" fmla="*/ 9458 w 10000"/>
              <a:gd name="connsiteY46" fmla="*/ 980 h 10000"/>
              <a:gd name="connsiteX47" fmla="*/ 9304 w 10000"/>
              <a:gd name="connsiteY47" fmla="*/ 699 h 10000"/>
              <a:gd name="connsiteX48" fmla="*/ 9165 w 10000"/>
              <a:gd name="connsiteY48" fmla="*/ 478 h 10000"/>
              <a:gd name="connsiteX49" fmla="*/ 8994 w 10000"/>
              <a:gd name="connsiteY4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747 w 10000"/>
              <a:gd name="connsiteY5" fmla="*/ 4178 h 10000"/>
              <a:gd name="connsiteX6" fmla="*/ 1708 w 10000"/>
              <a:gd name="connsiteY6" fmla="*/ 5025 h 10000"/>
              <a:gd name="connsiteX7" fmla="*/ 565 w 10000"/>
              <a:gd name="connsiteY7" fmla="*/ 5393 h 10000"/>
              <a:gd name="connsiteX8" fmla="*/ 2102 w 10000"/>
              <a:gd name="connsiteY8" fmla="*/ 7634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6 h 10000"/>
              <a:gd name="connsiteX13" fmla="*/ 1824 w 10000"/>
              <a:gd name="connsiteY13" fmla="*/ 9877 h 10000"/>
              <a:gd name="connsiteX14" fmla="*/ 2302 w 10000"/>
              <a:gd name="connsiteY14" fmla="*/ 9792 h 10000"/>
              <a:gd name="connsiteX15" fmla="*/ 2782 w 10000"/>
              <a:gd name="connsiteY15" fmla="*/ 9706 h 10000"/>
              <a:gd name="connsiteX16" fmla="*/ 3153 w 10000"/>
              <a:gd name="connsiteY16" fmla="*/ 9620 h 10000"/>
              <a:gd name="connsiteX17" fmla="*/ 3554 w 10000"/>
              <a:gd name="connsiteY17" fmla="*/ 9521 h 10000"/>
              <a:gd name="connsiteX18" fmla="*/ 4049 w 10000"/>
              <a:gd name="connsiteY18" fmla="*/ 9387 h 10000"/>
              <a:gd name="connsiteX19" fmla="*/ 4467 w 10000"/>
              <a:gd name="connsiteY19" fmla="*/ 9240 h 10000"/>
              <a:gd name="connsiteX20" fmla="*/ 4868 w 10000"/>
              <a:gd name="connsiteY20" fmla="*/ 9105 h 10000"/>
              <a:gd name="connsiteX21" fmla="*/ 5301 w 10000"/>
              <a:gd name="connsiteY21" fmla="*/ 8922 h 10000"/>
              <a:gd name="connsiteX22" fmla="*/ 5734 w 10000"/>
              <a:gd name="connsiteY22" fmla="*/ 8737 h 10000"/>
              <a:gd name="connsiteX23" fmla="*/ 6089 w 10000"/>
              <a:gd name="connsiteY23" fmla="*/ 8566 h 10000"/>
              <a:gd name="connsiteX24" fmla="*/ 6491 w 10000"/>
              <a:gd name="connsiteY24" fmla="*/ 8333 h 10000"/>
              <a:gd name="connsiteX25" fmla="*/ 6893 w 10000"/>
              <a:gd name="connsiteY25" fmla="*/ 8101 h 10000"/>
              <a:gd name="connsiteX26" fmla="*/ 7249 w 10000"/>
              <a:gd name="connsiteY26" fmla="*/ 7843 h 10000"/>
              <a:gd name="connsiteX27" fmla="*/ 7542 w 10000"/>
              <a:gd name="connsiteY27" fmla="*/ 7634 h 10000"/>
              <a:gd name="connsiteX28" fmla="*/ 7867 w 10000"/>
              <a:gd name="connsiteY28" fmla="*/ 7377 h 10000"/>
              <a:gd name="connsiteX29" fmla="*/ 8114 w 10000"/>
              <a:gd name="connsiteY29" fmla="*/ 7157 h 10000"/>
              <a:gd name="connsiteX30" fmla="*/ 8393 w 10000"/>
              <a:gd name="connsiteY30" fmla="*/ 6887 h 10000"/>
              <a:gd name="connsiteX31" fmla="*/ 8670 w 10000"/>
              <a:gd name="connsiteY31" fmla="*/ 6605 h 10000"/>
              <a:gd name="connsiteX32" fmla="*/ 8871 w 10000"/>
              <a:gd name="connsiteY32" fmla="*/ 6299 h 10000"/>
              <a:gd name="connsiteX33" fmla="*/ 9088 w 10000"/>
              <a:gd name="connsiteY33" fmla="*/ 6029 h 10000"/>
              <a:gd name="connsiteX34" fmla="*/ 9242 w 10000"/>
              <a:gd name="connsiteY34" fmla="*/ 5772 h 10000"/>
              <a:gd name="connsiteX35" fmla="*/ 9458 w 10000"/>
              <a:gd name="connsiteY35" fmla="*/ 5379 h 10000"/>
              <a:gd name="connsiteX36" fmla="*/ 9597 w 10000"/>
              <a:gd name="connsiteY36" fmla="*/ 5073 h 10000"/>
              <a:gd name="connsiteX37" fmla="*/ 9768 w 10000"/>
              <a:gd name="connsiteY37" fmla="*/ 4657 h 10000"/>
              <a:gd name="connsiteX38" fmla="*/ 9876 w 10000"/>
              <a:gd name="connsiteY38" fmla="*/ 4191 h 10000"/>
              <a:gd name="connsiteX39" fmla="*/ 9953 w 10000"/>
              <a:gd name="connsiteY39" fmla="*/ 3775 h 10000"/>
              <a:gd name="connsiteX40" fmla="*/ 10000 w 10000"/>
              <a:gd name="connsiteY40" fmla="*/ 3407 h 10000"/>
              <a:gd name="connsiteX41" fmla="*/ 10000 w 10000"/>
              <a:gd name="connsiteY41" fmla="*/ 3015 h 10000"/>
              <a:gd name="connsiteX42" fmla="*/ 9984 w 10000"/>
              <a:gd name="connsiteY42" fmla="*/ 2696 h 10000"/>
              <a:gd name="connsiteX43" fmla="*/ 9922 w 10000"/>
              <a:gd name="connsiteY43" fmla="*/ 2218 h 10000"/>
              <a:gd name="connsiteX44" fmla="*/ 9768 w 10000"/>
              <a:gd name="connsiteY44" fmla="*/ 1740 h 10000"/>
              <a:gd name="connsiteX45" fmla="*/ 9628 w 10000"/>
              <a:gd name="connsiteY45" fmla="*/ 1324 h 10000"/>
              <a:gd name="connsiteX46" fmla="*/ 9458 w 10000"/>
              <a:gd name="connsiteY46" fmla="*/ 980 h 10000"/>
              <a:gd name="connsiteX47" fmla="*/ 9304 w 10000"/>
              <a:gd name="connsiteY47" fmla="*/ 699 h 10000"/>
              <a:gd name="connsiteX48" fmla="*/ 9165 w 10000"/>
              <a:gd name="connsiteY48" fmla="*/ 478 h 10000"/>
              <a:gd name="connsiteX49" fmla="*/ 8994 w 10000"/>
              <a:gd name="connsiteY4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747 w 10000"/>
              <a:gd name="connsiteY5" fmla="*/ 4178 h 10000"/>
              <a:gd name="connsiteX6" fmla="*/ 1708 w 10000"/>
              <a:gd name="connsiteY6" fmla="*/ 5025 h 10000"/>
              <a:gd name="connsiteX7" fmla="*/ 565 w 10000"/>
              <a:gd name="connsiteY7" fmla="*/ 5393 h 10000"/>
              <a:gd name="connsiteX8" fmla="*/ 2102 w 10000"/>
              <a:gd name="connsiteY8" fmla="*/ 7634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6 h 10000"/>
              <a:gd name="connsiteX13" fmla="*/ 1824 w 10000"/>
              <a:gd name="connsiteY13" fmla="*/ 9877 h 10000"/>
              <a:gd name="connsiteX14" fmla="*/ 2302 w 10000"/>
              <a:gd name="connsiteY14" fmla="*/ 9792 h 10000"/>
              <a:gd name="connsiteX15" fmla="*/ 2782 w 10000"/>
              <a:gd name="connsiteY15" fmla="*/ 9706 h 10000"/>
              <a:gd name="connsiteX16" fmla="*/ 3153 w 10000"/>
              <a:gd name="connsiteY16" fmla="*/ 9620 h 10000"/>
              <a:gd name="connsiteX17" fmla="*/ 3554 w 10000"/>
              <a:gd name="connsiteY17" fmla="*/ 9521 h 10000"/>
              <a:gd name="connsiteX18" fmla="*/ 4049 w 10000"/>
              <a:gd name="connsiteY18" fmla="*/ 9387 h 10000"/>
              <a:gd name="connsiteX19" fmla="*/ 4467 w 10000"/>
              <a:gd name="connsiteY19" fmla="*/ 9240 h 10000"/>
              <a:gd name="connsiteX20" fmla="*/ 4868 w 10000"/>
              <a:gd name="connsiteY20" fmla="*/ 9105 h 10000"/>
              <a:gd name="connsiteX21" fmla="*/ 5301 w 10000"/>
              <a:gd name="connsiteY21" fmla="*/ 8922 h 10000"/>
              <a:gd name="connsiteX22" fmla="*/ 5734 w 10000"/>
              <a:gd name="connsiteY22" fmla="*/ 8737 h 10000"/>
              <a:gd name="connsiteX23" fmla="*/ 6089 w 10000"/>
              <a:gd name="connsiteY23" fmla="*/ 8566 h 10000"/>
              <a:gd name="connsiteX24" fmla="*/ 6491 w 10000"/>
              <a:gd name="connsiteY24" fmla="*/ 8333 h 10000"/>
              <a:gd name="connsiteX25" fmla="*/ 6893 w 10000"/>
              <a:gd name="connsiteY25" fmla="*/ 8101 h 10000"/>
              <a:gd name="connsiteX26" fmla="*/ 7249 w 10000"/>
              <a:gd name="connsiteY26" fmla="*/ 7843 h 10000"/>
              <a:gd name="connsiteX27" fmla="*/ 7542 w 10000"/>
              <a:gd name="connsiteY27" fmla="*/ 7634 h 10000"/>
              <a:gd name="connsiteX28" fmla="*/ 7867 w 10000"/>
              <a:gd name="connsiteY28" fmla="*/ 7377 h 10000"/>
              <a:gd name="connsiteX29" fmla="*/ 8114 w 10000"/>
              <a:gd name="connsiteY29" fmla="*/ 7157 h 10000"/>
              <a:gd name="connsiteX30" fmla="*/ 8393 w 10000"/>
              <a:gd name="connsiteY30" fmla="*/ 6887 h 10000"/>
              <a:gd name="connsiteX31" fmla="*/ 8670 w 10000"/>
              <a:gd name="connsiteY31" fmla="*/ 6605 h 10000"/>
              <a:gd name="connsiteX32" fmla="*/ 8871 w 10000"/>
              <a:gd name="connsiteY32" fmla="*/ 6299 h 10000"/>
              <a:gd name="connsiteX33" fmla="*/ 9088 w 10000"/>
              <a:gd name="connsiteY33" fmla="*/ 6029 h 10000"/>
              <a:gd name="connsiteX34" fmla="*/ 9242 w 10000"/>
              <a:gd name="connsiteY34" fmla="*/ 5772 h 10000"/>
              <a:gd name="connsiteX35" fmla="*/ 9458 w 10000"/>
              <a:gd name="connsiteY35" fmla="*/ 5379 h 10000"/>
              <a:gd name="connsiteX36" fmla="*/ 9597 w 10000"/>
              <a:gd name="connsiteY36" fmla="*/ 5073 h 10000"/>
              <a:gd name="connsiteX37" fmla="*/ 9768 w 10000"/>
              <a:gd name="connsiteY37" fmla="*/ 4657 h 10000"/>
              <a:gd name="connsiteX38" fmla="*/ 9876 w 10000"/>
              <a:gd name="connsiteY38" fmla="*/ 4191 h 10000"/>
              <a:gd name="connsiteX39" fmla="*/ 9953 w 10000"/>
              <a:gd name="connsiteY39" fmla="*/ 3775 h 10000"/>
              <a:gd name="connsiteX40" fmla="*/ 10000 w 10000"/>
              <a:gd name="connsiteY40" fmla="*/ 3407 h 10000"/>
              <a:gd name="connsiteX41" fmla="*/ 10000 w 10000"/>
              <a:gd name="connsiteY41" fmla="*/ 3015 h 10000"/>
              <a:gd name="connsiteX42" fmla="*/ 9984 w 10000"/>
              <a:gd name="connsiteY42" fmla="*/ 2696 h 10000"/>
              <a:gd name="connsiteX43" fmla="*/ 9922 w 10000"/>
              <a:gd name="connsiteY43" fmla="*/ 2218 h 10000"/>
              <a:gd name="connsiteX44" fmla="*/ 9768 w 10000"/>
              <a:gd name="connsiteY44" fmla="*/ 1740 h 10000"/>
              <a:gd name="connsiteX45" fmla="*/ 9628 w 10000"/>
              <a:gd name="connsiteY45" fmla="*/ 1324 h 10000"/>
              <a:gd name="connsiteX46" fmla="*/ 9458 w 10000"/>
              <a:gd name="connsiteY46" fmla="*/ 980 h 10000"/>
              <a:gd name="connsiteX47" fmla="*/ 9304 w 10000"/>
              <a:gd name="connsiteY47" fmla="*/ 699 h 10000"/>
              <a:gd name="connsiteX48" fmla="*/ 9165 w 10000"/>
              <a:gd name="connsiteY48" fmla="*/ 478 h 10000"/>
              <a:gd name="connsiteX49" fmla="*/ 8994 w 10000"/>
              <a:gd name="connsiteY4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765 w 10000"/>
              <a:gd name="connsiteY5" fmla="*/ 4254 h 10000"/>
              <a:gd name="connsiteX6" fmla="*/ 1708 w 10000"/>
              <a:gd name="connsiteY6" fmla="*/ 5025 h 10000"/>
              <a:gd name="connsiteX7" fmla="*/ 565 w 10000"/>
              <a:gd name="connsiteY7" fmla="*/ 5393 h 10000"/>
              <a:gd name="connsiteX8" fmla="*/ 2102 w 10000"/>
              <a:gd name="connsiteY8" fmla="*/ 7634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6 h 10000"/>
              <a:gd name="connsiteX13" fmla="*/ 1824 w 10000"/>
              <a:gd name="connsiteY13" fmla="*/ 9877 h 10000"/>
              <a:gd name="connsiteX14" fmla="*/ 2302 w 10000"/>
              <a:gd name="connsiteY14" fmla="*/ 9792 h 10000"/>
              <a:gd name="connsiteX15" fmla="*/ 2782 w 10000"/>
              <a:gd name="connsiteY15" fmla="*/ 9706 h 10000"/>
              <a:gd name="connsiteX16" fmla="*/ 3153 w 10000"/>
              <a:gd name="connsiteY16" fmla="*/ 9620 h 10000"/>
              <a:gd name="connsiteX17" fmla="*/ 3554 w 10000"/>
              <a:gd name="connsiteY17" fmla="*/ 9521 h 10000"/>
              <a:gd name="connsiteX18" fmla="*/ 4049 w 10000"/>
              <a:gd name="connsiteY18" fmla="*/ 9387 h 10000"/>
              <a:gd name="connsiteX19" fmla="*/ 4467 w 10000"/>
              <a:gd name="connsiteY19" fmla="*/ 9240 h 10000"/>
              <a:gd name="connsiteX20" fmla="*/ 4868 w 10000"/>
              <a:gd name="connsiteY20" fmla="*/ 9105 h 10000"/>
              <a:gd name="connsiteX21" fmla="*/ 5301 w 10000"/>
              <a:gd name="connsiteY21" fmla="*/ 8922 h 10000"/>
              <a:gd name="connsiteX22" fmla="*/ 5734 w 10000"/>
              <a:gd name="connsiteY22" fmla="*/ 8737 h 10000"/>
              <a:gd name="connsiteX23" fmla="*/ 6089 w 10000"/>
              <a:gd name="connsiteY23" fmla="*/ 8566 h 10000"/>
              <a:gd name="connsiteX24" fmla="*/ 6491 w 10000"/>
              <a:gd name="connsiteY24" fmla="*/ 8333 h 10000"/>
              <a:gd name="connsiteX25" fmla="*/ 6893 w 10000"/>
              <a:gd name="connsiteY25" fmla="*/ 8101 h 10000"/>
              <a:gd name="connsiteX26" fmla="*/ 7249 w 10000"/>
              <a:gd name="connsiteY26" fmla="*/ 7843 h 10000"/>
              <a:gd name="connsiteX27" fmla="*/ 7542 w 10000"/>
              <a:gd name="connsiteY27" fmla="*/ 7634 h 10000"/>
              <a:gd name="connsiteX28" fmla="*/ 7867 w 10000"/>
              <a:gd name="connsiteY28" fmla="*/ 7377 h 10000"/>
              <a:gd name="connsiteX29" fmla="*/ 8114 w 10000"/>
              <a:gd name="connsiteY29" fmla="*/ 7157 h 10000"/>
              <a:gd name="connsiteX30" fmla="*/ 8393 w 10000"/>
              <a:gd name="connsiteY30" fmla="*/ 6887 h 10000"/>
              <a:gd name="connsiteX31" fmla="*/ 8670 w 10000"/>
              <a:gd name="connsiteY31" fmla="*/ 6605 h 10000"/>
              <a:gd name="connsiteX32" fmla="*/ 8871 w 10000"/>
              <a:gd name="connsiteY32" fmla="*/ 6299 h 10000"/>
              <a:gd name="connsiteX33" fmla="*/ 9088 w 10000"/>
              <a:gd name="connsiteY33" fmla="*/ 6029 h 10000"/>
              <a:gd name="connsiteX34" fmla="*/ 9242 w 10000"/>
              <a:gd name="connsiteY34" fmla="*/ 5772 h 10000"/>
              <a:gd name="connsiteX35" fmla="*/ 9458 w 10000"/>
              <a:gd name="connsiteY35" fmla="*/ 5379 h 10000"/>
              <a:gd name="connsiteX36" fmla="*/ 9597 w 10000"/>
              <a:gd name="connsiteY36" fmla="*/ 5073 h 10000"/>
              <a:gd name="connsiteX37" fmla="*/ 9768 w 10000"/>
              <a:gd name="connsiteY37" fmla="*/ 4657 h 10000"/>
              <a:gd name="connsiteX38" fmla="*/ 9876 w 10000"/>
              <a:gd name="connsiteY38" fmla="*/ 4191 h 10000"/>
              <a:gd name="connsiteX39" fmla="*/ 9953 w 10000"/>
              <a:gd name="connsiteY39" fmla="*/ 3775 h 10000"/>
              <a:gd name="connsiteX40" fmla="*/ 10000 w 10000"/>
              <a:gd name="connsiteY40" fmla="*/ 3407 h 10000"/>
              <a:gd name="connsiteX41" fmla="*/ 10000 w 10000"/>
              <a:gd name="connsiteY41" fmla="*/ 3015 h 10000"/>
              <a:gd name="connsiteX42" fmla="*/ 9984 w 10000"/>
              <a:gd name="connsiteY42" fmla="*/ 2696 h 10000"/>
              <a:gd name="connsiteX43" fmla="*/ 9922 w 10000"/>
              <a:gd name="connsiteY43" fmla="*/ 2218 h 10000"/>
              <a:gd name="connsiteX44" fmla="*/ 9768 w 10000"/>
              <a:gd name="connsiteY44" fmla="*/ 1740 h 10000"/>
              <a:gd name="connsiteX45" fmla="*/ 9628 w 10000"/>
              <a:gd name="connsiteY45" fmla="*/ 1324 h 10000"/>
              <a:gd name="connsiteX46" fmla="*/ 9458 w 10000"/>
              <a:gd name="connsiteY46" fmla="*/ 980 h 10000"/>
              <a:gd name="connsiteX47" fmla="*/ 9304 w 10000"/>
              <a:gd name="connsiteY47" fmla="*/ 699 h 10000"/>
              <a:gd name="connsiteX48" fmla="*/ 9165 w 10000"/>
              <a:gd name="connsiteY48" fmla="*/ 478 h 10000"/>
              <a:gd name="connsiteX49" fmla="*/ 8994 w 10000"/>
              <a:gd name="connsiteY4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765 w 10000"/>
              <a:gd name="connsiteY5" fmla="*/ 4254 h 10000"/>
              <a:gd name="connsiteX6" fmla="*/ 1708 w 10000"/>
              <a:gd name="connsiteY6" fmla="*/ 5025 h 10000"/>
              <a:gd name="connsiteX7" fmla="*/ 565 w 10000"/>
              <a:gd name="connsiteY7" fmla="*/ 5393 h 10000"/>
              <a:gd name="connsiteX8" fmla="*/ 2102 w 10000"/>
              <a:gd name="connsiteY8" fmla="*/ 7634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6 h 10000"/>
              <a:gd name="connsiteX13" fmla="*/ 1824 w 10000"/>
              <a:gd name="connsiteY13" fmla="*/ 9877 h 10000"/>
              <a:gd name="connsiteX14" fmla="*/ 2302 w 10000"/>
              <a:gd name="connsiteY14" fmla="*/ 9792 h 10000"/>
              <a:gd name="connsiteX15" fmla="*/ 2782 w 10000"/>
              <a:gd name="connsiteY15" fmla="*/ 9706 h 10000"/>
              <a:gd name="connsiteX16" fmla="*/ 3153 w 10000"/>
              <a:gd name="connsiteY16" fmla="*/ 9620 h 10000"/>
              <a:gd name="connsiteX17" fmla="*/ 3554 w 10000"/>
              <a:gd name="connsiteY17" fmla="*/ 9521 h 10000"/>
              <a:gd name="connsiteX18" fmla="*/ 4049 w 10000"/>
              <a:gd name="connsiteY18" fmla="*/ 9387 h 10000"/>
              <a:gd name="connsiteX19" fmla="*/ 4467 w 10000"/>
              <a:gd name="connsiteY19" fmla="*/ 9240 h 10000"/>
              <a:gd name="connsiteX20" fmla="*/ 4868 w 10000"/>
              <a:gd name="connsiteY20" fmla="*/ 9105 h 10000"/>
              <a:gd name="connsiteX21" fmla="*/ 5301 w 10000"/>
              <a:gd name="connsiteY21" fmla="*/ 8922 h 10000"/>
              <a:gd name="connsiteX22" fmla="*/ 5734 w 10000"/>
              <a:gd name="connsiteY22" fmla="*/ 8737 h 10000"/>
              <a:gd name="connsiteX23" fmla="*/ 6089 w 10000"/>
              <a:gd name="connsiteY23" fmla="*/ 8566 h 10000"/>
              <a:gd name="connsiteX24" fmla="*/ 6491 w 10000"/>
              <a:gd name="connsiteY24" fmla="*/ 8333 h 10000"/>
              <a:gd name="connsiteX25" fmla="*/ 6893 w 10000"/>
              <a:gd name="connsiteY25" fmla="*/ 8101 h 10000"/>
              <a:gd name="connsiteX26" fmla="*/ 7249 w 10000"/>
              <a:gd name="connsiteY26" fmla="*/ 7843 h 10000"/>
              <a:gd name="connsiteX27" fmla="*/ 7542 w 10000"/>
              <a:gd name="connsiteY27" fmla="*/ 7634 h 10000"/>
              <a:gd name="connsiteX28" fmla="*/ 7867 w 10000"/>
              <a:gd name="connsiteY28" fmla="*/ 7377 h 10000"/>
              <a:gd name="connsiteX29" fmla="*/ 8114 w 10000"/>
              <a:gd name="connsiteY29" fmla="*/ 7157 h 10000"/>
              <a:gd name="connsiteX30" fmla="*/ 8393 w 10000"/>
              <a:gd name="connsiteY30" fmla="*/ 6887 h 10000"/>
              <a:gd name="connsiteX31" fmla="*/ 8670 w 10000"/>
              <a:gd name="connsiteY31" fmla="*/ 6605 h 10000"/>
              <a:gd name="connsiteX32" fmla="*/ 8871 w 10000"/>
              <a:gd name="connsiteY32" fmla="*/ 6299 h 10000"/>
              <a:gd name="connsiteX33" fmla="*/ 9088 w 10000"/>
              <a:gd name="connsiteY33" fmla="*/ 6029 h 10000"/>
              <a:gd name="connsiteX34" fmla="*/ 9242 w 10000"/>
              <a:gd name="connsiteY34" fmla="*/ 5772 h 10000"/>
              <a:gd name="connsiteX35" fmla="*/ 9458 w 10000"/>
              <a:gd name="connsiteY35" fmla="*/ 5379 h 10000"/>
              <a:gd name="connsiteX36" fmla="*/ 9597 w 10000"/>
              <a:gd name="connsiteY36" fmla="*/ 5073 h 10000"/>
              <a:gd name="connsiteX37" fmla="*/ 9768 w 10000"/>
              <a:gd name="connsiteY37" fmla="*/ 4657 h 10000"/>
              <a:gd name="connsiteX38" fmla="*/ 9876 w 10000"/>
              <a:gd name="connsiteY38" fmla="*/ 4191 h 10000"/>
              <a:gd name="connsiteX39" fmla="*/ 9953 w 10000"/>
              <a:gd name="connsiteY39" fmla="*/ 3775 h 10000"/>
              <a:gd name="connsiteX40" fmla="*/ 10000 w 10000"/>
              <a:gd name="connsiteY40" fmla="*/ 3407 h 10000"/>
              <a:gd name="connsiteX41" fmla="*/ 10000 w 10000"/>
              <a:gd name="connsiteY41" fmla="*/ 3015 h 10000"/>
              <a:gd name="connsiteX42" fmla="*/ 9984 w 10000"/>
              <a:gd name="connsiteY42" fmla="*/ 2696 h 10000"/>
              <a:gd name="connsiteX43" fmla="*/ 9922 w 10000"/>
              <a:gd name="connsiteY43" fmla="*/ 2218 h 10000"/>
              <a:gd name="connsiteX44" fmla="*/ 9768 w 10000"/>
              <a:gd name="connsiteY44" fmla="*/ 1740 h 10000"/>
              <a:gd name="connsiteX45" fmla="*/ 9628 w 10000"/>
              <a:gd name="connsiteY45" fmla="*/ 1324 h 10000"/>
              <a:gd name="connsiteX46" fmla="*/ 9458 w 10000"/>
              <a:gd name="connsiteY46" fmla="*/ 980 h 10000"/>
              <a:gd name="connsiteX47" fmla="*/ 9304 w 10000"/>
              <a:gd name="connsiteY47" fmla="*/ 699 h 10000"/>
              <a:gd name="connsiteX48" fmla="*/ 9165 w 10000"/>
              <a:gd name="connsiteY48" fmla="*/ 478 h 10000"/>
              <a:gd name="connsiteX49" fmla="*/ 8994 w 10000"/>
              <a:gd name="connsiteY4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705 w 10000"/>
              <a:gd name="connsiteY5" fmla="*/ 4245 h 10000"/>
              <a:gd name="connsiteX6" fmla="*/ 1708 w 10000"/>
              <a:gd name="connsiteY6" fmla="*/ 5025 h 10000"/>
              <a:gd name="connsiteX7" fmla="*/ 565 w 10000"/>
              <a:gd name="connsiteY7" fmla="*/ 5393 h 10000"/>
              <a:gd name="connsiteX8" fmla="*/ 2102 w 10000"/>
              <a:gd name="connsiteY8" fmla="*/ 7634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6 h 10000"/>
              <a:gd name="connsiteX13" fmla="*/ 1824 w 10000"/>
              <a:gd name="connsiteY13" fmla="*/ 9877 h 10000"/>
              <a:gd name="connsiteX14" fmla="*/ 2302 w 10000"/>
              <a:gd name="connsiteY14" fmla="*/ 9792 h 10000"/>
              <a:gd name="connsiteX15" fmla="*/ 2782 w 10000"/>
              <a:gd name="connsiteY15" fmla="*/ 9706 h 10000"/>
              <a:gd name="connsiteX16" fmla="*/ 3153 w 10000"/>
              <a:gd name="connsiteY16" fmla="*/ 9620 h 10000"/>
              <a:gd name="connsiteX17" fmla="*/ 3554 w 10000"/>
              <a:gd name="connsiteY17" fmla="*/ 9521 h 10000"/>
              <a:gd name="connsiteX18" fmla="*/ 4049 w 10000"/>
              <a:gd name="connsiteY18" fmla="*/ 9387 h 10000"/>
              <a:gd name="connsiteX19" fmla="*/ 4467 w 10000"/>
              <a:gd name="connsiteY19" fmla="*/ 9240 h 10000"/>
              <a:gd name="connsiteX20" fmla="*/ 4868 w 10000"/>
              <a:gd name="connsiteY20" fmla="*/ 9105 h 10000"/>
              <a:gd name="connsiteX21" fmla="*/ 5301 w 10000"/>
              <a:gd name="connsiteY21" fmla="*/ 8922 h 10000"/>
              <a:gd name="connsiteX22" fmla="*/ 5734 w 10000"/>
              <a:gd name="connsiteY22" fmla="*/ 8737 h 10000"/>
              <a:gd name="connsiteX23" fmla="*/ 6089 w 10000"/>
              <a:gd name="connsiteY23" fmla="*/ 8566 h 10000"/>
              <a:gd name="connsiteX24" fmla="*/ 6491 w 10000"/>
              <a:gd name="connsiteY24" fmla="*/ 8333 h 10000"/>
              <a:gd name="connsiteX25" fmla="*/ 6893 w 10000"/>
              <a:gd name="connsiteY25" fmla="*/ 8101 h 10000"/>
              <a:gd name="connsiteX26" fmla="*/ 7249 w 10000"/>
              <a:gd name="connsiteY26" fmla="*/ 7843 h 10000"/>
              <a:gd name="connsiteX27" fmla="*/ 7542 w 10000"/>
              <a:gd name="connsiteY27" fmla="*/ 7634 h 10000"/>
              <a:gd name="connsiteX28" fmla="*/ 7867 w 10000"/>
              <a:gd name="connsiteY28" fmla="*/ 7377 h 10000"/>
              <a:gd name="connsiteX29" fmla="*/ 8114 w 10000"/>
              <a:gd name="connsiteY29" fmla="*/ 7157 h 10000"/>
              <a:gd name="connsiteX30" fmla="*/ 8393 w 10000"/>
              <a:gd name="connsiteY30" fmla="*/ 6887 h 10000"/>
              <a:gd name="connsiteX31" fmla="*/ 8670 w 10000"/>
              <a:gd name="connsiteY31" fmla="*/ 6605 h 10000"/>
              <a:gd name="connsiteX32" fmla="*/ 8871 w 10000"/>
              <a:gd name="connsiteY32" fmla="*/ 6299 h 10000"/>
              <a:gd name="connsiteX33" fmla="*/ 9088 w 10000"/>
              <a:gd name="connsiteY33" fmla="*/ 6029 h 10000"/>
              <a:gd name="connsiteX34" fmla="*/ 9242 w 10000"/>
              <a:gd name="connsiteY34" fmla="*/ 5772 h 10000"/>
              <a:gd name="connsiteX35" fmla="*/ 9458 w 10000"/>
              <a:gd name="connsiteY35" fmla="*/ 5379 h 10000"/>
              <a:gd name="connsiteX36" fmla="*/ 9597 w 10000"/>
              <a:gd name="connsiteY36" fmla="*/ 5073 h 10000"/>
              <a:gd name="connsiteX37" fmla="*/ 9768 w 10000"/>
              <a:gd name="connsiteY37" fmla="*/ 4657 h 10000"/>
              <a:gd name="connsiteX38" fmla="*/ 9876 w 10000"/>
              <a:gd name="connsiteY38" fmla="*/ 4191 h 10000"/>
              <a:gd name="connsiteX39" fmla="*/ 9953 w 10000"/>
              <a:gd name="connsiteY39" fmla="*/ 3775 h 10000"/>
              <a:gd name="connsiteX40" fmla="*/ 10000 w 10000"/>
              <a:gd name="connsiteY40" fmla="*/ 3407 h 10000"/>
              <a:gd name="connsiteX41" fmla="*/ 10000 w 10000"/>
              <a:gd name="connsiteY41" fmla="*/ 3015 h 10000"/>
              <a:gd name="connsiteX42" fmla="*/ 9984 w 10000"/>
              <a:gd name="connsiteY42" fmla="*/ 2696 h 10000"/>
              <a:gd name="connsiteX43" fmla="*/ 9922 w 10000"/>
              <a:gd name="connsiteY43" fmla="*/ 2218 h 10000"/>
              <a:gd name="connsiteX44" fmla="*/ 9768 w 10000"/>
              <a:gd name="connsiteY44" fmla="*/ 1740 h 10000"/>
              <a:gd name="connsiteX45" fmla="*/ 9628 w 10000"/>
              <a:gd name="connsiteY45" fmla="*/ 1324 h 10000"/>
              <a:gd name="connsiteX46" fmla="*/ 9458 w 10000"/>
              <a:gd name="connsiteY46" fmla="*/ 980 h 10000"/>
              <a:gd name="connsiteX47" fmla="*/ 9304 w 10000"/>
              <a:gd name="connsiteY47" fmla="*/ 699 h 10000"/>
              <a:gd name="connsiteX48" fmla="*/ 9165 w 10000"/>
              <a:gd name="connsiteY48" fmla="*/ 478 h 10000"/>
              <a:gd name="connsiteX49" fmla="*/ 8994 w 10000"/>
              <a:gd name="connsiteY4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690 w 10000"/>
              <a:gd name="connsiteY5" fmla="*/ 4229 h 10000"/>
              <a:gd name="connsiteX6" fmla="*/ 1708 w 10000"/>
              <a:gd name="connsiteY6" fmla="*/ 5025 h 10000"/>
              <a:gd name="connsiteX7" fmla="*/ 565 w 10000"/>
              <a:gd name="connsiteY7" fmla="*/ 5393 h 10000"/>
              <a:gd name="connsiteX8" fmla="*/ 2102 w 10000"/>
              <a:gd name="connsiteY8" fmla="*/ 7634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6 h 10000"/>
              <a:gd name="connsiteX13" fmla="*/ 1824 w 10000"/>
              <a:gd name="connsiteY13" fmla="*/ 9877 h 10000"/>
              <a:gd name="connsiteX14" fmla="*/ 2302 w 10000"/>
              <a:gd name="connsiteY14" fmla="*/ 9792 h 10000"/>
              <a:gd name="connsiteX15" fmla="*/ 2782 w 10000"/>
              <a:gd name="connsiteY15" fmla="*/ 9706 h 10000"/>
              <a:gd name="connsiteX16" fmla="*/ 3153 w 10000"/>
              <a:gd name="connsiteY16" fmla="*/ 9620 h 10000"/>
              <a:gd name="connsiteX17" fmla="*/ 3554 w 10000"/>
              <a:gd name="connsiteY17" fmla="*/ 9521 h 10000"/>
              <a:gd name="connsiteX18" fmla="*/ 4049 w 10000"/>
              <a:gd name="connsiteY18" fmla="*/ 9387 h 10000"/>
              <a:gd name="connsiteX19" fmla="*/ 4467 w 10000"/>
              <a:gd name="connsiteY19" fmla="*/ 9240 h 10000"/>
              <a:gd name="connsiteX20" fmla="*/ 4868 w 10000"/>
              <a:gd name="connsiteY20" fmla="*/ 9105 h 10000"/>
              <a:gd name="connsiteX21" fmla="*/ 5301 w 10000"/>
              <a:gd name="connsiteY21" fmla="*/ 8922 h 10000"/>
              <a:gd name="connsiteX22" fmla="*/ 5734 w 10000"/>
              <a:gd name="connsiteY22" fmla="*/ 8737 h 10000"/>
              <a:gd name="connsiteX23" fmla="*/ 6089 w 10000"/>
              <a:gd name="connsiteY23" fmla="*/ 8566 h 10000"/>
              <a:gd name="connsiteX24" fmla="*/ 6491 w 10000"/>
              <a:gd name="connsiteY24" fmla="*/ 8333 h 10000"/>
              <a:gd name="connsiteX25" fmla="*/ 6893 w 10000"/>
              <a:gd name="connsiteY25" fmla="*/ 8101 h 10000"/>
              <a:gd name="connsiteX26" fmla="*/ 7249 w 10000"/>
              <a:gd name="connsiteY26" fmla="*/ 7843 h 10000"/>
              <a:gd name="connsiteX27" fmla="*/ 7542 w 10000"/>
              <a:gd name="connsiteY27" fmla="*/ 7634 h 10000"/>
              <a:gd name="connsiteX28" fmla="*/ 7867 w 10000"/>
              <a:gd name="connsiteY28" fmla="*/ 7377 h 10000"/>
              <a:gd name="connsiteX29" fmla="*/ 8114 w 10000"/>
              <a:gd name="connsiteY29" fmla="*/ 7157 h 10000"/>
              <a:gd name="connsiteX30" fmla="*/ 8393 w 10000"/>
              <a:gd name="connsiteY30" fmla="*/ 6887 h 10000"/>
              <a:gd name="connsiteX31" fmla="*/ 8670 w 10000"/>
              <a:gd name="connsiteY31" fmla="*/ 6605 h 10000"/>
              <a:gd name="connsiteX32" fmla="*/ 8871 w 10000"/>
              <a:gd name="connsiteY32" fmla="*/ 6299 h 10000"/>
              <a:gd name="connsiteX33" fmla="*/ 9088 w 10000"/>
              <a:gd name="connsiteY33" fmla="*/ 6029 h 10000"/>
              <a:gd name="connsiteX34" fmla="*/ 9242 w 10000"/>
              <a:gd name="connsiteY34" fmla="*/ 5772 h 10000"/>
              <a:gd name="connsiteX35" fmla="*/ 9458 w 10000"/>
              <a:gd name="connsiteY35" fmla="*/ 5379 h 10000"/>
              <a:gd name="connsiteX36" fmla="*/ 9597 w 10000"/>
              <a:gd name="connsiteY36" fmla="*/ 5073 h 10000"/>
              <a:gd name="connsiteX37" fmla="*/ 9768 w 10000"/>
              <a:gd name="connsiteY37" fmla="*/ 4657 h 10000"/>
              <a:gd name="connsiteX38" fmla="*/ 9876 w 10000"/>
              <a:gd name="connsiteY38" fmla="*/ 4191 h 10000"/>
              <a:gd name="connsiteX39" fmla="*/ 9953 w 10000"/>
              <a:gd name="connsiteY39" fmla="*/ 3775 h 10000"/>
              <a:gd name="connsiteX40" fmla="*/ 10000 w 10000"/>
              <a:gd name="connsiteY40" fmla="*/ 3407 h 10000"/>
              <a:gd name="connsiteX41" fmla="*/ 10000 w 10000"/>
              <a:gd name="connsiteY41" fmla="*/ 3015 h 10000"/>
              <a:gd name="connsiteX42" fmla="*/ 9984 w 10000"/>
              <a:gd name="connsiteY42" fmla="*/ 2696 h 10000"/>
              <a:gd name="connsiteX43" fmla="*/ 9922 w 10000"/>
              <a:gd name="connsiteY43" fmla="*/ 2218 h 10000"/>
              <a:gd name="connsiteX44" fmla="*/ 9768 w 10000"/>
              <a:gd name="connsiteY44" fmla="*/ 1740 h 10000"/>
              <a:gd name="connsiteX45" fmla="*/ 9628 w 10000"/>
              <a:gd name="connsiteY45" fmla="*/ 1324 h 10000"/>
              <a:gd name="connsiteX46" fmla="*/ 9458 w 10000"/>
              <a:gd name="connsiteY46" fmla="*/ 980 h 10000"/>
              <a:gd name="connsiteX47" fmla="*/ 9304 w 10000"/>
              <a:gd name="connsiteY47" fmla="*/ 699 h 10000"/>
              <a:gd name="connsiteX48" fmla="*/ 9165 w 10000"/>
              <a:gd name="connsiteY48" fmla="*/ 478 h 10000"/>
              <a:gd name="connsiteX49" fmla="*/ 8994 w 10000"/>
              <a:gd name="connsiteY4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692 w 10000"/>
              <a:gd name="connsiteY5" fmla="*/ 4283 h 10000"/>
              <a:gd name="connsiteX6" fmla="*/ 1708 w 10000"/>
              <a:gd name="connsiteY6" fmla="*/ 5025 h 10000"/>
              <a:gd name="connsiteX7" fmla="*/ 565 w 10000"/>
              <a:gd name="connsiteY7" fmla="*/ 5393 h 10000"/>
              <a:gd name="connsiteX8" fmla="*/ 2102 w 10000"/>
              <a:gd name="connsiteY8" fmla="*/ 7634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6 h 10000"/>
              <a:gd name="connsiteX13" fmla="*/ 1824 w 10000"/>
              <a:gd name="connsiteY13" fmla="*/ 9877 h 10000"/>
              <a:gd name="connsiteX14" fmla="*/ 2302 w 10000"/>
              <a:gd name="connsiteY14" fmla="*/ 9792 h 10000"/>
              <a:gd name="connsiteX15" fmla="*/ 2782 w 10000"/>
              <a:gd name="connsiteY15" fmla="*/ 9706 h 10000"/>
              <a:gd name="connsiteX16" fmla="*/ 3153 w 10000"/>
              <a:gd name="connsiteY16" fmla="*/ 9620 h 10000"/>
              <a:gd name="connsiteX17" fmla="*/ 3554 w 10000"/>
              <a:gd name="connsiteY17" fmla="*/ 9521 h 10000"/>
              <a:gd name="connsiteX18" fmla="*/ 4049 w 10000"/>
              <a:gd name="connsiteY18" fmla="*/ 9387 h 10000"/>
              <a:gd name="connsiteX19" fmla="*/ 4467 w 10000"/>
              <a:gd name="connsiteY19" fmla="*/ 9240 h 10000"/>
              <a:gd name="connsiteX20" fmla="*/ 4868 w 10000"/>
              <a:gd name="connsiteY20" fmla="*/ 9105 h 10000"/>
              <a:gd name="connsiteX21" fmla="*/ 5301 w 10000"/>
              <a:gd name="connsiteY21" fmla="*/ 8922 h 10000"/>
              <a:gd name="connsiteX22" fmla="*/ 5734 w 10000"/>
              <a:gd name="connsiteY22" fmla="*/ 8737 h 10000"/>
              <a:gd name="connsiteX23" fmla="*/ 6089 w 10000"/>
              <a:gd name="connsiteY23" fmla="*/ 8566 h 10000"/>
              <a:gd name="connsiteX24" fmla="*/ 6491 w 10000"/>
              <a:gd name="connsiteY24" fmla="*/ 8333 h 10000"/>
              <a:gd name="connsiteX25" fmla="*/ 6893 w 10000"/>
              <a:gd name="connsiteY25" fmla="*/ 8101 h 10000"/>
              <a:gd name="connsiteX26" fmla="*/ 7249 w 10000"/>
              <a:gd name="connsiteY26" fmla="*/ 7843 h 10000"/>
              <a:gd name="connsiteX27" fmla="*/ 7542 w 10000"/>
              <a:gd name="connsiteY27" fmla="*/ 7634 h 10000"/>
              <a:gd name="connsiteX28" fmla="*/ 7867 w 10000"/>
              <a:gd name="connsiteY28" fmla="*/ 7377 h 10000"/>
              <a:gd name="connsiteX29" fmla="*/ 8114 w 10000"/>
              <a:gd name="connsiteY29" fmla="*/ 7157 h 10000"/>
              <a:gd name="connsiteX30" fmla="*/ 8393 w 10000"/>
              <a:gd name="connsiteY30" fmla="*/ 6887 h 10000"/>
              <a:gd name="connsiteX31" fmla="*/ 8670 w 10000"/>
              <a:gd name="connsiteY31" fmla="*/ 6605 h 10000"/>
              <a:gd name="connsiteX32" fmla="*/ 8871 w 10000"/>
              <a:gd name="connsiteY32" fmla="*/ 6299 h 10000"/>
              <a:gd name="connsiteX33" fmla="*/ 9088 w 10000"/>
              <a:gd name="connsiteY33" fmla="*/ 6029 h 10000"/>
              <a:gd name="connsiteX34" fmla="*/ 9242 w 10000"/>
              <a:gd name="connsiteY34" fmla="*/ 5772 h 10000"/>
              <a:gd name="connsiteX35" fmla="*/ 9458 w 10000"/>
              <a:gd name="connsiteY35" fmla="*/ 5379 h 10000"/>
              <a:gd name="connsiteX36" fmla="*/ 9597 w 10000"/>
              <a:gd name="connsiteY36" fmla="*/ 5073 h 10000"/>
              <a:gd name="connsiteX37" fmla="*/ 9768 w 10000"/>
              <a:gd name="connsiteY37" fmla="*/ 4657 h 10000"/>
              <a:gd name="connsiteX38" fmla="*/ 9876 w 10000"/>
              <a:gd name="connsiteY38" fmla="*/ 4191 h 10000"/>
              <a:gd name="connsiteX39" fmla="*/ 9953 w 10000"/>
              <a:gd name="connsiteY39" fmla="*/ 3775 h 10000"/>
              <a:gd name="connsiteX40" fmla="*/ 10000 w 10000"/>
              <a:gd name="connsiteY40" fmla="*/ 3407 h 10000"/>
              <a:gd name="connsiteX41" fmla="*/ 10000 w 10000"/>
              <a:gd name="connsiteY41" fmla="*/ 3015 h 10000"/>
              <a:gd name="connsiteX42" fmla="*/ 9984 w 10000"/>
              <a:gd name="connsiteY42" fmla="*/ 2696 h 10000"/>
              <a:gd name="connsiteX43" fmla="*/ 9922 w 10000"/>
              <a:gd name="connsiteY43" fmla="*/ 2218 h 10000"/>
              <a:gd name="connsiteX44" fmla="*/ 9768 w 10000"/>
              <a:gd name="connsiteY44" fmla="*/ 1740 h 10000"/>
              <a:gd name="connsiteX45" fmla="*/ 9628 w 10000"/>
              <a:gd name="connsiteY45" fmla="*/ 1324 h 10000"/>
              <a:gd name="connsiteX46" fmla="*/ 9458 w 10000"/>
              <a:gd name="connsiteY46" fmla="*/ 980 h 10000"/>
              <a:gd name="connsiteX47" fmla="*/ 9304 w 10000"/>
              <a:gd name="connsiteY47" fmla="*/ 699 h 10000"/>
              <a:gd name="connsiteX48" fmla="*/ 9165 w 10000"/>
              <a:gd name="connsiteY48" fmla="*/ 478 h 10000"/>
              <a:gd name="connsiteX49" fmla="*/ 8994 w 10000"/>
              <a:gd name="connsiteY4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2677 w 10000"/>
              <a:gd name="connsiteY5" fmla="*/ 4267 h 10000"/>
              <a:gd name="connsiteX6" fmla="*/ 1708 w 10000"/>
              <a:gd name="connsiteY6" fmla="*/ 5025 h 10000"/>
              <a:gd name="connsiteX7" fmla="*/ 565 w 10000"/>
              <a:gd name="connsiteY7" fmla="*/ 5393 h 10000"/>
              <a:gd name="connsiteX8" fmla="*/ 2102 w 10000"/>
              <a:gd name="connsiteY8" fmla="*/ 7634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6 h 10000"/>
              <a:gd name="connsiteX13" fmla="*/ 1824 w 10000"/>
              <a:gd name="connsiteY13" fmla="*/ 9877 h 10000"/>
              <a:gd name="connsiteX14" fmla="*/ 2302 w 10000"/>
              <a:gd name="connsiteY14" fmla="*/ 9792 h 10000"/>
              <a:gd name="connsiteX15" fmla="*/ 2782 w 10000"/>
              <a:gd name="connsiteY15" fmla="*/ 9706 h 10000"/>
              <a:gd name="connsiteX16" fmla="*/ 3153 w 10000"/>
              <a:gd name="connsiteY16" fmla="*/ 9620 h 10000"/>
              <a:gd name="connsiteX17" fmla="*/ 3554 w 10000"/>
              <a:gd name="connsiteY17" fmla="*/ 9521 h 10000"/>
              <a:gd name="connsiteX18" fmla="*/ 4049 w 10000"/>
              <a:gd name="connsiteY18" fmla="*/ 9387 h 10000"/>
              <a:gd name="connsiteX19" fmla="*/ 4467 w 10000"/>
              <a:gd name="connsiteY19" fmla="*/ 9240 h 10000"/>
              <a:gd name="connsiteX20" fmla="*/ 4868 w 10000"/>
              <a:gd name="connsiteY20" fmla="*/ 9105 h 10000"/>
              <a:gd name="connsiteX21" fmla="*/ 5301 w 10000"/>
              <a:gd name="connsiteY21" fmla="*/ 8922 h 10000"/>
              <a:gd name="connsiteX22" fmla="*/ 5734 w 10000"/>
              <a:gd name="connsiteY22" fmla="*/ 8737 h 10000"/>
              <a:gd name="connsiteX23" fmla="*/ 6089 w 10000"/>
              <a:gd name="connsiteY23" fmla="*/ 8566 h 10000"/>
              <a:gd name="connsiteX24" fmla="*/ 6491 w 10000"/>
              <a:gd name="connsiteY24" fmla="*/ 8333 h 10000"/>
              <a:gd name="connsiteX25" fmla="*/ 6893 w 10000"/>
              <a:gd name="connsiteY25" fmla="*/ 8101 h 10000"/>
              <a:gd name="connsiteX26" fmla="*/ 7249 w 10000"/>
              <a:gd name="connsiteY26" fmla="*/ 7843 h 10000"/>
              <a:gd name="connsiteX27" fmla="*/ 7542 w 10000"/>
              <a:gd name="connsiteY27" fmla="*/ 7634 h 10000"/>
              <a:gd name="connsiteX28" fmla="*/ 7867 w 10000"/>
              <a:gd name="connsiteY28" fmla="*/ 7377 h 10000"/>
              <a:gd name="connsiteX29" fmla="*/ 8114 w 10000"/>
              <a:gd name="connsiteY29" fmla="*/ 7157 h 10000"/>
              <a:gd name="connsiteX30" fmla="*/ 8393 w 10000"/>
              <a:gd name="connsiteY30" fmla="*/ 6887 h 10000"/>
              <a:gd name="connsiteX31" fmla="*/ 8670 w 10000"/>
              <a:gd name="connsiteY31" fmla="*/ 6605 h 10000"/>
              <a:gd name="connsiteX32" fmla="*/ 8871 w 10000"/>
              <a:gd name="connsiteY32" fmla="*/ 6299 h 10000"/>
              <a:gd name="connsiteX33" fmla="*/ 9088 w 10000"/>
              <a:gd name="connsiteY33" fmla="*/ 6029 h 10000"/>
              <a:gd name="connsiteX34" fmla="*/ 9242 w 10000"/>
              <a:gd name="connsiteY34" fmla="*/ 5772 h 10000"/>
              <a:gd name="connsiteX35" fmla="*/ 9458 w 10000"/>
              <a:gd name="connsiteY35" fmla="*/ 5379 h 10000"/>
              <a:gd name="connsiteX36" fmla="*/ 9597 w 10000"/>
              <a:gd name="connsiteY36" fmla="*/ 5073 h 10000"/>
              <a:gd name="connsiteX37" fmla="*/ 9768 w 10000"/>
              <a:gd name="connsiteY37" fmla="*/ 4657 h 10000"/>
              <a:gd name="connsiteX38" fmla="*/ 9876 w 10000"/>
              <a:gd name="connsiteY38" fmla="*/ 4191 h 10000"/>
              <a:gd name="connsiteX39" fmla="*/ 9953 w 10000"/>
              <a:gd name="connsiteY39" fmla="*/ 3775 h 10000"/>
              <a:gd name="connsiteX40" fmla="*/ 10000 w 10000"/>
              <a:gd name="connsiteY40" fmla="*/ 3407 h 10000"/>
              <a:gd name="connsiteX41" fmla="*/ 10000 w 10000"/>
              <a:gd name="connsiteY41" fmla="*/ 3015 h 10000"/>
              <a:gd name="connsiteX42" fmla="*/ 9984 w 10000"/>
              <a:gd name="connsiteY42" fmla="*/ 2696 h 10000"/>
              <a:gd name="connsiteX43" fmla="*/ 9922 w 10000"/>
              <a:gd name="connsiteY43" fmla="*/ 2218 h 10000"/>
              <a:gd name="connsiteX44" fmla="*/ 9768 w 10000"/>
              <a:gd name="connsiteY44" fmla="*/ 1740 h 10000"/>
              <a:gd name="connsiteX45" fmla="*/ 9628 w 10000"/>
              <a:gd name="connsiteY45" fmla="*/ 1324 h 10000"/>
              <a:gd name="connsiteX46" fmla="*/ 9458 w 10000"/>
              <a:gd name="connsiteY46" fmla="*/ 980 h 10000"/>
              <a:gd name="connsiteX47" fmla="*/ 9304 w 10000"/>
              <a:gd name="connsiteY47" fmla="*/ 699 h 10000"/>
              <a:gd name="connsiteX48" fmla="*/ 9165 w 10000"/>
              <a:gd name="connsiteY48" fmla="*/ 478 h 10000"/>
              <a:gd name="connsiteX49" fmla="*/ 8994 w 10000"/>
              <a:gd name="connsiteY4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1708 w 10000"/>
              <a:gd name="connsiteY5" fmla="*/ 5025 h 10000"/>
              <a:gd name="connsiteX6" fmla="*/ 565 w 10000"/>
              <a:gd name="connsiteY6" fmla="*/ 5393 h 10000"/>
              <a:gd name="connsiteX7" fmla="*/ 2102 w 10000"/>
              <a:gd name="connsiteY7" fmla="*/ 7634 h 10000"/>
              <a:gd name="connsiteX8" fmla="*/ 0 w 10000"/>
              <a:gd name="connsiteY8" fmla="*/ 10000 h 10000"/>
              <a:gd name="connsiteX9" fmla="*/ 418 w 10000"/>
              <a:gd name="connsiteY9" fmla="*/ 9988 h 10000"/>
              <a:gd name="connsiteX10" fmla="*/ 850 w 10000"/>
              <a:gd name="connsiteY10" fmla="*/ 9975 h 10000"/>
              <a:gd name="connsiteX11" fmla="*/ 1329 w 10000"/>
              <a:gd name="connsiteY11" fmla="*/ 9926 h 10000"/>
              <a:gd name="connsiteX12" fmla="*/ 1824 w 10000"/>
              <a:gd name="connsiteY12" fmla="*/ 9877 h 10000"/>
              <a:gd name="connsiteX13" fmla="*/ 2302 w 10000"/>
              <a:gd name="connsiteY13" fmla="*/ 9792 h 10000"/>
              <a:gd name="connsiteX14" fmla="*/ 2782 w 10000"/>
              <a:gd name="connsiteY14" fmla="*/ 9706 h 10000"/>
              <a:gd name="connsiteX15" fmla="*/ 3153 w 10000"/>
              <a:gd name="connsiteY15" fmla="*/ 9620 h 10000"/>
              <a:gd name="connsiteX16" fmla="*/ 3554 w 10000"/>
              <a:gd name="connsiteY16" fmla="*/ 9521 h 10000"/>
              <a:gd name="connsiteX17" fmla="*/ 4049 w 10000"/>
              <a:gd name="connsiteY17" fmla="*/ 9387 h 10000"/>
              <a:gd name="connsiteX18" fmla="*/ 4467 w 10000"/>
              <a:gd name="connsiteY18" fmla="*/ 9240 h 10000"/>
              <a:gd name="connsiteX19" fmla="*/ 4868 w 10000"/>
              <a:gd name="connsiteY19" fmla="*/ 9105 h 10000"/>
              <a:gd name="connsiteX20" fmla="*/ 5301 w 10000"/>
              <a:gd name="connsiteY20" fmla="*/ 8922 h 10000"/>
              <a:gd name="connsiteX21" fmla="*/ 5734 w 10000"/>
              <a:gd name="connsiteY21" fmla="*/ 8737 h 10000"/>
              <a:gd name="connsiteX22" fmla="*/ 6089 w 10000"/>
              <a:gd name="connsiteY22" fmla="*/ 8566 h 10000"/>
              <a:gd name="connsiteX23" fmla="*/ 6491 w 10000"/>
              <a:gd name="connsiteY23" fmla="*/ 8333 h 10000"/>
              <a:gd name="connsiteX24" fmla="*/ 6893 w 10000"/>
              <a:gd name="connsiteY24" fmla="*/ 8101 h 10000"/>
              <a:gd name="connsiteX25" fmla="*/ 7249 w 10000"/>
              <a:gd name="connsiteY25" fmla="*/ 7843 h 10000"/>
              <a:gd name="connsiteX26" fmla="*/ 7542 w 10000"/>
              <a:gd name="connsiteY26" fmla="*/ 7634 h 10000"/>
              <a:gd name="connsiteX27" fmla="*/ 7867 w 10000"/>
              <a:gd name="connsiteY27" fmla="*/ 7377 h 10000"/>
              <a:gd name="connsiteX28" fmla="*/ 8114 w 10000"/>
              <a:gd name="connsiteY28" fmla="*/ 7157 h 10000"/>
              <a:gd name="connsiteX29" fmla="*/ 8393 w 10000"/>
              <a:gd name="connsiteY29" fmla="*/ 6887 h 10000"/>
              <a:gd name="connsiteX30" fmla="*/ 8670 w 10000"/>
              <a:gd name="connsiteY30" fmla="*/ 6605 h 10000"/>
              <a:gd name="connsiteX31" fmla="*/ 8871 w 10000"/>
              <a:gd name="connsiteY31" fmla="*/ 6299 h 10000"/>
              <a:gd name="connsiteX32" fmla="*/ 9088 w 10000"/>
              <a:gd name="connsiteY32" fmla="*/ 6029 h 10000"/>
              <a:gd name="connsiteX33" fmla="*/ 9242 w 10000"/>
              <a:gd name="connsiteY33" fmla="*/ 5772 h 10000"/>
              <a:gd name="connsiteX34" fmla="*/ 9458 w 10000"/>
              <a:gd name="connsiteY34" fmla="*/ 5379 h 10000"/>
              <a:gd name="connsiteX35" fmla="*/ 9597 w 10000"/>
              <a:gd name="connsiteY35" fmla="*/ 5073 h 10000"/>
              <a:gd name="connsiteX36" fmla="*/ 9768 w 10000"/>
              <a:gd name="connsiteY36" fmla="*/ 4657 h 10000"/>
              <a:gd name="connsiteX37" fmla="*/ 9876 w 10000"/>
              <a:gd name="connsiteY37" fmla="*/ 4191 h 10000"/>
              <a:gd name="connsiteX38" fmla="*/ 9953 w 10000"/>
              <a:gd name="connsiteY38" fmla="*/ 3775 h 10000"/>
              <a:gd name="connsiteX39" fmla="*/ 10000 w 10000"/>
              <a:gd name="connsiteY39" fmla="*/ 3407 h 10000"/>
              <a:gd name="connsiteX40" fmla="*/ 10000 w 10000"/>
              <a:gd name="connsiteY40" fmla="*/ 3015 h 10000"/>
              <a:gd name="connsiteX41" fmla="*/ 9984 w 10000"/>
              <a:gd name="connsiteY41" fmla="*/ 2696 h 10000"/>
              <a:gd name="connsiteX42" fmla="*/ 9922 w 10000"/>
              <a:gd name="connsiteY42" fmla="*/ 2218 h 10000"/>
              <a:gd name="connsiteX43" fmla="*/ 9768 w 10000"/>
              <a:gd name="connsiteY43" fmla="*/ 1740 h 10000"/>
              <a:gd name="connsiteX44" fmla="*/ 9628 w 10000"/>
              <a:gd name="connsiteY44" fmla="*/ 1324 h 10000"/>
              <a:gd name="connsiteX45" fmla="*/ 9458 w 10000"/>
              <a:gd name="connsiteY45" fmla="*/ 980 h 10000"/>
              <a:gd name="connsiteX46" fmla="*/ 9304 w 10000"/>
              <a:gd name="connsiteY46" fmla="*/ 699 h 10000"/>
              <a:gd name="connsiteX47" fmla="*/ 9165 w 10000"/>
              <a:gd name="connsiteY47" fmla="*/ 478 h 10000"/>
              <a:gd name="connsiteX48" fmla="*/ 8994 w 10000"/>
              <a:gd name="connsiteY48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1708 w 10000"/>
              <a:gd name="connsiteY5" fmla="*/ 5025 h 10000"/>
              <a:gd name="connsiteX6" fmla="*/ 565 w 10000"/>
              <a:gd name="connsiteY6" fmla="*/ 5393 h 10000"/>
              <a:gd name="connsiteX7" fmla="*/ 2102 w 10000"/>
              <a:gd name="connsiteY7" fmla="*/ 7634 h 10000"/>
              <a:gd name="connsiteX8" fmla="*/ 0 w 10000"/>
              <a:gd name="connsiteY8" fmla="*/ 10000 h 10000"/>
              <a:gd name="connsiteX9" fmla="*/ 418 w 10000"/>
              <a:gd name="connsiteY9" fmla="*/ 9988 h 10000"/>
              <a:gd name="connsiteX10" fmla="*/ 850 w 10000"/>
              <a:gd name="connsiteY10" fmla="*/ 9975 h 10000"/>
              <a:gd name="connsiteX11" fmla="*/ 1329 w 10000"/>
              <a:gd name="connsiteY11" fmla="*/ 9926 h 10000"/>
              <a:gd name="connsiteX12" fmla="*/ 1824 w 10000"/>
              <a:gd name="connsiteY12" fmla="*/ 9877 h 10000"/>
              <a:gd name="connsiteX13" fmla="*/ 2302 w 10000"/>
              <a:gd name="connsiteY13" fmla="*/ 9792 h 10000"/>
              <a:gd name="connsiteX14" fmla="*/ 2782 w 10000"/>
              <a:gd name="connsiteY14" fmla="*/ 9706 h 10000"/>
              <a:gd name="connsiteX15" fmla="*/ 3153 w 10000"/>
              <a:gd name="connsiteY15" fmla="*/ 9620 h 10000"/>
              <a:gd name="connsiteX16" fmla="*/ 3554 w 10000"/>
              <a:gd name="connsiteY16" fmla="*/ 9521 h 10000"/>
              <a:gd name="connsiteX17" fmla="*/ 4049 w 10000"/>
              <a:gd name="connsiteY17" fmla="*/ 9387 h 10000"/>
              <a:gd name="connsiteX18" fmla="*/ 4467 w 10000"/>
              <a:gd name="connsiteY18" fmla="*/ 9240 h 10000"/>
              <a:gd name="connsiteX19" fmla="*/ 4868 w 10000"/>
              <a:gd name="connsiteY19" fmla="*/ 9105 h 10000"/>
              <a:gd name="connsiteX20" fmla="*/ 5301 w 10000"/>
              <a:gd name="connsiteY20" fmla="*/ 8922 h 10000"/>
              <a:gd name="connsiteX21" fmla="*/ 5734 w 10000"/>
              <a:gd name="connsiteY21" fmla="*/ 8737 h 10000"/>
              <a:gd name="connsiteX22" fmla="*/ 6089 w 10000"/>
              <a:gd name="connsiteY22" fmla="*/ 8566 h 10000"/>
              <a:gd name="connsiteX23" fmla="*/ 6491 w 10000"/>
              <a:gd name="connsiteY23" fmla="*/ 8333 h 10000"/>
              <a:gd name="connsiteX24" fmla="*/ 6893 w 10000"/>
              <a:gd name="connsiteY24" fmla="*/ 8101 h 10000"/>
              <a:gd name="connsiteX25" fmla="*/ 7249 w 10000"/>
              <a:gd name="connsiteY25" fmla="*/ 7843 h 10000"/>
              <a:gd name="connsiteX26" fmla="*/ 7542 w 10000"/>
              <a:gd name="connsiteY26" fmla="*/ 7634 h 10000"/>
              <a:gd name="connsiteX27" fmla="*/ 7867 w 10000"/>
              <a:gd name="connsiteY27" fmla="*/ 7377 h 10000"/>
              <a:gd name="connsiteX28" fmla="*/ 8114 w 10000"/>
              <a:gd name="connsiteY28" fmla="*/ 7157 h 10000"/>
              <a:gd name="connsiteX29" fmla="*/ 8393 w 10000"/>
              <a:gd name="connsiteY29" fmla="*/ 6887 h 10000"/>
              <a:gd name="connsiteX30" fmla="*/ 8670 w 10000"/>
              <a:gd name="connsiteY30" fmla="*/ 6605 h 10000"/>
              <a:gd name="connsiteX31" fmla="*/ 8871 w 10000"/>
              <a:gd name="connsiteY31" fmla="*/ 6299 h 10000"/>
              <a:gd name="connsiteX32" fmla="*/ 9088 w 10000"/>
              <a:gd name="connsiteY32" fmla="*/ 6029 h 10000"/>
              <a:gd name="connsiteX33" fmla="*/ 9242 w 10000"/>
              <a:gd name="connsiteY33" fmla="*/ 5772 h 10000"/>
              <a:gd name="connsiteX34" fmla="*/ 9458 w 10000"/>
              <a:gd name="connsiteY34" fmla="*/ 5379 h 10000"/>
              <a:gd name="connsiteX35" fmla="*/ 9597 w 10000"/>
              <a:gd name="connsiteY35" fmla="*/ 5073 h 10000"/>
              <a:gd name="connsiteX36" fmla="*/ 9768 w 10000"/>
              <a:gd name="connsiteY36" fmla="*/ 4657 h 10000"/>
              <a:gd name="connsiteX37" fmla="*/ 9876 w 10000"/>
              <a:gd name="connsiteY37" fmla="*/ 4191 h 10000"/>
              <a:gd name="connsiteX38" fmla="*/ 9953 w 10000"/>
              <a:gd name="connsiteY38" fmla="*/ 3775 h 10000"/>
              <a:gd name="connsiteX39" fmla="*/ 10000 w 10000"/>
              <a:gd name="connsiteY39" fmla="*/ 3407 h 10000"/>
              <a:gd name="connsiteX40" fmla="*/ 10000 w 10000"/>
              <a:gd name="connsiteY40" fmla="*/ 3015 h 10000"/>
              <a:gd name="connsiteX41" fmla="*/ 9984 w 10000"/>
              <a:gd name="connsiteY41" fmla="*/ 2696 h 10000"/>
              <a:gd name="connsiteX42" fmla="*/ 9922 w 10000"/>
              <a:gd name="connsiteY42" fmla="*/ 2218 h 10000"/>
              <a:gd name="connsiteX43" fmla="*/ 9768 w 10000"/>
              <a:gd name="connsiteY43" fmla="*/ 1740 h 10000"/>
              <a:gd name="connsiteX44" fmla="*/ 9628 w 10000"/>
              <a:gd name="connsiteY44" fmla="*/ 1324 h 10000"/>
              <a:gd name="connsiteX45" fmla="*/ 9458 w 10000"/>
              <a:gd name="connsiteY45" fmla="*/ 980 h 10000"/>
              <a:gd name="connsiteX46" fmla="*/ 9304 w 10000"/>
              <a:gd name="connsiteY46" fmla="*/ 699 h 10000"/>
              <a:gd name="connsiteX47" fmla="*/ 9165 w 10000"/>
              <a:gd name="connsiteY47" fmla="*/ 478 h 10000"/>
              <a:gd name="connsiteX48" fmla="*/ 8994 w 10000"/>
              <a:gd name="connsiteY48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1708 w 10000"/>
              <a:gd name="connsiteY5" fmla="*/ 5025 h 10000"/>
              <a:gd name="connsiteX6" fmla="*/ 565 w 10000"/>
              <a:gd name="connsiteY6" fmla="*/ 5393 h 10000"/>
              <a:gd name="connsiteX7" fmla="*/ 2102 w 10000"/>
              <a:gd name="connsiteY7" fmla="*/ 7634 h 10000"/>
              <a:gd name="connsiteX8" fmla="*/ 0 w 10000"/>
              <a:gd name="connsiteY8" fmla="*/ 10000 h 10000"/>
              <a:gd name="connsiteX9" fmla="*/ 418 w 10000"/>
              <a:gd name="connsiteY9" fmla="*/ 9988 h 10000"/>
              <a:gd name="connsiteX10" fmla="*/ 850 w 10000"/>
              <a:gd name="connsiteY10" fmla="*/ 9975 h 10000"/>
              <a:gd name="connsiteX11" fmla="*/ 1329 w 10000"/>
              <a:gd name="connsiteY11" fmla="*/ 9926 h 10000"/>
              <a:gd name="connsiteX12" fmla="*/ 1824 w 10000"/>
              <a:gd name="connsiteY12" fmla="*/ 9877 h 10000"/>
              <a:gd name="connsiteX13" fmla="*/ 2302 w 10000"/>
              <a:gd name="connsiteY13" fmla="*/ 9792 h 10000"/>
              <a:gd name="connsiteX14" fmla="*/ 2782 w 10000"/>
              <a:gd name="connsiteY14" fmla="*/ 9706 h 10000"/>
              <a:gd name="connsiteX15" fmla="*/ 3153 w 10000"/>
              <a:gd name="connsiteY15" fmla="*/ 9620 h 10000"/>
              <a:gd name="connsiteX16" fmla="*/ 3554 w 10000"/>
              <a:gd name="connsiteY16" fmla="*/ 9521 h 10000"/>
              <a:gd name="connsiteX17" fmla="*/ 4049 w 10000"/>
              <a:gd name="connsiteY17" fmla="*/ 9387 h 10000"/>
              <a:gd name="connsiteX18" fmla="*/ 4467 w 10000"/>
              <a:gd name="connsiteY18" fmla="*/ 9240 h 10000"/>
              <a:gd name="connsiteX19" fmla="*/ 4868 w 10000"/>
              <a:gd name="connsiteY19" fmla="*/ 9105 h 10000"/>
              <a:gd name="connsiteX20" fmla="*/ 5301 w 10000"/>
              <a:gd name="connsiteY20" fmla="*/ 8922 h 10000"/>
              <a:gd name="connsiteX21" fmla="*/ 5734 w 10000"/>
              <a:gd name="connsiteY21" fmla="*/ 8737 h 10000"/>
              <a:gd name="connsiteX22" fmla="*/ 6089 w 10000"/>
              <a:gd name="connsiteY22" fmla="*/ 8566 h 10000"/>
              <a:gd name="connsiteX23" fmla="*/ 6491 w 10000"/>
              <a:gd name="connsiteY23" fmla="*/ 8333 h 10000"/>
              <a:gd name="connsiteX24" fmla="*/ 6893 w 10000"/>
              <a:gd name="connsiteY24" fmla="*/ 8101 h 10000"/>
              <a:gd name="connsiteX25" fmla="*/ 7249 w 10000"/>
              <a:gd name="connsiteY25" fmla="*/ 7843 h 10000"/>
              <a:gd name="connsiteX26" fmla="*/ 7542 w 10000"/>
              <a:gd name="connsiteY26" fmla="*/ 7634 h 10000"/>
              <a:gd name="connsiteX27" fmla="*/ 7867 w 10000"/>
              <a:gd name="connsiteY27" fmla="*/ 7377 h 10000"/>
              <a:gd name="connsiteX28" fmla="*/ 8114 w 10000"/>
              <a:gd name="connsiteY28" fmla="*/ 7157 h 10000"/>
              <a:gd name="connsiteX29" fmla="*/ 8393 w 10000"/>
              <a:gd name="connsiteY29" fmla="*/ 6887 h 10000"/>
              <a:gd name="connsiteX30" fmla="*/ 8670 w 10000"/>
              <a:gd name="connsiteY30" fmla="*/ 6605 h 10000"/>
              <a:gd name="connsiteX31" fmla="*/ 8871 w 10000"/>
              <a:gd name="connsiteY31" fmla="*/ 6299 h 10000"/>
              <a:gd name="connsiteX32" fmla="*/ 9088 w 10000"/>
              <a:gd name="connsiteY32" fmla="*/ 6029 h 10000"/>
              <a:gd name="connsiteX33" fmla="*/ 9242 w 10000"/>
              <a:gd name="connsiteY33" fmla="*/ 5772 h 10000"/>
              <a:gd name="connsiteX34" fmla="*/ 9458 w 10000"/>
              <a:gd name="connsiteY34" fmla="*/ 5379 h 10000"/>
              <a:gd name="connsiteX35" fmla="*/ 9597 w 10000"/>
              <a:gd name="connsiteY35" fmla="*/ 5073 h 10000"/>
              <a:gd name="connsiteX36" fmla="*/ 9768 w 10000"/>
              <a:gd name="connsiteY36" fmla="*/ 4657 h 10000"/>
              <a:gd name="connsiteX37" fmla="*/ 9876 w 10000"/>
              <a:gd name="connsiteY37" fmla="*/ 4191 h 10000"/>
              <a:gd name="connsiteX38" fmla="*/ 9953 w 10000"/>
              <a:gd name="connsiteY38" fmla="*/ 3775 h 10000"/>
              <a:gd name="connsiteX39" fmla="*/ 10000 w 10000"/>
              <a:gd name="connsiteY39" fmla="*/ 3407 h 10000"/>
              <a:gd name="connsiteX40" fmla="*/ 10000 w 10000"/>
              <a:gd name="connsiteY40" fmla="*/ 3015 h 10000"/>
              <a:gd name="connsiteX41" fmla="*/ 9984 w 10000"/>
              <a:gd name="connsiteY41" fmla="*/ 2696 h 10000"/>
              <a:gd name="connsiteX42" fmla="*/ 9922 w 10000"/>
              <a:gd name="connsiteY42" fmla="*/ 2218 h 10000"/>
              <a:gd name="connsiteX43" fmla="*/ 9768 w 10000"/>
              <a:gd name="connsiteY43" fmla="*/ 1740 h 10000"/>
              <a:gd name="connsiteX44" fmla="*/ 9628 w 10000"/>
              <a:gd name="connsiteY44" fmla="*/ 1324 h 10000"/>
              <a:gd name="connsiteX45" fmla="*/ 9458 w 10000"/>
              <a:gd name="connsiteY45" fmla="*/ 980 h 10000"/>
              <a:gd name="connsiteX46" fmla="*/ 9304 w 10000"/>
              <a:gd name="connsiteY46" fmla="*/ 699 h 10000"/>
              <a:gd name="connsiteX47" fmla="*/ 9165 w 10000"/>
              <a:gd name="connsiteY47" fmla="*/ 478 h 10000"/>
              <a:gd name="connsiteX48" fmla="*/ 8994 w 10000"/>
              <a:gd name="connsiteY48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1708 w 10000"/>
              <a:gd name="connsiteY5" fmla="*/ 5025 h 10000"/>
              <a:gd name="connsiteX6" fmla="*/ 565 w 10000"/>
              <a:gd name="connsiteY6" fmla="*/ 5393 h 10000"/>
              <a:gd name="connsiteX7" fmla="*/ 2102 w 10000"/>
              <a:gd name="connsiteY7" fmla="*/ 7634 h 10000"/>
              <a:gd name="connsiteX8" fmla="*/ 0 w 10000"/>
              <a:gd name="connsiteY8" fmla="*/ 10000 h 10000"/>
              <a:gd name="connsiteX9" fmla="*/ 418 w 10000"/>
              <a:gd name="connsiteY9" fmla="*/ 9988 h 10000"/>
              <a:gd name="connsiteX10" fmla="*/ 850 w 10000"/>
              <a:gd name="connsiteY10" fmla="*/ 9975 h 10000"/>
              <a:gd name="connsiteX11" fmla="*/ 1329 w 10000"/>
              <a:gd name="connsiteY11" fmla="*/ 9926 h 10000"/>
              <a:gd name="connsiteX12" fmla="*/ 1824 w 10000"/>
              <a:gd name="connsiteY12" fmla="*/ 9877 h 10000"/>
              <a:gd name="connsiteX13" fmla="*/ 2302 w 10000"/>
              <a:gd name="connsiteY13" fmla="*/ 9792 h 10000"/>
              <a:gd name="connsiteX14" fmla="*/ 2782 w 10000"/>
              <a:gd name="connsiteY14" fmla="*/ 9706 h 10000"/>
              <a:gd name="connsiteX15" fmla="*/ 3153 w 10000"/>
              <a:gd name="connsiteY15" fmla="*/ 9620 h 10000"/>
              <a:gd name="connsiteX16" fmla="*/ 3554 w 10000"/>
              <a:gd name="connsiteY16" fmla="*/ 9521 h 10000"/>
              <a:gd name="connsiteX17" fmla="*/ 4049 w 10000"/>
              <a:gd name="connsiteY17" fmla="*/ 9387 h 10000"/>
              <a:gd name="connsiteX18" fmla="*/ 4467 w 10000"/>
              <a:gd name="connsiteY18" fmla="*/ 9240 h 10000"/>
              <a:gd name="connsiteX19" fmla="*/ 4868 w 10000"/>
              <a:gd name="connsiteY19" fmla="*/ 9105 h 10000"/>
              <a:gd name="connsiteX20" fmla="*/ 5301 w 10000"/>
              <a:gd name="connsiteY20" fmla="*/ 8922 h 10000"/>
              <a:gd name="connsiteX21" fmla="*/ 5734 w 10000"/>
              <a:gd name="connsiteY21" fmla="*/ 8737 h 10000"/>
              <a:gd name="connsiteX22" fmla="*/ 6089 w 10000"/>
              <a:gd name="connsiteY22" fmla="*/ 8566 h 10000"/>
              <a:gd name="connsiteX23" fmla="*/ 6491 w 10000"/>
              <a:gd name="connsiteY23" fmla="*/ 8333 h 10000"/>
              <a:gd name="connsiteX24" fmla="*/ 6893 w 10000"/>
              <a:gd name="connsiteY24" fmla="*/ 8101 h 10000"/>
              <a:gd name="connsiteX25" fmla="*/ 7249 w 10000"/>
              <a:gd name="connsiteY25" fmla="*/ 7843 h 10000"/>
              <a:gd name="connsiteX26" fmla="*/ 7542 w 10000"/>
              <a:gd name="connsiteY26" fmla="*/ 7634 h 10000"/>
              <a:gd name="connsiteX27" fmla="*/ 7867 w 10000"/>
              <a:gd name="connsiteY27" fmla="*/ 7377 h 10000"/>
              <a:gd name="connsiteX28" fmla="*/ 8114 w 10000"/>
              <a:gd name="connsiteY28" fmla="*/ 7157 h 10000"/>
              <a:gd name="connsiteX29" fmla="*/ 8393 w 10000"/>
              <a:gd name="connsiteY29" fmla="*/ 6887 h 10000"/>
              <a:gd name="connsiteX30" fmla="*/ 8670 w 10000"/>
              <a:gd name="connsiteY30" fmla="*/ 6605 h 10000"/>
              <a:gd name="connsiteX31" fmla="*/ 8871 w 10000"/>
              <a:gd name="connsiteY31" fmla="*/ 6299 h 10000"/>
              <a:gd name="connsiteX32" fmla="*/ 9088 w 10000"/>
              <a:gd name="connsiteY32" fmla="*/ 6029 h 10000"/>
              <a:gd name="connsiteX33" fmla="*/ 9242 w 10000"/>
              <a:gd name="connsiteY33" fmla="*/ 5772 h 10000"/>
              <a:gd name="connsiteX34" fmla="*/ 9458 w 10000"/>
              <a:gd name="connsiteY34" fmla="*/ 5379 h 10000"/>
              <a:gd name="connsiteX35" fmla="*/ 9597 w 10000"/>
              <a:gd name="connsiteY35" fmla="*/ 5073 h 10000"/>
              <a:gd name="connsiteX36" fmla="*/ 9768 w 10000"/>
              <a:gd name="connsiteY36" fmla="*/ 4657 h 10000"/>
              <a:gd name="connsiteX37" fmla="*/ 9876 w 10000"/>
              <a:gd name="connsiteY37" fmla="*/ 4191 h 10000"/>
              <a:gd name="connsiteX38" fmla="*/ 9953 w 10000"/>
              <a:gd name="connsiteY38" fmla="*/ 3775 h 10000"/>
              <a:gd name="connsiteX39" fmla="*/ 10000 w 10000"/>
              <a:gd name="connsiteY39" fmla="*/ 3407 h 10000"/>
              <a:gd name="connsiteX40" fmla="*/ 10000 w 10000"/>
              <a:gd name="connsiteY40" fmla="*/ 3015 h 10000"/>
              <a:gd name="connsiteX41" fmla="*/ 9984 w 10000"/>
              <a:gd name="connsiteY41" fmla="*/ 2696 h 10000"/>
              <a:gd name="connsiteX42" fmla="*/ 9922 w 10000"/>
              <a:gd name="connsiteY42" fmla="*/ 2218 h 10000"/>
              <a:gd name="connsiteX43" fmla="*/ 9768 w 10000"/>
              <a:gd name="connsiteY43" fmla="*/ 1740 h 10000"/>
              <a:gd name="connsiteX44" fmla="*/ 9628 w 10000"/>
              <a:gd name="connsiteY44" fmla="*/ 1324 h 10000"/>
              <a:gd name="connsiteX45" fmla="*/ 9458 w 10000"/>
              <a:gd name="connsiteY45" fmla="*/ 980 h 10000"/>
              <a:gd name="connsiteX46" fmla="*/ 9304 w 10000"/>
              <a:gd name="connsiteY46" fmla="*/ 699 h 10000"/>
              <a:gd name="connsiteX47" fmla="*/ 9165 w 10000"/>
              <a:gd name="connsiteY47" fmla="*/ 478 h 10000"/>
              <a:gd name="connsiteX48" fmla="*/ 8994 w 10000"/>
              <a:gd name="connsiteY48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1708 w 10000"/>
              <a:gd name="connsiteY5" fmla="*/ 5025 h 10000"/>
              <a:gd name="connsiteX6" fmla="*/ 565 w 10000"/>
              <a:gd name="connsiteY6" fmla="*/ 5393 h 10000"/>
              <a:gd name="connsiteX7" fmla="*/ 2102 w 10000"/>
              <a:gd name="connsiteY7" fmla="*/ 7634 h 10000"/>
              <a:gd name="connsiteX8" fmla="*/ 0 w 10000"/>
              <a:gd name="connsiteY8" fmla="*/ 10000 h 10000"/>
              <a:gd name="connsiteX9" fmla="*/ 418 w 10000"/>
              <a:gd name="connsiteY9" fmla="*/ 9988 h 10000"/>
              <a:gd name="connsiteX10" fmla="*/ 850 w 10000"/>
              <a:gd name="connsiteY10" fmla="*/ 9975 h 10000"/>
              <a:gd name="connsiteX11" fmla="*/ 1329 w 10000"/>
              <a:gd name="connsiteY11" fmla="*/ 9926 h 10000"/>
              <a:gd name="connsiteX12" fmla="*/ 1824 w 10000"/>
              <a:gd name="connsiteY12" fmla="*/ 9877 h 10000"/>
              <a:gd name="connsiteX13" fmla="*/ 2302 w 10000"/>
              <a:gd name="connsiteY13" fmla="*/ 9792 h 10000"/>
              <a:gd name="connsiteX14" fmla="*/ 2782 w 10000"/>
              <a:gd name="connsiteY14" fmla="*/ 9706 h 10000"/>
              <a:gd name="connsiteX15" fmla="*/ 3153 w 10000"/>
              <a:gd name="connsiteY15" fmla="*/ 9620 h 10000"/>
              <a:gd name="connsiteX16" fmla="*/ 3554 w 10000"/>
              <a:gd name="connsiteY16" fmla="*/ 9521 h 10000"/>
              <a:gd name="connsiteX17" fmla="*/ 4049 w 10000"/>
              <a:gd name="connsiteY17" fmla="*/ 9387 h 10000"/>
              <a:gd name="connsiteX18" fmla="*/ 4467 w 10000"/>
              <a:gd name="connsiteY18" fmla="*/ 9240 h 10000"/>
              <a:gd name="connsiteX19" fmla="*/ 4868 w 10000"/>
              <a:gd name="connsiteY19" fmla="*/ 9105 h 10000"/>
              <a:gd name="connsiteX20" fmla="*/ 5301 w 10000"/>
              <a:gd name="connsiteY20" fmla="*/ 8922 h 10000"/>
              <a:gd name="connsiteX21" fmla="*/ 5734 w 10000"/>
              <a:gd name="connsiteY21" fmla="*/ 8737 h 10000"/>
              <a:gd name="connsiteX22" fmla="*/ 6089 w 10000"/>
              <a:gd name="connsiteY22" fmla="*/ 8566 h 10000"/>
              <a:gd name="connsiteX23" fmla="*/ 6491 w 10000"/>
              <a:gd name="connsiteY23" fmla="*/ 8333 h 10000"/>
              <a:gd name="connsiteX24" fmla="*/ 6893 w 10000"/>
              <a:gd name="connsiteY24" fmla="*/ 8101 h 10000"/>
              <a:gd name="connsiteX25" fmla="*/ 7249 w 10000"/>
              <a:gd name="connsiteY25" fmla="*/ 7843 h 10000"/>
              <a:gd name="connsiteX26" fmla="*/ 7542 w 10000"/>
              <a:gd name="connsiteY26" fmla="*/ 7634 h 10000"/>
              <a:gd name="connsiteX27" fmla="*/ 7867 w 10000"/>
              <a:gd name="connsiteY27" fmla="*/ 7377 h 10000"/>
              <a:gd name="connsiteX28" fmla="*/ 8114 w 10000"/>
              <a:gd name="connsiteY28" fmla="*/ 7157 h 10000"/>
              <a:gd name="connsiteX29" fmla="*/ 8393 w 10000"/>
              <a:gd name="connsiteY29" fmla="*/ 6887 h 10000"/>
              <a:gd name="connsiteX30" fmla="*/ 8670 w 10000"/>
              <a:gd name="connsiteY30" fmla="*/ 6605 h 10000"/>
              <a:gd name="connsiteX31" fmla="*/ 8871 w 10000"/>
              <a:gd name="connsiteY31" fmla="*/ 6299 h 10000"/>
              <a:gd name="connsiteX32" fmla="*/ 9088 w 10000"/>
              <a:gd name="connsiteY32" fmla="*/ 6029 h 10000"/>
              <a:gd name="connsiteX33" fmla="*/ 9242 w 10000"/>
              <a:gd name="connsiteY33" fmla="*/ 5772 h 10000"/>
              <a:gd name="connsiteX34" fmla="*/ 9458 w 10000"/>
              <a:gd name="connsiteY34" fmla="*/ 5379 h 10000"/>
              <a:gd name="connsiteX35" fmla="*/ 9597 w 10000"/>
              <a:gd name="connsiteY35" fmla="*/ 5073 h 10000"/>
              <a:gd name="connsiteX36" fmla="*/ 9768 w 10000"/>
              <a:gd name="connsiteY36" fmla="*/ 4657 h 10000"/>
              <a:gd name="connsiteX37" fmla="*/ 9876 w 10000"/>
              <a:gd name="connsiteY37" fmla="*/ 4191 h 10000"/>
              <a:gd name="connsiteX38" fmla="*/ 9953 w 10000"/>
              <a:gd name="connsiteY38" fmla="*/ 3775 h 10000"/>
              <a:gd name="connsiteX39" fmla="*/ 10000 w 10000"/>
              <a:gd name="connsiteY39" fmla="*/ 3407 h 10000"/>
              <a:gd name="connsiteX40" fmla="*/ 10000 w 10000"/>
              <a:gd name="connsiteY40" fmla="*/ 3015 h 10000"/>
              <a:gd name="connsiteX41" fmla="*/ 9984 w 10000"/>
              <a:gd name="connsiteY41" fmla="*/ 2696 h 10000"/>
              <a:gd name="connsiteX42" fmla="*/ 9922 w 10000"/>
              <a:gd name="connsiteY42" fmla="*/ 2218 h 10000"/>
              <a:gd name="connsiteX43" fmla="*/ 9768 w 10000"/>
              <a:gd name="connsiteY43" fmla="*/ 1740 h 10000"/>
              <a:gd name="connsiteX44" fmla="*/ 9628 w 10000"/>
              <a:gd name="connsiteY44" fmla="*/ 1324 h 10000"/>
              <a:gd name="connsiteX45" fmla="*/ 9458 w 10000"/>
              <a:gd name="connsiteY45" fmla="*/ 980 h 10000"/>
              <a:gd name="connsiteX46" fmla="*/ 9304 w 10000"/>
              <a:gd name="connsiteY46" fmla="*/ 699 h 10000"/>
              <a:gd name="connsiteX47" fmla="*/ 9165 w 10000"/>
              <a:gd name="connsiteY47" fmla="*/ 478 h 10000"/>
              <a:gd name="connsiteX48" fmla="*/ 8994 w 10000"/>
              <a:gd name="connsiteY48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565 w 10000"/>
              <a:gd name="connsiteY5" fmla="*/ 5393 h 10000"/>
              <a:gd name="connsiteX6" fmla="*/ 2102 w 10000"/>
              <a:gd name="connsiteY6" fmla="*/ 7634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5 h 10000"/>
              <a:gd name="connsiteX10" fmla="*/ 1329 w 10000"/>
              <a:gd name="connsiteY10" fmla="*/ 9926 h 10000"/>
              <a:gd name="connsiteX11" fmla="*/ 1824 w 10000"/>
              <a:gd name="connsiteY11" fmla="*/ 9877 h 10000"/>
              <a:gd name="connsiteX12" fmla="*/ 2302 w 10000"/>
              <a:gd name="connsiteY12" fmla="*/ 9792 h 10000"/>
              <a:gd name="connsiteX13" fmla="*/ 2782 w 10000"/>
              <a:gd name="connsiteY13" fmla="*/ 9706 h 10000"/>
              <a:gd name="connsiteX14" fmla="*/ 3153 w 10000"/>
              <a:gd name="connsiteY14" fmla="*/ 9620 h 10000"/>
              <a:gd name="connsiteX15" fmla="*/ 3554 w 10000"/>
              <a:gd name="connsiteY15" fmla="*/ 9521 h 10000"/>
              <a:gd name="connsiteX16" fmla="*/ 4049 w 10000"/>
              <a:gd name="connsiteY16" fmla="*/ 9387 h 10000"/>
              <a:gd name="connsiteX17" fmla="*/ 4467 w 10000"/>
              <a:gd name="connsiteY17" fmla="*/ 9240 h 10000"/>
              <a:gd name="connsiteX18" fmla="*/ 4868 w 10000"/>
              <a:gd name="connsiteY18" fmla="*/ 9105 h 10000"/>
              <a:gd name="connsiteX19" fmla="*/ 5301 w 10000"/>
              <a:gd name="connsiteY19" fmla="*/ 8922 h 10000"/>
              <a:gd name="connsiteX20" fmla="*/ 5734 w 10000"/>
              <a:gd name="connsiteY20" fmla="*/ 8737 h 10000"/>
              <a:gd name="connsiteX21" fmla="*/ 6089 w 10000"/>
              <a:gd name="connsiteY21" fmla="*/ 8566 h 10000"/>
              <a:gd name="connsiteX22" fmla="*/ 6491 w 10000"/>
              <a:gd name="connsiteY22" fmla="*/ 8333 h 10000"/>
              <a:gd name="connsiteX23" fmla="*/ 6893 w 10000"/>
              <a:gd name="connsiteY23" fmla="*/ 8101 h 10000"/>
              <a:gd name="connsiteX24" fmla="*/ 7249 w 10000"/>
              <a:gd name="connsiteY24" fmla="*/ 7843 h 10000"/>
              <a:gd name="connsiteX25" fmla="*/ 7542 w 10000"/>
              <a:gd name="connsiteY25" fmla="*/ 7634 h 10000"/>
              <a:gd name="connsiteX26" fmla="*/ 7867 w 10000"/>
              <a:gd name="connsiteY26" fmla="*/ 7377 h 10000"/>
              <a:gd name="connsiteX27" fmla="*/ 8114 w 10000"/>
              <a:gd name="connsiteY27" fmla="*/ 7157 h 10000"/>
              <a:gd name="connsiteX28" fmla="*/ 8393 w 10000"/>
              <a:gd name="connsiteY28" fmla="*/ 6887 h 10000"/>
              <a:gd name="connsiteX29" fmla="*/ 8670 w 10000"/>
              <a:gd name="connsiteY29" fmla="*/ 6605 h 10000"/>
              <a:gd name="connsiteX30" fmla="*/ 8871 w 10000"/>
              <a:gd name="connsiteY30" fmla="*/ 6299 h 10000"/>
              <a:gd name="connsiteX31" fmla="*/ 9088 w 10000"/>
              <a:gd name="connsiteY31" fmla="*/ 6029 h 10000"/>
              <a:gd name="connsiteX32" fmla="*/ 9242 w 10000"/>
              <a:gd name="connsiteY32" fmla="*/ 5772 h 10000"/>
              <a:gd name="connsiteX33" fmla="*/ 9458 w 10000"/>
              <a:gd name="connsiteY33" fmla="*/ 5379 h 10000"/>
              <a:gd name="connsiteX34" fmla="*/ 9597 w 10000"/>
              <a:gd name="connsiteY34" fmla="*/ 5073 h 10000"/>
              <a:gd name="connsiteX35" fmla="*/ 9768 w 10000"/>
              <a:gd name="connsiteY35" fmla="*/ 4657 h 10000"/>
              <a:gd name="connsiteX36" fmla="*/ 9876 w 10000"/>
              <a:gd name="connsiteY36" fmla="*/ 4191 h 10000"/>
              <a:gd name="connsiteX37" fmla="*/ 9953 w 10000"/>
              <a:gd name="connsiteY37" fmla="*/ 3775 h 10000"/>
              <a:gd name="connsiteX38" fmla="*/ 10000 w 10000"/>
              <a:gd name="connsiteY38" fmla="*/ 3407 h 10000"/>
              <a:gd name="connsiteX39" fmla="*/ 10000 w 10000"/>
              <a:gd name="connsiteY39" fmla="*/ 3015 h 10000"/>
              <a:gd name="connsiteX40" fmla="*/ 9984 w 10000"/>
              <a:gd name="connsiteY40" fmla="*/ 2696 h 10000"/>
              <a:gd name="connsiteX41" fmla="*/ 9922 w 10000"/>
              <a:gd name="connsiteY41" fmla="*/ 2218 h 10000"/>
              <a:gd name="connsiteX42" fmla="*/ 9768 w 10000"/>
              <a:gd name="connsiteY42" fmla="*/ 1740 h 10000"/>
              <a:gd name="connsiteX43" fmla="*/ 9628 w 10000"/>
              <a:gd name="connsiteY43" fmla="*/ 1324 h 10000"/>
              <a:gd name="connsiteX44" fmla="*/ 9458 w 10000"/>
              <a:gd name="connsiteY44" fmla="*/ 980 h 10000"/>
              <a:gd name="connsiteX45" fmla="*/ 9304 w 10000"/>
              <a:gd name="connsiteY45" fmla="*/ 699 h 10000"/>
              <a:gd name="connsiteX46" fmla="*/ 9165 w 10000"/>
              <a:gd name="connsiteY46" fmla="*/ 478 h 10000"/>
              <a:gd name="connsiteX47" fmla="*/ 8994 w 10000"/>
              <a:gd name="connsiteY47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565 w 10000"/>
              <a:gd name="connsiteY5" fmla="*/ 5393 h 10000"/>
              <a:gd name="connsiteX6" fmla="*/ 2102 w 10000"/>
              <a:gd name="connsiteY6" fmla="*/ 7634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5 h 10000"/>
              <a:gd name="connsiteX10" fmla="*/ 1329 w 10000"/>
              <a:gd name="connsiteY10" fmla="*/ 9926 h 10000"/>
              <a:gd name="connsiteX11" fmla="*/ 1824 w 10000"/>
              <a:gd name="connsiteY11" fmla="*/ 9877 h 10000"/>
              <a:gd name="connsiteX12" fmla="*/ 2302 w 10000"/>
              <a:gd name="connsiteY12" fmla="*/ 9792 h 10000"/>
              <a:gd name="connsiteX13" fmla="*/ 2782 w 10000"/>
              <a:gd name="connsiteY13" fmla="*/ 9706 h 10000"/>
              <a:gd name="connsiteX14" fmla="*/ 3153 w 10000"/>
              <a:gd name="connsiteY14" fmla="*/ 9620 h 10000"/>
              <a:gd name="connsiteX15" fmla="*/ 3554 w 10000"/>
              <a:gd name="connsiteY15" fmla="*/ 9521 h 10000"/>
              <a:gd name="connsiteX16" fmla="*/ 4049 w 10000"/>
              <a:gd name="connsiteY16" fmla="*/ 9387 h 10000"/>
              <a:gd name="connsiteX17" fmla="*/ 4467 w 10000"/>
              <a:gd name="connsiteY17" fmla="*/ 9240 h 10000"/>
              <a:gd name="connsiteX18" fmla="*/ 4868 w 10000"/>
              <a:gd name="connsiteY18" fmla="*/ 9105 h 10000"/>
              <a:gd name="connsiteX19" fmla="*/ 5301 w 10000"/>
              <a:gd name="connsiteY19" fmla="*/ 8922 h 10000"/>
              <a:gd name="connsiteX20" fmla="*/ 5734 w 10000"/>
              <a:gd name="connsiteY20" fmla="*/ 8737 h 10000"/>
              <a:gd name="connsiteX21" fmla="*/ 6089 w 10000"/>
              <a:gd name="connsiteY21" fmla="*/ 8566 h 10000"/>
              <a:gd name="connsiteX22" fmla="*/ 6491 w 10000"/>
              <a:gd name="connsiteY22" fmla="*/ 8333 h 10000"/>
              <a:gd name="connsiteX23" fmla="*/ 6893 w 10000"/>
              <a:gd name="connsiteY23" fmla="*/ 8101 h 10000"/>
              <a:gd name="connsiteX24" fmla="*/ 7249 w 10000"/>
              <a:gd name="connsiteY24" fmla="*/ 7843 h 10000"/>
              <a:gd name="connsiteX25" fmla="*/ 7542 w 10000"/>
              <a:gd name="connsiteY25" fmla="*/ 7634 h 10000"/>
              <a:gd name="connsiteX26" fmla="*/ 7867 w 10000"/>
              <a:gd name="connsiteY26" fmla="*/ 7377 h 10000"/>
              <a:gd name="connsiteX27" fmla="*/ 8114 w 10000"/>
              <a:gd name="connsiteY27" fmla="*/ 7157 h 10000"/>
              <a:gd name="connsiteX28" fmla="*/ 8393 w 10000"/>
              <a:gd name="connsiteY28" fmla="*/ 6887 h 10000"/>
              <a:gd name="connsiteX29" fmla="*/ 8670 w 10000"/>
              <a:gd name="connsiteY29" fmla="*/ 6605 h 10000"/>
              <a:gd name="connsiteX30" fmla="*/ 8871 w 10000"/>
              <a:gd name="connsiteY30" fmla="*/ 6299 h 10000"/>
              <a:gd name="connsiteX31" fmla="*/ 9088 w 10000"/>
              <a:gd name="connsiteY31" fmla="*/ 6029 h 10000"/>
              <a:gd name="connsiteX32" fmla="*/ 9242 w 10000"/>
              <a:gd name="connsiteY32" fmla="*/ 5772 h 10000"/>
              <a:gd name="connsiteX33" fmla="*/ 9458 w 10000"/>
              <a:gd name="connsiteY33" fmla="*/ 5379 h 10000"/>
              <a:gd name="connsiteX34" fmla="*/ 9597 w 10000"/>
              <a:gd name="connsiteY34" fmla="*/ 5073 h 10000"/>
              <a:gd name="connsiteX35" fmla="*/ 9768 w 10000"/>
              <a:gd name="connsiteY35" fmla="*/ 4657 h 10000"/>
              <a:gd name="connsiteX36" fmla="*/ 9876 w 10000"/>
              <a:gd name="connsiteY36" fmla="*/ 4191 h 10000"/>
              <a:gd name="connsiteX37" fmla="*/ 9953 w 10000"/>
              <a:gd name="connsiteY37" fmla="*/ 3775 h 10000"/>
              <a:gd name="connsiteX38" fmla="*/ 10000 w 10000"/>
              <a:gd name="connsiteY38" fmla="*/ 3407 h 10000"/>
              <a:gd name="connsiteX39" fmla="*/ 10000 w 10000"/>
              <a:gd name="connsiteY39" fmla="*/ 3015 h 10000"/>
              <a:gd name="connsiteX40" fmla="*/ 9984 w 10000"/>
              <a:gd name="connsiteY40" fmla="*/ 2696 h 10000"/>
              <a:gd name="connsiteX41" fmla="*/ 9922 w 10000"/>
              <a:gd name="connsiteY41" fmla="*/ 2218 h 10000"/>
              <a:gd name="connsiteX42" fmla="*/ 9768 w 10000"/>
              <a:gd name="connsiteY42" fmla="*/ 1740 h 10000"/>
              <a:gd name="connsiteX43" fmla="*/ 9628 w 10000"/>
              <a:gd name="connsiteY43" fmla="*/ 1324 h 10000"/>
              <a:gd name="connsiteX44" fmla="*/ 9458 w 10000"/>
              <a:gd name="connsiteY44" fmla="*/ 980 h 10000"/>
              <a:gd name="connsiteX45" fmla="*/ 9304 w 10000"/>
              <a:gd name="connsiteY45" fmla="*/ 699 h 10000"/>
              <a:gd name="connsiteX46" fmla="*/ 9165 w 10000"/>
              <a:gd name="connsiteY46" fmla="*/ 478 h 10000"/>
              <a:gd name="connsiteX47" fmla="*/ 8994 w 10000"/>
              <a:gd name="connsiteY47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565 w 10000"/>
              <a:gd name="connsiteY5" fmla="*/ 5393 h 10000"/>
              <a:gd name="connsiteX6" fmla="*/ 2102 w 10000"/>
              <a:gd name="connsiteY6" fmla="*/ 7634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5 h 10000"/>
              <a:gd name="connsiteX10" fmla="*/ 1329 w 10000"/>
              <a:gd name="connsiteY10" fmla="*/ 9926 h 10000"/>
              <a:gd name="connsiteX11" fmla="*/ 1824 w 10000"/>
              <a:gd name="connsiteY11" fmla="*/ 9877 h 10000"/>
              <a:gd name="connsiteX12" fmla="*/ 2302 w 10000"/>
              <a:gd name="connsiteY12" fmla="*/ 9792 h 10000"/>
              <a:gd name="connsiteX13" fmla="*/ 2782 w 10000"/>
              <a:gd name="connsiteY13" fmla="*/ 9706 h 10000"/>
              <a:gd name="connsiteX14" fmla="*/ 3153 w 10000"/>
              <a:gd name="connsiteY14" fmla="*/ 9620 h 10000"/>
              <a:gd name="connsiteX15" fmla="*/ 3554 w 10000"/>
              <a:gd name="connsiteY15" fmla="*/ 9521 h 10000"/>
              <a:gd name="connsiteX16" fmla="*/ 4049 w 10000"/>
              <a:gd name="connsiteY16" fmla="*/ 9387 h 10000"/>
              <a:gd name="connsiteX17" fmla="*/ 4467 w 10000"/>
              <a:gd name="connsiteY17" fmla="*/ 9240 h 10000"/>
              <a:gd name="connsiteX18" fmla="*/ 4868 w 10000"/>
              <a:gd name="connsiteY18" fmla="*/ 9105 h 10000"/>
              <a:gd name="connsiteX19" fmla="*/ 5301 w 10000"/>
              <a:gd name="connsiteY19" fmla="*/ 8922 h 10000"/>
              <a:gd name="connsiteX20" fmla="*/ 5734 w 10000"/>
              <a:gd name="connsiteY20" fmla="*/ 8737 h 10000"/>
              <a:gd name="connsiteX21" fmla="*/ 6089 w 10000"/>
              <a:gd name="connsiteY21" fmla="*/ 8566 h 10000"/>
              <a:gd name="connsiteX22" fmla="*/ 6491 w 10000"/>
              <a:gd name="connsiteY22" fmla="*/ 8333 h 10000"/>
              <a:gd name="connsiteX23" fmla="*/ 6893 w 10000"/>
              <a:gd name="connsiteY23" fmla="*/ 8101 h 10000"/>
              <a:gd name="connsiteX24" fmla="*/ 7249 w 10000"/>
              <a:gd name="connsiteY24" fmla="*/ 7843 h 10000"/>
              <a:gd name="connsiteX25" fmla="*/ 7542 w 10000"/>
              <a:gd name="connsiteY25" fmla="*/ 7634 h 10000"/>
              <a:gd name="connsiteX26" fmla="*/ 7867 w 10000"/>
              <a:gd name="connsiteY26" fmla="*/ 7377 h 10000"/>
              <a:gd name="connsiteX27" fmla="*/ 8114 w 10000"/>
              <a:gd name="connsiteY27" fmla="*/ 7157 h 10000"/>
              <a:gd name="connsiteX28" fmla="*/ 8393 w 10000"/>
              <a:gd name="connsiteY28" fmla="*/ 6887 h 10000"/>
              <a:gd name="connsiteX29" fmla="*/ 8670 w 10000"/>
              <a:gd name="connsiteY29" fmla="*/ 6605 h 10000"/>
              <a:gd name="connsiteX30" fmla="*/ 8871 w 10000"/>
              <a:gd name="connsiteY30" fmla="*/ 6299 h 10000"/>
              <a:gd name="connsiteX31" fmla="*/ 9088 w 10000"/>
              <a:gd name="connsiteY31" fmla="*/ 6029 h 10000"/>
              <a:gd name="connsiteX32" fmla="*/ 9242 w 10000"/>
              <a:gd name="connsiteY32" fmla="*/ 5772 h 10000"/>
              <a:gd name="connsiteX33" fmla="*/ 9458 w 10000"/>
              <a:gd name="connsiteY33" fmla="*/ 5379 h 10000"/>
              <a:gd name="connsiteX34" fmla="*/ 9597 w 10000"/>
              <a:gd name="connsiteY34" fmla="*/ 5073 h 10000"/>
              <a:gd name="connsiteX35" fmla="*/ 9768 w 10000"/>
              <a:gd name="connsiteY35" fmla="*/ 4657 h 10000"/>
              <a:gd name="connsiteX36" fmla="*/ 9876 w 10000"/>
              <a:gd name="connsiteY36" fmla="*/ 4191 h 10000"/>
              <a:gd name="connsiteX37" fmla="*/ 9953 w 10000"/>
              <a:gd name="connsiteY37" fmla="*/ 3775 h 10000"/>
              <a:gd name="connsiteX38" fmla="*/ 10000 w 10000"/>
              <a:gd name="connsiteY38" fmla="*/ 3407 h 10000"/>
              <a:gd name="connsiteX39" fmla="*/ 10000 w 10000"/>
              <a:gd name="connsiteY39" fmla="*/ 3015 h 10000"/>
              <a:gd name="connsiteX40" fmla="*/ 9984 w 10000"/>
              <a:gd name="connsiteY40" fmla="*/ 2696 h 10000"/>
              <a:gd name="connsiteX41" fmla="*/ 9922 w 10000"/>
              <a:gd name="connsiteY41" fmla="*/ 2218 h 10000"/>
              <a:gd name="connsiteX42" fmla="*/ 9768 w 10000"/>
              <a:gd name="connsiteY42" fmla="*/ 1740 h 10000"/>
              <a:gd name="connsiteX43" fmla="*/ 9628 w 10000"/>
              <a:gd name="connsiteY43" fmla="*/ 1324 h 10000"/>
              <a:gd name="connsiteX44" fmla="*/ 9458 w 10000"/>
              <a:gd name="connsiteY44" fmla="*/ 980 h 10000"/>
              <a:gd name="connsiteX45" fmla="*/ 9304 w 10000"/>
              <a:gd name="connsiteY45" fmla="*/ 699 h 10000"/>
              <a:gd name="connsiteX46" fmla="*/ 9165 w 10000"/>
              <a:gd name="connsiteY46" fmla="*/ 478 h 10000"/>
              <a:gd name="connsiteX47" fmla="*/ 8994 w 10000"/>
              <a:gd name="connsiteY47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565 w 10000"/>
              <a:gd name="connsiteY5" fmla="*/ 5393 h 10000"/>
              <a:gd name="connsiteX6" fmla="*/ 2102 w 10000"/>
              <a:gd name="connsiteY6" fmla="*/ 7634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5 h 10000"/>
              <a:gd name="connsiteX10" fmla="*/ 1329 w 10000"/>
              <a:gd name="connsiteY10" fmla="*/ 9926 h 10000"/>
              <a:gd name="connsiteX11" fmla="*/ 1824 w 10000"/>
              <a:gd name="connsiteY11" fmla="*/ 9877 h 10000"/>
              <a:gd name="connsiteX12" fmla="*/ 2302 w 10000"/>
              <a:gd name="connsiteY12" fmla="*/ 9792 h 10000"/>
              <a:gd name="connsiteX13" fmla="*/ 2782 w 10000"/>
              <a:gd name="connsiteY13" fmla="*/ 9706 h 10000"/>
              <a:gd name="connsiteX14" fmla="*/ 3153 w 10000"/>
              <a:gd name="connsiteY14" fmla="*/ 9620 h 10000"/>
              <a:gd name="connsiteX15" fmla="*/ 3554 w 10000"/>
              <a:gd name="connsiteY15" fmla="*/ 9521 h 10000"/>
              <a:gd name="connsiteX16" fmla="*/ 4049 w 10000"/>
              <a:gd name="connsiteY16" fmla="*/ 9387 h 10000"/>
              <a:gd name="connsiteX17" fmla="*/ 4467 w 10000"/>
              <a:gd name="connsiteY17" fmla="*/ 9240 h 10000"/>
              <a:gd name="connsiteX18" fmla="*/ 4868 w 10000"/>
              <a:gd name="connsiteY18" fmla="*/ 9105 h 10000"/>
              <a:gd name="connsiteX19" fmla="*/ 5301 w 10000"/>
              <a:gd name="connsiteY19" fmla="*/ 8922 h 10000"/>
              <a:gd name="connsiteX20" fmla="*/ 5734 w 10000"/>
              <a:gd name="connsiteY20" fmla="*/ 8737 h 10000"/>
              <a:gd name="connsiteX21" fmla="*/ 6089 w 10000"/>
              <a:gd name="connsiteY21" fmla="*/ 8566 h 10000"/>
              <a:gd name="connsiteX22" fmla="*/ 6491 w 10000"/>
              <a:gd name="connsiteY22" fmla="*/ 8333 h 10000"/>
              <a:gd name="connsiteX23" fmla="*/ 6893 w 10000"/>
              <a:gd name="connsiteY23" fmla="*/ 8101 h 10000"/>
              <a:gd name="connsiteX24" fmla="*/ 7249 w 10000"/>
              <a:gd name="connsiteY24" fmla="*/ 7843 h 10000"/>
              <a:gd name="connsiteX25" fmla="*/ 7542 w 10000"/>
              <a:gd name="connsiteY25" fmla="*/ 7634 h 10000"/>
              <a:gd name="connsiteX26" fmla="*/ 7867 w 10000"/>
              <a:gd name="connsiteY26" fmla="*/ 7377 h 10000"/>
              <a:gd name="connsiteX27" fmla="*/ 8114 w 10000"/>
              <a:gd name="connsiteY27" fmla="*/ 7157 h 10000"/>
              <a:gd name="connsiteX28" fmla="*/ 8393 w 10000"/>
              <a:gd name="connsiteY28" fmla="*/ 6887 h 10000"/>
              <a:gd name="connsiteX29" fmla="*/ 8670 w 10000"/>
              <a:gd name="connsiteY29" fmla="*/ 6605 h 10000"/>
              <a:gd name="connsiteX30" fmla="*/ 8871 w 10000"/>
              <a:gd name="connsiteY30" fmla="*/ 6299 h 10000"/>
              <a:gd name="connsiteX31" fmla="*/ 9088 w 10000"/>
              <a:gd name="connsiteY31" fmla="*/ 6029 h 10000"/>
              <a:gd name="connsiteX32" fmla="*/ 9242 w 10000"/>
              <a:gd name="connsiteY32" fmla="*/ 5772 h 10000"/>
              <a:gd name="connsiteX33" fmla="*/ 9458 w 10000"/>
              <a:gd name="connsiteY33" fmla="*/ 5379 h 10000"/>
              <a:gd name="connsiteX34" fmla="*/ 9597 w 10000"/>
              <a:gd name="connsiteY34" fmla="*/ 5073 h 10000"/>
              <a:gd name="connsiteX35" fmla="*/ 9768 w 10000"/>
              <a:gd name="connsiteY35" fmla="*/ 4657 h 10000"/>
              <a:gd name="connsiteX36" fmla="*/ 9876 w 10000"/>
              <a:gd name="connsiteY36" fmla="*/ 4191 h 10000"/>
              <a:gd name="connsiteX37" fmla="*/ 9953 w 10000"/>
              <a:gd name="connsiteY37" fmla="*/ 3775 h 10000"/>
              <a:gd name="connsiteX38" fmla="*/ 10000 w 10000"/>
              <a:gd name="connsiteY38" fmla="*/ 3407 h 10000"/>
              <a:gd name="connsiteX39" fmla="*/ 10000 w 10000"/>
              <a:gd name="connsiteY39" fmla="*/ 3015 h 10000"/>
              <a:gd name="connsiteX40" fmla="*/ 9984 w 10000"/>
              <a:gd name="connsiteY40" fmla="*/ 2696 h 10000"/>
              <a:gd name="connsiteX41" fmla="*/ 9922 w 10000"/>
              <a:gd name="connsiteY41" fmla="*/ 2218 h 10000"/>
              <a:gd name="connsiteX42" fmla="*/ 9768 w 10000"/>
              <a:gd name="connsiteY42" fmla="*/ 1740 h 10000"/>
              <a:gd name="connsiteX43" fmla="*/ 9628 w 10000"/>
              <a:gd name="connsiteY43" fmla="*/ 1324 h 10000"/>
              <a:gd name="connsiteX44" fmla="*/ 9458 w 10000"/>
              <a:gd name="connsiteY44" fmla="*/ 980 h 10000"/>
              <a:gd name="connsiteX45" fmla="*/ 9304 w 10000"/>
              <a:gd name="connsiteY45" fmla="*/ 699 h 10000"/>
              <a:gd name="connsiteX46" fmla="*/ 9165 w 10000"/>
              <a:gd name="connsiteY46" fmla="*/ 478 h 10000"/>
              <a:gd name="connsiteX47" fmla="*/ 8994 w 10000"/>
              <a:gd name="connsiteY47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455 w 10000"/>
              <a:gd name="connsiteY4" fmla="*/ 2222 h 10000"/>
              <a:gd name="connsiteX5" fmla="*/ 565 w 10000"/>
              <a:gd name="connsiteY5" fmla="*/ 5393 h 10000"/>
              <a:gd name="connsiteX6" fmla="*/ 2102 w 10000"/>
              <a:gd name="connsiteY6" fmla="*/ 7634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5 h 10000"/>
              <a:gd name="connsiteX10" fmla="*/ 1329 w 10000"/>
              <a:gd name="connsiteY10" fmla="*/ 9926 h 10000"/>
              <a:gd name="connsiteX11" fmla="*/ 1824 w 10000"/>
              <a:gd name="connsiteY11" fmla="*/ 9877 h 10000"/>
              <a:gd name="connsiteX12" fmla="*/ 2302 w 10000"/>
              <a:gd name="connsiteY12" fmla="*/ 9792 h 10000"/>
              <a:gd name="connsiteX13" fmla="*/ 2782 w 10000"/>
              <a:gd name="connsiteY13" fmla="*/ 9706 h 10000"/>
              <a:gd name="connsiteX14" fmla="*/ 3153 w 10000"/>
              <a:gd name="connsiteY14" fmla="*/ 9620 h 10000"/>
              <a:gd name="connsiteX15" fmla="*/ 3554 w 10000"/>
              <a:gd name="connsiteY15" fmla="*/ 9521 h 10000"/>
              <a:gd name="connsiteX16" fmla="*/ 4049 w 10000"/>
              <a:gd name="connsiteY16" fmla="*/ 9387 h 10000"/>
              <a:gd name="connsiteX17" fmla="*/ 4467 w 10000"/>
              <a:gd name="connsiteY17" fmla="*/ 9240 h 10000"/>
              <a:gd name="connsiteX18" fmla="*/ 4868 w 10000"/>
              <a:gd name="connsiteY18" fmla="*/ 9105 h 10000"/>
              <a:gd name="connsiteX19" fmla="*/ 5301 w 10000"/>
              <a:gd name="connsiteY19" fmla="*/ 8922 h 10000"/>
              <a:gd name="connsiteX20" fmla="*/ 5734 w 10000"/>
              <a:gd name="connsiteY20" fmla="*/ 8737 h 10000"/>
              <a:gd name="connsiteX21" fmla="*/ 6089 w 10000"/>
              <a:gd name="connsiteY21" fmla="*/ 8566 h 10000"/>
              <a:gd name="connsiteX22" fmla="*/ 6491 w 10000"/>
              <a:gd name="connsiteY22" fmla="*/ 8333 h 10000"/>
              <a:gd name="connsiteX23" fmla="*/ 6893 w 10000"/>
              <a:gd name="connsiteY23" fmla="*/ 8101 h 10000"/>
              <a:gd name="connsiteX24" fmla="*/ 7249 w 10000"/>
              <a:gd name="connsiteY24" fmla="*/ 7843 h 10000"/>
              <a:gd name="connsiteX25" fmla="*/ 7542 w 10000"/>
              <a:gd name="connsiteY25" fmla="*/ 7634 h 10000"/>
              <a:gd name="connsiteX26" fmla="*/ 7867 w 10000"/>
              <a:gd name="connsiteY26" fmla="*/ 7377 h 10000"/>
              <a:gd name="connsiteX27" fmla="*/ 8114 w 10000"/>
              <a:gd name="connsiteY27" fmla="*/ 7157 h 10000"/>
              <a:gd name="connsiteX28" fmla="*/ 8393 w 10000"/>
              <a:gd name="connsiteY28" fmla="*/ 6887 h 10000"/>
              <a:gd name="connsiteX29" fmla="*/ 8670 w 10000"/>
              <a:gd name="connsiteY29" fmla="*/ 6605 h 10000"/>
              <a:gd name="connsiteX30" fmla="*/ 8871 w 10000"/>
              <a:gd name="connsiteY30" fmla="*/ 6299 h 10000"/>
              <a:gd name="connsiteX31" fmla="*/ 9088 w 10000"/>
              <a:gd name="connsiteY31" fmla="*/ 6029 h 10000"/>
              <a:gd name="connsiteX32" fmla="*/ 9242 w 10000"/>
              <a:gd name="connsiteY32" fmla="*/ 5772 h 10000"/>
              <a:gd name="connsiteX33" fmla="*/ 9458 w 10000"/>
              <a:gd name="connsiteY33" fmla="*/ 5379 h 10000"/>
              <a:gd name="connsiteX34" fmla="*/ 9597 w 10000"/>
              <a:gd name="connsiteY34" fmla="*/ 5073 h 10000"/>
              <a:gd name="connsiteX35" fmla="*/ 9768 w 10000"/>
              <a:gd name="connsiteY35" fmla="*/ 4657 h 10000"/>
              <a:gd name="connsiteX36" fmla="*/ 9876 w 10000"/>
              <a:gd name="connsiteY36" fmla="*/ 4191 h 10000"/>
              <a:gd name="connsiteX37" fmla="*/ 9953 w 10000"/>
              <a:gd name="connsiteY37" fmla="*/ 3775 h 10000"/>
              <a:gd name="connsiteX38" fmla="*/ 10000 w 10000"/>
              <a:gd name="connsiteY38" fmla="*/ 3407 h 10000"/>
              <a:gd name="connsiteX39" fmla="*/ 10000 w 10000"/>
              <a:gd name="connsiteY39" fmla="*/ 3015 h 10000"/>
              <a:gd name="connsiteX40" fmla="*/ 9984 w 10000"/>
              <a:gd name="connsiteY40" fmla="*/ 2696 h 10000"/>
              <a:gd name="connsiteX41" fmla="*/ 9922 w 10000"/>
              <a:gd name="connsiteY41" fmla="*/ 2218 h 10000"/>
              <a:gd name="connsiteX42" fmla="*/ 9768 w 10000"/>
              <a:gd name="connsiteY42" fmla="*/ 1740 h 10000"/>
              <a:gd name="connsiteX43" fmla="*/ 9628 w 10000"/>
              <a:gd name="connsiteY43" fmla="*/ 1324 h 10000"/>
              <a:gd name="connsiteX44" fmla="*/ 9458 w 10000"/>
              <a:gd name="connsiteY44" fmla="*/ 980 h 10000"/>
              <a:gd name="connsiteX45" fmla="*/ 9304 w 10000"/>
              <a:gd name="connsiteY45" fmla="*/ 699 h 10000"/>
              <a:gd name="connsiteX46" fmla="*/ 9165 w 10000"/>
              <a:gd name="connsiteY46" fmla="*/ 478 h 10000"/>
              <a:gd name="connsiteX47" fmla="*/ 8994 w 10000"/>
              <a:gd name="connsiteY47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33 w 10000"/>
              <a:gd name="connsiteY3" fmla="*/ 2397 h 10000"/>
              <a:gd name="connsiteX4" fmla="*/ 2455 w 10000"/>
              <a:gd name="connsiteY4" fmla="*/ 2222 h 10000"/>
              <a:gd name="connsiteX5" fmla="*/ 565 w 10000"/>
              <a:gd name="connsiteY5" fmla="*/ 5393 h 10000"/>
              <a:gd name="connsiteX6" fmla="*/ 2102 w 10000"/>
              <a:gd name="connsiteY6" fmla="*/ 7634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5 h 10000"/>
              <a:gd name="connsiteX10" fmla="*/ 1329 w 10000"/>
              <a:gd name="connsiteY10" fmla="*/ 9926 h 10000"/>
              <a:gd name="connsiteX11" fmla="*/ 1824 w 10000"/>
              <a:gd name="connsiteY11" fmla="*/ 9877 h 10000"/>
              <a:gd name="connsiteX12" fmla="*/ 2302 w 10000"/>
              <a:gd name="connsiteY12" fmla="*/ 9792 h 10000"/>
              <a:gd name="connsiteX13" fmla="*/ 2782 w 10000"/>
              <a:gd name="connsiteY13" fmla="*/ 9706 h 10000"/>
              <a:gd name="connsiteX14" fmla="*/ 3153 w 10000"/>
              <a:gd name="connsiteY14" fmla="*/ 9620 h 10000"/>
              <a:gd name="connsiteX15" fmla="*/ 3554 w 10000"/>
              <a:gd name="connsiteY15" fmla="*/ 9521 h 10000"/>
              <a:gd name="connsiteX16" fmla="*/ 4049 w 10000"/>
              <a:gd name="connsiteY16" fmla="*/ 9387 h 10000"/>
              <a:gd name="connsiteX17" fmla="*/ 4467 w 10000"/>
              <a:gd name="connsiteY17" fmla="*/ 9240 h 10000"/>
              <a:gd name="connsiteX18" fmla="*/ 4868 w 10000"/>
              <a:gd name="connsiteY18" fmla="*/ 9105 h 10000"/>
              <a:gd name="connsiteX19" fmla="*/ 5301 w 10000"/>
              <a:gd name="connsiteY19" fmla="*/ 8922 h 10000"/>
              <a:gd name="connsiteX20" fmla="*/ 5734 w 10000"/>
              <a:gd name="connsiteY20" fmla="*/ 8737 h 10000"/>
              <a:gd name="connsiteX21" fmla="*/ 6089 w 10000"/>
              <a:gd name="connsiteY21" fmla="*/ 8566 h 10000"/>
              <a:gd name="connsiteX22" fmla="*/ 6491 w 10000"/>
              <a:gd name="connsiteY22" fmla="*/ 8333 h 10000"/>
              <a:gd name="connsiteX23" fmla="*/ 6893 w 10000"/>
              <a:gd name="connsiteY23" fmla="*/ 8101 h 10000"/>
              <a:gd name="connsiteX24" fmla="*/ 7249 w 10000"/>
              <a:gd name="connsiteY24" fmla="*/ 7843 h 10000"/>
              <a:gd name="connsiteX25" fmla="*/ 7542 w 10000"/>
              <a:gd name="connsiteY25" fmla="*/ 7634 h 10000"/>
              <a:gd name="connsiteX26" fmla="*/ 7867 w 10000"/>
              <a:gd name="connsiteY26" fmla="*/ 7377 h 10000"/>
              <a:gd name="connsiteX27" fmla="*/ 8114 w 10000"/>
              <a:gd name="connsiteY27" fmla="*/ 7157 h 10000"/>
              <a:gd name="connsiteX28" fmla="*/ 8393 w 10000"/>
              <a:gd name="connsiteY28" fmla="*/ 6887 h 10000"/>
              <a:gd name="connsiteX29" fmla="*/ 8670 w 10000"/>
              <a:gd name="connsiteY29" fmla="*/ 6605 h 10000"/>
              <a:gd name="connsiteX30" fmla="*/ 8871 w 10000"/>
              <a:gd name="connsiteY30" fmla="*/ 6299 h 10000"/>
              <a:gd name="connsiteX31" fmla="*/ 9088 w 10000"/>
              <a:gd name="connsiteY31" fmla="*/ 6029 h 10000"/>
              <a:gd name="connsiteX32" fmla="*/ 9242 w 10000"/>
              <a:gd name="connsiteY32" fmla="*/ 5772 h 10000"/>
              <a:gd name="connsiteX33" fmla="*/ 9458 w 10000"/>
              <a:gd name="connsiteY33" fmla="*/ 5379 h 10000"/>
              <a:gd name="connsiteX34" fmla="*/ 9597 w 10000"/>
              <a:gd name="connsiteY34" fmla="*/ 5073 h 10000"/>
              <a:gd name="connsiteX35" fmla="*/ 9768 w 10000"/>
              <a:gd name="connsiteY35" fmla="*/ 4657 h 10000"/>
              <a:gd name="connsiteX36" fmla="*/ 9876 w 10000"/>
              <a:gd name="connsiteY36" fmla="*/ 4191 h 10000"/>
              <a:gd name="connsiteX37" fmla="*/ 9953 w 10000"/>
              <a:gd name="connsiteY37" fmla="*/ 3775 h 10000"/>
              <a:gd name="connsiteX38" fmla="*/ 10000 w 10000"/>
              <a:gd name="connsiteY38" fmla="*/ 3407 h 10000"/>
              <a:gd name="connsiteX39" fmla="*/ 10000 w 10000"/>
              <a:gd name="connsiteY39" fmla="*/ 3015 h 10000"/>
              <a:gd name="connsiteX40" fmla="*/ 9984 w 10000"/>
              <a:gd name="connsiteY40" fmla="*/ 2696 h 10000"/>
              <a:gd name="connsiteX41" fmla="*/ 9922 w 10000"/>
              <a:gd name="connsiteY41" fmla="*/ 2218 h 10000"/>
              <a:gd name="connsiteX42" fmla="*/ 9768 w 10000"/>
              <a:gd name="connsiteY42" fmla="*/ 1740 h 10000"/>
              <a:gd name="connsiteX43" fmla="*/ 9628 w 10000"/>
              <a:gd name="connsiteY43" fmla="*/ 1324 h 10000"/>
              <a:gd name="connsiteX44" fmla="*/ 9458 w 10000"/>
              <a:gd name="connsiteY44" fmla="*/ 980 h 10000"/>
              <a:gd name="connsiteX45" fmla="*/ 9304 w 10000"/>
              <a:gd name="connsiteY45" fmla="*/ 699 h 10000"/>
              <a:gd name="connsiteX46" fmla="*/ 9165 w 10000"/>
              <a:gd name="connsiteY46" fmla="*/ 478 h 10000"/>
              <a:gd name="connsiteX47" fmla="*/ 8994 w 10000"/>
              <a:gd name="connsiteY47" fmla="*/ 257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0000" h="10000">
                <a:moveTo>
                  <a:pt x="8994" y="257"/>
                </a:moveTo>
                <a:lnTo>
                  <a:pt x="9412" y="73"/>
                </a:lnTo>
                <a:lnTo>
                  <a:pt x="4822" y="0"/>
                </a:lnTo>
                <a:lnTo>
                  <a:pt x="2033" y="2397"/>
                </a:lnTo>
                <a:lnTo>
                  <a:pt x="2455" y="2222"/>
                </a:lnTo>
                <a:cubicBezTo>
                  <a:pt x="3063" y="2711"/>
                  <a:pt x="3726" y="4648"/>
                  <a:pt x="565" y="5393"/>
                </a:cubicBezTo>
                <a:lnTo>
                  <a:pt x="2102" y="7634"/>
                </a:lnTo>
                <a:lnTo>
                  <a:pt x="0" y="10000"/>
                </a:lnTo>
                <a:lnTo>
                  <a:pt x="418" y="9988"/>
                </a:lnTo>
                <a:lnTo>
                  <a:pt x="850" y="9975"/>
                </a:lnTo>
                <a:lnTo>
                  <a:pt x="1329" y="9926"/>
                </a:lnTo>
                <a:lnTo>
                  <a:pt x="1824" y="9877"/>
                </a:lnTo>
                <a:lnTo>
                  <a:pt x="2302" y="9792"/>
                </a:lnTo>
                <a:lnTo>
                  <a:pt x="2782" y="9706"/>
                </a:lnTo>
                <a:lnTo>
                  <a:pt x="3153" y="9620"/>
                </a:lnTo>
                <a:lnTo>
                  <a:pt x="3554" y="9521"/>
                </a:lnTo>
                <a:lnTo>
                  <a:pt x="4049" y="9387"/>
                </a:lnTo>
                <a:lnTo>
                  <a:pt x="4467" y="9240"/>
                </a:lnTo>
                <a:lnTo>
                  <a:pt x="4868" y="9105"/>
                </a:lnTo>
                <a:lnTo>
                  <a:pt x="5301" y="8922"/>
                </a:lnTo>
                <a:lnTo>
                  <a:pt x="5734" y="8737"/>
                </a:lnTo>
                <a:lnTo>
                  <a:pt x="6089" y="8566"/>
                </a:lnTo>
                <a:lnTo>
                  <a:pt x="6491" y="8333"/>
                </a:lnTo>
                <a:lnTo>
                  <a:pt x="6893" y="8101"/>
                </a:lnTo>
                <a:lnTo>
                  <a:pt x="7249" y="7843"/>
                </a:lnTo>
                <a:lnTo>
                  <a:pt x="7542" y="7634"/>
                </a:lnTo>
                <a:lnTo>
                  <a:pt x="7867" y="7377"/>
                </a:lnTo>
                <a:lnTo>
                  <a:pt x="8114" y="7157"/>
                </a:lnTo>
                <a:lnTo>
                  <a:pt x="8393" y="6887"/>
                </a:lnTo>
                <a:lnTo>
                  <a:pt x="8670" y="6605"/>
                </a:lnTo>
                <a:lnTo>
                  <a:pt x="8871" y="6299"/>
                </a:lnTo>
                <a:lnTo>
                  <a:pt x="9088" y="6029"/>
                </a:lnTo>
                <a:cubicBezTo>
                  <a:pt x="9139" y="5943"/>
                  <a:pt x="9191" y="5858"/>
                  <a:pt x="9242" y="5772"/>
                </a:cubicBezTo>
                <a:lnTo>
                  <a:pt x="9458" y="5379"/>
                </a:lnTo>
                <a:cubicBezTo>
                  <a:pt x="9504" y="5277"/>
                  <a:pt x="9551" y="5175"/>
                  <a:pt x="9597" y="5073"/>
                </a:cubicBezTo>
                <a:lnTo>
                  <a:pt x="9768" y="4657"/>
                </a:lnTo>
                <a:lnTo>
                  <a:pt x="9876" y="4191"/>
                </a:lnTo>
                <a:cubicBezTo>
                  <a:pt x="9902" y="4052"/>
                  <a:pt x="9927" y="3914"/>
                  <a:pt x="9953" y="3775"/>
                </a:cubicBezTo>
                <a:cubicBezTo>
                  <a:pt x="9969" y="3652"/>
                  <a:pt x="9984" y="3529"/>
                  <a:pt x="10000" y="3407"/>
                </a:cubicBezTo>
                <a:lnTo>
                  <a:pt x="10000" y="3015"/>
                </a:lnTo>
                <a:cubicBezTo>
                  <a:pt x="9995" y="2908"/>
                  <a:pt x="9989" y="2802"/>
                  <a:pt x="9984" y="2696"/>
                </a:cubicBezTo>
                <a:cubicBezTo>
                  <a:pt x="9963" y="2537"/>
                  <a:pt x="9943" y="2377"/>
                  <a:pt x="9922" y="2218"/>
                </a:cubicBezTo>
                <a:cubicBezTo>
                  <a:pt x="9871" y="2058"/>
                  <a:pt x="9819" y="1899"/>
                  <a:pt x="9768" y="1740"/>
                </a:cubicBezTo>
                <a:cubicBezTo>
                  <a:pt x="9722" y="1601"/>
                  <a:pt x="9675" y="1463"/>
                  <a:pt x="9628" y="1324"/>
                </a:cubicBezTo>
                <a:cubicBezTo>
                  <a:pt x="9571" y="1209"/>
                  <a:pt x="9515" y="1094"/>
                  <a:pt x="9458" y="980"/>
                </a:cubicBezTo>
                <a:cubicBezTo>
                  <a:pt x="9407" y="886"/>
                  <a:pt x="9355" y="793"/>
                  <a:pt x="9304" y="699"/>
                </a:cubicBezTo>
                <a:cubicBezTo>
                  <a:pt x="9258" y="625"/>
                  <a:pt x="9211" y="552"/>
                  <a:pt x="9165" y="478"/>
                </a:cubicBezTo>
                <a:cubicBezTo>
                  <a:pt x="9108" y="404"/>
                  <a:pt x="9052" y="330"/>
                  <a:pt x="8994" y="257"/>
                </a:cubicBezTo>
              </a:path>
            </a:pathLst>
          </a:custGeom>
          <a:solidFill>
            <a:srgbClr val="00B0F0"/>
          </a:solidFill>
          <a:ln w="12700" cap="rnd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/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Text Box 9">
            <a:extLst>
              <a:ext uri="{FF2B5EF4-FFF2-40B4-BE49-F238E27FC236}">
                <a16:creationId xmlns:a16="http://schemas.microsoft.com/office/drawing/2014/main" id="{473205DE-B8DD-40C9-96F5-2F503DC55D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05730" y="2727145"/>
            <a:ext cx="1478651" cy="30777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0000" rIns="90000">
            <a:spAutoFit/>
          </a:bodyPr>
          <a:lstStyle/>
          <a:p>
            <a:pPr algn="ctr" eaLnBrk="0" hangingPunct="0"/>
            <a:r>
              <a:rPr lang="en-US" sz="1400" dirty="0">
                <a:solidFill>
                  <a:srgbClr val="000000"/>
                </a:solidFill>
                <a:cs typeface="Arial" pitchFamily="34" charset="0"/>
              </a:rPr>
              <a:t>A</a:t>
            </a:r>
          </a:p>
        </p:txBody>
      </p:sp>
      <p:sp>
        <p:nvSpPr>
          <p:cNvPr id="8" name="Text Box 11">
            <a:extLst>
              <a:ext uri="{FF2B5EF4-FFF2-40B4-BE49-F238E27FC236}">
                <a16:creationId xmlns:a16="http://schemas.microsoft.com/office/drawing/2014/main" id="{83F5A72D-B409-449B-BDD9-9696E8F958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33720" y="1165470"/>
            <a:ext cx="1701555" cy="52322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90000" rIns="90000">
            <a:spAutoFit/>
          </a:bodyPr>
          <a:lstStyle/>
          <a:p>
            <a:pPr algn="ctr" eaLnBrk="0" hangingPunct="0"/>
            <a:r>
              <a:rPr lang="en-US" sz="1400" dirty="0">
                <a:solidFill>
                  <a:srgbClr val="000000"/>
                </a:solidFill>
                <a:cs typeface="Arial" pitchFamily="34" charset="0"/>
              </a:rPr>
              <a:t>Ongoing</a:t>
            </a:r>
            <a:br>
              <a:rPr lang="en-US" sz="1400" dirty="0">
                <a:solidFill>
                  <a:srgbClr val="000000"/>
                </a:solidFill>
                <a:cs typeface="Arial" pitchFamily="34" charset="0"/>
              </a:rPr>
            </a:br>
            <a:r>
              <a:rPr lang="en-US" sz="1400" dirty="0">
                <a:solidFill>
                  <a:srgbClr val="000000"/>
                </a:solidFill>
                <a:cs typeface="Arial" pitchFamily="34" charset="0"/>
              </a:rPr>
              <a:t>feedback process</a:t>
            </a:r>
          </a:p>
        </p:txBody>
      </p:sp>
      <p:sp>
        <p:nvSpPr>
          <p:cNvPr id="9" name="Text Box 12">
            <a:extLst>
              <a:ext uri="{FF2B5EF4-FFF2-40B4-BE49-F238E27FC236}">
                <a16:creationId xmlns:a16="http://schemas.microsoft.com/office/drawing/2014/main" id="{2647C53B-25CF-4C88-9E9D-63E73508F1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33720" y="5225395"/>
            <a:ext cx="1701555" cy="52322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90000" rIns="90000">
            <a:spAutoFit/>
          </a:bodyPr>
          <a:lstStyle/>
          <a:p>
            <a:pPr algn="ctr" eaLnBrk="0" hangingPunct="0"/>
            <a:r>
              <a:rPr lang="en-US" sz="1400" dirty="0">
                <a:solidFill>
                  <a:srgbClr val="000000"/>
                </a:solidFill>
                <a:cs typeface="Arial" pitchFamily="34" charset="0"/>
              </a:rPr>
              <a:t>Ongoing development</a:t>
            </a:r>
          </a:p>
        </p:txBody>
      </p:sp>
      <p:sp>
        <p:nvSpPr>
          <p:cNvPr id="10" name="Line 13">
            <a:extLst>
              <a:ext uri="{FF2B5EF4-FFF2-40B4-BE49-F238E27FC236}">
                <a16:creationId xmlns:a16="http://schemas.microsoft.com/office/drawing/2014/main" id="{3C7B8662-E9BF-44E0-B619-EA6789B8E89C}"/>
              </a:ext>
            </a:extLst>
          </p:cNvPr>
          <p:cNvSpPr>
            <a:spLocks noChangeShapeType="1"/>
          </p:cNvSpPr>
          <p:nvPr/>
        </p:nvSpPr>
        <p:spPr bwMode="auto">
          <a:xfrm rot="1172626" flipH="1">
            <a:off x="5392737" y="5264665"/>
            <a:ext cx="71465" cy="69850"/>
          </a:xfrm>
          <a:prstGeom prst="line">
            <a:avLst/>
          </a:prstGeom>
          <a:noFill/>
          <a:ln w="76200">
            <a:solidFill>
              <a:srgbClr val="B2B2B2"/>
            </a:solidFill>
            <a:round/>
            <a:headEnd/>
            <a:tailEnd type="stealth" w="med" len="med"/>
          </a:ln>
          <a:effectLst/>
        </p:spPr>
        <p:txBody>
          <a:bodyPr wrap="none" lIns="90000" rIns="90000" anchor="ctr"/>
          <a:lstStyle/>
          <a:p>
            <a:pPr algn="ctr"/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Line 14">
            <a:extLst>
              <a:ext uri="{FF2B5EF4-FFF2-40B4-BE49-F238E27FC236}">
                <a16:creationId xmlns:a16="http://schemas.microsoft.com/office/drawing/2014/main" id="{D07F4ECA-74EB-438B-8CC7-9BEBD746878F}"/>
              </a:ext>
            </a:extLst>
          </p:cNvPr>
          <p:cNvSpPr>
            <a:spLocks noChangeShapeType="1"/>
          </p:cNvSpPr>
          <p:nvPr/>
        </p:nvSpPr>
        <p:spPr bwMode="auto">
          <a:xfrm rot="1172626" flipV="1">
            <a:off x="3680972" y="1615002"/>
            <a:ext cx="71465" cy="69850"/>
          </a:xfrm>
          <a:prstGeom prst="line">
            <a:avLst/>
          </a:prstGeom>
          <a:noFill/>
          <a:ln w="76200">
            <a:solidFill>
              <a:srgbClr val="B2B2B2"/>
            </a:solidFill>
            <a:round/>
            <a:headEnd/>
            <a:tailEnd type="stealth" w="med" len="med"/>
          </a:ln>
          <a:effectLst/>
        </p:spPr>
        <p:txBody>
          <a:bodyPr wrap="none" lIns="90000" rIns="90000" anchor="ctr"/>
          <a:lstStyle/>
          <a:p>
            <a:pPr algn="ctr"/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798A9660-663C-43C3-B6D6-1647E477C5F4}"/>
              </a:ext>
            </a:extLst>
          </p:cNvPr>
          <p:cNvSpPr>
            <a:spLocks/>
          </p:cNvSpPr>
          <p:nvPr/>
        </p:nvSpPr>
        <p:spPr bwMode="auto">
          <a:xfrm rot="10800000" flipH="1">
            <a:off x="4590223" y="1755420"/>
            <a:ext cx="1677858" cy="2502918"/>
          </a:xfrm>
          <a:custGeom>
            <a:avLst/>
            <a:gdLst>
              <a:gd name="connsiteX0" fmla="*/ 8981 w 9985"/>
              <a:gd name="connsiteY0" fmla="*/ 184 h 9915"/>
              <a:gd name="connsiteX1" fmla="*/ 9398 w 9985"/>
              <a:gd name="connsiteY1" fmla="*/ 0 h 9915"/>
              <a:gd name="connsiteX2" fmla="*/ 4911 w 9985"/>
              <a:gd name="connsiteY2" fmla="*/ 229 h 9915"/>
              <a:gd name="connsiteX3" fmla="*/ 2083 w 9985"/>
              <a:gd name="connsiteY3" fmla="*/ 2253 h 9915"/>
              <a:gd name="connsiteX4" fmla="*/ 2685 w 9985"/>
              <a:gd name="connsiteY4" fmla="*/ 2093 h 9915"/>
              <a:gd name="connsiteX5" fmla="*/ 2809 w 9985"/>
              <a:gd name="connsiteY5" fmla="*/ 2289 h 9915"/>
              <a:gd name="connsiteX6" fmla="*/ 2963 w 9985"/>
              <a:gd name="connsiteY6" fmla="*/ 2546 h 9915"/>
              <a:gd name="connsiteX7" fmla="*/ 3025 w 9985"/>
              <a:gd name="connsiteY7" fmla="*/ 2730 h 9915"/>
              <a:gd name="connsiteX8" fmla="*/ 3071 w 9985"/>
              <a:gd name="connsiteY8" fmla="*/ 3048 h 9915"/>
              <a:gd name="connsiteX9" fmla="*/ 3040 w 9985"/>
              <a:gd name="connsiteY9" fmla="*/ 3428 h 9915"/>
              <a:gd name="connsiteX10" fmla="*/ 2978 w 9985"/>
              <a:gd name="connsiteY10" fmla="*/ 3660 h 9915"/>
              <a:gd name="connsiteX11" fmla="*/ 2840 w 9985"/>
              <a:gd name="connsiteY11" fmla="*/ 3917 h 9915"/>
              <a:gd name="connsiteX12" fmla="*/ 2670 w 9985"/>
              <a:gd name="connsiteY12" fmla="*/ 4162 h 9915"/>
              <a:gd name="connsiteX13" fmla="*/ 2454 w 9985"/>
              <a:gd name="connsiteY13" fmla="*/ 4395 h 9915"/>
              <a:gd name="connsiteX14" fmla="*/ 2207 w 9985"/>
              <a:gd name="connsiteY14" fmla="*/ 4603 h 9915"/>
              <a:gd name="connsiteX15" fmla="*/ 1944 w 9985"/>
              <a:gd name="connsiteY15" fmla="*/ 4762 h 9915"/>
              <a:gd name="connsiteX16" fmla="*/ 1682 w 9985"/>
              <a:gd name="connsiteY16" fmla="*/ 4896 h 9915"/>
              <a:gd name="connsiteX17" fmla="*/ 1250 w 9985"/>
              <a:gd name="connsiteY17" fmla="*/ 5056 h 9915"/>
              <a:gd name="connsiteX18" fmla="*/ 818 w 9985"/>
              <a:gd name="connsiteY18" fmla="*/ 5178 h 9915"/>
              <a:gd name="connsiteX19" fmla="*/ 664 w 9985"/>
              <a:gd name="connsiteY19" fmla="*/ 5215 h 9915"/>
              <a:gd name="connsiteX20" fmla="*/ 2099 w 9985"/>
              <a:gd name="connsiteY20" fmla="*/ 7552 h 9915"/>
              <a:gd name="connsiteX21" fmla="*/ 0 w 9985"/>
              <a:gd name="connsiteY21" fmla="*/ 9915 h 9915"/>
              <a:gd name="connsiteX22" fmla="*/ 417 w 9985"/>
              <a:gd name="connsiteY22" fmla="*/ 9903 h 9915"/>
              <a:gd name="connsiteX23" fmla="*/ 849 w 9985"/>
              <a:gd name="connsiteY23" fmla="*/ 9890 h 9915"/>
              <a:gd name="connsiteX24" fmla="*/ 1327 w 9985"/>
              <a:gd name="connsiteY24" fmla="*/ 9841 h 9915"/>
              <a:gd name="connsiteX25" fmla="*/ 1821 w 9985"/>
              <a:gd name="connsiteY25" fmla="*/ 9792 h 9915"/>
              <a:gd name="connsiteX26" fmla="*/ 2299 w 9985"/>
              <a:gd name="connsiteY26" fmla="*/ 9707 h 9915"/>
              <a:gd name="connsiteX27" fmla="*/ 2778 w 9985"/>
              <a:gd name="connsiteY27" fmla="*/ 9621 h 9915"/>
              <a:gd name="connsiteX28" fmla="*/ 3148 w 9985"/>
              <a:gd name="connsiteY28" fmla="*/ 9535 h 9915"/>
              <a:gd name="connsiteX29" fmla="*/ 3549 w 9985"/>
              <a:gd name="connsiteY29" fmla="*/ 9437 h 9915"/>
              <a:gd name="connsiteX30" fmla="*/ 4043 w 9985"/>
              <a:gd name="connsiteY30" fmla="*/ 9303 h 9915"/>
              <a:gd name="connsiteX31" fmla="*/ 4460 w 9985"/>
              <a:gd name="connsiteY31" fmla="*/ 9156 h 9915"/>
              <a:gd name="connsiteX32" fmla="*/ 4861 w 9985"/>
              <a:gd name="connsiteY32" fmla="*/ 9021 h 9915"/>
              <a:gd name="connsiteX33" fmla="*/ 5293 w 9985"/>
              <a:gd name="connsiteY33" fmla="*/ 8838 h 9915"/>
              <a:gd name="connsiteX34" fmla="*/ 5725 w 9985"/>
              <a:gd name="connsiteY34" fmla="*/ 8654 h 9915"/>
              <a:gd name="connsiteX35" fmla="*/ 6080 w 9985"/>
              <a:gd name="connsiteY35" fmla="*/ 8483 h 9915"/>
              <a:gd name="connsiteX36" fmla="*/ 6481 w 9985"/>
              <a:gd name="connsiteY36" fmla="*/ 8250 h 9915"/>
              <a:gd name="connsiteX37" fmla="*/ 6883 w 9985"/>
              <a:gd name="connsiteY37" fmla="*/ 8018 h 9915"/>
              <a:gd name="connsiteX38" fmla="*/ 7238 w 9985"/>
              <a:gd name="connsiteY38" fmla="*/ 7761 h 9915"/>
              <a:gd name="connsiteX39" fmla="*/ 7531 w 9985"/>
              <a:gd name="connsiteY39" fmla="*/ 7552 h 9915"/>
              <a:gd name="connsiteX40" fmla="*/ 7855 w 9985"/>
              <a:gd name="connsiteY40" fmla="*/ 7295 h 9915"/>
              <a:gd name="connsiteX41" fmla="*/ 8102 w 9985"/>
              <a:gd name="connsiteY41" fmla="*/ 7075 h 9915"/>
              <a:gd name="connsiteX42" fmla="*/ 8380 w 9985"/>
              <a:gd name="connsiteY42" fmla="*/ 6806 h 9915"/>
              <a:gd name="connsiteX43" fmla="*/ 8657 w 9985"/>
              <a:gd name="connsiteY43" fmla="*/ 6524 h 9915"/>
              <a:gd name="connsiteX44" fmla="*/ 8858 w 9985"/>
              <a:gd name="connsiteY44" fmla="*/ 6218 h 9915"/>
              <a:gd name="connsiteX45" fmla="*/ 9074 w 9985"/>
              <a:gd name="connsiteY45" fmla="*/ 5949 h 9915"/>
              <a:gd name="connsiteX46" fmla="*/ 9228 w 9985"/>
              <a:gd name="connsiteY46" fmla="*/ 5692 h 9915"/>
              <a:gd name="connsiteX47" fmla="*/ 9444 w 9985"/>
              <a:gd name="connsiteY47" fmla="*/ 5300 h 9915"/>
              <a:gd name="connsiteX48" fmla="*/ 9583 w 9985"/>
              <a:gd name="connsiteY48" fmla="*/ 4994 h 9915"/>
              <a:gd name="connsiteX49" fmla="*/ 9753 w 9985"/>
              <a:gd name="connsiteY49" fmla="*/ 4578 h 9915"/>
              <a:gd name="connsiteX50" fmla="*/ 9861 w 9985"/>
              <a:gd name="connsiteY50" fmla="*/ 4113 h 9915"/>
              <a:gd name="connsiteX51" fmla="*/ 9938 w 9985"/>
              <a:gd name="connsiteY51" fmla="*/ 3697 h 9915"/>
              <a:gd name="connsiteX52" fmla="*/ 9985 w 9985"/>
              <a:gd name="connsiteY52" fmla="*/ 3330 h 9915"/>
              <a:gd name="connsiteX53" fmla="*/ 9985 w 9985"/>
              <a:gd name="connsiteY53" fmla="*/ 2938 h 9915"/>
              <a:gd name="connsiteX54" fmla="*/ 9969 w 9985"/>
              <a:gd name="connsiteY54" fmla="*/ 2620 h 9915"/>
              <a:gd name="connsiteX55" fmla="*/ 9907 w 9985"/>
              <a:gd name="connsiteY55" fmla="*/ 2142 h 9915"/>
              <a:gd name="connsiteX56" fmla="*/ 9753 w 9985"/>
              <a:gd name="connsiteY56" fmla="*/ 1665 h 9915"/>
              <a:gd name="connsiteX57" fmla="*/ 9614 w 9985"/>
              <a:gd name="connsiteY57" fmla="*/ 1249 h 9915"/>
              <a:gd name="connsiteX58" fmla="*/ 9444 w 9985"/>
              <a:gd name="connsiteY58" fmla="*/ 906 h 9915"/>
              <a:gd name="connsiteX59" fmla="*/ 9290 w 9985"/>
              <a:gd name="connsiteY59" fmla="*/ 625 h 9915"/>
              <a:gd name="connsiteX60" fmla="*/ 9151 w 9985"/>
              <a:gd name="connsiteY60" fmla="*/ 404 h 9915"/>
              <a:gd name="connsiteX61" fmla="*/ 8981 w 9985"/>
              <a:gd name="connsiteY61" fmla="*/ 184 h 9915"/>
              <a:gd name="connsiteX0" fmla="*/ 8994 w 10000"/>
              <a:gd name="connsiteY0" fmla="*/ 186 h 10000"/>
              <a:gd name="connsiteX1" fmla="*/ 9547 w 10000"/>
              <a:gd name="connsiteY1" fmla="*/ 0 h 10000"/>
              <a:gd name="connsiteX2" fmla="*/ 4918 w 10000"/>
              <a:gd name="connsiteY2" fmla="*/ 231 h 10000"/>
              <a:gd name="connsiteX3" fmla="*/ 2086 w 10000"/>
              <a:gd name="connsiteY3" fmla="*/ 2272 h 10000"/>
              <a:gd name="connsiteX4" fmla="*/ 2689 w 10000"/>
              <a:gd name="connsiteY4" fmla="*/ 2111 h 10000"/>
              <a:gd name="connsiteX5" fmla="*/ 2813 w 10000"/>
              <a:gd name="connsiteY5" fmla="*/ 2309 h 10000"/>
              <a:gd name="connsiteX6" fmla="*/ 2967 w 10000"/>
              <a:gd name="connsiteY6" fmla="*/ 2568 h 10000"/>
              <a:gd name="connsiteX7" fmla="*/ 3030 w 10000"/>
              <a:gd name="connsiteY7" fmla="*/ 2753 h 10000"/>
              <a:gd name="connsiteX8" fmla="*/ 3076 w 10000"/>
              <a:gd name="connsiteY8" fmla="*/ 3074 h 10000"/>
              <a:gd name="connsiteX9" fmla="*/ 3045 w 10000"/>
              <a:gd name="connsiteY9" fmla="*/ 3457 h 10000"/>
              <a:gd name="connsiteX10" fmla="*/ 2982 w 10000"/>
              <a:gd name="connsiteY10" fmla="*/ 3691 h 10000"/>
              <a:gd name="connsiteX11" fmla="*/ 2844 w 10000"/>
              <a:gd name="connsiteY11" fmla="*/ 3951 h 10000"/>
              <a:gd name="connsiteX12" fmla="*/ 2674 w 10000"/>
              <a:gd name="connsiteY12" fmla="*/ 4198 h 10000"/>
              <a:gd name="connsiteX13" fmla="*/ 2458 w 10000"/>
              <a:gd name="connsiteY13" fmla="*/ 4433 h 10000"/>
              <a:gd name="connsiteX14" fmla="*/ 2210 w 10000"/>
              <a:gd name="connsiteY14" fmla="*/ 4642 h 10000"/>
              <a:gd name="connsiteX15" fmla="*/ 1947 w 10000"/>
              <a:gd name="connsiteY15" fmla="*/ 4803 h 10000"/>
              <a:gd name="connsiteX16" fmla="*/ 1685 w 10000"/>
              <a:gd name="connsiteY16" fmla="*/ 4938 h 10000"/>
              <a:gd name="connsiteX17" fmla="*/ 1252 w 10000"/>
              <a:gd name="connsiteY17" fmla="*/ 5099 h 10000"/>
              <a:gd name="connsiteX18" fmla="*/ 819 w 10000"/>
              <a:gd name="connsiteY18" fmla="*/ 5222 h 10000"/>
              <a:gd name="connsiteX19" fmla="*/ 665 w 10000"/>
              <a:gd name="connsiteY19" fmla="*/ 5260 h 10000"/>
              <a:gd name="connsiteX20" fmla="*/ 2102 w 10000"/>
              <a:gd name="connsiteY20" fmla="*/ 7617 h 10000"/>
              <a:gd name="connsiteX21" fmla="*/ 0 w 10000"/>
              <a:gd name="connsiteY21" fmla="*/ 10000 h 10000"/>
              <a:gd name="connsiteX22" fmla="*/ 418 w 10000"/>
              <a:gd name="connsiteY22" fmla="*/ 9988 h 10000"/>
              <a:gd name="connsiteX23" fmla="*/ 850 w 10000"/>
              <a:gd name="connsiteY23" fmla="*/ 9975 h 10000"/>
              <a:gd name="connsiteX24" fmla="*/ 1329 w 10000"/>
              <a:gd name="connsiteY24" fmla="*/ 9925 h 10000"/>
              <a:gd name="connsiteX25" fmla="*/ 1824 w 10000"/>
              <a:gd name="connsiteY25" fmla="*/ 9876 h 10000"/>
              <a:gd name="connsiteX26" fmla="*/ 2302 w 10000"/>
              <a:gd name="connsiteY26" fmla="*/ 9790 h 10000"/>
              <a:gd name="connsiteX27" fmla="*/ 2782 w 10000"/>
              <a:gd name="connsiteY27" fmla="*/ 9703 h 10000"/>
              <a:gd name="connsiteX28" fmla="*/ 3153 w 10000"/>
              <a:gd name="connsiteY28" fmla="*/ 9617 h 10000"/>
              <a:gd name="connsiteX29" fmla="*/ 3554 w 10000"/>
              <a:gd name="connsiteY29" fmla="*/ 9518 h 10000"/>
              <a:gd name="connsiteX30" fmla="*/ 4049 w 10000"/>
              <a:gd name="connsiteY30" fmla="*/ 9383 h 10000"/>
              <a:gd name="connsiteX31" fmla="*/ 4467 w 10000"/>
              <a:gd name="connsiteY31" fmla="*/ 9234 h 10000"/>
              <a:gd name="connsiteX32" fmla="*/ 4868 w 10000"/>
              <a:gd name="connsiteY32" fmla="*/ 9098 h 10000"/>
              <a:gd name="connsiteX33" fmla="*/ 5301 w 10000"/>
              <a:gd name="connsiteY33" fmla="*/ 8914 h 10000"/>
              <a:gd name="connsiteX34" fmla="*/ 5734 w 10000"/>
              <a:gd name="connsiteY34" fmla="*/ 8728 h 10000"/>
              <a:gd name="connsiteX35" fmla="*/ 6089 w 10000"/>
              <a:gd name="connsiteY35" fmla="*/ 8556 h 10000"/>
              <a:gd name="connsiteX36" fmla="*/ 6491 w 10000"/>
              <a:gd name="connsiteY36" fmla="*/ 8321 h 10000"/>
              <a:gd name="connsiteX37" fmla="*/ 6893 w 10000"/>
              <a:gd name="connsiteY37" fmla="*/ 8087 h 10000"/>
              <a:gd name="connsiteX38" fmla="*/ 7249 w 10000"/>
              <a:gd name="connsiteY38" fmla="*/ 7828 h 10000"/>
              <a:gd name="connsiteX39" fmla="*/ 7542 w 10000"/>
              <a:gd name="connsiteY39" fmla="*/ 7617 h 10000"/>
              <a:gd name="connsiteX40" fmla="*/ 7867 w 10000"/>
              <a:gd name="connsiteY40" fmla="*/ 7358 h 10000"/>
              <a:gd name="connsiteX41" fmla="*/ 8114 w 10000"/>
              <a:gd name="connsiteY41" fmla="*/ 7136 h 10000"/>
              <a:gd name="connsiteX42" fmla="*/ 8393 w 10000"/>
              <a:gd name="connsiteY42" fmla="*/ 6864 h 10000"/>
              <a:gd name="connsiteX43" fmla="*/ 8670 w 10000"/>
              <a:gd name="connsiteY43" fmla="*/ 6580 h 10000"/>
              <a:gd name="connsiteX44" fmla="*/ 8871 w 10000"/>
              <a:gd name="connsiteY44" fmla="*/ 6271 h 10000"/>
              <a:gd name="connsiteX45" fmla="*/ 9088 w 10000"/>
              <a:gd name="connsiteY45" fmla="*/ 6000 h 10000"/>
              <a:gd name="connsiteX46" fmla="*/ 9242 w 10000"/>
              <a:gd name="connsiteY46" fmla="*/ 5741 h 10000"/>
              <a:gd name="connsiteX47" fmla="*/ 9458 w 10000"/>
              <a:gd name="connsiteY47" fmla="*/ 5345 h 10000"/>
              <a:gd name="connsiteX48" fmla="*/ 9597 w 10000"/>
              <a:gd name="connsiteY48" fmla="*/ 5037 h 10000"/>
              <a:gd name="connsiteX49" fmla="*/ 9768 w 10000"/>
              <a:gd name="connsiteY49" fmla="*/ 4617 h 10000"/>
              <a:gd name="connsiteX50" fmla="*/ 9876 w 10000"/>
              <a:gd name="connsiteY50" fmla="*/ 4148 h 10000"/>
              <a:gd name="connsiteX51" fmla="*/ 9953 w 10000"/>
              <a:gd name="connsiteY51" fmla="*/ 3729 h 10000"/>
              <a:gd name="connsiteX52" fmla="*/ 10000 w 10000"/>
              <a:gd name="connsiteY52" fmla="*/ 3359 h 10000"/>
              <a:gd name="connsiteX53" fmla="*/ 10000 w 10000"/>
              <a:gd name="connsiteY53" fmla="*/ 2963 h 10000"/>
              <a:gd name="connsiteX54" fmla="*/ 9984 w 10000"/>
              <a:gd name="connsiteY54" fmla="*/ 2642 h 10000"/>
              <a:gd name="connsiteX55" fmla="*/ 9922 w 10000"/>
              <a:gd name="connsiteY55" fmla="*/ 2160 h 10000"/>
              <a:gd name="connsiteX56" fmla="*/ 9768 w 10000"/>
              <a:gd name="connsiteY56" fmla="*/ 1679 h 10000"/>
              <a:gd name="connsiteX57" fmla="*/ 9628 w 10000"/>
              <a:gd name="connsiteY57" fmla="*/ 1260 h 10000"/>
              <a:gd name="connsiteX58" fmla="*/ 9458 w 10000"/>
              <a:gd name="connsiteY58" fmla="*/ 914 h 10000"/>
              <a:gd name="connsiteX59" fmla="*/ 9304 w 10000"/>
              <a:gd name="connsiteY59" fmla="*/ 630 h 10000"/>
              <a:gd name="connsiteX60" fmla="*/ 9165 w 10000"/>
              <a:gd name="connsiteY60" fmla="*/ 407 h 10000"/>
              <a:gd name="connsiteX61" fmla="*/ 8994 w 10000"/>
              <a:gd name="connsiteY61" fmla="*/ 186 h 10000"/>
              <a:gd name="connsiteX0" fmla="*/ 8994 w 10000"/>
              <a:gd name="connsiteY0" fmla="*/ 186 h 10000"/>
              <a:gd name="connsiteX1" fmla="*/ 9547 w 10000"/>
              <a:gd name="connsiteY1" fmla="*/ 0 h 10000"/>
              <a:gd name="connsiteX2" fmla="*/ 4918 w 10000"/>
              <a:gd name="connsiteY2" fmla="*/ 231 h 10000"/>
              <a:gd name="connsiteX3" fmla="*/ 2086 w 10000"/>
              <a:gd name="connsiteY3" fmla="*/ 2272 h 10000"/>
              <a:gd name="connsiteX4" fmla="*/ 2689 w 10000"/>
              <a:gd name="connsiteY4" fmla="*/ 2111 h 10000"/>
              <a:gd name="connsiteX5" fmla="*/ 2813 w 10000"/>
              <a:gd name="connsiteY5" fmla="*/ 2309 h 10000"/>
              <a:gd name="connsiteX6" fmla="*/ 2967 w 10000"/>
              <a:gd name="connsiteY6" fmla="*/ 2568 h 10000"/>
              <a:gd name="connsiteX7" fmla="*/ 3030 w 10000"/>
              <a:gd name="connsiteY7" fmla="*/ 2753 h 10000"/>
              <a:gd name="connsiteX8" fmla="*/ 3076 w 10000"/>
              <a:gd name="connsiteY8" fmla="*/ 3074 h 10000"/>
              <a:gd name="connsiteX9" fmla="*/ 3045 w 10000"/>
              <a:gd name="connsiteY9" fmla="*/ 3457 h 10000"/>
              <a:gd name="connsiteX10" fmla="*/ 2982 w 10000"/>
              <a:gd name="connsiteY10" fmla="*/ 3691 h 10000"/>
              <a:gd name="connsiteX11" fmla="*/ 2844 w 10000"/>
              <a:gd name="connsiteY11" fmla="*/ 3951 h 10000"/>
              <a:gd name="connsiteX12" fmla="*/ 2674 w 10000"/>
              <a:gd name="connsiteY12" fmla="*/ 4198 h 10000"/>
              <a:gd name="connsiteX13" fmla="*/ 2458 w 10000"/>
              <a:gd name="connsiteY13" fmla="*/ 4433 h 10000"/>
              <a:gd name="connsiteX14" fmla="*/ 2210 w 10000"/>
              <a:gd name="connsiteY14" fmla="*/ 4642 h 10000"/>
              <a:gd name="connsiteX15" fmla="*/ 1947 w 10000"/>
              <a:gd name="connsiteY15" fmla="*/ 4803 h 10000"/>
              <a:gd name="connsiteX16" fmla="*/ 1685 w 10000"/>
              <a:gd name="connsiteY16" fmla="*/ 4938 h 10000"/>
              <a:gd name="connsiteX17" fmla="*/ 1252 w 10000"/>
              <a:gd name="connsiteY17" fmla="*/ 5099 h 10000"/>
              <a:gd name="connsiteX18" fmla="*/ 819 w 10000"/>
              <a:gd name="connsiteY18" fmla="*/ 5222 h 10000"/>
              <a:gd name="connsiteX19" fmla="*/ 665 w 10000"/>
              <a:gd name="connsiteY19" fmla="*/ 5260 h 10000"/>
              <a:gd name="connsiteX20" fmla="*/ 2102 w 10000"/>
              <a:gd name="connsiteY20" fmla="*/ 7617 h 10000"/>
              <a:gd name="connsiteX21" fmla="*/ 0 w 10000"/>
              <a:gd name="connsiteY21" fmla="*/ 10000 h 10000"/>
              <a:gd name="connsiteX22" fmla="*/ 418 w 10000"/>
              <a:gd name="connsiteY22" fmla="*/ 9988 h 10000"/>
              <a:gd name="connsiteX23" fmla="*/ 850 w 10000"/>
              <a:gd name="connsiteY23" fmla="*/ 9975 h 10000"/>
              <a:gd name="connsiteX24" fmla="*/ 1329 w 10000"/>
              <a:gd name="connsiteY24" fmla="*/ 9925 h 10000"/>
              <a:gd name="connsiteX25" fmla="*/ 1824 w 10000"/>
              <a:gd name="connsiteY25" fmla="*/ 9876 h 10000"/>
              <a:gd name="connsiteX26" fmla="*/ 2302 w 10000"/>
              <a:gd name="connsiteY26" fmla="*/ 9790 h 10000"/>
              <a:gd name="connsiteX27" fmla="*/ 2782 w 10000"/>
              <a:gd name="connsiteY27" fmla="*/ 9703 h 10000"/>
              <a:gd name="connsiteX28" fmla="*/ 3153 w 10000"/>
              <a:gd name="connsiteY28" fmla="*/ 9617 h 10000"/>
              <a:gd name="connsiteX29" fmla="*/ 3554 w 10000"/>
              <a:gd name="connsiteY29" fmla="*/ 9518 h 10000"/>
              <a:gd name="connsiteX30" fmla="*/ 4049 w 10000"/>
              <a:gd name="connsiteY30" fmla="*/ 9383 h 10000"/>
              <a:gd name="connsiteX31" fmla="*/ 4467 w 10000"/>
              <a:gd name="connsiteY31" fmla="*/ 9234 h 10000"/>
              <a:gd name="connsiteX32" fmla="*/ 4868 w 10000"/>
              <a:gd name="connsiteY32" fmla="*/ 9098 h 10000"/>
              <a:gd name="connsiteX33" fmla="*/ 5301 w 10000"/>
              <a:gd name="connsiteY33" fmla="*/ 8914 h 10000"/>
              <a:gd name="connsiteX34" fmla="*/ 5734 w 10000"/>
              <a:gd name="connsiteY34" fmla="*/ 8728 h 10000"/>
              <a:gd name="connsiteX35" fmla="*/ 6089 w 10000"/>
              <a:gd name="connsiteY35" fmla="*/ 8556 h 10000"/>
              <a:gd name="connsiteX36" fmla="*/ 6491 w 10000"/>
              <a:gd name="connsiteY36" fmla="*/ 8321 h 10000"/>
              <a:gd name="connsiteX37" fmla="*/ 6893 w 10000"/>
              <a:gd name="connsiteY37" fmla="*/ 8087 h 10000"/>
              <a:gd name="connsiteX38" fmla="*/ 7249 w 10000"/>
              <a:gd name="connsiteY38" fmla="*/ 7828 h 10000"/>
              <a:gd name="connsiteX39" fmla="*/ 7542 w 10000"/>
              <a:gd name="connsiteY39" fmla="*/ 7617 h 10000"/>
              <a:gd name="connsiteX40" fmla="*/ 7867 w 10000"/>
              <a:gd name="connsiteY40" fmla="*/ 7358 h 10000"/>
              <a:gd name="connsiteX41" fmla="*/ 8114 w 10000"/>
              <a:gd name="connsiteY41" fmla="*/ 7136 h 10000"/>
              <a:gd name="connsiteX42" fmla="*/ 8393 w 10000"/>
              <a:gd name="connsiteY42" fmla="*/ 6864 h 10000"/>
              <a:gd name="connsiteX43" fmla="*/ 8670 w 10000"/>
              <a:gd name="connsiteY43" fmla="*/ 6580 h 10000"/>
              <a:gd name="connsiteX44" fmla="*/ 8871 w 10000"/>
              <a:gd name="connsiteY44" fmla="*/ 6271 h 10000"/>
              <a:gd name="connsiteX45" fmla="*/ 9088 w 10000"/>
              <a:gd name="connsiteY45" fmla="*/ 6000 h 10000"/>
              <a:gd name="connsiteX46" fmla="*/ 9242 w 10000"/>
              <a:gd name="connsiteY46" fmla="*/ 5741 h 10000"/>
              <a:gd name="connsiteX47" fmla="*/ 9458 w 10000"/>
              <a:gd name="connsiteY47" fmla="*/ 5345 h 10000"/>
              <a:gd name="connsiteX48" fmla="*/ 9597 w 10000"/>
              <a:gd name="connsiteY48" fmla="*/ 5037 h 10000"/>
              <a:gd name="connsiteX49" fmla="*/ 9768 w 10000"/>
              <a:gd name="connsiteY49" fmla="*/ 4617 h 10000"/>
              <a:gd name="connsiteX50" fmla="*/ 9876 w 10000"/>
              <a:gd name="connsiteY50" fmla="*/ 4148 h 10000"/>
              <a:gd name="connsiteX51" fmla="*/ 9953 w 10000"/>
              <a:gd name="connsiteY51" fmla="*/ 3729 h 10000"/>
              <a:gd name="connsiteX52" fmla="*/ 10000 w 10000"/>
              <a:gd name="connsiteY52" fmla="*/ 3359 h 10000"/>
              <a:gd name="connsiteX53" fmla="*/ 10000 w 10000"/>
              <a:gd name="connsiteY53" fmla="*/ 2963 h 10000"/>
              <a:gd name="connsiteX54" fmla="*/ 9984 w 10000"/>
              <a:gd name="connsiteY54" fmla="*/ 2642 h 10000"/>
              <a:gd name="connsiteX55" fmla="*/ 9922 w 10000"/>
              <a:gd name="connsiteY55" fmla="*/ 2160 h 10000"/>
              <a:gd name="connsiteX56" fmla="*/ 9768 w 10000"/>
              <a:gd name="connsiteY56" fmla="*/ 1679 h 10000"/>
              <a:gd name="connsiteX57" fmla="*/ 9628 w 10000"/>
              <a:gd name="connsiteY57" fmla="*/ 1260 h 10000"/>
              <a:gd name="connsiteX58" fmla="*/ 9458 w 10000"/>
              <a:gd name="connsiteY58" fmla="*/ 914 h 10000"/>
              <a:gd name="connsiteX59" fmla="*/ 9304 w 10000"/>
              <a:gd name="connsiteY59" fmla="*/ 630 h 10000"/>
              <a:gd name="connsiteX60" fmla="*/ 8994 w 10000"/>
              <a:gd name="connsiteY60" fmla="*/ 186 h 10000"/>
              <a:gd name="connsiteX0" fmla="*/ 8994 w 10000"/>
              <a:gd name="connsiteY0" fmla="*/ 186 h 10000"/>
              <a:gd name="connsiteX1" fmla="*/ 9547 w 10000"/>
              <a:gd name="connsiteY1" fmla="*/ 0 h 10000"/>
              <a:gd name="connsiteX2" fmla="*/ 4918 w 10000"/>
              <a:gd name="connsiteY2" fmla="*/ 231 h 10000"/>
              <a:gd name="connsiteX3" fmla="*/ 2086 w 10000"/>
              <a:gd name="connsiteY3" fmla="*/ 2272 h 10000"/>
              <a:gd name="connsiteX4" fmla="*/ 2689 w 10000"/>
              <a:gd name="connsiteY4" fmla="*/ 2111 h 10000"/>
              <a:gd name="connsiteX5" fmla="*/ 2813 w 10000"/>
              <a:gd name="connsiteY5" fmla="*/ 2309 h 10000"/>
              <a:gd name="connsiteX6" fmla="*/ 2967 w 10000"/>
              <a:gd name="connsiteY6" fmla="*/ 2568 h 10000"/>
              <a:gd name="connsiteX7" fmla="*/ 3030 w 10000"/>
              <a:gd name="connsiteY7" fmla="*/ 2753 h 10000"/>
              <a:gd name="connsiteX8" fmla="*/ 3076 w 10000"/>
              <a:gd name="connsiteY8" fmla="*/ 3074 h 10000"/>
              <a:gd name="connsiteX9" fmla="*/ 3045 w 10000"/>
              <a:gd name="connsiteY9" fmla="*/ 3457 h 10000"/>
              <a:gd name="connsiteX10" fmla="*/ 2982 w 10000"/>
              <a:gd name="connsiteY10" fmla="*/ 3691 h 10000"/>
              <a:gd name="connsiteX11" fmla="*/ 2844 w 10000"/>
              <a:gd name="connsiteY11" fmla="*/ 3951 h 10000"/>
              <a:gd name="connsiteX12" fmla="*/ 2674 w 10000"/>
              <a:gd name="connsiteY12" fmla="*/ 4198 h 10000"/>
              <a:gd name="connsiteX13" fmla="*/ 2458 w 10000"/>
              <a:gd name="connsiteY13" fmla="*/ 4433 h 10000"/>
              <a:gd name="connsiteX14" fmla="*/ 2210 w 10000"/>
              <a:gd name="connsiteY14" fmla="*/ 4642 h 10000"/>
              <a:gd name="connsiteX15" fmla="*/ 1947 w 10000"/>
              <a:gd name="connsiteY15" fmla="*/ 4803 h 10000"/>
              <a:gd name="connsiteX16" fmla="*/ 1685 w 10000"/>
              <a:gd name="connsiteY16" fmla="*/ 4938 h 10000"/>
              <a:gd name="connsiteX17" fmla="*/ 1252 w 10000"/>
              <a:gd name="connsiteY17" fmla="*/ 5099 h 10000"/>
              <a:gd name="connsiteX18" fmla="*/ 819 w 10000"/>
              <a:gd name="connsiteY18" fmla="*/ 5222 h 10000"/>
              <a:gd name="connsiteX19" fmla="*/ 665 w 10000"/>
              <a:gd name="connsiteY19" fmla="*/ 5260 h 10000"/>
              <a:gd name="connsiteX20" fmla="*/ 2102 w 10000"/>
              <a:gd name="connsiteY20" fmla="*/ 7617 h 10000"/>
              <a:gd name="connsiteX21" fmla="*/ 0 w 10000"/>
              <a:gd name="connsiteY21" fmla="*/ 10000 h 10000"/>
              <a:gd name="connsiteX22" fmla="*/ 418 w 10000"/>
              <a:gd name="connsiteY22" fmla="*/ 9988 h 10000"/>
              <a:gd name="connsiteX23" fmla="*/ 850 w 10000"/>
              <a:gd name="connsiteY23" fmla="*/ 9975 h 10000"/>
              <a:gd name="connsiteX24" fmla="*/ 1329 w 10000"/>
              <a:gd name="connsiteY24" fmla="*/ 9925 h 10000"/>
              <a:gd name="connsiteX25" fmla="*/ 1824 w 10000"/>
              <a:gd name="connsiteY25" fmla="*/ 9876 h 10000"/>
              <a:gd name="connsiteX26" fmla="*/ 2302 w 10000"/>
              <a:gd name="connsiteY26" fmla="*/ 9790 h 10000"/>
              <a:gd name="connsiteX27" fmla="*/ 2782 w 10000"/>
              <a:gd name="connsiteY27" fmla="*/ 9703 h 10000"/>
              <a:gd name="connsiteX28" fmla="*/ 3153 w 10000"/>
              <a:gd name="connsiteY28" fmla="*/ 9617 h 10000"/>
              <a:gd name="connsiteX29" fmla="*/ 3554 w 10000"/>
              <a:gd name="connsiteY29" fmla="*/ 9518 h 10000"/>
              <a:gd name="connsiteX30" fmla="*/ 4049 w 10000"/>
              <a:gd name="connsiteY30" fmla="*/ 9383 h 10000"/>
              <a:gd name="connsiteX31" fmla="*/ 4467 w 10000"/>
              <a:gd name="connsiteY31" fmla="*/ 9234 h 10000"/>
              <a:gd name="connsiteX32" fmla="*/ 4868 w 10000"/>
              <a:gd name="connsiteY32" fmla="*/ 9098 h 10000"/>
              <a:gd name="connsiteX33" fmla="*/ 5301 w 10000"/>
              <a:gd name="connsiteY33" fmla="*/ 8914 h 10000"/>
              <a:gd name="connsiteX34" fmla="*/ 5734 w 10000"/>
              <a:gd name="connsiteY34" fmla="*/ 8728 h 10000"/>
              <a:gd name="connsiteX35" fmla="*/ 6089 w 10000"/>
              <a:gd name="connsiteY35" fmla="*/ 8556 h 10000"/>
              <a:gd name="connsiteX36" fmla="*/ 6491 w 10000"/>
              <a:gd name="connsiteY36" fmla="*/ 8321 h 10000"/>
              <a:gd name="connsiteX37" fmla="*/ 6893 w 10000"/>
              <a:gd name="connsiteY37" fmla="*/ 8087 h 10000"/>
              <a:gd name="connsiteX38" fmla="*/ 7249 w 10000"/>
              <a:gd name="connsiteY38" fmla="*/ 7828 h 10000"/>
              <a:gd name="connsiteX39" fmla="*/ 7542 w 10000"/>
              <a:gd name="connsiteY39" fmla="*/ 7617 h 10000"/>
              <a:gd name="connsiteX40" fmla="*/ 7867 w 10000"/>
              <a:gd name="connsiteY40" fmla="*/ 7358 h 10000"/>
              <a:gd name="connsiteX41" fmla="*/ 8114 w 10000"/>
              <a:gd name="connsiteY41" fmla="*/ 7136 h 10000"/>
              <a:gd name="connsiteX42" fmla="*/ 8393 w 10000"/>
              <a:gd name="connsiteY42" fmla="*/ 6864 h 10000"/>
              <a:gd name="connsiteX43" fmla="*/ 8670 w 10000"/>
              <a:gd name="connsiteY43" fmla="*/ 6580 h 10000"/>
              <a:gd name="connsiteX44" fmla="*/ 8871 w 10000"/>
              <a:gd name="connsiteY44" fmla="*/ 6271 h 10000"/>
              <a:gd name="connsiteX45" fmla="*/ 9088 w 10000"/>
              <a:gd name="connsiteY45" fmla="*/ 6000 h 10000"/>
              <a:gd name="connsiteX46" fmla="*/ 9242 w 10000"/>
              <a:gd name="connsiteY46" fmla="*/ 5741 h 10000"/>
              <a:gd name="connsiteX47" fmla="*/ 9458 w 10000"/>
              <a:gd name="connsiteY47" fmla="*/ 5345 h 10000"/>
              <a:gd name="connsiteX48" fmla="*/ 9597 w 10000"/>
              <a:gd name="connsiteY48" fmla="*/ 5037 h 10000"/>
              <a:gd name="connsiteX49" fmla="*/ 9768 w 10000"/>
              <a:gd name="connsiteY49" fmla="*/ 4617 h 10000"/>
              <a:gd name="connsiteX50" fmla="*/ 9876 w 10000"/>
              <a:gd name="connsiteY50" fmla="*/ 4148 h 10000"/>
              <a:gd name="connsiteX51" fmla="*/ 9953 w 10000"/>
              <a:gd name="connsiteY51" fmla="*/ 3729 h 10000"/>
              <a:gd name="connsiteX52" fmla="*/ 10000 w 10000"/>
              <a:gd name="connsiteY52" fmla="*/ 3359 h 10000"/>
              <a:gd name="connsiteX53" fmla="*/ 10000 w 10000"/>
              <a:gd name="connsiteY53" fmla="*/ 2963 h 10000"/>
              <a:gd name="connsiteX54" fmla="*/ 9984 w 10000"/>
              <a:gd name="connsiteY54" fmla="*/ 2642 h 10000"/>
              <a:gd name="connsiteX55" fmla="*/ 9922 w 10000"/>
              <a:gd name="connsiteY55" fmla="*/ 2160 h 10000"/>
              <a:gd name="connsiteX56" fmla="*/ 9768 w 10000"/>
              <a:gd name="connsiteY56" fmla="*/ 1679 h 10000"/>
              <a:gd name="connsiteX57" fmla="*/ 9628 w 10000"/>
              <a:gd name="connsiteY57" fmla="*/ 1260 h 10000"/>
              <a:gd name="connsiteX58" fmla="*/ 9458 w 10000"/>
              <a:gd name="connsiteY58" fmla="*/ 914 h 10000"/>
              <a:gd name="connsiteX59" fmla="*/ 9304 w 10000"/>
              <a:gd name="connsiteY59" fmla="*/ 630 h 10000"/>
              <a:gd name="connsiteX60" fmla="*/ 9069 w 10000"/>
              <a:gd name="connsiteY60" fmla="*/ 343 h 10000"/>
              <a:gd name="connsiteX0" fmla="*/ 8994 w 10000"/>
              <a:gd name="connsiteY0" fmla="*/ 186 h 10000"/>
              <a:gd name="connsiteX1" fmla="*/ 9547 w 10000"/>
              <a:gd name="connsiteY1" fmla="*/ 0 h 10000"/>
              <a:gd name="connsiteX2" fmla="*/ 4918 w 10000"/>
              <a:gd name="connsiteY2" fmla="*/ 231 h 10000"/>
              <a:gd name="connsiteX3" fmla="*/ 2086 w 10000"/>
              <a:gd name="connsiteY3" fmla="*/ 2272 h 10000"/>
              <a:gd name="connsiteX4" fmla="*/ 2689 w 10000"/>
              <a:gd name="connsiteY4" fmla="*/ 2111 h 10000"/>
              <a:gd name="connsiteX5" fmla="*/ 2813 w 10000"/>
              <a:gd name="connsiteY5" fmla="*/ 2309 h 10000"/>
              <a:gd name="connsiteX6" fmla="*/ 2967 w 10000"/>
              <a:gd name="connsiteY6" fmla="*/ 2568 h 10000"/>
              <a:gd name="connsiteX7" fmla="*/ 3030 w 10000"/>
              <a:gd name="connsiteY7" fmla="*/ 2753 h 10000"/>
              <a:gd name="connsiteX8" fmla="*/ 3076 w 10000"/>
              <a:gd name="connsiteY8" fmla="*/ 3074 h 10000"/>
              <a:gd name="connsiteX9" fmla="*/ 3045 w 10000"/>
              <a:gd name="connsiteY9" fmla="*/ 3457 h 10000"/>
              <a:gd name="connsiteX10" fmla="*/ 2982 w 10000"/>
              <a:gd name="connsiteY10" fmla="*/ 3691 h 10000"/>
              <a:gd name="connsiteX11" fmla="*/ 2844 w 10000"/>
              <a:gd name="connsiteY11" fmla="*/ 3951 h 10000"/>
              <a:gd name="connsiteX12" fmla="*/ 2674 w 10000"/>
              <a:gd name="connsiteY12" fmla="*/ 4198 h 10000"/>
              <a:gd name="connsiteX13" fmla="*/ 2458 w 10000"/>
              <a:gd name="connsiteY13" fmla="*/ 4433 h 10000"/>
              <a:gd name="connsiteX14" fmla="*/ 2210 w 10000"/>
              <a:gd name="connsiteY14" fmla="*/ 4642 h 10000"/>
              <a:gd name="connsiteX15" fmla="*/ 1947 w 10000"/>
              <a:gd name="connsiteY15" fmla="*/ 4803 h 10000"/>
              <a:gd name="connsiteX16" fmla="*/ 1685 w 10000"/>
              <a:gd name="connsiteY16" fmla="*/ 4938 h 10000"/>
              <a:gd name="connsiteX17" fmla="*/ 1252 w 10000"/>
              <a:gd name="connsiteY17" fmla="*/ 5099 h 10000"/>
              <a:gd name="connsiteX18" fmla="*/ 819 w 10000"/>
              <a:gd name="connsiteY18" fmla="*/ 5222 h 10000"/>
              <a:gd name="connsiteX19" fmla="*/ 665 w 10000"/>
              <a:gd name="connsiteY19" fmla="*/ 5260 h 10000"/>
              <a:gd name="connsiteX20" fmla="*/ 2102 w 10000"/>
              <a:gd name="connsiteY20" fmla="*/ 7617 h 10000"/>
              <a:gd name="connsiteX21" fmla="*/ 0 w 10000"/>
              <a:gd name="connsiteY21" fmla="*/ 10000 h 10000"/>
              <a:gd name="connsiteX22" fmla="*/ 418 w 10000"/>
              <a:gd name="connsiteY22" fmla="*/ 9988 h 10000"/>
              <a:gd name="connsiteX23" fmla="*/ 850 w 10000"/>
              <a:gd name="connsiteY23" fmla="*/ 9975 h 10000"/>
              <a:gd name="connsiteX24" fmla="*/ 1329 w 10000"/>
              <a:gd name="connsiteY24" fmla="*/ 9925 h 10000"/>
              <a:gd name="connsiteX25" fmla="*/ 1824 w 10000"/>
              <a:gd name="connsiteY25" fmla="*/ 9876 h 10000"/>
              <a:gd name="connsiteX26" fmla="*/ 2302 w 10000"/>
              <a:gd name="connsiteY26" fmla="*/ 9790 h 10000"/>
              <a:gd name="connsiteX27" fmla="*/ 2782 w 10000"/>
              <a:gd name="connsiteY27" fmla="*/ 9703 h 10000"/>
              <a:gd name="connsiteX28" fmla="*/ 3153 w 10000"/>
              <a:gd name="connsiteY28" fmla="*/ 9617 h 10000"/>
              <a:gd name="connsiteX29" fmla="*/ 3554 w 10000"/>
              <a:gd name="connsiteY29" fmla="*/ 9518 h 10000"/>
              <a:gd name="connsiteX30" fmla="*/ 4049 w 10000"/>
              <a:gd name="connsiteY30" fmla="*/ 9383 h 10000"/>
              <a:gd name="connsiteX31" fmla="*/ 4467 w 10000"/>
              <a:gd name="connsiteY31" fmla="*/ 9234 h 10000"/>
              <a:gd name="connsiteX32" fmla="*/ 4868 w 10000"/>
              <a:gd name="connsiteY32" fmla="*/ 9098 h 10000"/>
              <a:gd name="connsiteX33" fmla="*/ 5301 w 10000"/>
              <a:gd name="connsiteY33" fmla="*/ 8914 h 10000"/>
              <a:gd name="connsiteX34" fmla="*/ 5734 w 10000"/>
              <a:gd name="connsiteY34" fmla="*/ 8728 h 10000"/>
              <a:gd name="connsiteX35" fmla="*/ 6089 w 10000"/>
              <a:gd name="connsiteY35" fmla="*/ 8556 h 10000"/>
              <a:gd name="connsiteX36" fmla="*/ 6491 w 10000"/>
              <a:gd name="connsiteY36" fmla="*/ 8321 h 10000"/>
              <a:gd name="connsiteX37" fmla="*/ 6893 w 10000"/>
              <a:gd name="connsiteY37" fmla="*/ 8087 h 10000"/>
              <a:gd name="connsiteX38" fmla="*/ 7249 w 10000"/>
              <a:gd name="connsiteY38" fmla="*/ 7828 h 10000"/>
              <a:gd name="connsiteX39" fmla="*/ 7542 w 10000"/>
              <a:gd name="connsiteY39" fmla="*/ 7617 h 10000"/>
              <a:gd name="connsiteX40" fmla="*/ 7867 w 10000"/>
              <a:gd name="connsiteY40" fmla="*/ 7358 h 10000"/>
              <a:gd name="connsiteX41" fmla="*/ 8114 w 10000"/>
              <a:gd name="connsiteY41" fmla="*/ 7136 h 10000"/>
              <a:gd name="connsiteX42" fmla="*/ 8393 w 10000"/>
              <a:gd name="connsiteY42" fmla="*/ 6864 h 10000"/>
              <a:gd name="connsiteX43" fmla="*/ 8670 w 10000"/>
              <a:gd name="connsiteY43" fmla="*/ 6580 h 10000"/>
              <a:gd name="connsiteX44" fmla="*/ 8871 w 10000"/>
              <a:gd name="connsiteY44" fmla="*/ 6271 h 10000"/>
              <a:gd name="connsiteX45" fmla="*/ 9088 w 10000"/>
              <a:gd name="connsiteY45" fmla="*/ 6000 h 10000"/>
              <a:gd name="connsiteX46" fmla="*/ 9242 w 10000"/>
              <a:gd name="connsiteY46" fmla="*/ 5741 h 10000"/>
              <a:gd name="connsiteX47" fmla="*/ 9458 w 10000"/>
              <a:gd name="connsiteY47" fmla="*/ 5345 h 10000"/>
              <a:gd name="connsiteX48" fmla="*/ 9597 w 10000"/>
              <a:gd name="connsiteY48" fmla="*/ 5037 h 10000"/>
              <a:gd name="connsiteX49" fmla="*/ 9768 w 10000"/>
              <a:gd name="connsiteY49" fmla="*/ 4617 h 10000"/>
              <a:gd name="connsiteX50" fmla="*/ 9876 w 10000"/>
              <a:gd name="connsiteY50" fmla="*/ 4148 h 10000"/>
              <a:gd name="connsiteX51" fmla="*/ 9953 w 10000"/>
              <a:gd name="connsiteY51" fmla="*/ 3729 h 10000"/>
              <a:gd name="connsiteX52" fmla="*/ 10000 w 10000"/>
              <a:gd name="connsiteY52" fmla="*/ 3359 h 10000"/>
              <a:gd name="connsiteX53" fmla="*/ 10000 w 10000"/>
              <a:gd name="connsiteY53" fmla="*/ 2963 h 10000"/>
              <a:gd name="connsiteX54" fmla="*/ 9984 w 10000"/>
              <a:gd name="connsiteY54" fmla="*/ 2642 h 10000"/>
              <a:gd name="connsiteX55" fmla="*/ 9922 w 10000"/>
              <a:gd name="connsiteY55" fmla="*/ 2160 h 10000"/>
              <a:gd name="connsiteX56" fmla="*/ 9768 w 10000"/>
              <a:gd name="connsiteY56" fmla="*/ 1679 h 10000"/>
              <a:gd name="connsiteX57" fmla="*/ 9628 w 10000"/>
              <a:gd name="connsiteY57" fmla="*/ 1260 h 10000"/>
              <a:gd name="connsiteX58" fmla="*/ 9458 w 10000"/>
              <a:gd name="connsiteY58" fmla="*/ 914 h 10000"/>
              <a:gd name="connsiteX59" fmla="*/ 9304 w 10000"/>
              <a:gd name="connsiteY59" fmla="*/ 630 h 10000"/>
              <a:gd name="connsiteX0" fmla="*/ 9165 w 10000"/>
              <a:gd name="connsiteY0" fmla="*/ 386 h 10000"/>
              <a:gd name="connsiteX1" fmla="*/ 9547 w 10000"/>
              <a:gd name="connsiteY1" fmla="*/ 0 h 10000"/>
              <a:gd name="connsiteX2" fmla="*/ 4918 w 10000"/>
              <a:gd name="connsiteY2" fmla="*/ 231 h 10000"/>
              <a:gd name="connsiteX3" fmla="*/ 2086 w 10000"/>
              <a:gd name="connsiteY3" fmla="*/ 2272 h 10000"/>
              <a:gd name="connsiteX4" fmla="*/ 2689 w 10000"/>
              <a:gd name="connsiteY4" fmla="*/ 2111 h 10000"/>
              <a:gd name="connsiteX5" fmla="*/ 2813 w 10000"/>
              <a:gd name="connsiteY5" fmla="*/ 2309 h 10000"/>
              <a:gd name="connsiteX6" fmla="*/ 2967 w 10000"/>
              <a:gd name="connsiteY6" fmla="*/ 2568 h 10000"/>
              <a:gd name="connsiteX7" fmla="*/ 3030 w 10000"/>
              <a:gd name="connsiteY7" fmla="*/ 2753 h 10000"/>
              <a:gd name="connsiteX8" fmla="*/ 3076 w 10000"/>
              <a:gd name="connsiteY8" fmla="*/ 3074 h 10000"/>
              <a:gd name="connsiteX9" fmla="*/ 3045 w 10000"/>
              <a:gd name="connsiteY9" fmla="*/ 3457 h 10000"/>
              <a:gd name="connsiteX10" fmla="*/ 2982 w 10000"/>
              <a:gd name="connsiteY10" fmla="*/ 3691 h 10000"/>
              <a:gd name="connsiteX11" fmla="*/ 2844 w 10000"/>
              <a:gd name="connsiteY11" fmla="*/ 3951 h 10000"/>
              <a:gd name="connsiteX12" fmla="*/ 2674 w 10000"/>
              <a:gd name="connsiteY12" fmla="*/ 4198 h 10000"/>
              <a:gd name="connsiteX13" fmla="*/ 2458 w 10000"/>
              <a:gd name="connsiteY13" fmla="*/ 4433 h 10000"/>
              <a:gd name="connsiteX14" fmla="*/ 2210 w 10000"/>
              <a:gd name="connsiteY14" fmla="*/ 4642 h 10000"/>
              <a:gd name="connsiteX15" fmla="*/ 1947 w 10000"/>
              <a:gd name="connsiteY15" fmla="*/ 4803 h 10000"/>
              <a:gd name="connsiteX16" fmla="*/ 1685 w 10000"/>
              <a:gd name="connsiteY16" fmla="*/ 4938 h 10000"/>
              <a:gd name="connsiteX17" fmla="*/ 1252 w 10000"/>
              <a:gd name="connsiteY17" fmla="*/ 5099 h 10000"/>
              <a:gd name="connsiteX18" fmla="*/ 819 w 10000"/>
              <a:gd name="connsiteY18" fmla="*/ 5222 h 10000"/>
              <a:gd name="connsiteX19" fmla="*/ 665 w 10000"/>
              <a:gd name="connsiteY19" fmla="*/ 5260 h 10000"/>
              <a:gd name="connsiteX20" fmla="*/ 2102 w 10000"/>
              <a:gd name="connsiteY20" fmla="*/ 7617 h 10000"/>
              <a:gd name="connsiteX21" fmla="*/ 0 w 10000"/>
              <a:gd name="connsiteY21" fmla="*/ 10000 h 10000"/>
              <a:gd name="connsiteX22" fmla="*/ 418 w 10000"/>
              <a:gd name="connsiteY22" fmla="*/ 9988 h 10000"/>
              <a:gd name="connsiteX23" fmla="*/ 850 w 10000"/>
              <a:gd name="connsiteY23" fmla="*/ 9975 h 10000"/>
              <a:gd name="connsiteX24" fmla="*/ 1329 w 10000"/>
              <a:gd name="connsiteY24" fmla="*/ 9925 h 10000"/>
              <a:gd name="connsiteX25" fmla="*/ 1824 w 10000"/>
              <a:gd name="connsiteY25" fmla="*/ 9876 h 10000"/>
              <a:gd name="connsiteX26" fmla="*/ 2302 w 10000"/>
              <a:gd name="connsiteY26" fmla="*/ 9790 h 10000"/>
              <a:gd name="connsiteX27" fmla="*/ 2782 w 10000"/>
              <a:gd name="connsiteY27" fmla="*/ 9703 h 10000"/>
              <a:gd name="connsiteX28" fmla="*/ 3153 w 10000"/>
              <a:gd name="connsiteY28" fmla="*/ 9617 h 10000"/>
              <a:gd name="connsiteX29" fmla="*/ 3554 w 10000"/>
              <a:gd name="connsiteY29" fmla="*/ 9518 h 10000"/>
              <a:gd name="connsiteX30" fmla="*/ 4049 w 10000"/>
              <a:gd name="connsiteY30" fmla="*/ 9383 h 10000"/>
              <a:gd name="connsiteX31" fmla="*/ 4467 w 10000"/>
              <a:gd name="connsiteY31" fmla="*/ 9234 h 10000"/>
              <a:gd name="connsiteX32" fmla="*/ 4868 w 10000"/>
              <a:gd name="connsiteY32" fmla="*/ 9098 h 10000"/>
              <a:gd name="connsiteX33" fmla="*/ 5301 w 10000"/>
              <a:gd name="connsiteY33" fmla="*/ 8914 h 10000"/>
              <a:gd name="connsiteX34" fmla="*/ 5734 w 10000"/>
              <a:gd name="connsiteY34" fmla="*/ 8728 h 10000"/>
              <a:gd name="connsiteX35" fmla="*/ 6089 w 10000"/>
              <a:gd name="connsiteY35" fmla="*/ 8556 h 10000"/>
              <a:gd name="connsiteX36" fmla="*/ 6491 w 10000"/>
              <a:gd name="connsiteY36" fmla="*/ 8321 h 10000"/>
              <a:gd name="connsiteX37" fmla="*/ 6893 w 10000"/>
              <a:gd name="connsiteY37" fmla="*/ 8087 h 10000"/>
              <a:gd name="connsiteX38" fmla="*/ 7249 w 10000"/>
              <a:gd name="connsiteY38" fmla="*/ 7828 h 10000"/>
              <a:gd name="connsiteX39" fmla="*/ 7542 w 10000"/>
              <a:gd name="connsiteY39" fmla="*/ 7617 h 10000"/>
              <a:gd name="connsiteX40" fmla="*/ 7867 w 10000"/>
              <a:gd name="connsiteY40" fmla="*/ 7358 h 10000"/>
              <a:gd name="connsiteX41" fmla="*/ 8114 w 10000"/>
              <a:gd name="connsiteY41" fmla="*/ 7136 h 10000"/>
              <a:gd name="connsiteX42" fmla="*/ 8393 w 10000"/>
              <a:gd name="connsiteY42" fmla="*/ 6864 h 10000"/>
              <a:gd name="connsiteX43" fmla="*/ 8670 w 10000"/>
              <a:gd name="connsiteY43" fmla="*/ 6580 h 10000"/>
              <a:gd name="connsiteX44" fmla="*/ 8871 w 10000"/>
              <a:gd name="connsiteY44" fmla="*/ 6271 h 10000"/>
              <a:gd name="connsiteX45" fmla="*/ 9088 w 10000"/>
              <a:gd name="connsiteY45" fmla="*/ 6000 h 10000"/>
              <a:gd name="connsiteX46" fmla="*/ 9242 w 10000"/>
              <a:gd name="connsiteY46" fmla="*/ 5741 h 10000"/>
              <a:gd name="connsiteX47" fmla="*/ 9458 w 10000"/>
              <a:gd name="connsiteY47" fmla="*/ 5345 h 10000"/>
              <a:gd name="connsiteX48" fmla="*/ 9597 w 10000"/>
              <a:gd name="connsiteY48" fmla="*/ 5037 h 10000"/>
              <a:gd name="connsiteX49" fmla="*/ 9768 w 10000"/>
              <a:gd name="connsiteY49" fmla="*/ 4617 h 10000"/>
              <a:gd name="connsiteX50" fmla="*/ 9876 w 10000"/>
              <a:gd name="connsiteY50" fmla="*/ 4148 h 10000"/>
              <a:gd name="connsiteX51" fmla="*/ 9953 w 10000"/>
              <a:gd name="connsiteY51" fmla="*/ 3729 h 10000"/>
              <a:gd name="connsiteX52" fmla="*/ 10000 w 10000"/>
              <a:gd name="connsiteY52" fmla="*/ 3359 h 10000"/>
              <a:gd name="connsiteX53" fmla="*/ 10000 w 10000"/>
              <a:gd name="connsiteY53" fmla="*/ 2963 h 10000"/>
              <a:gd name="connsiteX54" fmla="*/ 9984 w 10000"/>
              <a:gd name="connsiteY54" fmla="*/ 2642 h 10000"/>
              <a:gd name="connsiteX55" fmla="*/ 9922 w 10000"/>
              <a:gd name="connsiteY55" fmla="*/ 2160 h 10000"/>
              <a:gd name="connsiteX56" fmla="*/ 9768 w 10000"/>
              <a:gd name="connsiteY56" fmla="*/ 1679 h 10000"/>
              <a:gd name="connsiteX57" fmla="*/ 9628 w 10000"/>
              <a:gd name="connsiteY57" fmla="*/ 1260 h 10000"/>
              <a:gd name="connsiteX58" fmla="*/ 9458 w 10000"/>
              <a:gd name="connsiteY58" fmla="*/ 914 h 10000"/>
              <a:gd name="connsiteX59" fmla="*/ 9304 w 10000"/>
              <a:gd name="connsiteY59" fmla="*/ 630 h 10000"/>
              <a:gd name="connsiteX0" fmla="*/ 9165 w 10000"/>
              <a:gd name="connsiteY0" fmla="*/ 155 h 9769"/>
              <a:gd name="connsiteX1" fmla="*/ 9648 w 10000"/>
              <a:gd name="connsiteY1" fmla="*/ 18 h 9769"/>
              <a:gd name="connsiteX2" fmla="*/ 4918 w 10000"/>
              <a:gd name="connsiteY2" fmla="*/ 0 h 9769"/>
              <a:gd name="connsiteX3" fmla="*/ 2086 w 10000"/>
              <a:gd name="connsiteY3" fmla="*/ 2041 h 9769"/>
              <a:gd name="connsiteX4" fmla="*/ 2689 w 10000"/>
              <a:gd name="connsiteY4" fmla="*/ 1880 h 9769"/>
              <a:gd name="connsiteX5" fmla="*/ 2813 w 10000"/>
              <a:gd name="connsiteY5" fmla="*/ 2078 h 9769"/>
              <a:gd name="connsiteX6" fmla="*/ 2967 w 10000"/>
              <a:gd name="connsiteY6" fmla="*/ 2337 h 9769"/>
              <a:gd name="connsiteX7" fmla="*/ 3030 w 10000"/>
              <a:gd name="connsiteY7" fmla="*/ 2522 h 9769"/>
              <a:gd name="connsiteX8" fmla="*/ 3076 w 10000"/>
              <a:gd name="connsiteY8" fmla="*/ 2843 h 9769"/>
              <a:gd name="connsiteX9" fmla="*/ 3045 w 10000"/>
              <a:gd name="connsiteY9" fmla="*/ 3226 h 9769"/>
              <a:gd name="connsiteX10" fmla="*/ 2982 w 10000"/>
              <a:gd name="connsiteY10" fmla="*/ 3460 h 9769"/>
              <a:gd name="connsiteX11" fmla="*/ 2844 w 10000"/>
              <a:gd name="connsiteY11" fmla="*/ 3720 h 9769"/>
              <a:gd name="connsiteX12" fmla="*/ 2674 w 10000"/>
              <a:gd name="connsiteY12" fmla="*/ 3967 h 9769"/>
              <a:gd name="connsiteX13" fmla="*/ 2458 w 10000"/>
              <a:gd name="connsiteY13" fmla="*/ 4202 h 9769"/>
              <a:gd name="connsiteX14" fmla="*/ 2210 w 10000"/>
              <a:gd name="connsiteY14" fmla="*/ 4411 h 9769"/>
              <a:gd name="connsiteX15" fmla="*/ 1947 w 10000"/>
              <a:gd name="connsiteY15" fmla="*/ 4572 h 9769"/>
              <a:gd name="connsiteX16" fmla="*/ 1685 w 10000"/>
              <a:gd name="connsiteY16" fmla="*/ 4707 h 9769"/>
              <a:gd name="connsiteX17" fmla="*/ 1252 w 10000"/>
              <a:gd name="connsiteY17" fmla="*/ 4868 h 9769"/>
              <a:gd name="connsiteX18" fmla="*/ 819 w 10000"/>
              <a:gd name="connsiteY18" fmla="*/ 4991 h 9769"/>
              <a:gd name="connsiteX19" fmla="*/ 665 w 10000"/>
              <a:gd name="connsiteY19" fmla="*/ 5029 h 9769"/>
              <a:gd name="connsiteX20" fmla="*/ 2102 w 10000"/>
              <a:gd name="connsiteY20" fmla="*/ 7386 h 9769"/>
              <a:gd name="connsiteX21" fmla="*/ 0 w 10000"/>
              <a:gd name="connsiteY21" fmla="*/ 9769 h 9769"/>
              <a:gd name="connsiteX22" fmla="*/ 418 w 10000"/>
              <a:gd name="connsiteY22" fmla="*/ 9757 h 9769"/>
              <a:gd name="connsiteX23" fmla="*/ 850 w 10000"/>
              <a:gd name="connsiteY23" fmla="*/ 9744 h 9769"/>
              <a:gd name="connsiteX24" fmla="*/ 1329 w 10000"/>
              <a:gd name="connsiteY24" fmla="*/ 9694 h 9769"/>
              <a:gd name="connsiteX25" fmla="*/ 1824 w 10000"/>
              <a:gd name="connsiteY25" fmla="*/ 9645 h 9769"/>
              <a:gd name="connsiteX26" fmla="*/ 2302 w 10000"/>
              <a:gd name="connsiteY26" fmla="*/ 9559 h 9769"/>
              <a:gd name="connsiteX27" fmla="*/ 2782 w 10000"/>
              <a:gd name="connsiteY27" fmla="*/ 9472 h 9769"/>
              <a:gd name="connsiteX28" fmla="*/ 3153 w 10000"/>
              <a:gd name="connsiteY28" fmla="*/ 9386 h 9769"/>
              <a:gd name="connsiteX29" fmla="*/ 3554 w 10000"/>
              <a:gd name="connsiteY29" fmla="*/ 9287 h 9769"/>
              <a:gd name="connsiteX30" fmla="*/ 4049 w 10000"/>
              <a:gd name="connsiteY30" fmla="*/ 9152 h 9769"/>
              <a:gd name="connsiteX31" fmla="*/ 4467 w 10000"/>
              <a:gd name="connsiteY31" fmla="*/ 9003 h 9769"/>
              <a:gd name="connsiteX32" fmla="*/ 4868 w 10000"/>
              <a:gd name="connsiteY32" fmla="*/ 8867 h 9769"/>
              <a:gd name="connsiteX33" fmla="*/ 5301 w 10000"/>
              <a:gd name="connsiteY33" fmla="*/ 8683 h 9769"/>
              <a:gd name="connsiteX34" fmla="*/ 5734 w 10000"/>
              <a:gd name="connsiteY34" fmla="*/ 8497 h 9769"/>
              <a:gd name="connsiteX35" fmla="*/ 6089 w 10000"/>
              <a:gd name="connsiteY35" fmla="*/ 8325 h 9769"/>
              <a:gd name="connsiteX36" fmla="*/ 6491 w 10000"/>
              <a:gd name="connsiteY36" fmla="*/ 8090 h 9769"/>
              <a:gd name="connsiteX37" fmla="*/ 6893 w 10000"/>
              <a:gd name="connsiteY37" fmla="*/ 7856 h 9769"/>
              <a:gd name="connsiteX38" fmla="*/ 7249 w 10000"/>
              <a:gd name="connsiteY38" fmla="*/ 7597 h 9769"/>
              <a:gd name="connsiteX39" fmla="*/ 7542 w 10000"/>
              <a:gd name="connsiteY39" fmla="*/ 7386 h 9769"/>
              <a:gd name="connsiteX40" fmla="*/ 7867 w 10000"/>
              <a:gd name="connsiteY40" fmla="*/ 7127 h 9769"/>
              <a:gd name="connsiteX41" fmla="*/ 8114 w 10000"/>
              <a:gd name="connsiteY41" fmla="*/ 6905 h 9769"/>
              <a:gd name="connsiteX42" fmla="*/ 8393 w 10000"/>
              <a:gd name="connsiteY42" fmla="*/ 6633 h 9769"/>
              <a:gd name="connsiteX43" fmla="*/ 8670 w 10000"/>
              <a:gd name="connsiteY43" fmla="*/ 6349 h 9769"/>
              <a:gd name="connsiteX44" fmla="*/ 8871 w 10000"/>
              <a:gd name="connsiteY44" fmla="*/ 6040 h 9769"/>
              <a:gd name="connsiteX45" fmla="*/ 9088 w 10000"/>
              <a:gd name="connsiteY45" fmla="*/ 5769 h 9769"/>
              <a:gd name="connsiteX46" fmla="*/ 9242 w 10000"/>
              <a:gd name="connsiteY46" fmla="*/ 5510 h 9769"/>
              <a:gd name="connsiteX47" fmla="*/ 9458 w 10000"/>
              <a:gd name="connsiteY47" fmla="*/ 5114 h 9769"/>
              <a:gd name="connsiteX48" fmla="*/ 9597 w 10000"/>
              <a:gd name="connsiteY48" fmla="*/ 4806 h 9769"/>
              <a:gd name="connsiteX49" fmla="*/ 9768 w 10000"/>
              <a:gd name="connsiteY49" fmla="*/ 4386 h 9769"/>
              <a:gd name="connsiteX50" fmla="*/ 9876 w 10000"/>
              <a:gd name="connsiteY50" fmla="*/ 3917 h 9769"/>
              <a:gd name="connsiteX51" fmla="*/ 9953 w 10000"/>
              <a:gd name="connsiteY51" fmla="*/ 3498 h 9769"/>
              <a:gd name="connsiteX52" fmla="*/ 10000 w 10000"/>
              <a:gd name="connsiteY52" fmla="*/ 3128 h 9769"/>
              <a:gd name="connsiteX53" fmla="*/ 10000 w 10000"/>
              <a:gd name="connsiteY53" fmla="*/ 2732 h 9769"/>
              <a:gd name="connsiteX54" fmla="*/ 9984 w 10000"/>
              <a:gd name="connsiteY54" fmla="*/ 2411 h 9769"/>
              <a:gd name="connsiteX55" fmla="*/ 9922 w 10000"/>
              <a:gd name="connsiteY55" fmla="*/ 1929 h 9769"/>
              <a:gd name="connsiteX56" fmla="*/ 9768 w 10000"/>
              <a:gd name="connsiteY56" fmla="*/ 1448 h 9769"/>
              <a:gd name="connsiteX57" fmla="*/ 9628 w 10000"/>
              <a:gd name="connsiteY57" fmla="*/ 1029 h 9769"/>
              <a:gd name="connsiteX58" fmla="*/ 9458 w 10000"/>
              <a:gd name="connsiteY58" fmla="*/ 683 h 9769"/>
              <a:gd name="connsiteX59" fmla="*/ 9304 w 10000"/>
              <a:gd name="connsiteY59" fmla="*/ 399 h 9769"/>
              <a:gd name="connsiteX0" fmla="*/ 9165 w 10000"/>
              <a:gd name="connsiteY0" fmla="*/ 226 h 10000"/>
              <a:gd name="connsiteX1" fmla="*/ 9648 w 10000"/>
              <a:gd name="connsiteY1" fmla="*/ 18 h 10000"/>
              <a:gd name="connsiteX2" fmla="*/ 4918 w 10000"/>
              <a:gd name="connsiteY2" fmla="*/ 0 h 10000"/>
              <a:gd name="connsiteX3" fmla="*/ 2086 w 10000"/>
              <a:gd name="connsiteY3" fmla="*/ 2089 h 10000"/>
              <a:gd name="connsiteX4" fmla="*/ 2689 w 10000"/>
              <a:gd name="connsiteY4" fmla="*/ 1924 h 10000"/>
              <a:gd name="connsiteX5" fmla="*/ 2813 w 10000"/>
              <a:gd name="connsiteY5" fmla="*/ 2127 h 10000"/>
              <a:gd name="connsiteX6" fmla="*/ 2967 w 10000"/>
              <a:gd name="connsiteY6" fmla="*/ 2392 h 10000"/>
              <a:gd name="connsiteX7" fmla="*/ 3030 w 10000"/>
              <a:gd name="connsiteY7" fmla="*/ 2582 h 10000"/>
              <a:gd name="connsiteX8" fmla="*/ 3076 w 10000"/>
              <a:gd name="connsiteY8" fmla="*/ 2910 h 10000"/>
              <a:gd name="connsiteX9" fmla="*/ 3045 w 10000"/>
              <a:gd name="connsiteY9" fmla="*/ 3302 h 10000"/>
              <a:gd name="connsiteX10" fmla="*/ 2982 w 10000"/>
              <a:gd name="connsiteY10" fmla="*/ 3542 h 10000"/>
              <a:gd name="connsiteX11" fmla="*/ 2844 w 10000"/>
              <a:gd name="connsiteY11" fmla="*/ 3808 h 10000"/>
              <a:gd name="connsiteX12" fmla="*/ 2674 w 10000"/>
              <a:gd name="connsiteY12" fmla="*/ 4061 h 10000"/>
              <a:gd name="connsiteX13" fmla="*/ 2458 w 10000"/>
              <a:gd name="connsiteY13" fmla="*/ 4301 h 10000"/>
              <a:gd name="connsiteX14" fmla="*/ 2210 w 10000"/>
              <a:gd name="connsiteY14" fmla="*/ 4515 h 10000"/>
              <a:gd name="connsiteX15" fmla="*/ 1947 w 10000"/>
              <a:gd name="connsiteY15" fmla="*/ 4680 h 10000"/>
              <a:gd name="connsiteX16" fmla="*/ 1685 w 10000"/>
              <a:gd name="connsiteY16" fmla="*/ 4818 h 10000"/>
              <a:gd name="connsiteX17" fmla="*/ 1252 w 10000"/>
              <a:gd name="connsiteY17" fmla="*/ 4983 h 10000"/>
              <a:gd name="connsiteX18" fmla="*/ 819 w 10000"/>
              <a:gd name="connsiteY18" fmla="*/ 5109 h 10000"/>
              <a:gd name="connsiteX19" fmla="*/ 665 w 10000"/>
              <a:gd name="connsiteY19" fmla="*/ 5148 h 10000"/>
              <a:gd name="connsiteX20" fmla="*/ 2102 w 10000"/>
              <a:gd name="connsiteY20" fmla="*/ 7561 h 10000"/>
              <a:gd name="connsiteX21" fmla="*/ 0 w 10000"/>
              <a:gd name="connsiteY21" fmla="*/ 10000 h 10000"/>
              <a:gd name="connsiteX22" fmla="*/ 418 w 10000"/>
              <a:gd name="connsiteY22" fmla="*/ 9988 h 10000"/>
              <a:gd name="connsiteX23" fmla="*/ 850 w 10000"/>
              <a:gd name="connsiteY23" fmla="*/ 9974 h 10000"/>
              <a:gd name="connsiteX24" fmla="*/ 1329 w 10000"/>
              <a:gd name="connsiteY24" fmla="*/ 9923 h 10000"/>
              <a:gd name="connsiteX25" fmla="*/ 1824 w 10000"/>
              <a:gd name="connsiteY25" fmla="*/ 9873 h 10000"/>
              <a:gd name="connsiteX26" fmla="*/ 2302 w 10000"/>
              <a:gd name="connsiteY26" fmla="*/ 9785 h 10000"/>
              <a:gd name="connsiteX27" fmla="*/ 2782 w 10000"/>
              <a:gd name="connsiteY27" fmla="*/ 9696 h 10000"/>
              <a:gd name="connsiteX28" fmla="*/ 3153 w 10000"/>
              <a:gd name="connsiteY28" fmla="*/ 9608 h 10000"/>
              <a:gd name="connsiteX29" fmla="*/ 3554 w 10000"/>
              <a:gd name="connsiteY29" fmla="*/ 9507 h 10000"/>
              <a:gd name="connsiteX30" fmla="*/ 4049 w 10000"/>
              <a:gd name="connsiteY30" fmla="*/ 9368 h 10000"/>
              <a:gd name="connsiteX31" fmla="*/ 4467 w 10000"/>
              <a:gd name="connsiteY31" fmla="*/ 9216 h 10000"/>
              <a:gd name="connsiteX32" fmla="*/ 4868 w 10000"/>
              <a:gd name="connsiteY32" fmla="*/ 9077 h 10000"/>
              <a:gd name="connsiteX33" fmla="*/ 5301 w 10000"/>
              <a:gd name="connsiteY33" fmla="*/ 8888 h 10000"/>
              <a:gd name="connsiteX34" fmla="*/ 5734 w 10000"/>
              <a:gd name="connsiteY34" fmla="*/ 8698 h 10000"/>
              <a:gd name="connsiteX35" fmla="*/ 6089 w 10000"/>
              <a:gd name="connsiteY35" fmla="*/ 8522 h 10000"/>
              <a:gd name="connsiteX36" fmla="*/ 6491 w 10000"/>
              <a:gd name="connsiteY36" fmla="*/ 8281 h 10000"/>
              <a:gd name="connsiteX37" fmla="*/ 6893 w 10000"/>
              <a:gd name="connsiteY37" fmla="*/ 8042 h 10000"/>
              <a:gd name="connsiteX38" fmla="*/ 7249 w 10000"/>
              <a:gd name="connsiteY38" fmla="*/ 7777 h 10000"/>
              <a:gd name="connsiteX39" fmla="*/ 7542 w 10000"/>
              <a:gd name="connsiteY39" fmla="*/ 7561 h 10000"/>
              <a:gd name="connsiteX40" fmla="*/ 7867 w 10000"/>
              <a:gd name="connsiteY40" fmla="*/ 7296 h 10000"/>
              <a:gd name="connsiteX41" fmla="*/ 8114 w 10000"/>
              <a:gd name="connsiteY41" fmla="*/ 7068 h 10000"/>
              <a:gd name="connsiteX42" fmla="*/ 8393 w 10000"/>
              <a:gd name="connsiteY42" fmla="*/ 6790 h 10000"/>
              <a:gd name="connsiteX43" fmla="*/ 8670 w 10000"/>
              <a:gd name="connsiteY43" fmla="*/ 6499 h 10000"/>
              <a:gd name="connsiteX44" fmla="*/ 8871 w 10000"/>
              <a:gd name="connsiteY44" fmla="*/ 6183 h 10000"/>
              <a:gd name="connsiteX45" fmla="*/ 9088 w 10000"/>
              <a:gd name="connsiteY45" fmla="*/ 5905 h 10000"/>
              <a:gd name="connsiteX46" fmla="*/ 9242 w 10000"/>
              <a:gd name="connsiteY46" fmla="*/ 5640 h 10000"/>
              <a:gd name="connsiteX47" fmla="*/ 9458 w 10000"/>
              <a:gd name="connsiteY47" fmla="*/ 5235 h 10000"/>
              <a:gd name="connsiteX48" fmla="*/ 9597 w 10000"/>
              <a:gd name="connsiteY48" fmla="*/ 4920 h 10000"/>
              <a:gd name="connsiteX49" fmla="*/ 9768 w 10000"/>
              <a:gd name="connsiteY49" fmla="*/ 4490 h 10000"/>
              <a:gd name="connsiteX50" fmla="*/ 9876 w 10000"/>
              <a:gd name="connsiteY50" fmla="*/ 4010 h 10000"/>
              <a:gd name="connsiteX51" fmla="*/ 9953 w 10000"/>
              <a:gd name="connsiteY51" fmla="*/ 3581 h 10000"/>
              <a:gd name="connsiteX52" fmla="*/ 10000 w 10000"/>
              <a:gd name="connsiteY52" fmla="*/ 3202 h 10000"/>
              <a:gd name="connsiteX53" fmla="*/ 10000 w 10000"/>
              <a:gd name="connsiteY53" fmla="*/ 2797 h 10000"/>
              <a:gd name="connsiteX54" fmla="*/ 9984 w 10000"/>
              <a:gd name="connsiteY54" fmla="*/ 2468 h 10000"/>
              <a:gd name="connsiteX55" fmla="*/ 9922 w 10000"/>
              <a:gd name="connsiteY55" fmla="*/ 1975 h 10000"/>
              <a:gd name="connsiteX56" fmla="*/ 9768 w 10000"/>
              <a:gd name="connsiteY56" fmla="*/ 1482 h 10000"/>
              <a:gd name="connsiteX57" fmla="*/ 9628 w 10000"/>
              <a:gd name="connsiteY57" fmla="*/ 1053 h 10000"/>
              <a:gd name="connsiteX58" fmla="*/ 9458 w 10000"/>
              <a:gd name="connsiteY58" fmla="*/ 699 h 10000"/>
              <a:gd name="connsiteX59" fmla="*/ 9304 w 10000"/>
              <a:gd name="connsiteY59" fmla="*/ 408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86 w 10000"/>
              <a:gd name="connsiteY3" fmla="*/ 2089 h 10000"/>
              <a:gd name="connsiteX4" fmla="*/ 2689 w 10000"/>
              <a:gd name="connsiteY4" fmla="*/ 1924 h 10000"/>
              <a:gd name="connsiteX5" fmla="*/ 2813 w 10000"/>
              <a:gd name="connsiteY5" fmla="*/ 2127 h 10000"/>
              <a:gd name="connsiteX6" fmla="*/ 2967 w 10000"/>
              <a:gd name="connsiteY6" fmla="*/ 2392 h 10000"/>
              <a:gd name="connsiteX7" fmla="*/ 3030 w 10000"/>
              <a:gd name="connsiteY7" fmla="*/ 2582 h 10000"/>
              <a:gd name="connsiteX8" fmla="*/ 3076 w 10000"/>
              <a:gd name="connsiteY8" fmla="*/ 2910 h 10000"/>
              <a:gd name="connsiteX9" fmla="*/ 3045 w 10000"/>
              <a:gd name="connsiteY9" fmla="*/ 3302 h 10000"/>
              <a:gd name="connsiteX10" fmla="*/ 2982 w 10000"/>
              <a:gd name="connsiteY10" fmla="*/ 3542 h 10000"/>
              <a:gd name="connsiteX11" fmla="*/ 2844 w 10000"/>
              <a:gd name="connsiteY11" fmla="*/ 3808 h 10000"/>
              <a:gd name="connsiteX12" fmla="*/ 2674 w 10000"/>
              <a:gd name="connsiteY12" fmla="*/ 4061 h 10000"/>
              <a:gd name="connsiteX13" fmla="*/ 2458 w 10000"/>
              <a:gd name="connsiteY13" fmla="*/ 4301 h 10000"/>
              <a:gd name="connsiteX14" fmla="*/ 2210 w 10000"/>
              <a:gd name="connsiteY14" fmla="*/ 4515 h 10000"/>
              <a:gd name="connsiteX15" fmla="*/ 1947 w 10000"/>
              <a:gd name="connsiteY15" fmla="*/ 4680 h 10000"/>
              <a:gd name="connsiteX16" fmla="*/ 1685 w 10000"/>
              <a:gd name="connsiteY16" fmla="*/ 4818 h 10000"/>
              <a:gd name="connsiteX17" fmla="*/ 1252 w 10000"/>
              <a:gd name="connsiteY17" fmla="*/ 4983 h 10000"/>
              <a:gd name="connsiteX18" fmla="*/ 819 w 10000"/>
              <a:gd name="connsiteY18" fmla="*/ 5109 h 10000"/>
              <a:gd name="connsiteX19" fmla="*/ 665 w 10000"/>
              <a:gd name="connsiteY19" fmla="*/ 5148 h 10000"/>
              <a:gd name="connsiteX20" fmla="*/ 2102 w 10000"/>
              <a:gd name="connsiteY20" fmla="*/ 7561 h 10000"/>
              <a:gd name="connsiteX21" fmla="*/ 0 w 10000"/>
              <a:gd name="connsiteY21" fmla="*/ 10000 h 10000"/>
              <a:gd name="connsiteX22" fmla="*/ 418 w 10000"/>
              <a:gd name="connsiteY22" fmla="*/ 9988 h 10000"/>
              <a:gd name="connsiteX23" fmla="*/ 850 w 10000"/>
              <a:gd name="connsiteY23" fmla="*/ 9974 h 10000"/>
              <a:gd name="connsiteX24" fmla="*/ 1329 w 10000"/>
              <a:gd name="connsiteY24" fmla="*/ 9923 h 10000"/>
              <a:gd name="connsiteX25" fmla="*/ 1824 w 10000"/>
              <a:gd name="connsiteY25" fmla="*/ 9873 h 10000"/>
              <a:gd name="connsiteX26" fmla="*/ 2302 w 10000"/>
              <a:gd name="connsiteY26" fmla="*/ 9785 h 10000"/>
              <a:gd name="connsiteX27" fmla="*/ 2782 w 10000"/>
              <a:gd name="connsiteY27" fmla="*/ 9696 h 10000"/>
              <a:gd name="connsiteX28" fmla="*/ 3153 w 10000"/>
              <a:gd name="connsiteY28" fmla="*/ 9608 h 10000"/>
              <a:gd name="connsiteX29" fmla="*/ 3554 w 10000"/>
              <a:gd name="connsiteY29" fmla="*/ 9507 h 10000"/>
              <a:gd name="connsiteX30" fmla="*/ 4049 w 10000"/>
              <a:gd name="connsiteY30" fmla="*/ 9368 h 10000"/>
              <a:gd name="connsiteX31" fmla="*/ 4467 w 10000"/>
              <a:gd name="connsiteY31" fmla="*/ 9216 h 10000"/>
              <a:gd name="connsiteX32" fmla="*/ 4868 w 10000"/>
              <a:gd name="connsiteY32" fmla="*/ 9077 h 10000"/>
              <a:gd name="connsiteX33" fmla="*/ 5301 w 10000"/>
              <a:gd name="connsiteY33" fmla="*/ 8888 h 10000"/>
              <a:gd name="connsiteX34" fmla="*/ 5734 w 10000"/>
              <a:gd name="connsiteY34" fmla="*/ 8698 h 10000"/>
              <a:gd name="connsiteX35" fmla="*/ 6089 w 10000"/>
              <a:gd name="connsiteY35" fmla="*/ 8522 h 10000"/>
              <a:gd name="connsiteX36" fmla="*/ 6491 w 10000"/>
              <a:gd name="connsiteY36" fmla="*/ 8281 h 10000"/>
              <a:gd name="connsiteX37" fmla="*/ 6893 w 10000"/>
              <a:gd name="connsiteY37" fmla="*/ 8042 h 10000"/>
              <a:gd name="connsiteX38" fmla="*/ 7249 w 10000"/>
              <a:gd name="connsiteY38" fmla="*/ 7777 h 10000"/>
              <a:gd name="connsiteX39" fmla="*/ 7542 w 10000"/>
              <a:gd name="connsiteY39" fmla="*/ 7561 h 10000"/>
              <a:gd name="connsiteX40" fmla="*/ 7867 w 10000"/>
              <a:gd name="connsiteY40" fmla="*/ 7296 h 10000"/>
              <a:gd name="connsiteX41" fmla="*/ 8114 w 10000"/>
              <a:gd name="connsiteY41" fmla="*/ 7068 h 10000"/>
              <a:gd name="connsiteX42" fmla="*/ 8393 w 10000"/>
              <a:gd name="connsiteY42" fmla="*/ 6790 h 10000"/>
              <a:gd name="connsiteX43" fmla="*/ 8670 w 10000"/>
              <a:gd name="connsiteY43" fmla="*/ 6499 h 10000"/>
              <a:gd name="connsiteX44" fmla="*/ 8871 w 10000"/>
              <a:gd name="connsiteY44" fmla="*/ 6183 h 10000"/>
              <a:gd name="connsiteX45" fmla="*/ 9088 w 10000"/>
              <a:gd name="connsiteY45" fmla="*/ 5905 h 10000"/>
              <a:gd name="connsiteX46" fmla="*/ 9242 w 10000"/>
              <a:gd name="connsiteY46" fmla="*/ 5640 h 10000"/>
              <a:gd name="connsiteX47" fmla="*/ 9458 w 10000"/>
              <a:gd name="connsiteY47" fmla="*/ 5235 h 10000"/>
              <a:gd name="connsiteX48" fmla="*/ 9597 w 10000"/>
              <a:gd name="connsiteY48" fmla="*/ 4920 h 10000"/>
              <a:gd name="connsiteX49" fmla="*/ 9768 w 10000"/>
              <a:gd name="connsiteY49" fmla="*/ 4490 h 10000"/>
              <a:gd name="connsiteX50" fmla="*/ 9876 w 10000"/>
              <a:gd name="connsiteY50" fmla="*/ 4010 h 10000"/>
              <a:gd name="connsiteX51" fmla="*/ 9953 w 10000"/>
              <a:gd name="connsiteY51" fmla="*/ 3581 h 10000"/>
              <a:gd name="connsiteX52" fmla="*/ 10000 w 10000"/>
              <a:gd name="connsiteY52" fmla="*/ 3202 h 10000"/>
              <a:gd name="connsiteX53" fmla="*/ 10000 w 10000"/>
              <a:gd name="connsiteY53" fmla="*/ 2797 h 10000"/>
              <a:gd name="connsiteX54" fmla="*/ 9984 w 10000"/>
              <a:gd name="connsiteY54" fmla="*/ 2468 h 10000"/>
              <a:gd name="connsiteX55" fmla="*/ 9922 w 10000"/>
              <a:gd name="connsiteY55" fmla="*/ 1975 h 10000"/>
              <a:gd name="connsiteX56" fmla="*/ 9768 w 10000"/>
              <a:gd name="connsiteY56" fmla="*/ 1482 h 10000"/>
              <a:gd name="connsiteX57" fmla="*/ 9628 w 10000"/>
              <a:gd name="connsiteY57" fmla="*/ 1053 h 10000"/>
              <a:gd name="connsiteX58" fmla="*/ 9458 w 10000"/>
              <a:gd name="connsiteY58" fmla="*/ 699 h 10000"/>
              <a:gd name="connsiteX59" fmla="*/ 9304 w 10000"/>
              <a:gd name="connsiteY59" fmla="*/ 408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86 w 10000"/>
              <a:gd name="connsiteY3" fmla="*/ 2089 h 10000"/>
              <a:gd name="connsiteX4" fmla="*/ 2689 w 10000"/>
              <a:gd name="connsiteY4" fmla="*/ 1924 h 10000"/>
              <a:gd name="connsiteX5" fmla="*/ 2813 w 10000"/>
              <a:gd name="connsiteY5" fmla="*/ 2127 h 10000"/>
              <a:gd name="connsiteX6" fmla="*/ 2967 w 10000"/>
              <a:gd name="connsiteY6" fmla="*/ 2392 h 10000"/>
              <a:gd name="connsiteX7" fmla="*/ 3030 w 10000"/>
              <a:gd name="connsiteY7" fmla="*/ 2582 h 10000"/>
              <a:gd name="connsiteX8" fmla="*/ 3076 w 10000"/>
              <a:gd name="connsiteY8" fmla="*/ 2910 h 10000"/>
              <a:gd name="connsiteX9" fmla="*/ 3045 w 10000"/>
              <a:gd name="connsiteY9" fmla="*/ 3302 h 10000"/>
              <a:gd name="connsiteX10" fmla="*/ 2982 w 10000"/>
              <a:gd name="connsiteY10" fmla="*/ 3542 h 10000"/>
              <a:gd name="connsiteX11" fmla="*/ 2844 w 10000"/>
              <a:gd name="connsiteY11" fmla="*/ 3808 h 10000"/>
              <a:gd name="connsiteX12" fmla="*/ 2674 w 10000"/>
              <a:gd name="connsiteY12" fmla="*/ 4061 h 10000"/>
              <a:gd name="connsiteX13" fmla="*/ 2458 w 10000"/>
              <a:gd name="connsiteY13" fmla="*/ 4301 h 10000"/>
              <a:gd name="connsiteX14" fmla="*/ 2210 w 10000"/>
              <a:gd name="connsiteY14" fmla="*/ 4515 h 10000"/>
              <a:gd name="connsiteX15" fmla="*/ 1947 w 10000"/>
              <a:gd name="connsiteY15" fmla="*/ 4680 h 10000"/>
              <a:gd name="connsiteX16" fmla="*/ 1685 w 10000"/>
              <a:gd name="connsiteY16" fmla="*/ 4818 h 10000"/>
              <a:gd name="connsiteX17" fmla="*/ 1252 w 10000"/>
              <a:gd name="connsiteY17" fmla="*/ 4983 h 10000"/>
              <a:gd name="connsiteX18" fmla="*/ 819 w 10000"/>
              <a:gd name="connsiteY18" fmla="*/ 5109 h 10000"/>
              <a:gd name="connsiteX19" fmla="*/ 665 w 10000"/>
              <a:gd name="connsiteY19" fmla="*/ 5148 h 10000"/>
              <a:gd name="connsiteX20" fmla="*/ 2102 w 10000"/>
              <a:gd name="connsiteY20" fmla="*/ 7561 h 10000"/>
              <a:gd name="connsiteX21" fmla="*/ 0 w 10000"/>
              <a:gd name="connsiteY21" fmla="*/ 10000 h 10000"/>
              <a:gd name="connsiteX22" fmla="*/ 418 w 10000"/>
              <a:gd name="connsiteY22" fmla="*/ 9988 h 10000"/>
              <a:gd name="connsiteX23" fmla="*/ 850 w 10000"/>
              <a:gd name="connsiteY23" fmla="*/ 9974 h 10000"/>
              <a:gd name="connsiteX24" fmla="*/ 1329 w 10000"/>
              <a:gd name="connsiteY24" fmla="*/ 9923 h 10000"/>
              <a:gd name="connsiteX25" fmla="*/ 1824 w 10000"/>
              <a:gd name="connsiteY25" fmla="*/ 9873 h 10000"/>
              <a:gd name="connsiteX26" fmla="*/ 2302 w 10000"/>
              <a:gd name="connsiteY26" fmla="*/ 9785 h 10000"/>
              <a:gd name="connsiteX27" fmla="*/ 2782 w 10000"/>
              <a:gd name="connsiteY27" fmla="*/ 9696 h 10000"/>
              <a:gd name="connsiteX28" fmla="*/ 3153 w 10000"/>
              <a:gd name="connsiteY28" fmla="*/ 9608 h 10000"/>
              <a:gd name="connsiteX29" fmla="*/ 3554 w 10000"/>
              <a:gd name="connsiteY29" fmla="*/ 9507 h 10000"/>
              <a:gd name="connsiteX30" fmla="*/ 4049 w 10000"/>
              <a:gd name="connsiteY30" fmla="*/ 9368 h 10000"/>
              <a:gd name="connsiteX31" fmla="*/ 4467 w 10000"/>
              <a:gd name="connsiteY31" fmla="*/ 9216 h 10000"/>
              <a:gd name="connsiteX32" fmla="*/ 4868 w 10000"/>
              <a:gd name="connsiteY32" fmla="*/ 9077 h 10000"/>
              <a:gd name="connsiteX33" fmla="*/ 5301 w 10000"/>
              <a:gd name="connsiteY33" fmla="*/ 8888 h 10000"/>
              <a:gd name="connsiteX34" fmla="*/ 5734 w 10000"/>
              <a:gd name="connsiteY34" fmla="*/ 8698 h 10000"/>
              <a:gd name="connsiteX35" fmla="*/ 6089 w 10000"/>
              <a:gd name="connsiteY35" fmla="*/ 8522 h 10000"/>
              <a:gd name="connsiteX36" fmla="*/ 6491 w 10000"/>
              <a:gd name="connsiteY36" fmla="*/ 8281 h 10000"/>
              <a:gd name="connsiteX37" fmla="*/ 6893 w 10000"/>
              <a:gd name="connsiteY37" fmla="*/ 8042 h 10000"/>
              <a:gd name="connsiteX38" fmla="*/ 7249 w 10000"/>
              <a:gd name="connsiteY38" fmla="*/ 7777 h 10000"/>
              <a:gd name="connsiteX39" fmla="*/ 7542 w 10000"/>
              <a:gd name="connsiteY39" fmla="*/ 7561 h 10000"/>
              <a:gd name="connsiteX40" fmla="*/ 7867 w 10000"/>
              <a:gd name="connsiteY40" fmla="*/ 7296 h 10000"/>
              <a:gd name="connsiteX41" fmla="*/ 8114 w 10000"/>
              <a:gd name="connsiteY41" fmla="*/ 7068 h 10000"/>
              <a:gd name="connsiteX42" fmla="*/ 8393 w 10000"/>
              <a:gd name="connsiteY42" fmla="*/ 6790 h 10000"/>
              <a:gd name="connsiteX43" fmla="*/ 8670 w 10000"/>
              <a:gd name="connsiteY43" fmla="*/ 6499 h 10000"/>
              <a:gd name="connsiteX44" fmla="*/ 8871 w 10000"/>
              <a:gd name="connsiteY44" fmla="*/ 6183 h 10000"/>
              <a:gd name="connsiteX45" fmla="*/ 9088 w 10000"/>
              <a:gd name="connsiteY45" fmla="*/ 5905 h 10000"/>
              <a:gd name="connsiteX46" fmla="*/ 9242 w 10000"/>
              <a:gd name="connsiteY46" fmla="*/ 5640 h 10000"/>
              <a:gd name="connsiteX47" fmla="*/ 9458 w 10000"/>
              <a:gd name="connsiteY47" fmla="*/ 5235 h 10000"/>
              <a:gd name="connsiteX48" fmla="*/ 9597 w 10000"/>
              <a:gd name="connsiteY48" fmla="*/ 4920 h 10000"/>
              <a:gd name="connsiteX49" fmla="*/ 9768 w 10000"/>
              <a:gd name="connsiteY49" fmla="*/ 4490 h 10000"/>
              <a:gd name="connsiteX50" fmla="*/ 9876 w 10000"/>
              <a:gd name="connsiteY50" fmla="*/ 4010 h 10000"/>
              <a:gd name="connsiteX51" fmla="*/ 9953 w 10000"/>
              <a:gd name="connsiteY51" fmla="*/ 3581 h 10000"/>
              <a:gd name="connsiteX52" fmla="*/ 10000 w 10000"/>
              <a:gd name="connsiteY52" fmla="*/ 3202 h 10000"/>
              <a:gd name="connsiteX53" fmla="*/ 10000 w 10000"/>
              <a:gd name="connsiteY53" fmla="*/ 2797 h 10000"/>
              <a:gd name="connsiteX54" fmla="*/ 9984 w 10000"/>
              <a:gd name="connsiteY54" fmla="*/ 2468 h 10000"/>
              <a:gd name="connsiteX55" fmla="*/ 9922 w 10000"/>
              <a:gd name="connsiteY55" fmla="*/ 1975 h 10000"/>
              <a:gd name="connsiteX56" fmla="*/ 9768 w 10000"/>
              <a:gd name="connsiteY56" fmla="*/ 1482 h 10000"/>
              <a:gd name="connsiteX57" fmla="*/ 9628 w 10000"/>
              <a:gd name="connsiteY57" fmla="*/ 1053 h 10000"/>
              <a:gd name="connsiteX58" fmla="*/ 9458 w 10000"/>
              <a:gd name="connsiteY58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86 w 10000"/>
              <a:gd name="connsiteY3" fmla="*/ 2089 h 10000"/>
              <a:gd name="connsiteX4" fmla="*/ 2484 w 10000"/>
              <a:gd name="connsiteY4" fmla="*/ 1983 h 10000"/>
              <a:gd name="connsiteX5" fmla="*/ 2813 w 10000"/>
              <a:gd name="connsiteY5" fmla="*/ 2127 h 10000"/>
              <a:gd name="connsiteX6" fmla="*/ 2967 w 10000"/>
              <a:gd name="connsiteY6" fmla="*/ 2392 h 10000"/>
              <a:gd name="connsiteX7" fmla="*/ 3030 w 10000"/>
              <a:gd name="connsiteY7" fmla="*/ 2582 h 10000"/>
              <a:gd name="connsiteX8" fmla="*/ 3076 w 10000"/>
              <a:gd name="connsiteY8" fmla="*/ 2910 h 10000"/>
              <a:gd name="connsiteX9" fmla="*/ 3045 w 10000"/>
              <a:gd name="connsiteY9" fmla="*/ 3302 h 10000"/>
              <a:gd name="connsiteX10" fmla="*/ 2982 w 10000"/>
              <a:gd name="connsiteY10" fmla="*/ 3542 h 10000"/>
              <a:gd name="connsiteX11" fmla="*/ 2844 w 10000"/>
              <a:gd name="connsiteY11" fmla="*/ 3808 h 10000"/>
              <a:gd name="connsiteX12" fmla="*/ 2674 w 10000"/>
              <a:gd name="connsiteY12" fmla="*/ 4061 h 10000"/>
              <a:gd name="connsiteX13" fmla="*/ 2458 w 10000"/>
              <a:gd name="connsiteY13" fmla="*/ 4301 h 10000"/>
              <a:gd name="connsiteX14" fmla="*/ 2210 w 10000"/>
              <a:gd name="connsiteY14" fmla="*/ 4515 h 10000"/>
              <a:gd name="connsiteX15" fmla="*/ 1947 w 10000"/>
              <a:gd name="connsiteY15" fmla="*/ 4680 h 10000"/>
              <a:gd name="connsiteX16" fmla="*/ 1685 w 10000"/>
              <a:gd name="connsiteY16" fmla="*/ 4818 h 10000"/>
              <a:gd name="connsiteX17" fmla="*/ 1252 w 10000"/>
              <a:gd name="connsiteY17" fmla="*/ 4983 h 10000"/>
              <a:gd name="connsiteX18" fmla="*/ 819 w 10000"/>
              <a:gd name="connsiteY18" fmla="*/ 5109 h 10000"/>
              <a:gd name="connsiteX19" fmla="*/ 665 w 10000"/>
              <a:gd name="connsiteY19" fmla="*/ 5148 h 10000"/>
              <a:gd name="connsiteX20" fmla="*/ 2102 w 10000"/>
              <a:gd name="connsiteY20" fmla="*/ 7561 h 10000"/>
              <a:gd name="connsiteX21" fmla="*/ 0 w 10000"/>
              <a:gd name="connsiteY21" fmla="*/ 10000 h 10000"/>
              <a:gd name="connsiteX22" fmla="*/ 418 w 10000"/>
              <a:gd name="connsiteY22" fmla="*/ 9988 h 10000"/>
              <a:gd name="connsiteX23" fmla="*/ 850 w 10000"/>
              <a:gd name="connsiteY23" fmla="*/ 9974 h 10000"/>
              <a:gd name="connsiteX24" fmla="*/ 1329 w 10000"/>
              <a:gd name="connsiteY24" fmla="*/ 9923 h 10000"/>
              <a:gd name="connsiteX25" fmla="*/ 1824 w 10000"/>
              <a:gd name="connsiteY25" fmla="*/ 9873 h 10000"/>
              <a:gd name="connsiteX26" fmla="*/ 2302 w 10000"/>
              <a:gd name="connsiteY26" fmla="*/ 9785 h 10000"/>
              <a:gd name="connsiteX27" fmla="*/ 2782 w 10000"/>
              <a:gd name="connsiteY27" fmla="*/ 9696 h 10000"/>
              <a:gd name="connsiteX28" fmla="*/ 3153 w 10000"/>
              <a:gd name="connsiteY28" fmla="*/ 9608 h 10000"/>
              <a:gd name="connsiteX29" fmla="*/ 3554 w 10000"/>
              <a:gd name="connsiteY29" fmla="*/ 9507 h 10000"/>
              <a:gd name="connsiteX30" fmla="*/ 4049 w 10000"/>
              <a:gd name="connsiteY30" fmla="*/ 9368 h 10000"/>
              <a:gd name="connsiteX31" fmla="*/ 4467 w 10000"/>
              <a:gd name="connsiteY31" fmla="*/ 9216 h 10000"/>
              <a:gd name="connsiteX32" fmla="*/ 4868 w 10000"/>
              <a:gd name="connsiteY32" fmla="*/ 9077 h 10000"/>
              <a:gd name="connsiteX33" fmla="*/ 5301 w 10000"/>
              <a:gd name="connsiteY33" fmla="*/ 8888 h 10000"/>
              <a:gd name="connsiteX34" fmla="*/ 5734 w 10000"/>
              <a:gd name="connsiteY34" fmla="*/ 8698 h 10000"/>
              <a:gd name="connsiteX35" fmla="*/ 6089 w 10000"/>
              <a:gd name="connsiteY35" fmla="*/ 8522 h 10000"/>
              <a:gd name="connsiteX36" fmla="*/ 6491 w 10000"/>
              <a:gd name="connsiteY36" fmla="*/ 8281 h 10000"/>
              <a:gd name="connsiteX37" fmla="*/ 6893 w 10000"/>
              <a:gd name="connsiteY37" fmla="*/ 8042 h 10000"/>
              <a:gd name="connsiteX38" fmla="*/ 7249 w 10000"/>
              <a:gd name="connsiteY38" fmla="*/ 7777 h 10000"/>
              <a:gd name="connsiteX39" fmla="*/ 7542 w 10000"/>
              <a:gd name="connsiteY39" fmla="*/ 7561 h 10000"/>
              <a:gd name="connsiteX40" fmla="*/ 7867 w 10000"/>
              <a:gd name="connsiteY40" fmla="*/ 7296 h 10000"/>
              <a:gd name="connsiteX41" fmla="*/ 8114 w 10000"/>
              <a:gd name="connsiteY41" fmla="*/ 7068 h 10000"/>
              <a:gd name="connsiteX42" fmla="*/ 8393 w 10000"/>
              <a:gd name="connsiteY42" fmla="*/ 6790 h 10000"/>
              <a:gd name="connsiteX43" fmla="*/ 8670 w 10000"/>
              <a:gd name="connsiteY43" fmla="*/ 6499 h 10000"/>
              <a:gd name="connsiteX44" fmla="*/ 8871 w 10000"/>
              <a:gd name="connsiteY44" fmla="*/ 6183 h 10000"/>
              <a:gd name="connsiteX45" fmla="*/ 9088 w 10000"/>
              <a:gd name="connsiteY45" fmla="*/ 5905 h 10000"/>
              <a:gd name="connsiteX46" fmla="*/ 9242 w 10000"/>
              <a:gd name="connsiteY46" fmla="*/ 5640 h 10000"/>
              <a:gd name="connsiteX47" fmla="*/ 9458 w 10000"/>
              <a:gd name="connsiteY47" fmla="*/ 5235 h 10000"/>
              <a:gd name="connsiteX48" fmla="*/ 9597 w 10000"/>
              <a:gd name="connsiteY48" fmla="*/ 4920 h 10000"/>
              <a:gd name="connsiteX49" fmla="*/ 9768 w 10000"/>
              <a:gd name="connsiteY49" fmla="*/ 4490 h 10000"/>
              <a:gd name="connsiteX50" fmla="*/ 9876 w 10000"/>
              <a:gd name="connsiteY50" fmla="*/ 4010 h 10000"/>
              <a:gd name="connsiteX51" fmla="*/ 9953 w 10000"/>
              <a:gd name="connsiteY51" fmla="*/ 3581 h 10000"/>
              <a:gd name="connsiteX52" fmla="*/ 10000 w 10000"/>
              <a:gd name="connsiteY52" fmla="*/ 3202 h 10000"/>
              <a:gd name="connsiteX53" fmla="*/ 10000 w 10000"/>
              <a:gd name="connsiteY53" fmla="*/ 2797 h 10000"/>
              <a:gd name="connsiteX54" fmla="*/ 9984 w 10000"/>
              <a:gd name="connsiteY54" fmla="*/ 2468 h 10000"/>
              <a:gd name="connsiteX55" fmla="*/ 9922 w 10000"/>
              <a:gd name="connsiteY55" fmla="*/ 1975 h 10000"/>
              <a:gd name="connsiteX56" fmla="*/ 9768 w 10000"/>
              <a:gd name="connsiteY56" fmla="*/ 1482 h 10000"/>
              <a:gd name="connsiteX57" fmla="*/ 9628 w 10000"/>
              <a:gd name="connsiteY57" fmla="*/ 1053 h 10000"/>
              <a:gd name="connsiteX58" fmla="*/ 9458 w 10000"/>
              <a:gd name="connsiteY58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813 w 10000"/>
              <a:gd name="connsiteY5" fmla="*/ 2127 h 10000"/>
              <a:gd name="connsiteX6" fmla="*/ 2967 w 10000"/>
              <a:gd name="connsiteY6" fmla="*/ 2392 h 10000"/>
              <a:gd name="connsiteX7" fmla="*/ 3030 w 10000"/>
              <a:gd name="connsiteY7" fmla="*/ 2582 h 10000"/>
              <a:gd name="connsiteX8" fmla="*/ 3076 w 10000"/>
              <a:gd name="connsiteY8" fmla="*/ 2910 h 10000"/>
              <a:gd name="connsiteX9" fmla="*/ 3045 w 10000"/>
              <a:gd name="connsiteY9" fmla="*/ 3302 h 10000"/>
              <a:gd name="connsiteX10" fmla="*/ 2982 w 10000"/>
              <a:gd name="connsiteY10" fmla="*/ 3542 h 10000"/>
              <a:gd name="connsiteX11" fmla="*/ 2844 w 10000"/>
              <a:gd name="connsiteY11" fmla="*/ 3808 h 10000"/>
              <a:gd name="connsiteX12" fmla="*/ 2674 w 10000"/>
              <a:gd name="connsiteY12" fmla="*/ 4061 h 10000"/>
              <a:gd name="connsiteX13" fmla="*/ 2458 w 10000"/>
              <a:gd name="connsiteY13" fmla="*/ 4301 h 10000"/>
              <a:gd name="connsiteX14" fmla="*/ 2210 w 10000"/>
              <a:gd name="connsiteY14" fmla="*/ 4515 h 10000"/>
              <a:gd name="connsiteX15" fmla="*/ 1947 w 10000"/>
              <a:gd name="connsiteY15" fmla="*/ 4680 h 10000"/>
              <a:gd name="connsiteX16" fmla="*/ 1685 w 10000"/>
              <a:gd name="connsiteY16" fmla="*/ 4818 h 10000"/>
              <a:gd name="connsiteX17" fmla="*/ 1252 w 10000"/>
              <a:gd name="connsiteY17" fmla="*/ 4983 h 10000"/>
              <a:gd name="connsiteX18" fmla="*/ 819 w 10000"/>
              <a:gd name="connsiteY18" fmla="*/ 5109 h 10000"/>
              <a:gd name="connsiteX19" fmla="*/ 665 w 10000"/>
              <a:gd name="connsiteY19" fmla="*/ 5148 h 10000"/>
              <a:gd name="connsiteX20" fmla="*/ 2102 w 10000"/>
              <a:gd name="connsiteY20" fmla="*/ 7561 h 10000"/>
              <a:gd name="connsiteX21" fmla="*/ 0 w 10000"/>
              <a:gd name="connsiteY21" fmla="*/ 10000 h 10000"/>
              <a:gd name="connsiteX22" fmla="*/ 418 w 10000"/>
              <a:gd name="connsiteY22" fmla="*/ 9988 h 10000"/>
              <a:gd name="connsiteX23" fmla="*/ 850 w 10000"/>
              <a:gd name="connsiteY23" fmla="*/ 9974 h 10000"/>
              <a:gd name="connsiteX24" fmla="*/ 1329 w 10000"/>
              <a:gd name="connsiteY24" fmla="*/ 9923 h 10000"/>
              <a:gd name="connsiteX25" fmla="*/ 1824 w 10000"/>
              <a:gd name="connsiteY25" fmla="*/ 9873 h 10000"/>
              <a:gd name="connsiteX26" fmla="*/ 2302 w 10000"/>
              <a:gd name="connsiteY26" fmla="*/ 9785 h 10000"/>
              <a:gd name="connsiteX27" fmla="*/ 2782 w 10000"/>
              <a:gd name="connsiteY27" fmla="*/ 9696 h 10000"/>
              <a:gd name="connsiteX28" fmla="*/ 3153 w 10000"/>
              <a:gd name="connsiteY28" fmla="*/ 9608 h 10000"/>
              <a:gd name="connsiteX29" fmla="*/ 3554 w 10000"/>
              <a:gd name="connsiteY29" fmla="*/ 9507 h 10000"/>
              <a:gd name="connsiteX30" fmla="*/ 4049 w 10000"/>
              <a:gd name="connsiteY30" fmla="*/ 9368 h 10000"/>
              <a:gd name="connsiteX31" fmla="*/ 4467 w 10000"/>
              <a:gd name="connsiteY31" fmla="*/ 9216 h 10000"/>
              <a:gd name="connsiteX32" fmla="*/ 4868 w 10000"/>
              <a:gd name="connsiteY32" fmla="*/ 9077 h 10000"/>
              <a:gd name="connsiteX33" fmla="*/ 5301 w 10000"/>
              <a:gd name="connsiteY33" fmla="*/ 8888 h 10000"/>
              <a:gd name="connsiteX34" fmla="*/ 5734 w 10000"/>
              <a:gd name="connsiteY34" fmla="*/ 8698 h 10000"/>
              <a:gd name="connsiteX35" fmla="*/ 6089 w 10000"/>
              <a:gd name="connsiteY35" fmla="*/ 8522 h 10000"/>
              <a:gd name="connsiteX36" fmla="*/ 6491 w 10000"/>
              <a:gd name="connsiteY36" fmla="*/ 8281 h 10000"/>
              <a:gd name="connsiteX37" fmla="*/ 6893 w 10000"/>
              <a:gd name="connsiteY37" fmla="*/ 8042 h 10000"/>
              <a:gd name="connsiteX38" fmla="*/ 7249 w 10000"/>
              <a:gd name="connsiteY38" fmla="*/ 7777 h 10000"/>
              <a:gd name="connsiteX39" fmla="*/ 7542 w 10000"/>
              <a:gd name="connsiteY39" fmla="*/ 7561 h 10000"/>
              <a:gd name="connsiteX40" fmla="*/ 7867 w 10000"/>
              <a:gd name="connsiteY40" fmla="*/ 7296 h 10000"/>
              <a:gd name="connsiteX41" fmla="*/ 8114 w 10000"/>
              <a:gd name="connsiteY41" fmla="*/ 7068 h 10000"/>
              <a:gd name="connsiteX42" fmla="*/ 8393 w 10000"/>
              <a:gd name="connsiteY42" fmla="*/ 6790 h 10000"/>
              <a:gd name="connsiteX43" fmla="*/ 8670 w 10000"/>
              <a:gd name="connsiteY43" fmla="*/ 6499 h 10000"/>
              <a:gd name="connsiteX44" fmla="*/ 8871 w 10000"/>
              <a:gd name="connsiteY44" fmla="*/ 6183 h 10000"/>
              <a:gd name="connsiteX45" fmla="*/ 9088 w 10000"/>
              <a:gd name="connsiteY45" fmla="*/ 5905 h 10000"/>
              <a:gd name="connsiteX46" fmla="*/ 9242 w 10000"/>
              <a:gd name="connsiteY46" fmla="*/ 5640 h 10000"/>
              <a:gd name="connsiteX47" fmla="*/ 9458 w 10000"/>
              <a:gd name="connsiteY47" fmla="*/ 5235 h 10000"/>
              <a:gd name="connsiteX48" fmla="*/ 9597 w 10000"/>
              <a:gd name="connsiteY48" fmla="*/ 4920 h 10000"/>
              <a:gd name="connsiteX49" fmla="*/ 9768 w 10000"/>
              <a:gd name="connsiteY49" fmla="*/ 4490 h 10000"/>
              <a:gd name="connsiteX50" fmla="*/ 9876 w 10000"/>
              <a:gd name="connsiteY50" fmla="*/ 4010 h 10000"/>
              <a:gd name="connsiteX51" fmla="*/ 9953 w 10000"/>
              <a:gd name="connsiteY51" fmla="*/ 3581 h 10000"/>
              <a:gd name="connsiteX52" fmla="*/ 10000 w 10000"/>
              <a:gd name="connsiteY52" fmla="*/ 3202 h 10000"/>
              <a:gd name="connsiteX53" fmla="*/ 10000 w 10000"/>
              <a:gd name="connsiteY53" fmla="*/ 2797 h 10000"/>
              <a:gd name="connsiteX54" fmla="*/ 9984 w 10000"/>
              <a:gd name="connsiteY54" fmla="*/ 2468 h 10000"/>
              <a:gd name="connsiteX55" fmla="*/ 9922 w 10000"/>
              <a:gd name="connsiteY55" fmla="*/ 1975 h 10000"/>
              <a:gd name="connsiteX56" fmla="*/ 9768 w 10000"/>
              <a:gd name="connsiteY56" fmla="*/ 1482 h 10000"/>
              <a:gd name="connsiteX57" fmla="*/ 9628 w 10000"/>
              <a:gd name="connsiteY57" fmla="*/ 1053 h 10000"/>
              <a:gd name="connsiteX58" fmla="*/ 9458 w 10000"/>
              <a:gd name="connsiteY58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967 w 10000"/>
              <a:gd name="connsiteY5" fmla="*/ 2392 h 10000"/>
              <a:gd name="connsiteX6" fmla="*/ 3030 w 10000"/>
              <a:gd name="connsiteY6" fmla="*/ 2582 h 10000"/>
              <a:gd name="connsiteX7" fmla="*/ 3076 w 10000"/>
              <a:gd name="connsiteY7" fmla="*/ 2910 h 10000"/>
              <a:gd name="connsiteX8" fmla="*/ 3045 w 10000"/>
              <a:gd name="connsiteY8" fmla="*/ 3302 h 10000"/>
              <a:gd name="connsiteX9" fmla="*/ 2982 w 10000"/>
              <a:gd name="connsiteY9" fmla="*/ 3542 h 10000"/>
              <a:gd name="connsiteX10" fmla="*/ 2844 w 10000"/>
              <a:gd name="connsiteY10" fmla="*/ 3808 h 10000"/>
              <a:gd name="connsiteX11" fmla="*/ 2674 w 10000"/>
              <a:gd name="connsiteY11" fmla="*/ 4061 h 10000"/>
              <a:gd name="connsiteX12" fmla="*/ 2458 w 10000"/>
              <a:gd name="connsiteY12" fmla="*/ 4301 h 10000"/>
              <a:gd name="connsiteX13" fmla="*/ 2210 w 10000"/>
              <a:gd name="connsiteY13" fmla="*/ 4515 h 10000"/>
              <a:gd name="connsiteX14" fmla="*/ 1947 w 10000"/>
              <a:gd name="connsiteY14" fmla="*/ 4680 h 10000"/>
              <a:gd name="connsiteX15" fmla="*/ 1685 w 10000"/>
              <a:gd name="connsiteY15" fmla="*/ 4818 h 10000"/>
              <a:gd name="connsiteX16" fmla="*/ 1252 w 10000"/>
              <a:gd name="connsiteY16" fmla="*/ 4983 h 10000"/>
              <a:gd name="connsiteX17" fmla="*/ 819 w 10000"/>
              <a:gd name="connsiteY17" fmla="*/ 5109 h 10000"/>
              <a:gd name="connsiteX18" fmla="*/ 665 w 10000"/>
              <a:gd name="connsiteY18" fmla="*/ 5148 h 10000"/>
              <a:gd name="connsiteX19" fmla="*/ 2102 w 10000"/>
              <a:gd name="connsiteY19" fmla="*/ 7561 h 10000"/>
              <a:gd name="connsiteX20" fmla="*/ 0 w 10000"/>
              <a:gd name="connsiteY20" fmla="*/ 10000 h 10000"/>
              <a:gd name="connsiteX21" fmla="*/ 418 w 10000"/>
              <a:gd name="connsiteY21" fmla="*/ 9988 h 10000"/>
              <a:gd name="connsiteX22" fmla="*/ 850 w 10000"/>
              <a:gd name="connsiteY22" fmla="*/ 9974 h 10000"/>
              <a:gd name="connsiteX23" fmla="*/ 1329 w 10000"/>
              <a:gd name="connsiteY23" fmla="*/ 9923 h 10000"/>
              <a:gd name="connsiteX24" fmla="*/ 1824 w 10000"/>
              <a:gd name="connsiteY24" fmla="*/ 9873 h 10000"/>
              <a:gd name="connsiteX25" fmla="*/ 2302 w 10000"/>
              <a:gd name="connsiteY25" fmla="*/ 9785 h 10000"/>
              <a:gd name="connsiteX26" fmla="*/ 2782 w 10000"/>
              <a:gd name="connsiteY26" fmla="*/ 9696 h 10000"/>
              <a:gd name="connsiteX27" fmla="*/ 3153 w 10000"/>
              <a:gd name="connsiteY27" fmla="*/ 9608 h 10000"/>
              <a:gd name="connsiteX28" fmla="*/ 3554 w 10000"/>
              <a:gd name="connsiteY28" fmla="*/ 9507 h 10000"/>
              <a:gd name="connsiteX29" fmla="*/ 4049 w 10000"/>
              <a:gd name="connsiteY29" fmla="*/ 9368 h 10000"/>
              <a:gd name="connsiteX30" fmla="*/ 4467 w 10000"/>
              <a:gd name="connsiteY30" fmla="*/ 9216 h 10000"/>
              <a:gd name="connsiteX31" fmla="*/ 4868 w 10000"/>
              <a:gd name="connsiteY31" fmla="*/ 9077 h 10000"/>
              <a:gd name="connsiteX32" fmla="*/ 5301 w 10000"/>
              <a:gd name="connsiteY32" fmla="*/ 8888 h 10000"/>
              <a:gd name="connsiteX33" fmla="*/ 5734 w 10000"/>
              <a:gd name="connsiteY33" fmla="*/ 8698 h 10000"/>
              <a:gd name="connsiteX34" fmla="*/ 6089 w 10000"/>
              <a:gd name="connsiteY34" fmla="*/ 8522 h 10000"/>
              <a:gd name="connsiteX35" fmla="*/ 6491 w 10000"/>
              <a:gd name="connsiteY35" fmla="*/ 8281 h 10000"/>
              <a:gd name="connsiteX36" fmla="*/ 6893 w 10000"/>
              <a:gd name="connsiteY36" fmla="*/ 8042 h 10000"/>
              <a:gd name="connsiteX37" fmla="*/ 7249 w 10000"/>
              <a:gd name="connsiteY37" fmla="*/ 7777 h 10000"/>
              <a:gd name="connsiteX38" fmla="*/ 7542 w 10000"/>
              <a:gd name="connsiteY38" fmla="*/ 7561 h 10000"/>
              <a:gd name="connsiteX39" fmla="*/ 7867 w 10000"/>
              <a:gd name="connsiteY39" fmla="*/ 7296 h 10000"/>
              <a:gd name="connsiteX40" fmla="*/ 8114 w 10000"/>
              <a:gd name="connsiteY40" fmla="*/ 7068 h 10000"/>
              <a:gd name="connsiteX41" fmla="*/ 8393 w 10000"/>
              <a:gd name="connsiteY41" fmla="*/ 6790 h 10000"/>
              <a:gd name="connsiteX42" fmla="*/ 8670 w 10000"/>
              <a:gd name="connsiteY42" fmla="*/ 6499 h 10000"/>
              <a:gd name="connsiteX43" fmla="*/ 8871 w 10000"/>
              <a:gd name="connsiteY43" fmla="*/ 6183 h 10000"/>
              <a:gd name="connsiteX44" fmla="*/ 9088 w 10000"/>
              <a:gd name="connsiteY44" fmla="*/ 5905 h 10000"/>
              <a:gd name="connsiteX45" fmla="*/ 9242 w 10000"/>
              <a:gd name="connsiteY45" fmla="*/ 5640 h 10000"/>
              <a:gd name="connsiteX46" fmla="*/ 9458 w 10000"/>
              <a:gd name="connsiteY46" fmla="*/ 5235 h 10000"/>
              <a:gd name="connsiteX47" fmla="*/ 9597 w 10000"/>
              <a:gd name="connsiteY47" fmla="*/ 4920 h 10000"/>
              <a:gd name="connsiteX48" fmla="*/ 9768 w 10000"/>
              <a:gd name="connsiteY48" fmla="*/ 4490 h 10000"/>
              <a:gd name="connsiteX49" fmla="*/ 9876 w 10000"/>
              <a:gd name="connsiteY49" fmla="*/ 4010 h 10000"/>
              <a:gd name="connsiteX50" fmla="*/ 9953 w 10000"/>
              <a:gd name="connsiteY50" fmla="*/ 3581 h 10000"/>
              <a:gd name="connsiteX51" fmla="*/ 10000 w 10000"/>
              <a:gd name="connsiteY51" fmla="*/ 3202 h 10000"/>
              <a:gd name="connsiteX52" fmla="*/ 10000 w 10000"/>
              <a:gd name="connsiteY52" fmla="*/ 2797 h 10000"/>
              <a:gd name="connsiteX53" fmla="*/ 9984 w 10000"/>
              <a:gd name="connsiteY53" fmla="*/ 2468 h 10000"/>
              <a:gd name="connsiteX54" fmla="*/ 9922 w 10000"/>
              <a:gd name="connsiteY54" fmla="*/ 1975 h 10000"/>
              <a:gd name="connsiteX55" fmla="*/ 9768 w 10000"/>
              <a:gd name="connsiteY55" fmla="*/ 1482 h 10000"/>
              <a:gd name="connsiteX56" fmla="*/ 9628 w 10000"/>
              <a:gd name="connsiteY56" fmla="*/ 1053 h 10000"/>
              <a:gd name="connsiteX57" fmla="*/ 9458 w 10000"/>
              <a:gd name="connsiteY57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63 w 10000"/>
              <a:gd name="connsiteY5" fmla="*/ 2384 h 10000"/>
              <a:gd name="connsiteX6" fmla="*/ 3030 w 10000"/>
              <a:gd name="connsiteY6" fmla="*/ 2582 h 10000"/>
              <a:gd name="connsiteX7" fmla="*/ 3076 w 10000"/>
              <a:gd name="connsiteY7" fmla="*/ 2910 h 10000"/>
              <a:gd name="connsiteX8" fmla="*/ 3045 w 10000"/>
              <a:gd name="connsiteY8" fmla="*/ 3302 h 10000"/>
              <a:gd name="connsiteX9" fmla="*/ 2982 w 10000"/>
              <a:gd name="connsiteY9" fmla="*/ 3542 h 10000"/>
              <a:gd name="connsiteX10" fmla="*/ 2844 w 10000"/>
              <a:gd name="connsiteY10" fmla="*/ 3808 h 10000"/>
              <a:gd name="connsiteX11" fmla="*/ 2674 w 10000"/>
              <a:gd name="connsiteY11" fmla="*/ 4061 h 10000"/>
              <a:gd name="connsiteX12" fmla="*/ 2458 w 10000"/>
              <a:gd name="connsiteY12" fmla="*/ 4301 h 10000"/>
              <a:gd name="connsiteX13" fmla="*/ 2210 w 10000"/>
              <a:gd name="connsiteY13" fmla="*/ 4515 h 10000"/>
              <a:gd name="connsiteX14" fmla="*/ 1947 w 10000"/>
              <a:gd name="connsiteY14" fmla="*/ 4680 h 10000"/>
              <a:gd name="connsiteX15" fmla="*/ 1685 w 10000"/>
              <a:gd name="connsiteY15" fmla="*/ 4818 h 10000"/>
              <a:gd name="connsiteX16" fmla="*/ 1252 w 10000"/>
              <a:gd name="connsiteY16" fmla="*/ 4983 h 10000"/>
              <a:gd name="connsiteX17" fmla="*/ 819 w 10000"/>
              <a:gd name="connsiteY17" fmla="*/ 5109 h 10000"/>
              <a:gd name="connsiteX18" fmla="*/ 665 w 10000"/>
              <a:gd name="connsiteY18" fmla="*/ 5148 h 10000"/>
              <a:gd name="connsiteX19" fmla="*/ 2102 w 10000"/>
              <a:gd name="connsiteY19" fmla="*/ 7561 h 10000"/>
              <a:gd name="connsiteX20" fmla="*/ 0 w 10000"/>
              <a:gd name="connsiteY20" fmla="*/ 10000 h 10000"/>
              <a:gd name="connsiteX21" fmla="*/ 418 w 10000"/>
              <a:gd name="connsiteY21" fmla="*/ 9988 h 10000"/>
              <a:gd name="connsiteX22" fmla="*/ 850 w 10000"/>
              <a:gd name="connsiteY22" fmla="*/ 9974 h 10000"/>
              <a:gd name="connsiteX23" fmla="*/ 1329 w 10000"/>
              <a:gd name="connsiteY23" fmla="*/ 9923 h 10000"/>
              <a:gd name="connsiteX24" fmla="*/ 1824 w 10000"/>
              <a:gd name="connsiteY24" fmla="*/ 9873 h 10000"/>
              <a:gd name="connsiteX25" fmla="*/ 2302 w 10000"/>
              <a:gd name="connsiteY25" fmla="*/ 9785 h 10000"/>
              <a:gd name="connsiteX26" fmla="*/ 2782 w 10000"/>
              <a:gd name="connsiteY26" fmla="*/ 9696 h 10000"/>
              <a:gd name="connsiteX27" fmla="*/ 3153 w 10000"/>
              <a:gd name="connsiteY27" fmla="*/ 9608 h 10000"/>
              <a:gd name="connsiteX28" fmla="*/ 3554 w 10000"/>
              <a:gd name="connsiteY28" fmla="*/ 9507 h 10000"/>
              <a:gd name="connsiteX29" fmla="*/ 4049 w 10000"/>
              <a:gd name="connsiteY29" fmla="*/ 9368 h 10000"/>
              <a:gd name="connsiteX30" fmla="*/ 4467 w 10000"/>
              <a:gd name="connsiteY30" fmla="*/ 9216 h 10000"/>
              <a:gd name="connsiteX31" fmla="*/ 4868 w 10000"/>
              <a:gd name="connsiteY31" fmla="*/ 9077 h 10000"/>
              <a:gd name="connsiteX32" fmla="*/ 5301 w 10000"/>
              <a:gd name="connsiteY32" fmla="*/ 8888 h 10000"/>
              <a:gd name="connsiteX33" fmla="*/ 5734 w 10000"/>
              <a:gd name="connsiteY33" fmla="*/ 8698 h 10000"/>
              <a:gd name="connsiteX34" fmla="*/ 6089 w 10000"/>
              <a:gd name="connsiteY34" fmla="*/ 8522 h 10000"/>
              <a:gd name="connsiteX35" fmla="*/ 6491 w 10000"/>
              <a:gd name="connsiteY35" fmla="*/ 8281 h 10000"/>
              <a:gd name="connsiteX36" fmla="*/ 6893 w 10000"/>
              <a:gd name="connsiteY36" fmla="*/ 8042 h 10000"/>
              <a:gd name="connsiteX37" fmla="*/ 7249 w 10000"/>
              <a:gd name="connsiteY37" fmla="*/ 7777 h 10000"/>
              <a:gd name="connsiteX38" fmla="*/ 7542 w 10000"/>
              <a:gd name="connsiteY38" fmla="*/ 7561 h 10000"/>
              <a:gd name="connsiteX39" fmla="*/ 7867 w 10000"/>
              <a:gd name="connsiteY39" fmla="*/ 7296 h 10000"/>
              <a:gd name="connsiteX40" fmla="*/ 8114 w 10000"/>
              <a:gd name="connsiteY40" fmla="*/ 7068 h 10000"/>
              <a:gd name="connsiteX41" fmla="*/ 8393 w 10000"/>
              <a:gd name="connsiteY41" fmla="*/ 6790 h 10000"/>
              <a:gd name="connsiteX42" fmla="*/ 8670 w 10000"/>
              <a:gd name="connsiteY42" fmla="*/ 6499 h 10000"/>
              <a:gd name="connsiteX43" fmla="*/ 8871 w 10000"/>
              <a:gd name="connsiteY43" fmla="*/ 6183 h 10000"/>
              <a:gd name="connsiteX44" fmla="*/ 9088 w 10000"/>
              <a:gd name="connsiteY44" fmla="*/ 5905 h 10000"/>
              <a:gd name="connsiteX45" fmla="*/ 9242 w 10000"/>
              <a:gd name="connsiteY45" fmla="*/ 5640 h 10000"/>
              <a:gd name="connsiteX46" fmla="*/ 9458 w 10000"/>
              <a:gd name="connsiteY46" fmla="*/ 5235 h 10000"/>
              <a:gd name="connsiteX47" fmla="*/ 9597 w 10000"/>
              <a:gd name="connsiteY47" fmla="*/ 4920 h 10000"/>
              <a:gd name="connsiteX48" fmla="*/ 9768 w 10000"/>
              <a:gd name="connsiteY48" fmla="*/ 4490 h 10000"/>
              <a:gd name="connsiteX49" fmla="*/ 9876 w 10000"/>
              <a:gd name="connsiteY49" fmla="*/ 4010 h 10000"/>
              <a:gd name="connsiteX50" fmla="*/ 9953 w 10000"/>
              <a:gd name="connsiteY50" fmla="*/ 3581 h 10000"/>
              <a:gd name="connsiteX51" fmla="*/ 10000 w 10000"/>
              <a:gd name="connsiteY51" fmla="*/ 3202 h 10000"/>
              <a:gd name="connsiteX52" fmla="*/ 10000 w 10000"/>
              <a:gd name="connsiteY52" fmla="*/ 2797 h 10000"/>
              <a:gd name="connsiteX53" fmla="*/ 9984 w 10000"/>
              <a:gd name="connsiteY53" fmla="*/ 2468 h 10000"/>
              <a:gd name="connsiteX54" fmla="*/ 9922 w 10000"/>
              <a:gd name="connsiteY54" fmla="*/ 1975 h 10000"/>
              <a:gd name="connsiteX55" fmla="*/ 9768 w 10000"/>
              <a:gd name="connsiteY55" fmla="*/ 1482 h 10000"/>
              <a:gd name="connsiteX56" fmla="*/ 9628 w 10000"/>
              <a:gd name="connsiteY56" fmla="*/ 1053 h 10000"/>
              <a:gd name="connsiteX57" fmla="*/ 9458 w 10000"/>
              <a:gd name="connsiteY57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63 w 10000"/>
              <a:gd name="connsiteY5" fmla="*/ 2384 h 10000"/>
              <a:gd name="connsiteX6" fmla="*/ 3030 w 10000"/>
              <a:gd name="connsiteY6" fmla="*/ 2582 h 10000"/>
              <a:gd name="connsiteX7" fmla="*/ 3076 w 10000"/>
              <a:gd name="connsiteY7" fmla="*/ 2910 h 10000"/>
              <a:gd name="connsiteX8" fmla="*/ 3045 w 10000"/>
              <a:gd name="connsiteY8" fmla="*/ 3302 h 10000"/>
              <a:gd name="connsiteX9" fmla="*/ 2982 w 10000"/>
              <a:gd name="connsiteY9" fmla="*/ 3542 h 10000"/>
              <a:gd name="connsiteX10" fmla="*/ 2844 w 10000"/>
              <a:gd name="connsiteY10" fmla="*/ 3808 h 10000"/>
              <a:gd name="connsiteX11" fmla="*/ 2674 w 10000"/>
              <a:gd name="connsiteY11" fmla="*/ 4061 h 10000"/>
              <a:gd name="connsiteX12" fmla="*/ 2458 w 10000"/>
              <a:gd name="connsiteY12" fmla="*/ 4301 h 10000"/>
              <a:gd name="connsiteX13" fmla="*/ 2210 w 10000"/>
              <a:gd name="connsiteY13" fmla="*/ 4515 h 10000"/>
              <a:gd name="connsiteX14" fmla="*/ 1947 w 10000"/>
              <a:gd name="connsiteY14" fmla="*/ 4680 h 10000"/>
              <a:gd name="connsiteX15" fmla="*/ 1685 w 10000"/>
              <a:gd name="connsiteY15" fmla="*/ 4818 h 10000"/>
              <a:gd name="connsiteX16" fmla="*/ 1252 w 10000"/>
              <a:gd name="connsiteY16" fmla="*/ 4983 h 10000"/>
              <a:gd name="connsiteX17" fmla="*/ 819 w 10000"/>
              <a:gd name="connsiteY17" fmla="*/ 5109 h 10000"/>
              <a:gd name="connsiteX18" fmla="*/ 665 w 10000"/>
              <a:gd name="connsiteY18" fmla="*/ 5148 h 10000"/>
              <a:gd name="connsiteX19" fmla="*/ 2102 w 10000"/>
              <a:gd name="connsiteY19" fmla="*/ 7561 h 10000"/>
              <a:gd name="connsiteX20" fmla="*/ 0 w 10000"/>
              <a:gd name="connsiteY20" fmla="*/ 10000 h 10000"/>
              <a:gd name="connsiteX21" fmla="*/ 418 w 10000"/>
              <a:gd name="connsiteY21" fmla="*/ 9988 h 10000"/>
              <a:gd name="connsiteX22" fmla="*/ 850 w 10000"/>
              <a:gd name="connsiteY22" fmla="*/ 9974 h 10000"/>
              <a:gd name="connsiteX23" fmla="*/ 1329 w 10000"/>
              <a:gd name="connsiteY23" fmla="*/ 9923 h 10000"/>
              <a:gd name="connsiteX24" fmla="*/ 1824 w 10000"/>
              <a:gd name="connsiteY24" fmla="*/ 9873 h 10000"/>
              <a:gd name="connsiteX25" fmla="*/ 2302 w 10000"/>
              <a:gd name="connsiteY25" fmla="*/ 9785 h 10000"/>
              <a:gd name="connsiteX26" fmla="*/ 2782 w 10000"/>
              <a:gd name="connsiteY26" fmla="*/ 9696 h 10000"/>
              <a:gd name="connsiteX27" fmla="*/ 3153 w 10000"/>
              <a:gd name="connsiteY27" fmla="*/ 9608 h 10000"/>
              <a:gd name="connsiteX28" fmla="*/ 3554 w 10000"/>
              <a:gd name="connsiteY28" fmla="*/ 9507 h 10000"/>
              <a:gd name="connsiteX29" fmla="*/ 4049 w 10000"/>
              <a:gd name="connsiteY29" fmla="*/ 9368 h 10000"/>
              <a:gd name="connsiteX30" fmla="*/ 4467 w 10000"/>
              <a:gd name="connsiteY30" fmla="*/ 9216 h 10000"/>
              <a:gd name="connsiteX31" fmla="*/ 4868 w 10000"/>
              <a:gd name="connsiteY31" fmla="*/ 9077 h 10000"/>
              <a:gd name="connsiteX32" fmla="*/ 5301 w 10000"/>
              <a:gd name="connsiteY32" fmla="*/ 8888 h 10000"/>
              <a:gd name="connsiteX33" fmla="*/ 5734 w 10000"/>
              <a:gd name="connsiteY33" fmla="*/ 8698 h 10000"/>
              <a:gd name="connsiteX34" fmla="*/ 6089 w 10000"/>
              <a:gd name="connsiteY34" fmla="*/ 8522 h 10000"/>
              <a:gd name="connsiteX35" fmla="*/ 6491 w 10000"/>
              <a:gd name="connsiteY35" fmla="*/ 8281 h 10000"/>
              <a:gd name="connsiteX36" fmla="*/ 6893 w 10000"/>
              <a:gd name="connsiteY36" fmla="*/ 8042 h 10000"/>
              <a:gd name="connsiteX37" fmla="*/ 7249 w 10000"/>
              <a:gd name="connsiteY37" fmla="*/ 7777 h 10000"/>
              <a:gd name="connsiteX38" fmla="*/ 7542 w 10000"/>
              <a:gd name="connsiteY38" fmla="*/ 7561 h 10000"/>
              <a:gd name="connsiteX39" fmla="*/ 7867 w 10000"/>
              <a:gd name="connsiteY39" fmla="*/ 7296 h 10000"/>
              <a:gd name="connsiteX40" fmla="*/ 8114 w 10000"/>
              <a:gd name="connsiteY40" fmla="*/ 7068 h 10000"/>
              <a:gd name="connsiteX41" fmla="*/ 8393 w 10000"/>
              <a:gd name="connsiteY41" fmla="*/ 6790 h 10000"/>
              <a:gd name="connsiteX42" fmla="*/ 8670 w 10000"/>
              <a:gd name="connsiteY42" fmla="*/ 6499 h 10000"/>
              <a:gd name="connsiteX43" fmla="*/ 8871 w 10000"/>
              <a:gd name="connsiteY43" fmla="*/ 6183 h 10000"/>
              <a:gd name="connsiteX44" fmla="*/ 9088 w 10000"/>
              <a:gd name="connsiteY44" fmla="*/ 5905 h 10000"/>
              <a:gd name="connsiteX45" fmla="*/ 9242 w 10000"/>
              <a:gd name="connsiteY45" fmla="*/ 5640 h 10000"/>
              <a:gd name="connsiteX46" fmla="*/ 9458 w 10000"/>
              <a:gd name="connsiteY46" fmla="*/ 5235 h 10000"/>
              <a:gd name="connsiteX47" fmla="*/ 9597 w 10000"/>
              <a:gd name="connsiteY47" fmla="*/ 4920 h 10000"/>
              <a:gd name="connsiteX48" fmla="*/ 9768 w 10000"/>
              <a:gd name="connsiteY48" fmla="*/ 4490 h 10000"/>
              <a:gd name="connsiteX49" fmla="*/ 9876 w 10000"/>
              <a:gd name="connsiteY49" fmla="*/ 4010 h 10000"/>
              <a:gd name="connsiteX50" fmla="*/ 9953 w 10000"/>
              <a:gd name="connsiteY50" fmla="*/ 3581 h 10000"/>
              <a:gd name="connsiteX51" fmla="*/ 10000 w 10000"/>
              <a:gd name="connsiteY51" fmla="*/ 3202 h 10000"/>
              <a:gd name="connsiteX52" fmla="*/ 10000 w 10000"/>
              <a:gd name="connsiteY52" fmla="*/ 2797 h 10000"/>
              <a:gd name="connsiteX53" fmla="*/ 9984 w 10000"/>
              <a:gd name="connsiteY53" fmla="*/ 2468 h 10000"/>
              <a:gd name="connsiteX54" fmla="*/ 9922 w 10000"/>
              <a:gd name="connsiteY54" fmla="*/ 1975 h 10000"/>
              <a:gd name="connsiteX55" fmla="*/ 9768 w 10000"/>
              <a:gd name="connsiteY55" fmla="*/ 1482 h 10000"/>
              <a:gd name="connsiteX56" fmla="*/ 9628 w 10000"/>
              <a:gd name="connsiteY56" fmla="*/ 1053 h 10000"/>
              <a:gd name="connsiteX57" fmla="*/ 9458 w 10000"/>
              <a:gd name="connsiteY57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63 w 10000"/>
              <a:gd name="connsiteY5" fmla="*/ 2384 h 10000"/>
              <a:gd name="connsiteX6" fmla="*/ 3030 w 10000"/>
              <a:gd name="connsiteY6" fmla="*/ 2582 h 10000"/>
              <a:gd name="connsiteX7" fmla="*/ 3076 w 10000"/>
              <a:gd name="connsiteY7" fmla="*/ 2910 h 10000"/>
              <a:gd name="connsiteX8" fmla="*/ 3045 w 10000"/>
              <a:gd name="connsiteY8" fmla="*/ 3302 h 10000"/>
              <a:gd name="connsiteX9" fmla="*/ 2982 w 10000"/>
              <a:gd name="connsiteY9" fmla="*/ 3542 h 10000"/>
              <a:gd name="connsiteX10" fmla="*/ 2844 w 10000"/>
              <a:gd name="connsiteY10" fmla="*/ 3808 h 10000"/>
              <a:gd name="connsiteX11" fmla="*/ 2674 w 10000"/>
              <a:gd name="connsiteY11" fmla="*/ 4061 h 10000"/>
              <a:gd name="connsiteX12" fmla="*/ 2458 w 10000"/>
              <a:gd name="connsiteY12" fmla="*/ 4301 h 10000"/>
              <a:gd name="connsiteX13" fmla="*/ 2210 w 10000"/>
              <a:gd name="connsiteY13" fmla="*/ 4515 h 10000"/>
              <a:gd name="connsiteX14" fmla="*/ 1947 w 10000"/>
              <a:gd name="connsiteY14" fmla="*/ 4680 h 10000"/>
              <a:gd name="connsiteX15" fmla="*/ 1252 w 10000"/>
              <a:gd name="connsiteY15" fmla="*/ 4983 h 10000"/>
              <a:gd name="connsiteX16" fmla="*/ 819 w 10000"/>
              <a:gd name="connsiteY16" fmla="*/ 5109 h 10000"/>
              <a:gd name="connsiteX17" fmla="*/ 665 w 10000"/>
              <a:gd name="connsiteY17" fmla="*/ 5148 h 10000"/>
              <a:gd name="connsiteX18" fmla="*/ 2102 w 10000"/>
              <a:gd name="connsiteY18" fmla="*/ 7561 h 10000"/>
              <a:gd name="connsiteX19" fmla="*/ 0 w 10000"/>
              <a:gd name="connsiteY19" fmla="*/ 10000 h 10000"/>
              <a:gd name="connsiteX20" fmla="*/ 418 w 10000"/>
              <a:gd name="connsiteY20" fmla="*/ 9988 h 10000"/>
              <a:gd name="connsiteX21" fmla="*/ 850 w 10000"/>
              <a:gd name="connsiteY21" fmla="*/ 9974 h 10000"/>
              <a:gd name="connsiteX22" fmla="*/ 1329 w 10000"/>
              <a:gd name="connsiteY22" fmla="*/ 9923 h 10000"/>
              <a:gd name="connsiteX23" fmla="*/ 1824 w 10000"/>
              <a:gd name="connsiteY23" fmla="*/ 9873 h 10000"/>
              <a:gd name="connsiteX24" fmla="*/ 2302 w 10000"/>
              <a:gd name="connsiteY24" fmla="*/ 9785 h 10000"/>
              <a:gd name="connsiteX25" fmla="*/ 2782 w 10000"/>
              <a:gd name="connsiteY25" fmla="*/ 9696 h 10000"/>
              <a:gd name="connsiteX26" fmla="*/ 3153 w 10000"/>
              <a:gd name="connsiteY26" fmla="*/ 9608 h 10000"/>
              <a:gd name="connsiteX27" fmla="*/ 3554 w 10000"/>
              <a:gd name="connsiteY27" fmla="*/ 9507 h 10000"/>
              <a:gd name="connsiteX28" fmla="*/ 4049 w 10000"/>
              <a:gd name="connsiteY28" fmla="*/ 9368 h 10000"/>
              <a:gd name="connsiteX29" fmla="*/ 4467 w 10000"/>
              <a:gd name="connsiteY29" fmla="*/ 9216 h 10000"/>
              <a:gd name="connsiteX30" fmla="*/ 4868 w 10000"/>
              <a:gd name="connsiteY30" fmla="*/ 9077 h 10000"/>
              <a:gd name="connsiteX31" fmla="*/ 5301 w 10000"/>
              <a:gd name="connsiteY31" fmla="*/ 8888 h 10000"/>
              <a:gd name="connsiteX32" fmla="*/ 5734 w 10000"/>
              <a:gd name="connsiteY32" fmla="*/ 8698 h 10000"/>
              <a:gd name="connsiteX33" fmla="*/ 6089 w 10000"/>
              <a:gd name="connsiteY33" fmla="*/ 8522 h 10000"/>
              <a:gd name="connsiteX34" fmla="*/ 6491 w 10000"/>
              <a:gd name="connsiteY34" fmla="*/ 8281 h 10000"/>
              <a:gd name="connsiteX35" fmla="*/ 6893 w 10000"/>
              <a:gd name="connsiteY35" fmla="*/ 8042 h 10000"/>
              <a:gd name="connsiteX36" fmla="*/ 7249 w 10000"/>
              <a:gd name="connsiteY36" fmla="*/ 7777 h 10000"/>
              <a:gd name="connsiteX37" fmla="*/ 7542 w 10000"/>
              <a:gd name="connsiteY37" fmla="*/ 7561 h 10000"/>
              <a:gd name="connsiteX38" fmla="*/ 7867 w 10000"/>
              <a:gd name="connsiteY38" fmla="*/ 7296 h 10000"/>
              <a:gd name="connsiteX39" fmla="*/ 8114 w 10000"/>
              <a:gd name="connsiteY39" fmla="*/ 7068 h 10000"/>
              <a:gd name="connsiteX40" fmla="*/ 8393 w 10000"/>
              <a:gd name="connsiteY40" fmla="*/ 6790 h 10000"/>
              <a:gd name="connsiteX41" fmla="*/ 8670 w 10000"/>
              <a:gd name="connsiteY41" fmla="*/ 6499 h 10000"/>
              <a:gd name="connsiteX42" fmla="*/ 8871 w 10000"/>
              <a:gd name="connsiteY42" fmla="*/ 6183 h 10000"/>
              <a:gd name="connsiteX43" fmla="*/ 9088 w 10000"/>
              <a:gd name="connsiteY43" fmla="*/ 5905 h 10000"/>
              <a:gd name="connsiteX44" fmla="*/ 9242 w 10000"/>
              <a:gd name="connsiteY44" fmla="*/ 5640 h 10000"/>
              <a:gd name="connsiteX45" fmla="*/ 9458 w 10000"/>
              <a:gd name="connsiteY45" fmla="*/ 5235 h 10000"/>
              <a:gd name="connsiteX46" fmla="*/ 9597 w 10000"/>
              <a:gd name="connsiteY46" fmla="*/ 4920 h 10000"/>
              <a:gd name="connsiteX47" fmla="*/ 9768 w 10000"/>
              <a:gd name="connsiteY47" fmla="*/ 4490 h 10000"/>
              <a:gd name="connsiteX48" fmla="*/ 9876 w 10000"/>
              <a:gd name="connsiteY48" fmla="*/ 4010 h 10000"/>
              <a:gd name="connsiteX49" fmla="*/ 9953 w 10000"/>
              <a:gd name="connsiteY49" fmla="*/ 3581 h 10000"/>
              <a:gd name="connsiteX50" fmla="*/ 10000 w 10000"/>
              <a:gd name="connsiteY50" fmla="*/ 3202 h 10000"/>
              <a:gd name="connsiteX51" fmla="*/ 10000 w 10000"/>
              <a:gd name="connsiteY51" fmla="*/ 2797 h 10000"/>
              <a:gd name="connsiteX52" fmla="*/ 9984 w 10000"/>
              <a:gd name="connsiteY52" fmla="*/ 2468 h 10000"/>
              <a:gd name="connsiteX53" fmla="*/ 9922 w 10000"/>
              <a:gd name="connsiteY53" fmla="*/ 1975 h 10000"/>
              <a:gd name="connsiteX54" fmla="*/ 9768 w 10000"/>
              <a:gd name="connsiteY54" fmla="*/ 1482 h 10000"/>
              <a:gd name="connsiteX55" fmla="*/ 9628 w 10000"/>
              <a:gd name="connsiteY55" fmla="*/ 1053 h 10000"/>
              <a:gd name="connsiteX56" fmla="*/ 9458 w 10000"/>
              <a:gd name="connsiteY56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63 w 10000"/>
              <a:gd name="connsiteY5" fmla="*/ 2384 h 10000"/>
              <a:gd name="connsiteX6" fmla="*/ 3030 w 10000"/>
              <a:gd name="connsiteY6" fmla="*/ 2582 h 10000"/>
              <a:gd name="connsiteX7" fmla="*/ 3076 w 10000"/>
              <a:gd name="connsiteY7" fmla="*/ 2910 h 10000"/>
              <a:gd name="connsiteX8" fmla="*/ 3045 w 10000"/>
              <a:gd name="connsiteY8" fmla="*/ 3302 h 10000"/>
              <a:gd name="connsiteX9" fmla="*/ 2982 w 10000"/>
              <a:gd name="connsiteY9" fmla="*/ 3542 h 10000"/>
              <a:gd name="connsiteX10" fmla="*/ 2844 w 10000"/>
              <a:gd name="connsiteY10" fmla="*/ 3808 h 10000"/>
              <a:gd name="connsiteX11" fmla="*/ 2674 w 10000"/>
              <a:gd name="connsiteY11" fmla="*/ 4061 h 10000"/>
              <a:gd name="connsiteX12" fmla="*/ 2458 w 10000"/>
              <a:gd name="connsiteY12" fmla="*/ 4301 h 10000"/>
              <a:gd name="connsiteX13" fmla="*/ 1947 w 10000"/>
              <a:gd name="connsiteY13" fmla="*/ 4680 h 10000"/>
              <a:gd name="connsiteX14" fmla="*/ 1252 w 10000"/>
              <a:gd name="connsiteY14" fmla="*/ 4983 h 10000"/>
              <a:gd name="connsiteX15" fmla="*/ 819 w 10000"/>
              <a:gd name="connsiteY15" fmla="*/ 5109 h 10000"/>
              <a:gd name="connsiteX16" fmla="*/ 665 w 10000"/>
              <a:gd name="connsiteY16" fmla="*/ 5148 h 10000"/>
              <a:gd name="connsiteX17" fmla="*/ 2102 w 10000"/>
              <a:gd name="connsiteY17" fmla="*/ 7561 h 10000"/>
              <a:gd name="connsiteX18" fmla="*/ 0 w 10000"/>
              <a:gd name="connsiteY18" fmla="*/ 10000 h 10000"/>
              <a:gd name="connsiteX19" fmla="*/ 418 w 10000"/>
              <a:gd name="connsiteY19" fmla="*/ 9988 h 10000"/>
              <a:gd name="connsiteX20" fmla="*/ 850 w 10000"/>
              <a:gd name="connsiteY20" fmla="*/ 9974 h 10000"/>
              <a:gd name="connsiteX21" fmla="*/ 1329 w 10000"/>
              <a:gd name="connsiteY21" fmla="*/ 9923 h 10000"/>
              <a:gd name="connsiteX22" fmla="*/ 1824 w 10000"/>
              <a:gd name="connsiteY22" fmla="*/ 9873 h 10000"/>
              <a:gd name="connsiteX23" fmla="*/ 2302 w 10000"/>
              <a:gd name="connsiteY23" fmla="*/ 9785 h 10000"/>
              <a:gd name="connsiteX24" fmla="*/ 2782 w 10000"/>
              <a:gd name="connsiteY24" fmla="*/ 9696 h 10000"/>
              <a:gd name="connsiteX25" fmla="*/ 3153 w 10000"/>
              <a:gd name="connsiteY25" fmla="*/ 9608 h 10000"/>
              <a:gd name="connsiteX26" fmla="*/ 3554 w 10000"/>
              <a:gd name="connsiteY26" fmla="*/ 9507 h 10000"/>
              <a:gd name="connsiteX27" fmla="*/ 4049 w 10000"/>
              <a:gd name="connsiteY27" fmla="*/ 9368 h 10000"/>
              <a:gd name="connsiteX28" fmla="*/ 4467 w 10000"/>
              <a:gd name="connsiteY28" fmla="*/ 9216 h 10000"/>
              <a:gd name="connsiteX29" fmla="*/ 4868 w 10000"/>
              <a:gd name="connsiteY29" fmla="*/ 9077 h 10000"/>
              <a:gd name="connsiteX30" fmla="*/ 5301 w 10000"/>
              <a:gd name="connsiteY30" fmla="*/ 8888 h 10000"/>
              <a:gd name="connsiteX31" fmla="*/ 5734 w 10000"/>
              <a:gd name="connsiteY31" fmla="*/ 8698 h 10000"/>
              <a:gd name="connsiteX32" fmla="*/ 6089 w 10000"/>
              <a:gd name="connsiteY32" fmla="*/ 8522 h 10000"/>
              <a:gd name="connsiteX33" fmla="*/ 6491 w 10000"/>
              <a:gd name="connsiteY33" fmla="*/ 8281 h 10000"/>
              <a:gd name="connsiteX34" fmla="*/ 6893 w 10000"/>
              <a:gd name="connsiteY34" fmla="*/ 8042 h 10000"/>
              <a:gd name="connsiteX35" fmla="*/ 7249 w 10000"/>
              <a:gd name="connsiteY35" fmla="*/ 7777 h 10000"/>
              <a:gd name="connsiteX36" fmla="*/ 7542 w 10000"/>
              <a:gd name="connsiteY36" fmla="*/ 7561 h 10000"/>
              <a:gd name="connsiteX37" fmla="*/ 7867 w 10000"/>
              <a:gd name="connsiteY37" fmla="*/ 7296 h 10000"/>
              <a:gd name="connsiteX38" fmla="*/ 8114 w 10000"/>
              <a:gd name="connsiteY38" fmla="*/ 7068 h 10000"/>
              <a:gd name="connsiteX39" fmla="*/ 8393 w 10000"/>
              <a:gd name="connsiteY39" fmla="*/ 6790 h 10000"/>
              <a:gd name="connsiteX40" fmla="*/ 8670 w 10000"/>
              <a:gd name="connsiteY40" fmla="*/ 6499 h 10000"/>
              <a:gd name="connsiteX41" fmla="*/ 8871 w 10000"/>
              <a:gd name="connsiteY41" fmla="*/ 6183 h 10000"/>
              <a:gd name="connsiteX42" fmla="*/ 9088 w 10000"/>
              <a:gd name="connsiteY42" fmla="*/ 5905 h 10000"/>
              <a:gd name="connsiteX43" fmla="*/ 9242 w 10000"/>
              <a:gd name="connsiteY43" fmla="*/ 5640 h 10000"/>
              <a:gd name="connsiteX44" fmla="*/ 9458 w 10000"/>
              <a:gd name="connsiteY44" fmla="*/ 5235 h 10000"/>
              <a:gd name="connsiteX45" fmla="*/ 9597 w 10000"/>
              <a:gd name="connsiteY45" fmla="*/ 4920 h 10000"/>
              <a:gd name="connsiteX46" fmla="*/ 9768 w 10000"/>
              <a:gd name="connsiteY46" fmla="*/ 4490 h 10000"/>
              <a:gd name="connsiteX47" fmla="*/ 9876 w 10000"/>
              <a:gd name="connsiteY47" fmla="*/ 4010 h 10000"/>
              <a:gd name="connsiteX48" fmla="*/ 9953 w 10000"/>
              <a:gd name="connsiteY48" fmla="*/ 3581 h 10000"/>
              <a:gd name="connsiteX49" fmla="*/ 10000 w 10000"/>
              <a:gd name="connsiteY49" fmla="*/ 3202 h 10000"/>
              <a:gd name="connsiteX50" fmla="*/ 10000 w 10000"/>
              <a:gd name="connsiteY50" fmla="*/ 2797 h 10000"/>
              <a:gd name="connsiteX51" fmla="*/ 9984 w 10000"/>
              <a:gd name="connsiteY51" fmla="*/ 2468 h 10000"/>
              <a:gd name="connsiteX52" fmla="*/ 9922 w 10000"/>
              <a:gd name="connsiteY52" fmla="*/ 1975 h 10000"/>
              <a:gd name="connsiteX53" fmla="*/ 9768 w 10000"/>
              <a:gd name="connsiteY53" fmla="*/ 1482 h 10000"/>
              <a:gd name="connsiteX54" fmla="*/ 9628 w 10000"/>
              <a:gd name="connsiteY54" fmla="*/ 1053 h 10000"/>
              <a:gd name="connsiteX55" fmla="*/ 9458 w 10000"/>
              <a:gd name="connsiteY55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63 w 10000"/>
              <a:gd name="connsiteY5" fmla="*/ 2384 h 10000"/>
              <a:gd name="connsiteX6" fmla="*/ 3030 w 10000"/>
              <a:gd name="connsiteY6" fmla="*/ 2582 h 10000"/>
              <a:gd name="connsiteX7" fmla="*/ 3076 w 10000"/>
              <a:gd name="connsiteY7" fmla="*/ 2910 h 10000"/>
              <a:gd name="connsiteX8" fmla="*/ 3045 w 10000"/>
              <a:gd name="connsiteY8" fmla="*/ 3302 h 10000"/>
              <a:gd name="connsiteX9" fmla="*/ 2982 w 10000"/>
              <a:gd name="connsiteY9" fmla="*/ 3542 h 10000"/>
              <a:gd name="connsiteX10" fmla="*/ 2844 w 10000"/>
              <a:gd name="connsiteY10" fmla="*/ 3808 h 10000"/>
              <a:gd name="connsiteX11" fmla="*/ 2674 w 10000"/>
              <a:gd name="connsiteY11" fmla="*/ 4061 h 10000"/>
              <a:gd name="connsiteX12" fmla="*/ 1947 w 10000"/>
              <a:gd name="connsiteY12" fmla="*/ 4680 h 10000"/>
              <a:gd name="connsiteX13" fmla="*/ 1252 w 10000"/>
              <a:gd name="connsiteY13" fmla="*/ 4983 h 10000"/>
              <a:gd name="connsiteX14" fmla="*/ 819 w 10000"/>
              <a:gd name="connsiteY14" fmla="*/ 5109 h 10000"/>
              <a:gd name="connsiteX15" fmla="*/ 665 w 10000"/>
              <a:gd name="connsiteY15" fmla="*/ 5148 h 10000"/>
              <a:gd name="connsiteX16" fmla="*/ 2102 w 10000"/>
              <a:gd name="connsiteY16" fmla="*/ 7561 h 10000"/>
              <a:gd name="connsiteX17" fmla="*/ 0 w 10000"/>
              <a:gd name="connsiteY17" fmla="*/ 10000 h 10000"/>
              <a:gd name="connsiteX18" fmla="*/ 418 w 10000"/>
              <a:gd name="connsiteY18" fmla="*/ 9988 h 10000"/>
              <a:gd name="connsiteX19" fmla="*/ 850 w 10000"/>
              <a:gd name="connsiteY19" fmla="*/ 9974 h 10000"/>
              <a:gd name="connsiteX20" fmla="*/ 1329 w 10000"/>
              <a:gd name="connsiteY20" fmla="*/ 9923 h 10000"/>
              <a:gd name="connsiteX21" fmla="*/ 1824 w 10000"/>
              <a:gd name="connsiteY21" fmla="*/ 9873 h 10000"/>
              <a:gd name="connsiteX22" fmla="*/ 2302 w 10000"/>
              <a:gd name="connsiteY22" fmla="*/ 9785 h 10000"/>
              <a:gd name="connsiteX23" fmla="*/ 2782 w 10000"/>
              <a:gd name="connsiteY23" fmla="*/ 9696 h 10000"/>
              <a:gd name="connsiteX24" fmla="*/ 3153 w 10000"/>
              <a:gd name="connsiteY24" fmla="*/ 9608 h 10000"/>
              <a:gd name="connsiteX25" fmla="*/ 3554 w 10000"/>
              <a:gd name="connsiteY25" fmla="*/ 9507 h 10000"/>
              <a:gd name="connsiteX26" fmla="*/ 4049 w 10000"/>
              <a:gd name="connsiteY26" fmla="*/ 9368 h 10000"/>
              <a:gd name="connsiteX27" fmla="*/ 4467 w 10000"/>
              <a:gd name="connsiteY27" fmla="*/ 9216 h 10000"/>
              <a:gd name="connsiteX28" fmla="*/ 4868 w 10000"/>
              <a:gd name="connsiteY28" fmla="*/ 9077 h 10000"/>
              <a:gd name="connsiteX29" fmla="*/ 5301 w 10000"/>
              <a:gd name="connsiteY29" fmla="*/ 8888 h 10000"/>
              <a:gd name="connsiteX30" fmla="*/ 5734 w 10000"/>
              <a:gd name="connsiteY30" fmla="*/ 8698 h 10000"/>
              <a:gd name="connsiteX31" fmla="*/ 6089 w 10000"/>
              <a:gd name="connsiteY31" fmla="*/ 8522 h 10000"/>
              <a:gd name="connsiteX32" fmla="*/ 6491 w 10000"/>
              <a:gd name="connsiteY32" fmla="*/ 8281 h 10000"/>
              <a:gd name="connsiteX33" fmla="*/ 6893 w 10000"/>
              <a:gd name="connsiteY33" fmla="*/ 8042 h 10000"/>
              <a:gd name="connsiteX34" fmla="*/ 7249 w 10000"/>
              <a:gd name="connsiteY34" fmla="*/ 7777 h 10000"/>
              <a:gd name="connsiteX35" fmla="*/ 7542 w 10000"/>
              <a:gd name="connsiteY35" fmla="*/ 7561 h 10000"/>
              <a:gd name="connsiteX36" fmla="*/ 7867 w 10000"/>
              <a:gd name="connsiteY36" fmla="*/ 7296 h 10000"/>
              <a:gd name="connsiteX37" fmla="*/ 8114 w 10000"/>
              <a:gd name="connsiteY37" fmla="*/ 7068 h 10000"/>
              <a:gd name="connsiteX38" fmla="*/ 8393 w 10000"/>
              <a:gd name="connsiteY38" fmla="*/ 6790 h 10000"/>
              <a:gd name="connsiteX39" fmla="*/ 8670 w 10000"/>
              <a:gd name="connsiteY39" fmla="*/ 6499 h 10000"/>
              <a:gd name="connsiteX40" fmla="*/ 8871 w 10000"/>
              <a:gd name="connsiteY40" fmla="*/ 6183 h 10000"/>
              <a:gd name="connsiteX41" fmla="*/ 9088 w 10000"/>
              <a:gd name="connsiteY41" fmla="*/ 5905 h 10000"/>
              <a:gd name="connsiteX42" fmla="*/ 9242 w 10000"/>
              <a:gd name="connsiteY42" fmla="*/ 5640 h 10000"/>
              <a:gd name="connsiteX43" fmla="*/ 9458 w 10000"/>
              <a:gd name="connsiteY43" fmla="*/ 5235 h 10000"/>
              <a:gd name="connsiteX44" fmla="*/ 9597 w 10000"/>
              <a:gd name="connsiteY44" fmla="*/ 4920 h 10000"/>
              <a:gd name="connsiteX45" fmla="*/ 9768 w 10000"/>
              <a:gd name="connsiteY45" fmla="*/ 4490 h 10000"/>
              <a:gd name="connsiteX46" fmla="*/ 9876 w 10000"/>
              <a:gd name="connsiteY46" fmla="*/ 4010 h 10000"/>
              <a:gd name="connsiteX47" fmla="*/ 9953 w 10000"/>
              <a:gd name="connsiteY47" fmla="*/ 3581 h 10000"/>
              <a:gd name="connsiteX48" fmla="*/ 10000 w 10000"/>
              <a:gd name="connsiteY48" fmla="*/ 3202 h 10000"/>
              <a:gd name="connsiteX49" fmla="*/ 10000 w 10000"/>
              <a:gd name="connsiteY49" fmla="*/ 2797 h 10000"/>
              <a:gd name="connsiteX50" fmla="*/ 9984 w 10000"/>
              <a:gd name="connsiteY50" fmla="*/ 2468 h 10000"/>
              <a:gd name="connsiteX51" fmla="*/ 9922 w 10000"/>
              <a:gd name="connsiteY51" fmla="*/ 1975 h 10000"/>
              <a:gd name="connsiteX52" fmla="*/ 9768 w 10000"/>
              <a:gd name="connsiteY52" fmla="*/ 1482 h 10000"/>
              <a:gd name="connsiteX53" fmla="*/ 9628 w 10000"/>
              <a:gd name="connsiteY53" fmla="*/ 1053 h 10000"/>
              <a:gd name="connsiteX54" fmla="*/ 9458 w 10000"/>
              <a:gd name="connsiteY54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63 w 10000"/>
              <a:gd name="connsiteY5" fmla="*/ 2384 h 10000"/>
              <a:gd name="connsiteX6" fmla="*/ 3030 w 10000"/>
              <a:gd name="connsiteY6" fmla="*/ 2582 h 10000"/>
              <a:gd name="connsiteX7" fmla="*/ 3076 w 10000"/>
              <a:gd name="connsiteY7" fmla="*/ 2910 h 10000"/>
              <a:gd name="connsiteX8" fmla="*/ 3045 w 10000"/>
              <a:gd name="connsiteY8" fmla="*/ 3302 h 10000"/>
              <a:gd name="connsiteX9" fmla="*/ 2982 w 10000"/>
              <a:gd name="connsiteY9" fmla="*/ 3542 h 10000"/>
              <a:gd name="connsiteX10" fmla="*/ 2844 w 10000"/>
              <a:gd name="connsiteY10" fmla="*/ 3808 h 10000"/>
              <a:gd name="connsiteX11" fmla="*/ 2674 w 10000"/>
              <a:gd name="connsiteY11" fmla="*/ 4061 h 10000"/>
              <a:gd name="connsiteX12" fmla="*/ 1903 w 10000"/>
              <a:gd name="connsiteY12" fmla="*/ 4670 h 10000"/>
              <a:gd name="connsiteX13" fmla="*/ 1252 w 10000"/>
              <a:gd name="connsiteY13" fmla="*/ 4983 h 10000"/>
              <a:gd name="connsiteX14" fmla="*/ 819 w 10000"/>
              <a:gd name="connsiteY14" fmla="*/ 5109 h 10000"/>
              <a:gd name="connsiteX15" fmla="*/ 665 w 10000"/>
              <a:gd name="connsiteY15" fmla="*/ 5148 h 10000"/>
              <a:gd name="connsiteX16" fmla="*/ 2102 w 10000"/>
              <a:gd name="connsiteY16" fmla="*/ 7561 h 10000"/>
              <a:gd name="connsiteX17" fmla="*/ 0 w 10000"/>
              <a:gd name="connsiteY17" fmla="*/ 10000 h 10000"/>
              <a:gd name="connsiteX18" fmla="*/ 418 w 10000"/>
              <a:gd name="connsiteY18" fmla="*/ 9988 h 10000"/>
              <a:gd name="connsiteX19" fmla="*/ 850 w 10000"/>
              <a:gd name="connsiteY19" fmla="*/ 9974 h 10000"/>
              <a:gd name="connsiteX20" fmla="*/ 1329 w 10000"/>
              <a:gd name="connsiteY20" fmla="*/ 9923 h 10000"/>
              <a:gd name="connsiteX21" fmla="*/ 1824 w 10000"/>
              <a:gd name="connsiteY21" fmla="*/ 9873 h 10000"/>
              <a:gd name="connsiteX22" fmla="*/ 2302 w 10000"/>
              <a:gd name="connsiteY22" fmla="*/ 9785 h 10000"/>
              <a:gd name="connsiteX23" fmla="*/ 2782 w 10000"/>
              <a:gd name="connsiteY23" fmla="*/ 9696 h 10000"/>
              <a:gd name="connsiteX24" fmla="*/ 3153 w 10000"/>
              <a:gd name="connsiteY24" fmla="*/ 9608 h 10000"/>
              <a:gd name="connsiteX25" fmla="*/ 3554 w 10000"/>
              <a:gd name="connsiteY25" fmla="*/ 9507 h 10000"/>
              <a:gd name="connsiteX26" fmla="*/ 4049 w 10000"/>
              <a:gd name="connsiteY26" fmla="*/ 9368 h 10000"/>
              <a:gd name="connsiteX27" fmla="*/ 4467 w 10000"/>
              <a:gd name="connsiteY27" fmla="*/ 9216 h 10000"/>
              <a:gd name="connsiteX28" fmla="*/ 4868 w 10000"/>
              <a:gd name="connsiteY28" fmla="*/ 9077 h 10000"/>
              <a:gd name="connsiteX29" fmla="*/ 5301 w 10000"/>
              <a:gd name="connsiteY29" fmla="*/ 8888 h 10000"/>
              <a:gd name="connsiteX30" fmla="*/ 5734 w 10000"/>
              <a:gd name="connsiteY30" fmla="*/ 8698 h 10000"/>
              <a:gd name="connsiteX31" fmla="*/ 6089 w 10000"/>
              <a:gd name="connsiteY31" fmla="*/ 8522 h 10000"/>
              <a:gd name="connsiteX32" fmla="*/ 6491 w 10000"/>
              <a:gd name="connsiteY32" fmla="*/ 8281 h 10000"/>
              <a:gd name="connsiteX33" fmla="*/ 6893 w 10000"/>
              <a:gd name="connsiteY33" fmla="*/ 8042 h 10000"/>
              <a:gd name="connsiteX34" fmla="*/ 7249 w 10000"/>
              <a:gd name="connsiteY34" fmla="*/ 7777 h 10000"/>
              <a:gd name="connsiteX35" fmla="*/ 7542 w 10000"/>
              <a:gd name="connsiteY35" fmla="*/ 7561 h 10000"/>
              <a:gd name="connsiteX36" fmla="*/ 7867 w 10000"/>
              <a:gd name="connsiteY36" fmla="*/ 7296 h 10000"/>
              <a:gd name="connsiteX37" fmla="*/ 8114 w 10000"/>
              <a:gd name="connsiteY37" fmla="*/ 7068 h 10000"/>
              <a:gd name="connsiteX38" fmla="*/ 8393 w 10000"/>
              <a:gd name="connsiteY38" fmla="*/ 6790 h 10000"/>
              <a:gd name="connsiteX39" fmla="*/ 8670 w 10000"/>
              <a:gd name="connsiteY39" fmla="*/ 6499 h 10000"/>
              <a:gd name="connsiteX40" fmla="*/ 8871 w 10000"/>
              <a:gd name="connsiteY40" fmla="*/ 6183 h 10000"/>
              <a:gd name="connsiteX41" fmla="*/ 9088 w 10000"/>
              <a:gd name="connsiteY41" fmla="*/ 5905 h 10000"/>
              <a:gd name="connsiteX42" fmla="*/ 9242 w 10000"/>
              <a:gd name="connsiteY42" fmla="*/ 5640 h 10000"/>
              <a:gd name="connsiteX43" fmla="*/ 9458 w 10000"/>
              <a:gd name="connsiteY43" fmla="*/ 5235 h 10000"/>
              <a:gd name="connsiteX44" fmla="*/ 9597 w 10000"/>
              <a:gd name="connsiteY44" fmla="*/ 4920 h 10000"/>
              <a:gd name="connsiteX45" fmla="*/ 9768 w 10000"/>
              <a:gd name="connsiteY45" fmla="*/ 4490 h 10000"/>
              <a:gd name="connsiteX46" fmla="*/ 9876 w 10000"/>
              <a:gd name="connsiteY46" fmla="*/ 4010 h 10000"/>
              <a:gd name="connsiteX47" fmla="*/ 9953 w 10000"/>
              <a:gd name="connsiteY47" fmla="*/ 3581 h 10000"/>
              <a:gd name="connsiteX48" fmla="*/ 10000 w 10000"/>
              <a:gd name="connsiteY48" fmla="*/ 3202 h 10000"/>
              <a:gd name="connsiteX49" fmla="*/ 10000 w 10000"/>
              <a:gd name="connsiteY49" fmla="*/ 2797 h 10000"/>
              <a:gd name="connsiteX50" fmla="*/ 9984 w 10000"/>
              <a:gd name="connsiteY50" fmla="*/ 2468 h 10000"/>
              <a:gd name="connsiteX51" fmla="*/ 9922 w 10000"/>
              <a:gd name="connsiteY51" fmla="*/ 1975 h 10000"/>
              <a:gd name="connsiteX52" fmla="*/ 9768 w 10000"/>
              <a:gd name="connsiteY52" fmla="*/ 1482 h 10000"/>
              <a:gd name="connsiteX53" fmla="*/ 9628 w 10000"/>
              <a:gd name="connsiteY53" fmla="*/ 1053 h 10000"/>
              <a:gd name="connsiteX54" fmla="*/ 9458 w 10000"/>
              <a:gd name="connsiteY54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63 w 10000"/>
              <a:gd name="connsiteY5" fmla="*/ 2384 h 10000"/>
              <a:gd name="connsiteX6" fmla="*/ 3030 w 10000"/>
              <a:gd name="connsiteY6" fmla="*/ 2582 h 10000"/>
              <a:gd name="connsiteX7" fmla="*/ 3076 w 10000"/>
              <a:gd name="connsiteY7" fmla="*/ 2910 h 10000"/>
              <a:gd name="connsiteX8" fmla="*/ 3045 w 10000"/>
              <a:gd name="connsiteY8" fmla="*/ 3302 h 10000"/>
              <a:gd name="connsiteX9" fmla="*/ 2982 w 10000"/>
              <a:gd name="connsiteY9" fmla="*/ 3542 h 10000"/>
              <a:gd name="connsiteX10" fmla="*/ 2844 w 10000"/>
              <a:gd name="connsiteY10" fmla="*/ 3808 h 10000"/>
              <a:gd name="connsiteX11" fmla="*/ 1903 w 10000"/>
              <a:gd name="connsiteY11" fmla="*/ 4670 h 10000"/>
              <a:gd name="connsiteX12" fmla="*/ 1252 w 10000"/>
              <a:gd name="connsiteY12" fmla="*/ 4983 h 10000"/>
              <a:gd name="connsiteX13" fmla="*/ 819 w 10000"/>
              <a:gd name="connsiteY13" fmla="*/ 5109 h 10000"/>
              <a:gd name="connsiteX14" fmla="*/ 665 w 10000"/>
              <a:gd name="connsiteY14" fmla="*/ 5148 h 10000"/>
              <a:gd name="connsiteX15" fmla="*/ 2102 w 10000"/>
              <a:gd name="connsiteY15" fmla="*/ 7561 h 10000"/>
              <a:gd name="connsiteX16" fmla="*/ 0 w 10000"/>
              <a:gd name="connsiteY16" fmla="*/ 10000 h 10000"/>
              <a:gd name="connsiteX17" fmla="*/ 418 w 10000"/>
              <a:gd name="connsiteY17" fmla="*/ 9988 h 10000"/>
              <a:gd name="connsiteX18" fmla="*/ 850 w 10000"/>
              <a:gd name="connsiteY18" fmla="*/ 9974 h 10000"/>
              <a:gd name="connsiteX19" fmla="*/ 1329 w 10000"/>
              <a:gd name="connsiteY19" fmla="*/ 9923 h 10000"/>
              <a:gd name="connsiteX20" fmla="*/ 1824 w 10000"/>
              <a:gd name="connsiteY20" fmla="*/ 9873 h 10000"/>
              <a:gd name="connsiteX21" fmla="*/ 2302 w 10000"/>
              <a:gd name="connsiteY21" fmla="*/ 9785 h 10000"/>
              <a:gd name="connsiteX22" fmla="*/ 2782 w 10000"/>
              <a:gd name="connsiteY22" fmla="*/ 9696 h 10000"/>
              <a:gd name="connsiteX23" fmla="*/ 3153 w 10000"/>
              <a:gd name="connsiteY23" fmla="*/ 9608 h 10000"/>
              <a:gd name="connsiteX24" fmla="*/ 3554 w 10000"/>
              <a:gd name="connsiteY24" fmla="*/ 9507 h 10000"/>
              <a:gd name="connsiteX25" fmla="*/ 4049 w 10000"/>
              <a:gd name="connsiteY25" fmla="*/ 9368 h 10000"/>
              <a:gd name="connsiteX26" fmla="*/ 4467 w 10000"/>
              <a:gd name="connsiteY26" fmla="*/ 9216 h 10000"/>
              <a:gd name="connsiteX27" fmla="*/ 4868 w 10000"/>
              <a:gd name="connsiteY27" fmla="*/ 9077 h 10000"/>
              <a:gd name="connsiteX28" fmla="*/ 5301 w 10000"/>
              <a:gd name="connsiteY28" fmla="*/ 8888 h 10000"/>
              <a:gd name="connsiteX29" fmla="*/ 5734 w 10000"/>
              <a:gd name="connsiteY29" fmla="*/ 8698 h 10000"/>
              <a:gd name="connsiteX30" fmla="*/ 6089 w 10000"/>
              <a:gd name="connsiteY30" fmla="*/ 8522 h 10000"/>
              <a:gd name="connsiteX31" fmla="*/ 6491 w 10000"/>
              <a:gd name="connsiteY31" fmla="*/ 8281 h 10000"/>
              <a:gd name="connsiteX32" fmla="*/ 6893 w 10000"/>
              <a:gd name="connsiteY32" fmla="*/ 8042 h 10000"/>
              <a:gd name="connsiteX33" fmla="*/ 7249 w 10000"/>
              <a:gd name="connsiteY33" fmla="*/ 7777 h 10000"/>
              <a:gd name="connsiteX34" fmla="*/ 7542 w 10000"/>
              <a:gd name="connsiteY34" fmla="*/ 7561 h 10000"/>
              <a:gd name="connsiteX35" fmla="*/ 7867 w 10000"/>
              <a:gd name="connsiteY35" fmla="*/ 7296 h 10000"/>
              <a:gd name="connsiteX36" fmla="*/ 8114 w 10000"/>
              <a:gd name="connsiteY36" fmla="*/ 7068 h 10000"/>
              <a:gd name="connsiteX37" fmla="*/ 8393 w 10000"/>
              <a:gd name="connsiteY37" fmla="*/ 6790 h 10000"/>
              <a:gd name="connsiteX38" fmla="*/ 8670 w 10000"/>
              <a:gd name="connsiteY38" fmla="*/ 6499 h 10000"/>
              <a:gd name="connsiteX39" fmla="*/ 8871 w 10000"/>
              <a:gd name="connsiteY39" fmla="*/ 6183 h 10000"/>
              <a:gd name="connsiteX40" fmla="*/ 9088 w 10000"/>
              <a:gd name="connsiteY40" fmla="*/ 5905 h 10000"/>
              <a:gd name="connsiteX41" fmla="*/ 9242 w 10000"/>
              <a:gd name="connsiteY41" fmla="*/ 5640 h 10000"/>
              <a:gd name="connsiteX42" fmla="*/ 9458 w 10000"/>
              <a:gd name="connsiteY42" fmla="*/ 5235 h 10000"/>
              <a:gd name="connsiteX43" fmla="*/ 9597 w 10000"/>
              <a:gd name="connsiteY43" fmla="*/ 4920 h 10000"/>
              <a:gd name="connsiteX44" fmla="*/ 9768 w 10000"/>
              <a:gd name="connsiteY44" fmla="*/ 4490 h 10000"/>
              <a:gd name="connsiteX45" fmla="*/ 9876 w 10000"/>
              <a:gd name="connsiteY45" fmla="*/ 4010 h 10000"/>
              <a:gd name="connsiteX46" fmla="*/ 9953 w 10000"/>
              <a:gd name="connsiteY46" fmla="*/ 3581 h 10000"/>
              <a:gd name="connsiteX47" fmla="*/ 10000 w 10000"/>
              <a:gd name="connsiteY47" fmla="*/ 3202 h 10000"/>
              <a:gd name="connsiteX48" fmla="*/ 10000 w 10000"/>
              <a:gd name="connsiteY48" fmla="*/ 2797 h 10000"/>
              <a:gd name="connsiteX49" fmla="*/ 9984 w 10000"/>
              <a:gd name="connsiteY49" fmla="*/ 2468 h 10000"/>
              <a:gd name="connsiteX50" fmla="*/ 9922 w 10000"/>
              <a:gd name="connsiteY50" fmla="*/ 1975 h 10000"/>
              <a:gd name="connsiteX51" fmla="*/ 9768 w 10000"/>
              <a:gd name="connsiteY51" fmla="*/ 1482 h 10000"/>
              <a:gd name="connsiteX52" fmla="*/ 9628 w 10000"/>
              <a:gd name="connsiteY52" fmla="*/ 1053 h 10000"/>
              <a:gd name="connsiteX53" fmla="*/ 9458 w 10000"/>
              <a:gd name="connsiteY53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63 w 10000"/>
              <a:gd name="connsiteY5" fmla="*/ 2384 h 10000"/>
              <a:gd name="connsiteX6" fmla="*/ 3076 w 10000"/>
              <a:gd name="connsiteY6" fmla="*/ 2910 h 10000"/>
              <a:gd name="connsiteX7" fmla="*/ 3045 w 10000"/>
              <a:gd name="connsiteY7" fmla="*/ 3302 h 10000"/>
              <a:gd name="connsiteX8" fmla="*/ 2982 w 10000"/>
              <a:gd name="connsiteY8" fmla="*/ 3542 h 10000"/>
              <a:gd name="connsiteX9" fmla="*/ 2844 w 10000"/>
              <a:gd name="connsiteY9" fmla="*/ 3808 h 10000"/>
              <a:gd name="connsiteX10" fmla="*/ 1903 w 10000"/>
              <a:gd name="connsiteY10" fmla="*/ 4670 h 10000"/>
              <a:gd name="connsiteX11" fmla="*/ 1252 w 10000"/>
              <a:gd name="connsiteY11" fmla="*/ 4983 h 10000"/>
              <a:gd name="connsiteX12" fmla="*/ 819 w 10000"/>
              <a:gd name="connsiteY12" fmla="*/ 5109 h 10000"/>
              <a:gd name="connsiteX13" fmla="*/ 665 w 10000"/>
              <a:gd name="connsiteY13" fmla="*/ 5148 h 10000"/>
              <a:gd name="connsiteX14" fmla="*/ 2102 w 10000"/>
              <a:gd name="connsiteY14" fmla="*/ 7561 h 10000"/>
              <a:gd name="connsiteX15" fmla="*/ 0 w 10000"/>
              <a:gd name="connsiteY15" fmla="*/ 10000 h 10000"/>
              <a:gd name="connsiteX16" fmla="*/ 418 w 10000"/>
              <a:gd name="connsiteY16" fmla="*/ 9988 h 10000"/>
              <a:gd name="connsiteX17" fmla="*/ 850 w 10000"/>
              <a:gd name="connsiteY17" fmla="*/ 9974 h 10000"/>
              <a:gd name="connsiteX18" fmla="*/ 1329 w 10000"/>
              <a:gd name="connsiteY18" fmla="*/ 9923 h 10000"/>
              <a:gd name="connsiteX19" fmla="*/ 1824 w 10000"/>
              <a:gd name="connsiteY19" fmla="*/ 9873 h 10000"/>
              <a:gd name="connsiteX20" fmla="*/ 2302 w 10000"/>
              <a:gd name="connsiteY20" fmla="*/ 9785 h 10000"/>
              <a:gd name="connsiteX21" fmla="*/ 2782 w 10000"/>
              <a:gd name="connsiteY21" fmla="*/ 9696 h 10000"/>
              <a:gd name="connsiteX22" fmla="*/ 3153 w 10000"/>
              <a:gd name="connsiteY22" fmla="*/ 9608 h 10000"/>
              <a:gd name="connsiteX23" fmla="*/ 3554 w 10000"/>
              <a:gd name="connsiteY23" fmla="*/ 9507 h 10000"/>
              <a:gd name="connsiteX24" fmla="*/ 4049 w 10000"/>
              <a:gd name="connsiteY24" fmla="*/ 9368 h 10000"/>
              <a:gd name="connsiteX25" fmla="*/ 4467 w 10000"/>
              <a:gd name="connsiteY25" fmla="*/ 9216 h 10000"/>
              <a:gd name="connsiteX26" fmla="*/ 4868 w 10000"/>
              <a:gd name="connsiteY26" fmla="*/ 9077 h 10000"/>
              <a:gd name="connsiteX27" fmla="*/ 5301 w 10000"/>
              <a:gd name="connsiteY27" fmla="*/ 8888 h 10000"/>
              <a:gd name="connsiteX28" fmla="*/ 5734 w 10000"/>
              <a:gd name="connsiteY28" fmla="*/ 8698 h 10000"/>
              <a:gd name="connsiteX29" fmla="*/ 6089 w 10000"/>
              <a:gd name="connsiteY29" fmla="*/ 8522 h 10000"/>
              <a:gd name="connsiteX30" fmla="*/ 6491 w 10000"/>
              <a:gd name="connsiteY30" fmla="*/ 8281 h 10000"/>
              <a:gd name="connsiteX31" fmla="*/ 6893 w 10000"/>
              <a:gd name="connsiteY31" fmla="*/ 8042 h 10000"/>
              <a:gd name="connsiteX32" fmla="*/ 7249 w 10000"/>
              <a:gd name="connsiteY32" fmla="*/ 7777 h 10000"/>
              <a:gd name="connsiteX33" fmla="*/ 7542 w 10000"/>
              <a:gd name="connsiteY33" fmla="*/ 7561 h 10000"/>
              <a:gd name="connsiteX34" fmla="*/ 7867 w 10000"/>
              <a:gd name="connsiteY34" fmla="*/ 7296 h 10000"/>
              <a:gd name="connsiteX35" fmla="*/ 8114 w 10000"/>
              <a:gd name="connsiteY35" fmla="*/ 7068 h 10000"/>
              <a:gd name="connsiteX36" fmla="*/ 8393 w 10000"/>
              <a:gd name="connsiteY36" fmla="*/ 6790 h 10000"/>
              <a:gd name="connsiteX37" fmla="*/ 8670 w 10000"/>
              <a:gd name="connsiteY37" fmla="*/ 6499 h 10000"/>
              <a:gd name="connsiteX38" fmla="*/ 8871 w 10000"/>
              <a:gd name="connsiteY38" fmla="*/ 6183 h 10000"/>
              <a:gd name="connsiteX39" fmla="*/ 9088 w 10000"/>
              <a:gd name="connsiteY39" fmla="*/ 5905 h 10000"/>
              <a:gd name="connsiteX40" fmla="*/ 9242 w 10000"/>
              <a:gd name="connsiteY40" fmla="*/ 5640 h 10000"/>
              <a:gd name="connsiteX41" fmla="*/ 9458 w 10000"/>
              <a:gd name="connsiteY41" fmla="*/ 5235 h 10000"/>
              <a:gd name="connsiteX42" fmla="*/ 9597 w 10000"/>
              <a:gd name="connsiteY42" fmla="*/ 4920 h 10000"/>
              <a:gd name="connsiteX43" fmla="*/ 9768 w 10000"/>
              <a:gd name="connsiteY43" fmla="*/ 4490 h 10000"/>
              <a:gd name="connsiteX44" fmla="*/ 9876 w 10000"/>
              <a:gd name="connsiteY44" fmla="*/ 4010 h 10000"/>
              <a:gd name="connsiteX45" fmla="*/ 9953 w 10000"/>
              <a:gd name="connsiteY45" fmla="*/ 3581 h 10000"/>
              <a:gd name="connsiteX46" fmla="*/ 10000 w 10000"/>
              <a:gd name="connsiteY46" fmla="*/ 3202 h 10000"/>
              <a:gd name="connsiteX47" fmla="*/ 10000 w 10000"/>
              <a:gd name="connsiteY47" fmla="*/ 2797 h 10000"/>
              <a:gd name="connsiteX48" fmla="*/ 9984 w 10000"/>
              <a:gd name="connsiteY48" fmla="*/ 2468 h 10000"/>
              <a:gd name="connsiteX49" fmla="*/ 9922 w 10000"/>
              <a:gd name="connsiteY49" fmla="*/ 1975 h 10000"/>
              <a:gd name="connsiteX50" fmla="*/ 9768 w 10000"/>
              <a:gd name="connsiteY50" fmla="*/ 1482 h 10000"/>
              <a:gd name="connsiteX51" fmla="*/ 9628 w 10000"/>
              <a:gd name="connsiteY51" fmla="*/ 1053 h 10000"/>
              <a:gd name="connsiteX52" fmla="*/ 9458 w 10000"/>
              <a:gd name="connsiteY52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63 w 10000"/>
              <a:gd name="connsiteY5" fmla="*/ 2384 h 10000"/>
              <a:gd name="connsiteX6" fmla="*/ 3045 w 10000"/>
              <a:gd name="connsiteY6" fmla="*/ 3302 h 10000"/>
              <a:gd name="connsiteX7" fmla="*/ 2982 w 10000"/>
              <a:gd name="connsiteY7" fmla="*/ 3542 h 10000"/>
              <a:gd name="connsiteX8" fmla="*/ 2844 w 10000"/>
              <a:gd name="connsiteY8" fmla="*/ 3808 h 10000"/>
              <a:gd name="connsiteX9" fmla="*/ 1903 w 10000"/>
              <a:gd name="connsiteY9" fmla="*/ 4670 h 10000"/>
              <a:gd name="connsiteX10" fmla="*/ 1252 w 10000"/>
              <a:gd name="connsiteY10" fmla="*/ 4983 h 10000"/>
              <a:gd name="connsiteX11" fmla="*/ 819 w 10000"/>
              <a:gd name="connsiteY11" fmla="*/ 5109 h 10000"/>
              <a:gd name="connsiteX12" fmla="*/ 665 w 10000"/>
              <a:gd name="connsiteY12" fmla="*/ 5148 h 10000"/>
              <a:gd name="connsiteX13" fmla="*/ 2102 w 10000"/>
              <a:gd name="connsiteY13" fmla="*/ 7561 h 10000"/>
              <a:gd name="connsiteX14" fmla="*/ 0 w 10000"/>
              <a:gd name="connsiteY14" fmla="*/ 10000 h 10000"/>
              <a:gd name="connsiteX15" fmla="*/ 418 w 10000"/>
              <a:gd name="connsiteY15" fmla="*/ 9988 h 10000"/>
              <a:gd name="connsiteX16" fmla="*/ 850 w 10000"/>
              <a:gd name="connsiteY16" fmla="*/ 9974 h 10000"/>
              <a:gd name="connsiteX17" fmla="*/ 1329 w 10000"/>
              <a:gd name="connsiteY17" fmla="*/ 9923 h 10000"/>
              <a:gd name="connsiteX18" fmla="*/ 1824 w 10000"/>
              <a:gd name="connsiteY18" fmla="*/ 9873 h 10000"/>
              <a:gd name="connsiteX19" fmla="*/ 2302 w 10000"/>
              <a:gd name="connsiteY19" fmla="*/ 9785 h 10000"/>
              <a:gd name="connsiteX20" fmla="*/ 2782 w 10000"/>
              <a:gd name="connsiteY20" fmla="*/ 9696 h 10000"/>
              <a:gd name="connsiteX21" fmla="*/ 3153 w 10000"/>
              <a:gd name="connsiteY21" fmla="*/ 9608 h 10000"/>
              <a:gd name="connsiteX22" fmla="*/ 3554 w 10000"/>
              <a:gd name="connsiteY22" fmla="*/ 9507 h 10000"/>
              <a:gd name="connsiteX23" fmla="*/ 4049 w 10000"/>
              <a:gd name="connsiteY23" fmla="*/ 9368 h 10000"/>
              <a:gd name="connsiteX24" fmla="*/ 4467 w 10000"/>
              <a:gd name="connsiteY24" fmla="*/ 9216 h 10000"/>
              <a:gd name="connsiteX25" fmla="*/ 4868 w 10000"/>
              <a:gd name="connsiteY25" fmla="*/ 9077 h 10000"/>
              <a:gd name="connsiteX26" fmla="*/ 5301 w 10000"/>
              <a:gd name="connsiteY26" fmla="*/ 8888 h 10000"/>
              <a:gd name="connsiteX27" fmla="*/ 5734 w 10000"/>
              <a:gd name="connsiteY27" fmla="*/ 8698 h 10000"/>
              <a:gd name="connsiteX28" fmla="*/ 6089 w 10000"/>
              <a:gd name="connsiteY28" fmla="*/ 8522 h 10000"/>
              <a:gd name="connsiteX29" fmla="*/ 6491 w 10000"/>
              <a:gd name="connsiteY29" fmla="*/ 8281 h 10000"/>
              <a:gd name="connsiteX30" fmla="*/ 6893 w 10000"/>
              <a:gd name="connsiteY30" fmla="*/ 8042 h 10000"/>
              <a:gd name="connsiteX31" fmla="*/ 7249 w 10000"/>
              <a:gd name="connsiteY31" fmla="*/ 7777 h 10000"/>
              <a:gd name="connsiteX32" fmla="*/ 7542 w 10000"/>
              <a:gd name="connsiteY32" fmla="*/ 7561 h 10000"/>
              <a:gd name="connsiteX33" fmla="*/ 7867 w 10000"/>
              <a:gd name="connsiteY33" fmla="*/ 7296 h 10000"/>
              <a:gd name="connsiteX34" fmla="*/ 8114 w 10000"/>
              <a:gd name="connsiteY34" fmla="*/ 7068 h 10000"/>
              <a:gd name="connsiteX35" fmla="*/ 8393 w 10000"/>
              <a:gd name="connsiteY35" fmla="*/ 6790 h 10000"/>
              <a:gd name="connsiteX36" fmla="*/ 8670 w 10000"/>
              <a:gd name="connsiteY36" fmla="*/ 6499 h 10000"/>
              <a:gd name="connsiteX37" fmla="*/ 8871 w 10000"/>
              <a:gd name="connsiteY37" fmla="*/ 6183 h 10000"/>
              <a:gd name="connsiteX38" fmla="*/ 9088 w 10000"/>
              <a:gd name="connsiteY38" fmla="*/ 5905 h 10000"/>
              <a:gd name="connsiteX39" fmla="*/ 9242 w 10000"/>
              <a:gd name="connsiteY39" fmla="*/ 5640 h 10000"/>
              <a:gd name="connsiteX40" fmla="*/ 9458 w 10000"/>
              <a:gd name="connsiteY40" fmla="*/ 5235 h 10000"/>
              <a:gd name="connsiteX41" fmla="*/ 9597 w 10000"/>
              <a:gd name="connsiteY41" fmla="*/ 4920 h 10000"/>
              <a:gd name="connsiteX42" fmla="*/ 9768 w 10000"/>
              <a:gd name="connsiteY42" fmla="*/ 4490 h 10000"/>
              <a:gd name="connsiteX43" fmla="*/ 9876 w 10000"/>
              <a:gd name="connsiteY43" fmla="*/ 4010 h 10000"/>
              <a:gd name="connsiteX44" fmla="*/ 9953 w 10000"/>
              <a:gd name="connsiteY44" fmla="*/ 3581 h 10000"/>
              <a:gd name="connsiteX45" fmla="*/ 10000 w 10000"/>
              <a:gd name="connsiteY45" fmla="*/ 3202 h 10000"/>
              <a:gd name="connsiteX46" fmla="*/ 10000 w 10000"/>
              <a:gd name="connsiteY46" fmla="*/ 2797 h 10000"/>
              <a:gd name="connsiteX47" fmla="*/ 9984 w 10000"/>
              <a:gd name="connsiteY47" fmla="*/ 2468 h 10000"/>
              <a:gd name="connsiteX48" fmla="*/ 9922 w 10000"/>
              <a:gd name="connsiteY48" fmla="*/ 1975 h 10000"/>
              <a:gd name="connsiteX49" fmla="*/ 9768 w 10000"/>
              <a:gd name="connsiteY49" fmla="*/ 1482 h 10000"/>
              <a:gd name="connsiteX50" fmla="*/ 9628 w 10000"/>
              <a:gd name="connsiteY50" fmla="*/ 1053 h 10000"/>
              <a:gd name="connsiteX51" fmla="*/ 9458 w 10000"/>
              <a:gd name="connsiteY51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63 w 10000"/>
              <a:gd name="connsiteY5" fmla="*/ 2384 h 10000"/>
              <a:gd name="connsiteX6" fmla="*/ 2982 w 10000"/>
              <a:gd name="connsiteY6" fmla="*/ 3542 h 10000"/>
              <a:gd name="connsiteX7" fmla="*/ 2844 w 10000"/>
              <a:gd name="connsiteY7" fmla="*/ 3808 h 10000"/>
              <a:gd name="connsiteX8" fmla="*/ 1903 w 10000"/>
              <a:gd name="connsiteY8" fmla="*/ 4670 h 10000"/>
              <a:gd name="connsiteX9" fmla="*/ 1252 w 10000"/>
              <a:gd name="connsiteY9" fmla="*/ 4983 h 10000"/>
              <a:gd name="connsiteX10" fmla="*/ 819 w 10000"/>
              <a:gd name="connsiteY10" fmla="*/ 5109 h 10000"/>
              <a:gd name="connsiteX11" fmla="*/ 665 w 10000"/>
              <a:gd name="connsiteY11" fmla="*/ 5148 h 10000"/>
              <a:gd name="connsiteX12" fmla="*/ 2102 w 10000"/>
              <a:gd name="connsiteY12" fmla="*/ 7561 h 10000"/>
              <a:gd name="connsiteX13" fmla="*/ 0 w 10000"/>
              <a:gd name="connsiteY13" fmla="*/ 10000 h 10000"/>
              <a:gd name="connsiteX14" fmla="*/ 418 w 10000"/>
              <a:gd name="connsiteY14" fmla="*/ 9988 h 10000"/>
              <a:gd name="connsiteX15" fmla="*/ 850 w 10000"/>
              <a:gd name="connsiteY15" fmla="*/ 9974 h 10000"/>
              <a:gd name="connsiteX16" fmla="*/ 1329 w 10000"/>
              <a:gd name="connsiteY16" fmla="*/ 9923 h 10000"/>
              <a:gd name="connsiteX17" fmla="*/ 1824 w 10000"/>
              <a:gd name="connsiteY17" fmla="*/ 9873 h 10000"/>
              <a:gd name="connsiteX18" fmla="*/ 2302 w 10000"/>
              <a:gd name="connsiteY18" fmla="*/ 9785 h 10000"/>
              <a:gd name="connsiteX19" fmla="*/ 2782 w 10000"/>
              <a:gd name="connsiteY19" fmla="*/ 9696 h 10000"/>
              <a:gd name="connsiteX20" fmla="*/ 3153 w 10000"/>
              <a:gd name="connsiteY20" fmla="*/ 9608 h 10000"/>
              <a:gd name="connsiteX21" fmla="*/ 3554 w 10000"/>
              <a:gd name="connsiteY21" fmla="*/ 9507 h 10000"/>
              <a:gd name="connsiteX22" fmla="*/ 4049 w 10000"/>
              <a:gd name="connsiteY22" fmla="*/ 9368 h 10000"/>
              <a:gd name="connsiteX23" fmla="*/ 4467 w 10000"/>
              <a:gd name="connsiteY23" fmla="*/ 9216 h 10000"/>
              <a:gd name="connsiteX24" fmla="*/ 4868 w 10000"/>
              <a:gd name="connsiteY24" fmla="*/ 9077 h 10000"/>
              <a:gd name="connsiteX25" fmla="*/ 5301 w 10000"/>
              <a:gd name="connsiteY25" fmla="*/ 8888 h 10000"/>
              <a:gd name="connsiteX26" fmla="*/ 5734 w 10000"/>
              <a:gd name="connsiteY26" fmla="*/ 8698 h 10000"/>
              <a:gd name="connsiteX27" fmla="*/ 6089 w 10000"/>
              <a:gd name="connsiteY27" fmla="*/ 8522 h 10000"/>
              <a:gd name="connsiteX28" fmla="*/ 6491 w 10000"/>
              <a:gd name="connsiteY28" fmla="*/ 8281 h 10000"/>
              <a:gd name="connsiteX29" fmla="*/ 6893 w 10000"/>
              <a:gd name="connsiteY29" fmla="*/ 8042 h 10000"/>
              <a:gd name="connsiteX30" fmla="*/ 7249 w 10000"/>
              <a:gd name="connsiteY30" fmla="*/ 7777 h 10000"/>
              <a:gd name="connsiteX31" fmla="*/ 7542 w 10000"/>
              <a:gd name="connsiteY31" fmla="*/ 7561 h 10000"/>
              <a:gd name="connsiteX32" fmla="*/ 7867 w 10000"/>
              <a:gd name="connsiteY32" fmla="*/ 7296 h 10000"/>
              <a:gd name="connsiteX33" fmla="*/ 8114 w 10000"/>
              <a:gd name="connsiteY33" fmla="*/ 7068 h 10000"/>
              <a:gd name="connsiteX34" fmla="*/ 8393 w 10000"/>
              <a:gd name="connsiteY34" fmla="*/ 6790 h 10000"/>
              <a:gd name="connsiteX35" fmla="*/ 8670 w 10000"/>
              <a:gd name="connsiteY35" fmla="*/ 6499 h 10000"/>
              <a:gd name="connsiteX36" fmla="*/ 8871 w 10000"/>
              <a:gd name="connsiteY36" fmla="*/ 6183 h 10000"/>
              <a:gd name="connsiteX37" fmla="*/ 9088 w 10000"/>
              <a:gd name="connsiteY37" fmla="*/ 5905 h 10000"/>
              <a:gd name="connsiteX38" fmla="*/ 9242 w 10000"/>
              <a:gd name="connsiteY38" fmla="*/ 5640 h 10000"/>
              <a:gd name="connsiteX39" fmla="*/ 9458 w 10000"/>
              <a:gd name="connsiteY39" fmla="*/ 5235 h 10000"/>
              <a:gd name="connsiteX40" fmla="*/ 9597 w 10000"/>
              <a:gd name="connsiteY40" fmla="*/ 4920 h 10000"/>
              <a:gd name="connsiteX41" fmla="*/ 9768 w 10000"/>
              <a:gd name="connsiteY41" fmla="*/ 4490 h 10000"/>
              <a:gd name="connsiteX42" fmla="*/ 9876 w 10000"/>
              <a:gd name="connsiteY42" fmla="*/ 4010 h 10000"/>
              <a:gd name="connsiteX43" fmla="*/ 9953 w 10000"/>
              <a:gd name="connsiteY43" fmla="*/ 3581 h 10000"/>
              <a:gd name="connsiteX44" fmla="*/ 10000 w 10000"/>
              <a:gd name="connsiteY44" fmla="*/ 3202 h 10000"/>
              <a:gd name="connsiteX45" fmla="*/ 10000 w 10000"/>
              <a:gd name="connsiteY45" fmla="*/ 2797 h 10000"/>
              <a:gd name="connsiteX46" fmla="*/ 9984 w 10000"/>
              <a:gd name="connsiteY46" fmla="*/ 2468 h 10000"/>
              <a:gd name="connsiteX47" fmla="*/ 9922 w 10000"/>
              <a:gd name="connsiteY47" fmla="*/ 1975 h 10000"/>
              <a:gd name="connsiteX48" fmla="*/ 9768 w 10000"/>
              <a:gd name="connsiteY48" fmla="*/ 1482 h 10000"/>
              <a:gd name="connsiteX49" fmla="*/ 9628 w 10000"/>
              <a:gd name="connsiteY49" fmla="*/ 1053 h 10000"/>
              <a:gd name="connsiteX50" fmla="*/ 9458 w 10000"/>
              <a:gd name="connsiteY50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48 w 10000"/>
              <a:gd name="connsiteY5" fmla="*/ 2384 h 10000"/>
              <a:gd name="connsiteX6" fmla="*/ 2982 w 10000"/>
              <a:gd name="connsiteY6" fmla="*/ 3542 h 10000"/>
              <a:gd name="connsiteX7" fmla="*/ 2844 w 10000"/>
              <a:gd name="connsiteY7" fmla="*/ 3808 h 10000"/>
              <a:gd name="connsiteX8" fmla="*/ 1903 w 10000"/>
              <a:gd name="connsiteY8" fmla="*/ 4670 h 10000"/>
              <a:gd name="connsiteX9" fmla="*/ 1252 w 10000"/>
              <a:gd name="connsiteY9" fmla="*/ 4983 h 10000"/>
              <a:gd name="connsiteX10" fmla="*/ 819 w 10000"/>
              <a:gd name="connsiteY10" fmla="*/ 5109 h 10000"/>
              <a:gd name="connsiteX11" fmla="*/ 665 w 10000"/>
              <a:gd name="connsiteY11" fmla="*/ 5148 h 10000"/>
              <a:gd name="connsiteX12" fmla="*/ 2102 w 10000"/>
              <a:gd name="connsiteY12" fmla="*/ 7561 h 10000"/>
              <a:gd name="connsiteX13" fmla="*/ 0 w 10000"/>
              <a:gd name="connsiteY13" fmla="*/ 10000 h 10000"/>
              <a:gd name="connsiteX14" fmla="*/ 418 w 10000"/>
              <a:gd name="connsiteY14" fmla="*/ 9988 h 10000"/>
              <a:gd name="connsiteX15" fmla="*/ 850 w 10000"/>
              <a:gd name="connsiteY15" fmla="*/ 9974 h 10000"/>
              <a:gd name="connsiteX16" fmla="*/ 1329 w 10000"/>
              <a:gd name="connsiteY16" fmla="*/ 9923 h 10000"/>
              <a:gd name="connsiteX17" fmla="*/ 1824 w 10000"/>
              <a:gd name="connsiteY17" fmla="*/ 9873 h 10000"/>
              <a:gd name="connsiteX18" fmla="*/ 2302 w 10000"/>
              <a:gd name="connsiteY18" fmla="*/ 9785 h 10000"/>
              <a:gd name="connsiteX19" fmla="*/ 2782 w 10000"/>
              <a:gd name="connsiteY19" fmla="*/ 9696 h 10000"/>
              <a:gd name="connsiteX20" fmla="*/ 3153 w 10000"/>
              <a:gd name="connsiteY20" fmla="*/ 9608 h 10000"/>
              <a:gd name="connsiteX21" fmla="*/ 3554 w 10000"/>
              <a:gd name="connsiteY21" fmla="*/ 9507 h 10000"/>
              <a:gd name="connsiteX22" fmla="*/ 4049 w 10000"/>
              <a:gd name="connsiteY22" fmla="*/ 9368 h 10000"/>
              <a:gd name="connsiteX23" fmla="*/ 4467 w 10000"/>
              <a:gd name="connsiteY23" fmla="*/ 9216 h 10000"/>
              <a:gd name="connsiteX24" fmla="*/ 4868 w 10000"/>
              <a:gd name="connsiteY24" fmla="*/ 9077 h 10000"/>
              <a:gd name="connsiteX25" fmla="*/ 5301 w 10000"/>
              <a:gd name="connsiteY25" fmla="*/ 8888 h 10000"/>
              <a:gd name="connsiteX26" fmla="*/ 5734 w 10000"/>
              <a:gd name="connsiteY26" fmla="*/ 8698 h 10000"/>
              <a:gd name="connsiteX27" fmla="*/ 6089 w 10000"/>
              <a:gd name="connsiteY27" fmla="*/ 8522 h 10000"/>
              <a:gd name="connsiteX28" fmla="*/ 6491 w 10000"/>
              <a:gd name="connsiteY28" fmla="*/ 8281 h 10000"/>
              <a:gd name="connsiteX29" fmla="*/ 6893 w 10000"/>
              <a:gd name="connsiteY29" fmla="*/ 8042 h 10000"/>
              <a:gd name="connsiteX30" fmla="*/ 7249 w 10000"/>
              <a:gd name="connsiteY30" fmla="*/ 7777 h 10000"/>
              <a:gd name="connsiteX31" fmla="*/ 7542 w 10000"/>
              <a:gd name="connsiteY31" fmla="*/ 7561 h 10000"/>
              <a:gd name="connsiteX32" fmla="*/ 7867 w 10000"/>
              <a:gd name="connsiteY32" fmla="*/ 7296 h 10000"/>
              <a:gd name="connsiteX33" fmla="*/ 8114 w 10000"/>
              <a:gd name="connsiteY33" fmla="*/ 7068 h 10000"/>
              <a:gd name="connsiteX34" fmla="*/ 8393 w 10000"/>
              <a:gd name="connsiteY34" fmla="*/ 6790 h 10000"/>
              <a:gd name="connsiteX35" fmla="*/ 8670 w 10000"/>
              <a:gd name="connsiteY35" fmla="*/ 6499 h 10000"/>
              <a:gd name="connsiteX36" fmla="*/ 8871 w 10000"/>
              <a:gd name="connsiteY36" fmla="*/ 6183 h 10000"/>
              <a:gd name="connsiteX37" fmla="*/ 9088 w 10000"/>
              <a:gd name="connsiteY37" fmla="*/ 5905 h 10000"/>
              <a:gd name="connsiteX38" fmla="*/ 9242 w 10000"/>
              <a:gd name="connsiteY38" fmla="*/ 5640 h 10000"/>
              <a:gd name="connsiteX39" fmla="*/ 9458 w 10000"/>
              <a:gd name="connsiteY39" fmla="*/ 5235 h 10000"/>
              <a:gd name="connsiteX40" fmla="*/ 9597 w 10000"/>
              <a:gd name="connsiteY40" fmla="*/ 4920 h 10000"/>
              <a:gd name="connsiteX41" fmla="*/ 9768 w 10000"/>
              <a:gd name="connsiteY41" fmla="*/ 4490 h 10000"/>
              <a:gd name="connsiteX42" fmla="*/ 9876 w 10000"/>
              <a:gd name="connsiteY42" fmla="*/ 4010 h 10000"/>
              <a:gd name="connsiteX43" fmla="*/ 9953 w 10000"/>
              <a:gd name="connsiteY43" fmla="*/ 3581 h 10000"/>
              <a:gd name="connsiteX44" fmla="*/ 10000 w 10000"/>
              <a:gd name="connsiteY44" fmla="*/ 3202 h 10000"/>
              <a:gd name="connsiteX45" fmla="*/ 10000 w 10000"/>
              <a:gd name="connsiteY45" fmla="*/ 2797 h 10000"/>
              <a:gd name="connsiteX46" fmla="*/ 9984 w 10000"/>
              <a:gd name="connsiteY46" fmla="*/ 2468 h 10000"/>
              <a:gd name="connsiteX47" fmla="*/ 9922 w 10000"/>
              <a:gd name="connsiteY47" fmla="*/ 1975 h 10000"/>
              <a:gd name="connsiteX48" fmla="*/ 9768 w 10000"/>
              <a:gd name="connsiteY48" fmla="*/ 1482 h 10000"/>
              <a:gd name="connsiteX49" fmla="*/ 9628 w 10000"/>
              <a:gd name="connsiteY49" fmla="*/ 1053 h 10000"/>
              <a:gd name="connsiteX50" fmla="*/ 9458 w 10000"/>
              <a:gd name="connsiteY50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48 w 10000"/>
              <a:gd name="connsiteY5" fmla="*/ 2384 h 10000"/>
              <a:gd name="connsiteX6" fmla="*/ 2982 w 10000"/>
              <a:gd name="connsiteY6" fmla="*/ 3542 h 10000"/>
              <a:gd name="connsiteX7" fmla="*/ 2844 w 10000"/>
              <a:gd name="connsiteY7" fmla="*/ 3808 h 10000"/>
              <a:gd name="connsiteX8" fmla="*/ 1903 w 10000"/>
              <a:gd name="connsiteY8" fmla="*/ 4670 h 10000"/>
              <a:gd name="connsiteX9" fmla="*/ 1252 w 10000"/>
              <a:gd name="connsiteY9" fmla="*/ 4983 h 10000"/>
              <a:gd name="connsiteX10" fmla="*/ 819 w 10000"/>
              <a:gd name="connsiteY10" fmla="*/ 5109 h 10000"/>
              <a:gd name="connsiteX11" fmla="*/ 665 w 10000"/>
              <a:gd name="connsiteY11" fmla="*/ 5148 h 10000"/>
              <a:gd name="connsiteX12" fmla="*/ 2102 w 10000"/>
              <a:gd name="connsiteY12" fmla="*/ 7561 h 10000"/>
              <a:gd name="connsiteX13" fmla="*/ 0 w 10000"/>
              <a:gd name="connsiteY13" fmla="*/ 10000 h 10000"/>
              <a:gd name="connsiteX14" fmla="*/ 418 w 10000"/>
              <a:gd name="connsiteY14" fmla="*/ 9988 h 10000"/>
              <a:gd name="connsiteX15" fmla="*/ 850 w 10000"/>
              <a:gd name="connsiteY15" fmla="*/ 9974 h 10000"/>
              <a:gd name="connsiteX16" fmla="*/ 1329 w 10000"/>
              <a:gd name="connsiteY16" fmla="*/ 9923 h 10000"/>
              <a:gd name="connsiteX17" fmla="*/ 1824 w 10000"/>
              <a:gd name="connsiteY17" fmla="*/ 9873 h 10000"/>
              <a:gd name="connsiteX18" fmla="*/ 2302 w 10000"/>
              <a:gd name="connsiteY18" fmla="*/ 9785 h 10000"/>
              <a:gd name="connsiteX19" fmla="*/ 2782 w 10000"/>
              <a:gd name="connsiteY19" fmla="*/ 9696 h 10000"/>
              <a:gd name="connsiteX20" fmla="*/ 3153 w 10000"/>
              <a:gd name="connsiteY20" fmla="*/ 9608 h 10000"/>
              <a:gd name="connsiteX21" fmla="*/ 3554 w 10000"/>
              <a:gd name="connsiteY21" fmla="*/ 9507 h 10000"/>
              <a:gd name="connsiteX22" fmla="*/ 4049 w 10000"/>
              <a:gd name="connsiteY22" fmla="*/ 9368 h 10000"/>
              <a:gd name="connsiteX23" fmla="*/ 4467 w 10000"/>
              <a:gd name="connsiteY23" fmla="*/ 9216 h 10000"/>
              <a:gd name="connsiteX24" fmla="*/ 4868 w 10000"/>
              <a:gd name="connsiteY24" fmla="*/ 9077 h 10000"/>
              <a:gd name="connsiteX25" fmla="*/ 5301 w 10000"/>
              <a:gd name="connsiteY25" fmla="*/ 8888 h 10000"/>
              <a:gd name="connsiteX26" fmla="*/ 5734 w 10000"/>
              <a:gd name="connsiteY26" fmla="*/ 8698 h 10000"/>
              <a:gd name="connsiteX27" fmla="*/ 6089 w 10000"/>
              <a:gd name="connsiteY27" fmla="*/ 8522 h 10000"/>
              <a:gd name="connsiteX28" fmla="*/ 6491 w 10000"/>
              <a:gd name="connsiteY28" fmla="*/ 8281 h 10000"/>
              <a:gd name="connsiteX29" fmla="*/ 6893 w 10000"/>
              <a:gd name="connsiteY29" fmla="*/ 8042 h 10000"/>
              <a:gd name="connsiteX30" fmla="*/ 7249 w 10000"/>
              <a:gd name="connsiteY30" fmla="*/ 7777 h 10000"/>
              <a:gd name="connsiteX31" fmla="*/ 7542 w 10000"/>
              <a:gd name="connsiteY31" fmla="*/ 7561 h 10000"/>
              <a:gd name="connsiteX32" fmla="*/ 7867 w 10000"/>
              <a:gd name="connsiteY32" fmla="*/ 7296 h 10000"/>
              <a:gd name="connsiteX33" fmla="*/ 8114 w 10000"/>
              <a:gd name="connsiteY33" fmla="*/ 7068 h 10000"/>
              <a:gd name="connsiteX34" fmla="*/ 8393 w 10000"/>
              <a:gd name="connsiteY34" fmla="*/ 6790 h 10000"/>
              <a:gd name="connsiteX35" fmla="*/ 8670 w 10000"/>
              <a:gd name="connsiteY35" fmla="*/ 6499 h 10000"/>
              <a:gd name="connsiteX36" fmla="*/ 8871 w 10000"/>
              <a:gd name="connsiteY36" fmla="*/ 6183 h 10000"/>
              <a:gd name="connsiteX37" fmla="*/ 9088 w 10000"/>
              <a:gd name="connsiteY37" fmla="*/ 5905 h 10000"/>
              <a:gd name="connsiteX38" fmla="*/ 9242 w 10000"/>
              <a:gd name="connsiteY38" fmla="*/ 5640 h 10000"/>
              <a:gd name="connsiteX39" fmla="*/ 9458 w 10000"/>
              <a:gd name="connsiteY39" fmla="*/ 5235 h 10000"/>
              <a:gd name="connsiteX40" fmla="*/ 9597 w 10000"/>
              <a:gd name="connsiteY40" fmla="*/ 4920 h 10000"/>
              <a:gd name="connsiteX41" fmla="*/ 9768 w 10000"/>
              <a:gd name="connsiteY41" fmla="*/ 4490 h 10000"/>
              <a:gd name="connsiteX42" fmla="*/ 9876 w 10000"/>
              <a:gd name="connsiteY42" fmla="*/ 4010 h 10000"/>
              <a:gd name="connsiteX43" fmla="*/ 9953 w 10000"/>
              <a:gd name="connsiteY43" fmla="*/ 3581 h 10000"/>
              <a:gd name="connsiteX44" fmla="*/ 10000 w 10000"/>
              <a:gd name="connsiteY44" fmla="*/ 3202 h 10000"/>
              <a:gd name="connsiteX45" fmla="*/ 10000 w 10000"/>
              <a:gd name="connsiteY45" fmla="*/ 2797 h 10000"/>
              <a:gd name="connsiteX46" fmla="*/ 9984 w 10000"/>
              <a:gd name="connsiteY46" fmla="*/ 2468 h 10000"/>
              <a:gd name="connsiteX47" fmla="*/ 9922 w 10000"/>
              <a:gd name="connsiteY47" fmla="*/ 1975 h 10000"/>
              <a:gd name="connsiteX48" fmla="*/ 9768 w 10000"/>
              <a:gd name="connsiteY48" fmla="*/ 1482 h 10000"/>
              <a:gd name="connsiteX49" fmla="*/ 9628 w 10000"/>
              <a:gd name="connsiteY49" fmla="*/ 1053 h 10000"/>
              <a:gd name="connsiteX50" fmla="*/ 9458 w 10000"/>
              <a:gd name="connsiteY50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48 w 10000"/>
              <a:gd name="connsiteY5" fmla="*/ 2384 h 10000"/>
              <a:gd name="connsiteX6" fmla="*/ 2844 w 10000"/>
              <a:gd name="connsiteY6" fmla="*/ 3808 h 10000"/>
              <a:gd name="connsiteX7" fmla="*/ 1903 w 10000"/>
              <a:gd name="connsiteY7" fmla="*/ 4670 h 10000"/>
              <a:gd name="connsiteX8" fmla="*/ 1252 w 10000"/>
              <a:gd name="connsiteY8" fmla="*/ 4983 h 10000"/>
              <a:gd name="connsiteX9" fmla="*/ 819 w 10000"/>
              <a:gd name="connsiteY9" fmla="*/ 5109 h 10000"/>
              <a:gd name="connsiteX10" fmla="*/ 665 w 10000"/>
              <a:gd name="connsiteY10" fmla="*/ 5148 h 10000"/>
              <a:gd name="connsiteX11" fmla="*/ 2102 w 10000"/>
              <a:gd name="connsiteY11" fmla="*/ 7561 h 10000"/>
              <a:gd name="connsiteX12" fmla="*/ 0 w 10000"/>
              <a:gd name="connsiteY12" fmla="*/ 10000 h 10000"/>
              <a:gd name="connsiteX13" fmla="*/ 418 w 10000"/>
              <a:gd name="connsiteY13" fmla="*/ 9988 h 10000"/>
              <a:gd name="connsiteX14" fmla="*/ 850 w 10000"/>
              <a:gd name="connsiteY14" fmla="*/ 9974 h 10000"/>
              <a:gd name="connsiteX15" fmla="*/ 1329 w 10000"/>
              <a:gd name="connsiteY15" fmla="*/ 9923 h 10000"/>
              <a:gd name="connsiteX16" fmla="*/ 1824 w 10000"/>
              <a:gd name="connsiteY16" fmla="*/ 9873 h 10000"/>
              <a:gd name="connsiteX17" fmla="*/ 2302 w 10000"/>
              <a:gd name="connsiteY17" fmla="*/ 9785 h 10000"/>
              <a:gd name="connsiteX18" fmla="*/ 2782 w 10000"/>
              <a:gd name="connsiteY18" fmla="*/ 9696 h 10000"/>
              <a:gd name="connsiteX19" fmla="*/ 3153 w 10000"/>
              <a:gd name="connsiteY19" fmla="*/ 9608 h 10000"/>
              <a:gd name="connsiteX20" fmla="*/ 3554 w 10000"/>
              <a:gd name="connsiteY20" fmla="*/ 9507 h 10000"/>
              <a:gd name="connsiteX21" fmla="*/ 4049 w 10000"/>
              <a:gd name="connsiteY21" fmla="*/ 9368 h 10000"/>
              <a:gd name="connsiteX22" fmla="*/ 4467 w 10000"/>
              <a:gd name="connsiteY22" fmla="*/ 9216 h 10000"/>
              <a:gd name="connsiteX23" fmla="*/ 4868 w 10000"/>
              <a:gd name="connsiteY23" fmla="*/ 9077 h 10000"/>
              <a:gd name="connsiteX24" fmla="*/ 5301 w 10000"/>
              <a:gd name="connsiteY24" fmla="*/ 8888 h 10000"/>
              <a:gd name="connsiteX25" fmla="*/ 5734 w 10000"/>
              <a:gd name="connsiteY25" fmla="*/ 8698 h 10000"/>
              <a:gd name="connsiteX26" fmla="*/ 6089 w 10000"/>
              <a:gd name="connsiteY26" fmla="*/ 8522 h 10000"/>
              <a:gd name="connsiteX27" fmla="*/ 6491 w 10000"/>
              <a:gd name="connsiteY27" fmla="*/ 8281 h 10000"/>
              <a:gd name="connsiteX28" fmla="*/ 6893 w 10000"/>
              <a:gd name="connsiteY28" fmla="*/ 8042 h 10000"/>
              <a:gd name="connsiteX29" fmla="*/ 7249 w 10000"/>
              <a:gd name="connsiteY29" fmla="*/ 7777 h 10000"/>
              <a:gd name="connsiteX30" fmla="*/ 7542 w 10000"/>
              <a:gd name="connsiteY30" fmla="*/ 7561 h 10000"/>
              <a:gd name="connsiteX31" fmla="*/ 7867 w 10000"/>
              <a:gd name="connsiteY31" fmla="*/ 7296 h 10000"/>
              <a:gd name="connsiteX32" fmla="*/ 8114 w 10000"/>
              <a:gd name="connsiteY32" fmla="*/ 7068 h 10000"/>
              <a:gd name="connsiteX33" fmla="*/ 8393 w 10000"/>
              <a:gd name="connsiteY33" fmla="*/ 6790 h 10000"/>
              <a:gd name="connsiteX34" fmla="*/ 8670 w 10000"/>
              <a:gd name="connsiteY34" fmla="*/ 6499 h 10000"/>
              <a:gd name="connsiteX35" fmla="*/ 8871 w 10000"/>
              <a:gd name="connsiteY35" fmla="*/ 6183 h 10000"/>
              <a:gd name="connsiteX36" fmla="*/ 9088 w 10000"/>
              <a:gd name="connsiteY36" fmla="*/ 5905 h 10000"/>
              <a:gd name="connsiteX37" fmla="*/ 9242 w 10000"/>
              <a:gd name="connsiteY37" fmla="*/ 5640 h 10000"/>
              <a:gd name="connsiteX38" fmla="*/ 9458 w 10000"/>
              <a:gd name="connsiteY38" fmla="*/ 5235 h 10000"/>
              <a:gd name="connsiteX39" fmla="*/ 9597 w 10000"/>
              <a:gd name="connsiteY39" fmla="*/ 4920 h 10000"/>
              <a:gd name="connsiteX40" fmla="*/ 9768 w 10000"/>
              <a:gd name="connsiteY40" fmla="*/ 4490 h 10000"/>
              <a:gd name="connsiteX41" fmla="*/ 9876 w 10000"/>
              <a:gd name="connsiteY41" fmla="*/ 4010 h 10000"/>
              <a:gd name="connsiteX42" fmla="*/ 9953 w 10000"/>
              <a:gd name="connsiteY42" fmla="*/ 3581 h 10000"/>
              <a:gd name="connsiteX43" fmla="*/ 10000 w 10000"/>
              <a:gd name="connsiteY43" fmla="*/ 3202 h 10000"/>
              <a:gd name="connsiteX44" fmla="*/ 10000 w 10000"/>
              <a:gd name="connsiteY44" fmla="*/ 2797 h 10000"/>
              <a:gd name="connsiteX45" fmla="*/ 9984 w 10000"/>
              <a:gd name="connsiteY45" fmla="*/ 2468 h 10000"/>
              <a:gd name="connsiteX46" fmla="*/ 9922 w 10000"/>
              <a:gd name="connsiteY46" fmla="*/ 1975 h 10000"/>
              <a:gd name="connsiteX47" fmla="*/ 9768 w 10000"/>
              <a:gd name="connsiteY47" fmla="*/ 1482 h 10000"/>
              <a:gd name="connsiteX48" fmla="*/ 9628 w 10000"/>
              <a:gd name="connsiteY48" fmla="*/ 1053 h 10000"/>
              <a:gd name="connsiteX49" fmla="*/ 9458 w 10000"/>
              <a:gd name="connsiteY49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48 w 10000"/>
              <a:gd name="connsiteY5" fmla="*/ 2384 h 10000"/>
              <a:gd name="connsiteX6" fmla="*/ 1903 w 10000"/>
              <a:gd name="connsiteY6" fmla="*/ 4670 h 10000"/>
              <a:gd name="connsiteX7" fmla="*/ 1252 w 10000"/>
              <a:gd name="connsiteY7" fmla="*/ 4983 h 10000"/>
              <a:gd name="connsiteX8" fmla="*/ 819 w 10000"/>
              <a:gd name="connsiteY8" fmla="*/ 5109 h 10000"/>
              <a:gd name="connsiteX9" fmla="*/ 665 w 10000"/>
              <a:gd name="connsiteY9" fmla="*/ 5148 h 10000"/>
              <a:gd name="connsiteX10" fmla="*/ 2102 w 10000"/>
              <a:gd name="connsiteY10" fmla="*/ 7561 h 10000"/>
              <a:gd name="connsiteX11" fmla="*/ 0 w 10000"/>
              <a:gd name="connsiteY11" fmla="*/ 10000 h 10000"/>
              <a:gd name="connsiteX12" fmla="*/ 418 w 10000"/>
              <a:gd name="connsiteY12" fmla="*/ 9988 h 10000"/>
              <a:gd name="connsiteX13" fmla="*/ 850 w 10000"/>
              <a:gd name="connsiteY13" fmla="*/ 9974 h 10000"/>
              <a:gd name="connsiteX14" fmla="*/ 1329 w 10000"/>
              <a:gd name="connsiteY14" fmla="*/ 9923 h 10000"/>
              <a:gd name="connsiteX15" fmla="*/ 1824 w 10000"/>
              <a:gd name="connsiteY15" fmla="*/ 9873 h 10000"/>
              <a:gd name="connsiteX16" fmla="*/ 2302 w 10000"/>
              <a:gd name="connsiteY16" fmla="*/ 9785 h 10000"/>
              <a:gd name="connsiteX17" fmla="*/ 2782 w 10000"/>
              <a:gd name="connsiteY17" fmla="*/ 9696 h 10000"/>
              <a:gd name="connsiteX18" fmla="*/ 3153 w 10000"/>
              <a:gd name="connsiteY18" fmla="*/ 9608 h 10000"/>
              <a:gd name="connsiteX19" fmla="*/ 3554 w 10000"/>
              <a:gd name="connsiteY19" fmla="*/ 9507 h 10000"/>
              <a:gd name="connsiteX20" fmla="*/ 4049 w 10000"/>
              <a:gd name="connsiteY20" fmla="*/ 9368 h 10000"/>
              <a:gd name="connsiteX21" fmla="*/ 4467 w 10000"/>
              <a:gd name="connsiteY21" fmla="*/ 9216 h 10000"/>
              <a:gd name="connsiteX22" fmla="*/ 4868 w 10000"/>
              <a:gd name="connsiteY22" fmla="*/ 9077 h 10000"/>
              <a:gd name="connsiteX23" fmla="*/ 5301 w 10000"/>
              <a:gd name="connsiteY23" fmla="*/ 8888 h 10000"/>
              <a:gd name="connsiteX24" fmla="*/ 5734 w 10000"/>
              <a:gd name="connsiteY24" fmla="*/ 8698 h 10000"/>
              <a:gd name="connsiteX25" fmla="*/ 6089 w 10000"/>
              <a:gd name="connsiteY25" fmla="*/ 8522 h 10000"/>
              <a:gd name="connsiteX26" fmla="*/ 6491 w 10000"/>
              <a:gd name="connsiteY26" fmla="*/ 8281 h 10000"/>
              <a:gd name="connsiteX27" fmla="*/ 6893 w 10000"/>
              <a:gd name="connsiteY27" fmla="*/ 8042 h 10000"/>
              <a:gd name="connsiteX28" fmla="*/ 7249 w 10000"/>
              <a:gd name="connsiteY28" fmla="*/ 7777 h 10000"/>
              <a:gd name="connsiteX29" fmla="*/ 7542 w 10000"/>
              <a:gd name="connsiteY29" fmla="*/ 7561 h 10000"/>
              <a:gd name="connsiteX30" fmla="*/ 7867 w 10000"/>
              <a:gd name="connsiteY30" fmla="*/ 7296 h 10000"/>
              <a:gd name="connsiteX31" fmla="*/ 8114 w 10000"/>
              <a:gd name="connsiteY31" fmla="*/ 7068 h 10000"/>
              <a:gd name="connsiteX32" fmla="*/ 8393 w 10000"/>
              <a:gd name="connsiteY32" fmla="*/ 6790 h 10000"/>
              <a:gd name="connsiteX33" fmla="*/ 8670 w 10000"/>
              <a:gd name="connsiteY33" fmla="*/ 6499 h 10000"/>
              <a:gd name="connsiteX34" fmla="*/ 8871 w 10000"/>
              <a:gd name="connsiteY34" fmla="*/ 6183 h 10000"/>
              <a:gd name="connsiteX35" fmla="*/ 9088 w 10000"/>
              <a:gd name="connsiteY35" fmla="*/ 5905 h 10000"/>
              <a:gd name="connsiteX36" fmla="*/ 9242 w 10000"/>
              <a:gd name="connsiteY36" fmla="*/ 5640 h 10000"/>
              <a:gd name="connsiteX37" fmla="*/ 9458 w 10000"/>
              <a:gd name="connsiteY37" fmla="*/ 5235 h 10000"/>
              <a:gd name="connsiteX38" fmla="*/ 9597 w 10000"/>
              <a:gd name="connsiteY38" fmla="*/ 4920 h 10000"/>
              <a:gd name="connsiteX39" fmla="*/ 9768 w 10000"/>
              <a:gd name="connsiteY39" fmla="*/ 4490 h 10000"/>
              <a:gd name="connsiteX40" fmla="*/ 9876 w 10000"/>
              <a:gd name="connsiteY40" fmla="*/ 4010 h 10000"/>
              <a:gd name="connsiteX41" fmla="*/ 9953 w 10000"/>
              <a:gd name="connsiteY41" fmla="*/ 3581 h 10000"/>
              <a:gd name="connsiteX42" fmla="*/ 10000 w 10000"/>
              <a:gd name="connsiteY42" fmla="*/ 3202 h 10000"/>
              <a:gd name="connsiteX43" fmla="*/ 10000 w 10000"/>
              <a:gd name="connsiteY43" fmla="*/ 2797 h 10000"/>
              <a:gd name="connsiteX44" fmla="*/ 9984 w 10000"/>
              <a:gd name="connsiteY44" fmla="*/ 2468 h 10000"/>
              <a:gd name="connsiteX45" fmla="*/ 9922 w 10000"/>
              <a:gd name="connsiteY45" fmla="*/ 1975 h 10000"/>
              <a:gd name="connsiteX46" fmla="*/ 9768 w 10000"/>
              <a:gd name="connsiteY46" fmla="*/ 1482 h 10000"/>
              <a:gd name="connsiteX47" fmla="*/ 9628 w 10000"/>
              <a:gd name="connsiteY47" fmla="*/ 1053 h 10000"/>
              <a:gd name="connsiteX48" fmla="*/ 9458 w 10000"/>
              <a:gd name="connsiteY48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48 w 10000"/>
              <a:gd name="connsiteY5" fmla="*/ 2384 h 10000"/>
              <a:gd name="connsiteX6" fmla="*/ 2790 w 10000"/>
              <a:gd name="connsiteY6" fmla="*/ 3603 h 10000"/>
              <a:gd name="connsiteX7" fmla="*/ 1903 w 10000"/>
              <a:gd name="connsiteY7" fmla="*/ 4670 h 10000"/>
              <a:gd name="connsiteX8" fmla="*/ 1252 w 10000"/>
              <a:gd name="connsiteY8" fmla="*/ 4983 h 10000"/>
              <a:gd name="connsiteX9" fmla="*/ 819 w 10000"/>
              <a:gd name="connsiteY9" fmla="*/ 5109 h 10000"/>
              <a:gd name="connsiteX10" fmla="*/ 665 w 10000"/>
              <a:gd name="connsiteY10" fmla="*/ 5148 h 10000"/>
              <a:gd name="connsiteX11" fmla="*/ 2102 w 10000"/>
              <a:gd name="connsiteY11" fmla="*/ 7561 h 10000"/>
              <a:gd name="connsiteX12" fmla="*/ 0 w 10000"/>
              <a:gd name="connsiteY12" fmla="*/ 10000 h 10000"/>
              <a:gd name="connsiteX13" fmla="*/ 418 w 10000"/>
              <a:gd name="connsiteY13" fmla="*/ 9988 h 10000"/>
              <a:gd name="connsiteX14" fmla="*/ 850 w 10000"/>
              <a:gd name="connsiteY14" fmla="*/ 9974 h 10000"/>
              <a:gd name="connsiteX15" fmla="*/ 1329 w 10000"/>
              <a:gd name="connsiteY15" fmla="*/ 9923 h 10000"/>
              <a:gd name="connsiteX16" fmla="*/ 1824 w 10000"/>
              <a:gd name="connsiteY16" fmla="*/ 9873 h 10000"/>
              <a:gd name="connsiteX17" fmla="*/ 2302 w 10000"/>
              <a:gd name="connsiteY17" fmla="*/ 9785 h 10000"/>
              <a:gd name="connsiteX18" fmla="*/ 2782 w 10000"/>
              <a:gd name="connsiteY18" fmla="*/ 9696 h 10000"/>
              <a:gd name="connsiteX19" fmla="*/ 3153 w 10000"/>
              <a:gd name="connsiteY19" fmla="*/ 9608 h 10000"/>
              <a:gd name="connsiteX20" fmla="*/ 3554 w 10000"/>
              <a:gd name="connsiteY20" fmla="*/ 9507 h 10000"/>
              <a:gd name="connsiteX21" fmla="*/ 4049 w 10000"/>
              <a:gd name="connsiteY21" fmla="*/ 9368 h 10000"/>
              <a:gd name="connsiteX22" fmla="*/ 4467 w 10000"/>
              <a:gd name="connsiteY22" fmla="*/ 9216 h 10000"/>
              <a:gd name="connsiteX23" fmla="*/ 4868 w 10000"/>
              <a:gd name="connsiteY23" fmla="*/ 9077 h 10000"/>
              <a:gd name="connsiteX24" fmla="*/ 5301 w 10000"/>
              <a:gd name="connsiteY24" fmla="*/ 8888 h 10000"/>
              <a:gd name="connsiteX25" fmla="*/ 5734 w 10000"/>
              <a:gd name="connsiteY25" fmla="*/ 8698 h 10000"/>
              <a:gd name="connsiteX26" fmla="*/ 6089 w 10000"/>
              <a:gd name="connsiteY26" fmla="*/ 8522 h 10000"/>
              <a:gd name="connsiteX27" fmla="*/ 6491 w 10000"/>
              <a:gd name="connsiteY27" fmla="*/ 8281 h 10000"/>
              <a:gd name="connsiteX28" fmla="*/ 6893 w 10000"/>
              <a:gd name="connsiteY28" fmla="*/ 8042 h 10000"/>
              <a:gd name="connsiteX29" fmla="*/ 7249 w 10000"/>
              <a:gd name="connsiteY29" fmla="*/ 7777 h 10000"/>
              <a:gd name="connsiteX30" fmla="*/ 7542 w 10000"/>
              <a:gd name="connsiteY30" fmla="*/ 7561 h 10000"/>
              <a:gd name="connsiteX31" fmla="*/ 7867 w 10000"/>
              <a:gd name="connsiteY31" fmla="*/ 7296 h 10000"/>
              <a:gd name="connsiteX32" fmla="*/ 8114 w 10000"/>
              <a:gd name="connsiteY32" fmla="*/ 7068 h 10000"/>
              <a:gd name="connsiteX33" fmla="*/ 8393 w 10000"/>
              <a:gd name="connsiteY33" fmla="*/ 6790 h 10000"/>
              <a:gd name="connsiteX34" fmla="*/ 8670 w 10000"/>
              <a:gd name="connsiteY34" fmla="*/ 6499 h 10000"/>
              <a:gd name="connsiteX35" fmla="*/ 8871 w 10000"/>
              <a:gd name="connsiteY35" fmla="*/ 6183 h 10000"/>
              <a:gd name="connsiteX36" fmla="*/ 9088 w 10000"/>
              <a:gd name="connsiteY36" fmla="*/ 5905 h 10000"/>
              <a:gd name="connsiteX37" fmla="*/ 9242 w 10000"/>
              <a:gd name="connsiteY37" fmla="*/ 5640 h 10000"/>
              <a:gd name="connsiteX38" fmla="*/ 9458 w 10000"/>
              <a:gd name="connsiteY38" fmla="*/ 5235 h 10000"/>
              <a:gd name="connsiteX39" fmla="*/ 9597 w 10000"/>
              <a:gd name="connsiteY39" fmla="*/ 4920 h 10000"/>
              <a:gd name="connsiteX40" fmla="*/ 9768 w 10000"/>
              <a:gd name="connsiteY40" fmla="*/ 4490 h 10000"/>
              <a:gd name="connsiteX41" fmla="*/ 9876 w 10000"/>
              <a:gd name="connsiteY41" fmla="*/ 4010 h 10000"/>
              <a:gd name="connsiteX42" fmla="*/ 9953 w 10000"/>
              <a:gd name="connsiteY42" fmla="*/ 3581 h 10000"/>
              <a:gd name="connsiteX43" fmla="*/ 10000 w 10000"/>
              <a:gd name="connsiteY43" fmla="*/ 3202 h 10000"/>
              <a:gd name="connsiteX44" fmla="*/ 10000 w 10000"/>
              <a:gd name="connsiteY44" fmla="*/ 2797 h 10000"/>
              <a:gd name="connsiteX45" fmla="*/ 9984 w 10000"/>
              <a:gd name="connsiteY45" fmla="*/ 2468 h 10000"/>
              <a:gd name="connsiteX46" fmla="*/ 9922 w 10000"/>
              <a:gd name="connsiteY46" fmla="*/ 1975 h 10000"/>
              <a:gd name="connsiteX47" fmla="*/ 9768 w 10000"/>
              <a:gd name="connsiteY47" fmla="*/ 1482 h 10000"/>
              <a:gd name="connsiteX48" fmla="*/ 9628 w 10000"/>
              <a:gd name="connsiteY48" fmla="*/ 1053 h 10000"/>
              <a:gd name="connsiteX49" fmla="*/ 9458 w 10000"/>
              <a:gd name="connsiteY49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48 w 10000"/>
              <a:gd name="connsiteY5" fmla="*/ 2384 h 10000"/>
              <a:gd name="connsiteX6" fmla="*/ 2790 w 10000"/>
              <a:gd name="connsiteY6" fmla="*/ 3603 h 10000"/>
              <a:gd name="connsiteX7" fmla="*/ 1903 w 10000"/>
              <a:gd name="connsiteY7" fmla="*/ 4670 h 10000"/>
              <a:gd name="connsiteX8" fmla="*/ 1252 w 10000"/>
              <a:gd name="connsiteY8" fmla="*/ 4983 h 10000"/>
              <a:gd name="connsiteX9" fmla="*/ 819 w 10000"/>
              <a:gd name="connsiteY9" fmla="*/ 5109 h 10000"/>
              <a:gd name="connsiteX10" fmla="*/ 665 w 10000"/>
              <a:gd name="connsiteY10" fmla="*/ 5148 h 10000"/>
              <a:gd name="connsiteX11" fmla="*/ 2102 w 10000"/>
              <a:gd name="connsiteY11" fmla="*/ 7561 h 10000"/>
              <a:gd name="connsiteX12" fmla="*/ 0 w 10000"/>
              <a:gd name="connsiteY12" fmla="*/ 10000 h 10000"/>
              <a:gd name="connsiteX13" fmla="*/ 418 w 10000"/>
              <a:gd name="connsiteY13" fmla="*/ 9988 h 10000"/>
              <a:gd name="connsiteX14" fmla="*/ 850 w 10000"/>
              <a:gd name="connsiteY14" fmla="*/ 9974 h 10000"/>
              <a:gd name="connsiteX15" fmla="*/ 1329 w 10000"/>
              <a:gd name="connsiteY15" fmla="*/ 9923 h 10000"/>
              <a:gd name="connsiteX16" fmla="*/ 1824 w 10000"/>
              <a:gd name="connsiteY16" fmla="*/ 9873 h 10000"/>
              <a:gd name="connsiteX17" fmla="*/ 2302 w 10000"/>
              <a:gd name="connsiteY17" fmla="*/ 9785 h 10000"/>
              <a:gd name="connsiteX18" fmla="*/ 2782 w 10000"/>
              <a:gd name="connsiteY18" fmla="*/ 9696 h 10000"/>
              <a:gd name="connsiteX19" fmla="*/ 3153 w 10000"/>
              <a:gd name="connsiteY19" fmla="*/ 9608 h 10000"/>
              <a:gd name="connsiteX20" fmla="*/ 3554 w 10000"/>
              <a:gd name="connsiteY20" fmla="*/ 9507 h 10000"/>
              <a:gd name="connsiteX21" fmla="*/ 4049 w 10000"/>
              <a:gd name="connsiteY21" fmla="*/ 9368 h 10000"/>
              <a:gd name="connsiteX22" fmla="*/ 4467 w 10000"/>
              <a:gd name="connsiteY22" fmla="*/ 9216 h 10000"/>
              <a:gd name="connsiteX23" fmla="*/ 4868 w 10000"/>
              <a:gd name="connsiteY23" fmla="*/ 9077 h 10000"/>
              <a:gd name="connsiteX24" fmla="*/ 5301 w 10000"/>
              <a:gd name="connsiteY24" fmla="*/ 8888 h 10000"/>
              <a:gd name="connsiteX25" fmla="*/ 5734 w 10000"/>
              <a:gd name="connsiteY25" fmla="*/ 8698 h 10000"/>
              <a:gd name="connsiteX26" fmla="*/ 6089 w 10000"/>
              <a:gd name="connsiteY26" fmla="*/ 8522 h 10000"/>
              <a:gd name="connsiteX27" fmla="*/ 6491 w 10000"/>
              <a:gd name="connsiteY27" fmla="*/ 8281 h 10000"/>
              <a:gd name="connsiteX28" fmla="*/ 6893 w 10000"/>
              <a:gd name="connsiteY28" fmla="*/ 8042 h 10000"/>
              <a:gd name="connsiteX29" fmla="*/ 7249 w 10000"/>
              <a:gd name="connsiteY29" fmla="*/ 7777 h 10000"/>
              <a:gd name="connsiteX30" fmla="*/ 7542 w 10000"/>
              <a:gd name="connsiteY30" fmla="*/ 7561 h 10000"/>
              <a:gd name="connsiteX31" fmla="*/ 7867 w 10000"/>
              <a:gd name="connsiteY31" fmla="*/ 7296 h 10000"/>
              <a:gd name="connsiteX32" fmla="*/ 8114 w 10000"/>
              <a:gd name="connsiteY32" fmla="*/ 7068 h 10000"/>
              <a:gd name="connsiteX33" fmla="*/ 8393 w 10000"/>
              <a:gd name="connsiteY33" fmla="*/ 6790 h 10000"/>
              <a:gd name="connsiteX34" fmla="*/ 8670 w 10000"/>
              <a:gd name="connsiteY34" fmla="*/ 6499 h 10000"/>
              <a:gd name="connsiteX35" fmla="*/ 8871 w 10000"/>
              <a:gd name="connsiteY35" fmla="*/ 6183 h 10000"/>
              <a:gd name="connsiteX36" fmla="*/ 9088 w 10000"/>
              <a:gd name="connsiteY36" fmla="*/ 5905 h 10000"/>
              <a:gd name="connsiteX37" fmla="*/ 9242 w 10000"/>
              <a:gd name="connsiteY37" fmla="*/ 5640 h 10000"/>
              <a:gd name="connsiteX38" fmla="*/ 9458 w 10000"/>
              <a:gd name="connsiteY38" fmla="*/ 5235 h 10000"/>
              <a:gd name="connsiteX39" fmla="*/ 9597 w 10000"/>
              <a:gd name="connsiteY39" fmla="*/ 4920 h 10000"/>
              <a:gd name="connsiteX40" fmla="*/ 9768 w 10000"/>
              <a:gd name="connsiteY40" fmla="*/ 4490 h 10000"/>
              <a:gd name="connsiteX41" fmla="*/ 9876 w 10000"/>
              <a:gd name="connsiteY41" fmla="*/ 4010 h 10000"/>
              <a:gd name="connsiteX42" fmla="*/ 9953 w 10000"/>
              <a:gd name="connsiteY42" fmla="*/ 3581 h 10000"/>
              <a:gd name="connsiteX43" fmla="*/ 10000 w 10000"/>
              <a:gd name="connsiteY43" fmla="*/ 3202 h 10000"/>
              <a:gd name="connsiteX44" fmla="*/ 10000 w 10000"/>
              <a:gd name="connsiteY44" fmla="*/ 2797 h 10000"/>
              <a:gd name="connsiteX45" fmla="*/ 9984 w 10000"/>
              <a:gd name="connsiteY45" fmla="*/ 2468 h 10000"/>
              <a:gd name="connsiteX46" fmla="*/ 9922 w 10000"/>
              <a:gd name="connsiteY46" fmla="*/ 1975 h 10000"/>
              <a:gd name="connsiteX47" fmla="*/ 9768 w 10000"/>
              <a:gd name="connsiteY47" fmla="*/ 1482 h 10000"/>
              <a:gd name="connsiteX48" fmla="*/ 9628 w 10000"/>
              <a:gd name="connsiteY48" fmla="*/ 1053 h 10000"/>
              <a:gd name="connsiteX49" fmla="*/ 9458 w 10000"/>
              <a:gd name="connsiteY49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48 w 10000"/>
              <a:gd name="connsiteY5" fmla="*/ 2384 h 10000"/>
              <a:gd name="connsiteX6" fmla="*/ 2790 w 10000"/>
              <a:gd name="connsiteY6" fmla="*/ 3603 h 10000"/>
              <a:gd name="connsiteX7" fmla="*/ 1903 w 10000"/>
              <a:gd name="connsiteY7" fmla="*/ 4670 h 10000"/>
              <a:gd name="connsiteX8" fmla="*/ 1252 w 10000"/>
              <a:gd name="connsiteY8" fmla="*/ 4983 h 10000"/>
              <a:gd name="connsiteX9" fmla="*/ 819 w 10000"/>
              <a:gd name="connsiteY9" fmla="*/ 5109 h 10000"/>
              <a:gd name="connsiteX10" fmla="*/ 665 w 10000"/>
              <a:gd name="connsiteY10" fmla="*/ 5148 h 10000"/>
              <a:gd name="connsiteX11" fmla="*/ 2102 w 10000"/>
              <a:gd name="connsiteY11" fmla="*/ 7561 h 10000"/>
              <a:gd name="connsiteX12" fmla="*/ 0 w 10000"/>
              <a:gd name="connsiteY12" fmla="*/ 10000 h 10000"/>
              <a:gd name="connsiteX13" fmla="*/ 418 w 10000"/>
              <a:gd name="connsiteY13" fmla="*/ 9988 h 10000"/>
              <a:gd name="connsiteX14" fmla="*/ 850 w 10000"/>
              <a:gd name="connsiteY14" fmla="*/ 9974 h 10000"/>
              <a:gd name="connsiteX15" fmla="*/ 1329 w 10000"/>
              <a:gd name="connsiteY15" fmla="*/ 9923 h 10000"/>
              <a:gd name="connsiteX16" fmla="*/ 1824 w 10000"/>
              <a:gd name="connsiteY16" fmla="*/ 9873 h 10000"/>
              <a:gd name="connsiteX17" fmla="*/ 2302 w 10000"/>
              <a:gd name="connsiteY17" fmla="*/ 9785 h 10000"/>
              <a:gd name="connsiteX18" fmla="*/ 2782 w 10000"/>
              <a:gd name="connsiteY18" fmla="*/ 9696 h 10000"/>
              <a:gd name="connsiteX19" fmla="*/ 3153 w 10000"/>
              <a:gd name="connsiteY19" fmla="*/ 9608 h 10000"/>
              <a:gd name="connsiteX20" fmla="*/ 3554 w 10000"/>
              <a:gd name="connsiteY20" fmla="*/ 9507 h 10000"/>
              <a:gd name="connsiteX21" fmla="*/ 4049 w 10000"/>
              <a:gd name="connsiteY21" fmla="*/ 9368 h 10000"/>
              <a:gd name="connsiteX22" fmla="*/ 4467 w 10000"/>
              <a:gd name="connsiteY22" fmla="*/ 9216 h 10000"/>
              <a:gd name="connsiteX23" fmla="*/ 4868 w 10000"/>
              <a:gd name="connsiteY23" fmla="*/ 9077 h 10000"/>
              <a:gd name="connsiteX24" fmla="*/ 5301 w 10000"/>
              <a:gd name="connsiteY24" fmla="*/ 8888 h 10000"/>
              <a:gd name="connsiteX25" fmla="*/ 5734 w 10000"/>
              <a:gd name="connsiteY25" fmla="*/ 8698 h 10000"/>
              <a:gd name="connsiteX26" fmla="*/ 6089 w 10000"/>
              <a:gd name="connsiteY26" fmla="*/ 8522 h 10000"/>
              <a:gd name="connsiteX27" fmla="*/ 6491 w 10000"/>
              <a:gd name="connsiteY27" fmla="*/ 8281 h 10000"/>
              <a:gd name="connsiteX28" fmla="*/ 6893 w 10000"/>
              <a:gd name="connsiteY28" fmla="*/ 8042 h 10000"/>
              <a:gd name="connsiteX29" fmla="*/ 7249 w 10000"/>
              <a:gd name="connsiteY29" fmla="*/ 7777 h 10000"/>
              <a:gd name="connsiteX30" fmla="*/ 7542 w 10000"/>
              <a:gd name="connsiteY30" fmla="*/ 7561 h 10000"/>
              <a:gd name="connsiteX31" fmla="*/ 7867 w 10000"/>
              <a:gd name="connsiteY31" fmla="*/ 7296 h 10000"/>
              <a:gd name="connsiteX32" fmla="*/ 8114 w 10000"/>
              <a:gd name="connsiteY32" fmla="*/ 7068 h 10000"/>
              <a:gd name="connsiteX33" fmla="*/ 8393 w 10000"/>
              <a:gd name="connsiteY33" fmla="*/ 6790 h 10000"/>
              <a:gd name="connsiteX34" fmla="*/ 8670 w 10000"/>
              <a:gd name="connsiteY34" fmla="*/ 6499 h 10000"/>
              <a:gd name="connsiteX35" fmla="*/ 8871 w 10000"/>
              <a:gd name="connsiteY35" fmla="*/ 6183 h 10000"/>
              <a:gd name="connsiteX36" fmla="*/ 9088 w 10000"/>
              <a:gd name="connsiteY36" fmla="*/ 5905 h 10000"/>
              <a:gd name="connsiteX37" fmla="*/ 9242 w 10000"/>
              <a:gd name="connsiteY37" fmla="*/ 5640 h 10000"/>
              <a:gd name="connsiteX38" fmla="*/ 9458 w 10000"/>
              <a:gd name="connsiteY38" fmla="*/ 5235 h 10000"/>
              <a:gd name="connsiteX39" fmla="*/ 9597 w 10000"/>
              <a:gd name="connsiteY39" fmla="*/ 4920 h 10000"/>
              <a:gd name="connsiteX40" fmla="*/ 9768 w 10000"/>
              <a:gd name="connsiteY40" fmla="*/ 4490 h 10000"/>
              <a:gd name="connsiteX41" fmla="*/ 9876 w 10000"/>
              <a:gd name="connsiteY41" fmla="*/ 4010 h 10000"/>
              <a:gd name="connsiteX42" fmla="*/ 9953 w 10000"/>
              <a:gd name="connsiteY42" fmla="*/ 3581 h 10000"/>
              <a:gd name="connsiteX43" fmla="*/ 10000 w 10000"/>
              <a:gd name="connsiteY43" fmla="*/ 3202 h 10000"/>
              <a:gd name="connsiteX44" fmla="*/ 10000 w 10000"/>
              <a:gd name="connsiteY44" fmla="*/ 2797 h 10000"/>
              <a:gd name="connsiteX45" fmla="*/ 9984 w 10000"/>
              <a:gd name="connsiteY45" fmla="*/ 2468 h 10000"/>
              <a:gd name="connsiteX46" fmla="*/ 9922 w 10000"/>
              <a:gd name="connsiteY46" fmla="*/ 1975 h 10000"/>
              <a:gd name="connsiteX47" fmla="*/ 9768 w 10000"/>
              <a:gd name="connsiteY47" fmla="*/ 1482 h 10000"/>
              <a:gd name="connsiteX48" fmla="*/ 9628 w 10000"/>
              <a:gd name="connsiteY48" fmla="*/ 1053 h 10000"/>
              <a:gd name="connsiteX49" fmla="*/ 9458 w 10000"/>
              <a:gd name="connsiteY49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48 w 10000"/>
              <a:gd name="connsiteY5" fmla="*/ 2384 h 10000"/>
              <a:gd name="connsiteX6" fmla="*/ 2790 w 10000"/>
              <a:gd name="connsiteY6" fmla="*/ 3603 h 10000"/>
              <a:gd name="connsiteX7" fmla="*/ 1903 w 10000"/>
              <a:gd name="connsiteY7" fmla="*/ 4670 h 10000"/>
              <a:gd name="connsiteX8" fmla="*/ 819 w 10000"/>
              <a:gd name="connsiteY8" fmla="*/ 5109 h 10000"/>
              <a:gd name="connsiteX9" fmla="*/ 665 w 10000"/>
              <a:gd name="connsiteY9" fmla="*/ 5148 h 10000"/>
              <a:gd name="connsiteX10" fmla="*/ 2102 w 10000"/>
              <a:gd name="connsiteY10" fmla="*/ 7561 h 10000"/>
              <a:gd name="connsiteX11" fmla="*/ 0 w 10000"/>
              <a:gd name="connsiteY11" fmla="*/ 10000 h 10000"/>
              <a:gd name="connsiteX12" fmla="*/ 418 w 10000"/>
              <a:gd name="connsiteY12" fmla="*/ 9988 h 10000"/>
              <a:gd name="connsiteX13" fmla="*/ 850 w 10000"/>
              <a:gd name="connsiteY13" fmla="*/ 9974 h 10000"/>
              <a:gd name="connsiteX14" fmla="*/ 1329 w 10000"/>
              <a:gd name="connsiteY14" fmla="*/ 9923 h 10000"/>
              <a:gd name="connsiteX15" fmla="*/ 1824 w 10000"/>
              <a:gd name="connsiteY15" fmla="*/ 9873 h 10000"/>
              <a:gd name="connsiteX16" fmla="*/ 2302 w 10000"/>
              <a:gd name="connsiteY16" fmla="*/ 9785 h 10000"/>
              <a:gd name="connsiteX17" fmla="*/ 2782 w 10000"/>
              <a:gd name="connsiteY17" fmla="*/ 9696 h 10000"/>
              <a:gd name="connsiteX18" fmla="*/ 3153 w 10000"/>
              <a:gd name="connsiteY18" fmla="*/ 9608 h 10000"/>
              <a:gd name="connsiteX19" fmla="*/ 3554 w 10000"/>
              <a:gd name="connsiteY19" fmla="*/ 9507 h 10000"/>
              <a:gd name="connsiteX20" fmla="*/ 4049 w 10000"/>
              <a:gd name="connsiteY20" fmla="*/ 9368 h 10000"/>
              <a:gd name="connsiteX21" fmla="*/ 4467 w 10000"/>
              <a:gd name="connsiteY21" fmla="*/ 9216 h 10000"/>
              <a:gd name="connsiteX22" fmla="*/ 4868 w 10000"/>
              <a:gd name="connsiteY22" fmla="*/ 9077 h 10000"/>
              <a:gd name="connsiteX23" fmla="*/ 5301 w 10000"/>
              <a:gd name="connsiteY23" fmla="*/ 8888 h 10000"/>
              <a:gd name="connsiteX24" fmla="*/ 5734 w 10000"/>
              <a:gd name="connsiteY24" fmla="*/ 8698 h 10000"/>
              <a:gd name="connsiteX25" fmla="*/ 6089 w 10000"/>
              <a:gd name="connsiteY25" fmla="*/ 8522 h 10000"/>
              <a:gd name="connsiteX26" fmla="*/ 6491 w 10000"/>
              <a:gd name="connsiteY26" fmla="*/ 8281 h 10000"/>
              <a:gd name="connsiteX27" fmla="*/ 6893 w 10000"/>
              <a:gd name="connsiteY27" fmla="*/ 8042 h 10000"/>
              <a:gd name="connsiteX28" fmla="*/ 7249 w 10000"/>
              <a:gd name="connsiteY28" fmla="*/ 7777 h 10000"/>
              <a:gd name="connsiteX29" fmla="*/ 7542 w 10000"/>
              <a:gd name="connsiteY29" fmla="*/ 7561 h 10000"/>
              <a:gd name="connsiteX30" fmla="*/ 7867 w 10000"/>
              <a:gd name="connsiteY30" fmla="*/ 7296 h 10000"/>
              <a:gd name="connsiteX31" fmla="*/ 8114 w 10000"/>
              <a:gd name="connsiteY31" fmla="*/ 7068 h 10000"/>
              <a:gd name="connsiteX32" fmla="*/ 8393 w 10000"/>
              <a:gd name="connsiteY32" fmla="*/ 6790 h 10000"/>
              <a:gd name="connsiteX33" fmla="*/ 8670 w 10000"/>
              <a:gd name="connsiteY33" fmla="*/ 6499 h 10000"/>
              <a:gd name="connsiteX34" fmla="*/ 8871 w 10000"/>
              <a:gd name="connsiteY34" fmla="*/ 6183 h 10000"/>
              <a:gd name="connsiteX35" fmla="*/ 9088 w 10000"/>
              <a:gd name="connsiteY35" fmla="*/ 5905 h 10000"/>
              <a:gd name="connsiteX36" fmla="*/ 9242 w 10000"/>
              <a:gd name="connsiteY36" fmla="*/ 5640 h 10000"/>
              <a:gd name="connsiteX37" fmla="*/ 9458 w 10000"/>
              <a:gd name="connsiteY37" fmla="*/ 5235 h 10000"/>
              <a:gd name="connsiteX38" fmla="*/ 9597 w 10000"/>
              <a:gd name="connsiteY38" fmla="*/ 4920 h 10000"/>
              <a:gd name="connsiteX39" fmla="*/ 9768 w 10000"/>
              <a:gd name="connsiteY39" fmla="*/ 4490 h 10000"/>
              <a:gd name="connsiteX40" fmla="*/ 9876 w 10000"/>
              <a:gd name="connsiteY40" fmla="*/ 4010 h 10000"/>
              <a:gd name="connsiteX41" fmla="*/ 9953 w 10000"/>
              <a:gd name="connsiteY41" fmla="*/ 3581 h 10000"/>
              <a:gd name="connsiteX42" fmla="*/ 10000 w 10000"/>
              <a:gd name="connsiteY42" fmla="*/ 3202 h 10000"/>
              <a:gd name="connsiteX43" fmla="*/ 10000 w 10000"/>
              <a:gd name="connsiteY43" fmla="*/ 2797 h 10000"/>
              <a:gd name="connsiteX44" fmla="*/ 9984 w 10000"/>
              <a:gd name="connsiteY44" fmla="*/ 2468 h 10000"/>
              <a:gd name="connsiteX45" fmla="*/ 9922 w 10000"/>
              <a:gd name="connsiteY45" fmla="*/ 1975 h 10000"/>
              <a:gd name="connsiteX46" fmla="*/ 9768 w 10000"/>
              <a:gd name="connsiteY46" fmla="*/ 1482 h 10000"/>
              <a:gd name="connsiteX47" fmla="*/ 9628 w 10000"/>
              <a:gd name="connsiteY47" fmla="*/ 1053 h 10000"/>
              <a:gd name="connsiteX48" fmla="*/ 9458 w 10000"/>
              <a:gd name="connsiteY48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48 w 10000"/>
              <a:gd name="connsiteY5" fmla="*/ 2384 h 10000"/>
              <a:gd name="connsiteX6" fmla="*/ 2790 w 10000"/>
              <a:gd name="connsiteY6" fmla="*/ 3603 h 10000"/>
              <a:gd name="connsiteX7" fmla="*/ 1903 w 10000"/>
              <a:gd name="connsiteY7" fmla="*/ 4670 h 10000"/>
              <a:gd name="connsiteX8" fmla="*/ 819 w 10000"/>
              <a:gd name="connsiteY8" fmla="*/ 5109 h 10000"/>
              <a:gd name="connsiteX9" fmla="*/ 665 w 10000"/>
              <a:gd name="connsiteY9" fmla="*/ 5148 h 10000"/>
              <a:gd name="connsiteX10" fmla="*/ 2102 w 10000"/>
              <a:gd name="connsiteY10" fmla="*/ 7561 h 10000"/>
              <a:gd name="connsiteX11" fmla="*/ 0 w 10000"/>
              <a:gd name="connsiteY11" fmla="*/ 10000 h 10000"/>
              <a:gd name="connsiteX12" fmla="*/ 418 w 10000"/>
              <a:gd name="connsiteY12" fmla="*/ 9988 h 10000"/>
              <a:gd name="connsiteX13" fmla="*/ 850 w 10000"/>
              <a:gd name="connsiteY13" fmla="*/ 9974 h 10000"/>
              <a:gd name="connsiteX14" fmla="*/ 1329 w 10000"/>
              <a:gd name="connsiteY14" fmla="*/ 9923 h 10000"/>
              <a:gd name="connsiteX15" fmla="*/ 1824 w 10000"/>
              <a:gd name="connsiteY15" fmla="*/ 9873 h 10000"/>
              <a:gd name="connsiteX16" fmla="*/ 2302 w 10000"/>
              <a:gd name="connsiteY16" fmla="*/ 9785 h 10000"/>
              <a:gd name="connsiteX17" fmla="*/ 2782 w 10000"/>
              <a:gd name="connsiteY17" fmla="*/ 9696 h 10000"/>
              <a:gd name="connsiteX18" fmla="*/ 3153 w 10000"/>
              <a:gd name="connsiteY18" fmla="*/ 9608 h 10000"/>
              <a:gd name="connsiteX19" fmla="*/ 3554 w 10000"/>
              <a:gd name="connsiteY19" fmla="*/ 9507 h 10000"/>
              <a:gd name="connsiteX20" fmla="*/ 4049 w 10000"/>
              <a:gd name="connsiteY20" fmla="*/ 9368 h 10000"/>
              <a:gd name="connsiteX21" fmla="*/ 4467 w 10000"/>
              <a:gd name="connsiteY21" fmla="*/ 9216 h 10000"/>
              <a:gd name="connsiteX22" fmla="*/ 4868 w 10000"/>
              <a:gd name="connsiteY22" fmla="*/ 9077 h 10000"/>
              <a:gd name="connsiteX23" fmla="*/ 5301 w 10000"/>
              <a:gd name="connsiteY23" fmla="*/ 8888 h 10000"/>
              <a:gd name="connsiteX24" fmla="*/ 5734 w 10000"/>
              <a:gd name="connsiteY24" fmla="*/ 8698 h 10000"/>
              <a:gd name="connsiteX25" fmla="*/ 6089 w 10000"/>
              <a:gd name="connsiteY25" fmla="*/ 8522 h 10000"/>
              <a:gd name="connsiteX26" fmla="*/ 6491 w 10000"/>
              <a:gd name="connsiteY26" fmla="*/ 8281 h 10000"/>
              <a:gd name="connsiteX27" fmla="*/ 6893 w 10000"/>
              <a:gd name="connsiteY27" fmla="*/ 8042 h 10000"/>
              <a:gd name="connsiteX28" fmla="*/ 7249 w 10000"/>
              <a:gd name="connsiteY28" fmla="*/ 7777 h 10000"/>
              <a:gd name="connsiteX29" fmla="*/ 7542 w 10000"/>
              <a:gd name="connsiteY29" fmla="*/ 7561 h 10000"/>
              <a:gd name="connsiteX30" fmla="*/ 7867 w 10000"/>
              <a:gd name="connsiteY30" fmla="*/ 7296 h 10000"/>
              <a:gd name="connsiteX31" fmla="*/ 8114 w 10000"/>
              <a:gd name="connsiteY31" fmla="*/ 7068 h 10000"/>
              <a:gd name="connsiteX32" fmla="*/ 8393 w 10000"/>
              <a:gd name="connsiteY32" fmla="*/ 6790 h 10000"/>
              <a:gd name="connsiteX33" fmla="*/ 8670 w 10000"/>
              <a:gd name="connsiteY33" fmla="*/ 6499 h 10000"/>
              <a:gd name="connsiteX34" fmla="*/ 8871 w 10000"/>
              <a:gd name="connsiteY34" fmla="*/ 6183 h 10000"/>
              <a:gd name="connsiteX35" fmla="*/ 9088 w 10000"/>
              <a:gd name="connsiteY35" fmla="*/ 5905 h 10000"/>
              <a:gd name="connsiteX36" fmla="*/ 9242 w 10000"/>
              <a:gd name="connsiteY36" fmla="*/ 5640 h 10000"/>
              <a:gd name="connsiteX37" fmla="*/ 9458 w 10000"/>
              <a:gd name="connsiteY37" fmla="*/ 5235 h 10000"/>
              <a:gd name="connsiteX38" fmla="*/ 9597 w 10000"/>
              <a:gd name="connsiteY38" fmla="*/ 4920 h 10000"/>
              <a:gd name="connsiteX39" fmla="*/ 9768 w 10000"/>
              <a:gd name="connsiteY39" fmla="*/ 4490 h 10000"/>
              <a:gd name="connsiteX40" fmla="*/ 9876 w 10000"/>
              <a:gd name="connsiteY40" fmla="*/ 4010 h 10000"/>
              <a:gd name="connsiteX41" fmla="*/ 9953 w 10000"/>
              <a:gd name="connsiteY41" fmla="*/ 3581 h 10000"/>
              <a:gd name="connsiteX42" fmla="*/ 10000 w 10000"/>
              <a:gd name="connsiteY42" fmla="*/ 3202 h 10000"/>
              <a:gd name="connsiteX43" fmla="*/ 10000 w 10000"/>
              <a:gd name="connsiteY43" fmla="*/ 2797 h 10000"/>
              <a:gd name="connsiteX44" fmla="*/ 9984 w 10000"/>
              <a:gd name="connsiteY44" fmla="*/ 2468 h 10000"/>
              <a:gd name="connsiteX45" fmla="*/ 9922 w 10000"/>
              <a:gd name="connsiteY45" fmla="*/ 1975 h 10000"/>
              <a:gd name="connsiteX46" fmla="*/ 9768 w 10000"/>
              <a:gd name="connsiteY46" fmla="*/ 1482 h 10000"/>
              <a:gd name="connsiteX47" fmla="*/ 9628 w 10000"/>
              <a:gd name="connsiteY47" fmla="*/ 1053 h 10000"/>
              <a:gd name="connsiteX48" fmla="*/ 9458 w 10000"/>
              <a:gd name="connsiteY48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48 w 10000"/>
              <a:gd name="connsiteY5" fmla="*/ 2384 h 10000"/>
              <a:gd name="connsiteX6" fmla="*/ 2790 w 10000"/>
              <a:gd name="connsiteY6" fmla="*/ 3603 h 10000"/>
              <a:gd name="connsiteX7" fmla="*/ 1903 w 10000"/>
              <a:gd name="connsiteY7" fmla="*/ 4670 h 10000"/>
              <a:gd name="connsiteX8" fmla="*/ 819 w 10000"/>
              <a:gd name="connsiteY8" fmla="*/ 5109 h 10000"/>
              <a:gd name="connsiteX9" fmla="*/ 665 w 10000"/>
              <a:gd name="connsiteY9" fmla="*/ 5148 h 10000"/>
              <a:gd name="connsiteX10" fmla="*/ 2102 w 10000"/>
              <a:gd name="connsiteY10" fmla="*/ 7561 h 10000"/>
              <a:gd name="connsiteX11" fmla="*/ 0 w 10000"/>
              <a:gd name="connsiteY11" fmla="*/ 10000 h 10000"/>
              <a:gd name="connsiteX12" fmla="*/ 418 w 10000"/>
              <a:gd name="connsiteY12" fmla="*/ 9988 h 10000"/>
              <a:gd name="connsiteX13" fmla="*/ 850 w 10000"/>
              <a:gd name="connsiteY13" fmla="*/ 9974 h 10000"/>
              <a:gd name="connsiteX14" fmla="*/ 1329 w 10000"/>
              <a:gd name="connsiteY14" fmla="*/ 9923 h 10000"/>
              <a:gd name="connsiteX15" fmla="*/ 1824 w 10000"/>
              <a:gd name="connsiteY15" fmla="*/ 9873 h 10000"/>
              <a:gd name="connsiteX16" fmla="*/ 2302 w 10000"/>
              <a:gd name="connsiteY16" fmla="*/ 9785 h 10000"/>
              <a:gd name="connsiteX17" fmla="*/ 2782 w 10000"/>
              <a:gd name="connsiteY17" fmla="*/ 9696 h 10000"/>
              <a:gd name="connsiteX18" fmla="*/ 3153 w 10000"/>
              <a:gd name="connsiteY18" fmla="*/ 9608 h 10000"/>
              <a:gd name="connsiteX19" fmla="*/ 3554 w 10000"/>
              <a:gd name="connsiteY19" fmla="*/ 9507 h 10000"/>
              <a:gd name="connsiteX20" fmla="*/ 4049 w 10000"/>
              <a:gd name="connsiteY20" fmla="*/ 9368 h 10000"/>
              <a:gd name="connsiteX21" fmla="*/ 4467 w 10000"/>
              <a:gd name="connsiteY21" fmla="*/ 9216 h 10000"/>
              <a:gd name="connsiteX22" fmla="*/ 4868 w 10000"/>
              <a:gd name="connsiteY22" fmla="*/ 9077 h 10000"/>
              <a:gd name="connsiteX23" fmla="*/ 5301 w 10000"/>
              <a:gd name="connsiteY23" fmla="*/ 8888 h 10000"/>
              <a:gd name="connsiteX24" fmla="*/ 5734 w 10000"/>
              <a:gd name="connsiteY24" fmla="*/ 8698 h 10000"/>
              <a:gd name="connsiteX25" fmla="*/ 6089 w 10000"/>
              <a:gd name="connsiteY25" fmla="*/ 8522 h 10000"/>
              <a:gd name="connsiteX26" fmla="*/ 6491 w 10000"/>
              <a:gd name="connsiteY26" fmla="*/ 8281 h 10000"/>
              <a:gd name="connsiteX27" fmla="*/ 6893 w 10000"/>
              <a:gd name="connsiteY27" fmla="*/ 8042 h 10000"/>
              <a:gd name="connsiteX28" fmla="*/ 7249 w 10000"/>
              <a:gd name="connsiteY28" fmla="*/ 7777 h 10000"/>
              <a:gd name="connsiteX29" fmla="*/ 7542 w 10000"/>
              <a:gd name="connsiteY29" fmla="*/ 7561 h 10000"/>
              <a:gd name="connsiteX30" fmla="*/ 7867 w 10000"/>
              <a:gd name="connsiteY30" fmla="*/ 7296 h 10000"/>
              <a:gd name="connsiteX31" fmla="*/ 8114 w 10000"/>
              <a:gd name="connsiteY31" fmla="*/ 7068 h 10000"/>
              <a:gd name="connsiteX32" fmla="*/ 8393 w 10000"/>
              <a:gd name="connsiteY32" fmla="*/ 6790 h 10000"/>
              <a:gd name="connsiteX33" fmla="*/ 8670 w 10000"/>
              <a:gd name="connsiteY33" fmla="*/ 6499 h 10000"/>
              <a:gd name="connsiteX34" fmla="*/ 8871 w 10000"/>
              <a:gd name="connsiteY34" fmla="*/ 6183 h 10000"/>
              <a:gd name="connsiteX35" fmla="*/ 9088 w 10000"/>
              <a:gd name="connsiteY35" fmla="*/ 5905 h 10000"/>
              <a:gd name="connsiteX36" fmla="*/ 9242 w 10000"/>
              <a:gd name="connsiteY36" fmla="*/ 5640 h 10000"/>
              <a:gd name="connsiteX37" fmla="*/ 9458 w 10000"/>
              <a:gd name="connsiteY37" fmla="*/ 5235 h 10000"/>
              <a:gd name="connsiteX38" fmla="*/ 9597 w 10000"/>
              <a:gd name="connsiteY38" fmla="*/ 4920 h 10000"/>
              <a:gd name="connsiteX39" fmla="*/ 9768 w 10000"/>
              <a:gd name="connsiteY39" fmla="*/ 4490 h 10000"/>
              <a:gd name="connsiteX40" fmla="*/ 9876 w 10000"/>
              <a:gd name="connsiteY40" fmla="*/ 4010 h 10000"/>
              <a:gd name="connsiteX41" fmla="*/ 9953 w 10000"/>
              <a:gd name="connsiteY41" fmla="*/ 3581 h 10000"/>
              <a:gd name="connsiteX42" fmla="*/ 10000 w 10000"/>
              <a:gd name="connsiteY42" fmla="*/ 3202 h 10000"/>
              <a:gd name="connsiteX43" fmla="*/ 10000 w 10000"/>
              <a:gd name="connsiteY43" fmla="*/ 2797 h 10000"/>
              <a:gd name="connsiteX44" fmla="*/ 9984 w 10000"/>
              <a:gd name="connsiteY44" fmla="*/ 2468 h 10000"/>
              <a:gd name="connsiteX45" fmla="*/ 9922 w 10000"/>
              <a:gd name="connsiteY45" fmla="*/ 1975 h 10000"/>
              <a:gd name="connsiteX46" fmla="*/ 9768 w 10000"/>
              <a:gd name="connsiteY46" fmla="*/ 1482 h 10000"/>
              <a:gd name="connsiteX47" fmla="*/ 9628 w 10000"/>
              <a:gd name="connsiteY47" fmla="*/ 1053 h 10000"/>
              <a:gd name="connsiteX48" fmla="*/ 9458 w 10000"/>
              <a:gd name="connsiteY48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48 w 10000"/>
              <a:gd name="connsiteY5" fmla="*/ 2384 h 10000"/>
              <a:gd name="connsiteX6" fmla="*/ 2790 w 10000"/>
              <a:gd name="connsiteY6" fmla="*/ 3603 h 10000"/>
              <a:gd name="connsiteX7" fmla="*/ 1881 w 10000"/>
              <a:gd name="connsiteY7" fmla="*/ 4672 h 10000"/>
              <a:gd name="connsiteX8" fmla="*/ 819 w 10000"/>
              <a:gd name="connsiteY8" fmla="*/ 5109 h 10000"/>
              <a:gd name="connsiteX9" fmla="*/ 665 w 10000"/>
              <a:gd name="connsiteY9" fmla="*/ 5148 h 10000"/>
              <a:gd name="connsiteX10" fmla="*/ 2102 w 10000"/>
              <a:gd name="connsiteY10" fmla="*/ 7561 h 10000"/>
              <a:gd name="connsiteX11" fmla="*/ 0 w 10000"/>
              <a:gd name="connsiteY11" fmla="*/ 10000 h 10000"/>
              <a:gd name="connsiteX12" fmla="*/ 418 w 10000"/>
              <a:gd name="connsiteY12" fmla="*/ 9988 h 10000"/>
              <a:gd name="connsiteX13" fmla="*/ 850 w 10000"/>
              <a:gd name="connsiteY13" fmla="*/ 9974 h 10000"/>
              <a:gd name="connsiteX14" fmla="*/ 1329 w 10000"/>
              <a:gd name="connsiteY14" fmla="*/ 9923 h 10000"/>
              <a:gd name="connsiteX15" fmla="*/ 1824 w 10000"/>
              <a:gd name="connsiteY15" fmla="*/ 9873 h 10000"/>
              <a:gd name="connsiteX16" fmla="*/ 2302 w 10000"/>
              <a:gd name="connsiteY16" fmla="*/ 9785 h 10000"/>
              <a:gd name="connsiteX17" fmla="*/ 2782 w 10000"/>
              <a:gd name="connsiteY17" fmla="*/ 9696 h 10000"/>
              <a:gd name="connsiteX18" fmla="*/ 3153 w 10000"/>
              <a:gd name="connsiteY18" fmla="*/ 9608 h 10000"/>
              <a:gd name="connsiteX19" fmla="*/ 3554 w 10000"/>
              <a:gd name="connsiteY19" fmla="*/ 9507 h 10000"/>
              <a:gd name="connsiteX20" fmla="*/ 4049 w 10000"/>
              <a:gd name="connsiteY20" fmla="*/ 9368 h 10000"/>
              <a:gd name="connsiteX21" fmla="*/ 4467 w 10000"/>
              <a:gd name="connsiteY21" fmla="*/ 9216 h 10000"/>
              <a:gd name="connsiteX22" fmla="*/ 4868 w 10000"/>
              <a:gd name="connsiteY22" fmla="*/ 9077 h 10000"/>
              <a:gd name="connsiteX23" fmla="*/ 5301 w 10000"/>
              <a:gd name="connsiteY23" fmla="*/ 8888 h 10000"/>
              <a:gd name="connsiteX24" fmla="*/ 5734 w 10000"/>
              <a:gd name="connsiteY24" fmla="*/ 8698 h 10000"/>
              <a:gd name="connsiteX25" fmla="*/ 6089 w 10000"/>
              <a:gd name="connsiteY25" fmla="*/ 8522 h 10000"/>
              <a:gd name="connsiteX26" fmla="*/ 6491 w 10000"/>
              <a:gd name="connsiteY26" fmla="*/ 8281 h 10000"/>
              <a:gd name="connsiteX27" fmla="*/ 6893 w 10000"/>
              <a:gd name="connsiteY27" fmla="*/ 8042 h 10000"/>
              <a:gd name="connsiteX28" fmla="*/ 7249 w 10000"/>
              <a:gd name="connsiteY28" fmla="*/ 7777 h 10000"/>
              <a:gd name="connsiteX29" fmla="*/ 7542 w 10000"/>
              <a:gd name="connsiteY29" fmla="*/ 7561 h 10000"/>
              <a:gd name="connsiteX30" fmla="*/ 7867 w 10000"/>
              <a:gd name="connsiteY30" fmla="*/ 7296 h 10000"/>
              <a:gd name="connsiteX31" fmla="*/ 8114 w 10000"/>
              <a:gd name="connsiteY31" fmla="*/ 7068 h 10000"/>
              <a:gd name="connsiteX32" fmla="*/ 8393 w 10000"/>
              <a:gd name="connsiteY32" fmla="*/ 6790 h 10000"/>
              <a:gd name="connsiteX33" fmla="*/ 8670 w 10000"/>
              <a:gd name="connsiteY33" fmla="*/ 6499 h 10000"/>
              <a:gd name="connsiteX34" fmla="*/ 8871 w 10000"/>
              <a:gd name="connsiteY34" fmla="*/ 6183 h 10000"/>
              <a:gd name="connsiteX35" fmla="*/ 9088 w 10000"/>
              <a:gd name="connsiteY35" fmla="*/ 5905 h 10000"/>
              <a:gd name="connsiteX36" fmla="*/ 9242 w 10000"/>
              <a:gd name="connsiteY36" fmla="*/ 5640 h 10000"/>
              <a:gd name="connsiteX37" fmla="*/ 9458 w 10000"/>
              <a:gd name="connsiteY37" fmla="*/ 5235 h 10000"/>
              <a:gd name="connsiteX38" fmla="*/ 9597 w 10000"/>
              <a:gd name="connsiteY38" fmla="*/ 4920 h 10000"/>
              <a:gd name="connsiteX39" fmla="*/ 9768 w 10000"/>
              <a:gd name="connsiteY39" fmla="*/ 4490 h 10000"/>
              <a:gd name="connsiteX40" fmla="*/ 9876 w 10000"/>
              <a:gd name="connsiteY40" fmla="*/ 4010 h 10000"/>
              <a:gd name="connsiteX41" fmla="*/ 9953 w 10000"/>
              <a:gd name="connsiteY41" fmla="*/ 3581 h 10000"/>
              <a:gd name="connsiteX42" fmla="*/ 10000 w 10000"/>
              <a:gd name="connsiteY42" fmla="*/ 3202 h 10000"/>
              <a:gd name="connsiteX43" fmla="*/ 10000 w 10000"/>
              <a:gd name="connsiteY43" fmla="*/ 2797 h 10000"/>
              <a:gd name="connsiteX44" fmla="*/ 9984 w 10000"/>
              <a:gd name="connsiteY44" fmla="*/ 2468 h 10000"/>
              <a:gd name="connsiteX45" fmla="*/ 9922 w 10000"/>
              <a:gd name="connsiteY45" fmla="*/ 1975 h 10000"/>
              <a:gd name="connsiteX46" fmla="*/ 9768 w 10000"/>
              <a:gd name="connsiteY46" fmla="*/ 1482 h 10000"/>
              <a:gd name="connsiteX47" fmla="*/ 9628 w 10000"/>
              <a:gd name="connsiteY47" fmla="*/ 1053 h 10000"/>
              <a:gd name="connsiteX48" fmla="*/ 9458 w 10000"/>
              <a:gd name="connsiteY48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48 w 10000"/>
              <a:gd name="connsiteY5" fmla="*/ 2384 h 10000"/>
              <a:gd name="connsiteX6" fmla="*/ 2790 w 10000"/>
              <a:gd name="connsiteY6" fmla="*/ 3603 h 10000"/>
              <a:gd name="connsiteX7" fmla="*/ 1852 w 10000"/>
              <a:gd name="connsiteY7" fmla="*/ 4662 h 10000"/>
              <a:gd name="connsiteX8" fmla="*/ 819 w 10000"/>
              <a:gd name="connsiteY8" fmla="*/ 5109 h 10000"/>
              <a:gd name="connsiteX9" fmla="*/ 665 w 10000"/>
              <a:gd name="connsiteY9" fmla="*/ 5148 h 10000"/>
              <a:gd name="connsiteX10" fmla="*/ 2102 w 10000"/>
              <a:gd name="connsiteY10" fmla="*/ 7561 h 10000"/>
              <a:gd name="connsiteX11" fmla="*/ 0 w 10000"/>
              <a:gd name="connsiteY11" fmla="*/ 10000 h 10000"/>
              <a:gd name="connsiteX12" fmla="*/ 418 w 10000"/>
              <a:gd name="connsiteY12" fmla="*/ 9988 h 10000"/>
              <a:gd name="connsiteX13" fmla="*/ 850 w 10000"/>
              <a:gd name="connsiteY13" fmla="*/ 9974 h 10000"/>
              <a:gd name="connsiteX14" fmla="*/ 1329 w 10000"/>
              <a:gd name="connsiteY14" fmla="*/ 9923 h 10000"/>
              <a:gd name="connsiteX15" fmla="*/ 1824 w 10000"/>
              <a:gd name="connsiteY15" fmla="*/ 9873 h 10000"/>
              <a:gd name="connsiteX16" fmla="*/ 2302 w 10000"/>
              <a:gd name="connsiteY16" fmla="*/ 9785 h 10000"/>
              <a:gd name="connsiteX17" fmla="*/ 2782 w 10000"/>
              <a:gd name="connsiteY17" fmla="*/ 9696 h 10000"/>
              <a:gd name="connsiteX18" fmla="*/ 3153 w 10000"/>
              <a:gd name="connsiteY18" fmla="*/ 9608 h 10000"/>
              <a:gd name="connsiteX19" fmla="*/ 3554 w 10000"/>
              <a:gd name="connsiteY19" fmla="*/ 9507 h 10000"/>
              <a:gd name="connsiteX20" fmla="*/ 4049 w 10000"/>
              <a:gd name="connsiteY20" fmla="*/ 9368 h 10000"/>
              <a:gd name="connsiteX21" fmla="*/ 4467 w 10000"/>
              <a:gd name="connsiteY21" fmla="*/ 9216 h 10000"/>
              <a:gd name="connsiteX22" fmla="*/ 4868 w 10000"/>
              <a:gd name="connsiteY22" fmla="*/ 9077 h 10000"/>
              <a:gd name="connsiteX23" fmla="*/ 5301 w 10000"/>
              <a:gd name="connsiteY23" fmla="*/ 8888 h 10000"/>
              <a:gd name="connsiteX24" fmla="*/ 5734 w 10000"/>
              <a:gd name="connsiteY24" fmla="*/ 8698 h 10000"/>
              <a:gd name="connsiteX25" fmla="*/ 6089 w 10000"/>
              <a:gd name="connsiteY25" fmla="*/ 8522 h 10000"/>
              <a:gd name="connsiteX26" fmla="*/ 6491 w 10000"/>
              <a:gd name="connsiteY26" fmla="*/ 8281 h 10000"/>
              <a:gd name="connsiteX27" fmla="*/ 6893 w 10000"/>
              <a:gd name="connsiteY27" fmla="*/ 8042 h 10000"/>
              <a:gd name="connsiteX28" fmla="*/ 7249 w 10000"/>
              <a:gd name="connsiteY28" fmla="*/ 7777 h 10000"/>
              <a:gd name="connsiteX29" fmla="*/ 7542 w 10000"/>
              <a:gd name="connsiteY29" fmla="*/ 7561 h 10000"/>
              <a:gd name="connsiteX30" fmla="*/ 7867 w 10000"/>
              <a:gd name="connsiteY30" fmla="*/ 7296 h 10000"/>
              <a:gd name="connsiteX31" fmla="*/ 8114 w 10000"/>
              <a:gd name="connsiteY31" fmla="*/ 7068 h 10000"/>
              <a:gd name="connsiteX32" fmla="*/ 8393 w 10000"/>
              <a:gd name="connsiteY32" fmla="*/ 6790 h 10000"/>
              <a:gd name="connsiteX33" fmla="*/ 8670 w 10000"/>
              <a:gd name="connsiteY33" fmla="*/ 6499 h 10000"/>
              <a:gd name="connsiteX34" fmla="*/ 8871 w 10000"/>
              <a:gd name="connsiteY34" fmla="*/ 6183 h 10000"/>
              <a:gd name="connsiteX35" fmla="*/ 9088 w 10000"/>
              <a:gd name="connsiteY35" fmla="*/ 5905 h 10000"/>
              <a:gd name="connsiteX36" fmla="*/ 9242 w 10000"/>
              <a:gd name="connsiteY36" fmla="*/ 5640 h 10000"/>
              <a:gd name="connsiteX37" fmla="*/ 9458 w 10000"/>
              <a:gd name="connsiteY37" fmla="*/ 5235 h 10000"/>
              <a:gd name="connsiteX38" fmla="*/ 9597 w 10000"/>
              <a:gd name="connsiteY38" fmla="*/ 4920 h 10000"/>
              <a:gd name="connsiteX39" fmla="*/ 9768 w 10000"/>
              <a:gd name="connsiteY39" fmla="*/ 4490 h 10000"/>
              <a:gd name="connsiteX40" fmla="*/ 9876 w 10000"/>
              <a:gd name="connsiteY40" fmla="*/ 4010 h 10000"/>
              <a:gd name="connsiteX41" fmla="*/ 9953 w 10000"/>
              <a:gd name="connsiteY41" fmla="*/ 3581 h 10000"/>
              <a:gd name="connsiteX42" fmla="*/ 10000 w 10000"/>
              <a:gd name="connsiteY42" fmla="*/ 3202 h 10000"/>
              <a:gd name="connsiteX43" fmla="*/ 10000 w 10000"/>
              <a:gd name="connsiteY43" fmla="*/ 2797 h 10000"/>
              <a:gd name="connsiteX44" fmla="*/ 9984 w 10000"/>
              <a:gd name="connsiteY44" fmla="*/ 2468 h 10000"/>
              <a:gd name="connsiteX45" fmla="*/ 9922 w 10000"/>
              <a:gd name="connsiteY45" fmla="*/ 1975 h 10000"/>
              <a:gd name="connsiteX46" fmla="*/ 9768 w 10000"/>
              <a:gd name="connsiteY46" fmla="*/ 1482 h 10000"/>
              <a:gd name="connsiteX47" fmla="*/ 9628 w 10000"/>
              <a:gd name="connsiteY47" fmla="*/ 1053 h 10000"/>
              <a:gd name="connsiteX48" fmla="*/ 9458 w 10000"/>
              <a:gd name="connsiteY48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48 w 10000"/>
              <a:gd name="connsiteY5" fmla="*/ 2384 h 10000"/>
              <a:gd name="connsiteX6" fmla="*/ 2790 w 10000"/>
              <a:gd name="connsiteY6" fmla="*/ 3603 h 10000"/>
              <a:gd name="connsiteX7" fmla="*/ 1852 w 10000"/>
              <a:gd name="connsiteY7" fmla="*/ 4662 h 10000"/>
              <a:gd name="connsiteX8" fmla="*/ 819 w 10000"/>
              <a:gd name="connsiteY8" fmla="*/ 5109 h 10000"/>
              <a:gd name="connsiteX9" fmla="*/ 665 w 10000"/>
              <a:gd name="connsiteY9" fmla="*/ 5148 h 10000"/>
              <a:gd name="connsiteX10" fmla="*/ 2102 w 10000"/>
              <a:gd name="connsiteY10" fmla="*/ 7561 h 10000"/>
              <a:gd name="connsiteX11" fmla="*/ 0 w 10000"/>
              <a:gd name="connsiteY11" fmla="*/ 10000 h 10000"/>
              <a:gd name="connsiteX12" fmla="*/ 418 w 10000"/>
              <a:gd name="connsiteY12" fmla="*/ 9988 h 10000"/>
              <a:gd name="connsiteX13" fmla="*/ 850 w 10000"/>
              <a:gd name="connsiteY13" fmla="*/ 9974 h 10000"/>
              <a:gd name="connsiteX14" fmla="*/ 1329 w 10000"/>
              <a:gd name="connsiteY14" fmla="*/ 9923 h 10000"/>
              <a:gd name="connsiteX15" fmla="*/ 1824 w 10000"/>
              <a:gd name="connsiteY15" fmla="*/ 9873 h 10000"/>
              <a:gd name="connsiteX16" fmla="*/ 2302 w 10000"/>
              <a:gd name="connsiteY16" fmla="*/ 9785 h 10000"/>
              <a:gd name="connsiteX17" fmla="*/ 2782 w 10000"/>
              <a:gd name="connsiteY17" fmla="*/ 9696 h 10000"/>
              <a:gd name="connsiteX18" fmla="*/ 3153 w 10000"/>
              <a:gd name="connsiteY18" fmla="*/ 9608 h 10000"/>
              <a:gd name="connsiteX19" fmla="*/ 3554 w 10000"/>
              <a:gd name="connsiteY19" fmla="*/ 9507 h 10000"/>
              <a:gd name="connsiteX20" fmla="*/ 4049 w 10000"/>
              <a:gd name="connsiteY20" fmla="*/ 9368 h 10000"/>
              <a:gd name="connsiteX21" fmla="*/ 4467 w 10000"/>
              <a:gd name="connsiteY21" fmla="*/ 9216 h 10000"/>
              <a:gd name="connsiteX22" fmla="*/ 4868 w 10000"/>
              <a:gd name="connsiteY22" fmla="*/ 9077 h 10000"/>
              <a:gd name="connsiteX23" fmla="*/ 5301 w 10000"/>
              <a:gd name="connsiteY23" fmla="*/ 8888 h 10000"/>
              <a:gd name="connsiteX24" fmla="*/ 5734 w 10000"/>
              <a:gd name="connsiteY24" fmla="*/ 8698 h 10000"/>
              <a:gd name="connsiteX25" fmla="*/ 6089 w 10000"/>
              <a:gd name="connsiteY25" fmla="*/ 8522 h 10000"/>
              <a:gd name="connsiteX26" fmla="*/ 6491 w 10000"/>
              <a:gd name="connsiteY26" fmla="*/ 8281 h 10000"/>
              <a:gd name="connsiteX27" fmla="*/ 6893 w 10000"/>
              <a:gd name="connsiteY27" fmla="*/ 8042 h 10000"/>
              <a:gd name="connsiteX28" fmla="*/ 7249 w 10000"/>
              <a:gd name="connsiteY28" fmla="*/ 7777 h 10000"/>
              <a:gd name="connsiteX29" fmla="*/ 7542 w 10000"/>
              <a:gd name="connsiteY29" fmla="*/ 7561 h 10000"/>
              <a:gd name="connsiteX30" fmla="*/ 7867 w 10000"/>
              <a:gd name="connsiteY30" fmla="*/ 7296 h 10000"/>
              <a:gd name="connsiteX31" fmla="*/ 8114 w 10000"/>
              <a:gd name="connsiteY31" fmla="*/ 7068 h 10000"/>
              <a:gd name="connsiteX32" fmla="*/ 8393 w 10000"/>
              <a:gd name="connsiteY32" fmla="*/ 6790 h 10000"/>
              <a:gd name="connsiteX33" fmla="*/ 8670 w 10000"/>
              <a:gd name="connsiteY33" fmla="*/ 6499 h 10000"/>
              <a:gd name="connsiteX34" fmla="*/ 8871 w 10000"/>
              <a:gd name="connsiteY34" fmla="*/ 6183 h 10000"/>
              <a:gd name="connsiteX35" fmla="*/ 9088 w 10000"/>
              <a:gd name="connsiteY35" fmla="*/ 5905 h 10000"/>
              <a:gd name="connsiteX36" fmla="*/ 9242 w 10000"/>
              <a:gd name="connsiteY36" fmla="*/ 5640 h 10000"/>
              <a:gd name="connsiteX37" fmla="*/ 9458 w 10000"/>
              <a:gd name="connsiteY37" fmla="*/ 5235 h 10000"/>
              <a:gd name="connsiteX38" fmla="*/ 9597 w 10000"/>
              <a:gd name="connsiteY38" fmla="*/ 4920 h 10000"/>
              <a:gd name="connsiteX39" fmla="*/ 9768 w 10000"/>
              <a:gd name="connsiteY39" fmla="*/ 4490 h 10000"/>
              <a:gd name="connsiteX40" fmla="*/ 9876 w 10000"/>
              <a:gd name="connsiteY40" fmla="*/ 4010 h 10000"/>
              <a:gd name="connsiteX41" fmla="*/ 9953 w 10000"/>
              <a:gd name="connsiteY41" fmla="*/ 3581 h 10000"/>
              <a:gd name="connsiteX42" fmla="*/ 10000 w 10000"/>
              <a:gd name="connsiteY42" fmla="*/ 3202 h 10000"/>
              <a:gd name="connsiteX43" fmla="*/ 10000 w 10000"/>
              <a:gd name="connsiteY43" fmla="*/ 2797 h 10000"/>
              <a:gd name="connsiteX44" fmla="*/ 9984 w 10000"/>
              <a:gd name="connsiteY44" fmla="*/ 2468 h 10000"/>
              <a:gd name="connsiteX45" fmla="*/ 9922 w 10000"/>
              <a:gd name="connsiteY45" fmla="*/ 1975 h 10000"/>
              <a:gd name="connsiteX46" fmla="*/ 9768 w 10000"/>
              <a:gd name="connsiteY46" fmla="*/ 1482 h 10000"/>
              <a:gd name="connsiteX47" fmla="*/ 9628 w 10000"/>
              <a:gd name="connsiteY47" fmla="*/ 1053 h 10000"/>
              <a:gd name="connsiteX48" fmla="*/ 9458 w 10000"/>
              <a:gd name="connsiteY48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48 w 10000"/>
              <a:gd name="connsiteY5" fmla="*/ 2384 h 10000"/>
              <a:gd name="connsiteX6" fmla="*/ 2790 w 10000"/>
              <a:gd name="connsiteY6" fmla="*/ 3603 h 10000"/>
              <a:gd name="connsiteX7" fmla="*/ 1852 w 10000"/>
              <a:gd name="connsiteY7" fmla="*/ 4662 h 10000"/>
              <a:gd name="connsiteX8" fmla="*/ 819 w 10000"/>
              <a:gd name="connsiteY8" fmla="*/ 5109 h 10000"/>
              <a:gd name="connsiteX9" fmla="*/ 665 w 10000"/>
              <a:gd name="connsiteY9" fmla="*/ 5148 h 10000"/>
              <a:gd name="connsiteX10" fmla="*/ 2102 w 10000"/>
              <a:gd name="connsiteY10" fmla="*/ 7561 h 10000"/>
              <a:gd name="connsiteX11" fmla="*/ 0 w 10000"/>
              <a:gd name="connsiteY11" fmla="*/ 10000 h 10000"/>
              <a:gd name="connsiteX12" fmla="*/ 418 w 10000"/>
              <a:gd name="connsiteY12" fmla="*/ 9988 h 10000"/>
              <a:gd name="connsiteX13" fmla="*/ 850 w 10000"/>
              <a:gd name="connsiteY13" fmla="*/ 9974 h 10000"/>
              <a:gd name="connsiteX14" fmla="*/ 1329 w 10000"/>
              <a:gd name="connsiteY14" fmla="*/ 9923 h 10000"/>
              <a:gd name="connsiteX15" fmla="*/ 1824 w 10000"/>
              <a:gd name="connsiteY15" fmla="*/ 9873 h 10000"/>
              <a:gd name="connsiteX16" fmla="*/ 2302 w 10000"/>
              <a:gd name="connsiteY16" fmla="*/ 9785 h 10000"/>
              <a:gd name="connsiteX17" fmla="*/ 2782 w 10000"/>
              <a:gd name="connsiteY17" fmla="*/ 9696 h 10000"/>
              <a:gd name="connsiteX18" fmla="*/ 3153 w 10000"/>
              <a:gd name="connsiteY18" fmla="*/ 9608 h 10000"/>
              <a:gd name="connsiteX19" fmla="*/ 3554 w 10000"/>
              <a:gd name="connsiteY19" fmla="*/ 9507 h 10000"/>
              <a:gd name="connsiteX20" fmla="*/ 4049 w 10000"/>
              <a:gd name="connsiteY20" fmla="*/ 9368 h 10000"/>
              <a:gd name="connsiteX21" fmla="*/ 4467 w 10000"/>
              <a:gd name="connsiteY21" fmla="*/ 9216 h 10000"/>
              <a:gd name="connsiteX22" fmla="*/ 4868 w 10000"/>
              <a:gd name="connsiteY22" fmla="*/ 9077 h 10000"/>
              <a:gd name="connsiteX23" fmla="*/ 5301 w 10000"/>
              <a:gd name="connsiteY23" fmla="*/ 8888 h 10000"/>
              <a:gd name="connsiteX24" fmla="*/ 5734 w 10000"/>
              <a:gd name="connsiteY24" fmla="*/ 8698 h 10000"/>
              <a:gd name="connsiteX25" fmla="*/ 6089 w 10000"/>
              <a:gd name="connsiteY25" fmla="*/ 8522 h 10000"/>
              <a:gd name="connsiteX26" fmla="*/ 6491 w 10000"/>
              <a:gd name="connsiteY26" fmla="*/ 8281 h 10000"/>
              <a:gd name="connsiteX27" fmla="*/ 6893 w 10000"/>
              <a:gd name="connsiteY27" fmla="*/ 8042 h 10000"/>
              <a:gd name="connsiteX28" fmla="*/ 7249 w 10000"/>
              <a:gd name="connsiteY28" fmla="*/ 7777 h 10000"/>
              <a:gd name="connsiteX29" fmla="*/ 7542 w 10000"/>
              <a:gd name="connsiteY29" fmla="*/ 7561 h 10000"/>
              <a:gd name="connsiteX30" fmla="*/ 7867 w 10000"/>
              <a:gd name="connsiteY30" fmla="*/ 7296 h 10000"/>
              <a:gd name="connsiteX31" fmla="*/ 8114 w 10000"/>
              <a:gd name="connsiteY31" fmla="*/ 7068 h 10000"/>
              <a:gd name="connsiteX32" fmla="*/ 8393 w 10000"/>
              <a:gd name="connsiteY32" fmla="*/ 6790 h 10000"/>
              <a:gd name="connsiteX33" fmla="*/ 8670 w 10000"/>
              <a:gd name="connsiteY33" fmla="*/ 6499 h 10000"/>
              <a:gd name="connsiteX34" fmla="*/ 8871 w 10000"/>
              <a:gd name="connsiteY34" fmla="*/ 6183 h 10000"/>
              <a:gd name="connsiteX35" fmla="*/ 9088 w 10000"/>
              <a:gd name="connsiteY35" fmla="*/ 5905 h 10000"/>
              <a:gd name="connsiteX36" fmla="*/ 9242 w 10000"/>
              <a:gd name="connsiteY36" fmla="*/ 5640 h 10000"/>
              <a:gd name="connsiteX37" fmla="*/ 9458 w 10000"/>
              <a:gd name="connsiteY37" fmla="*/ 5235 h 10000"/>
              <a:gd name="connsiteX38" fmla="*/ 9597 w 10000"/>
              <a:gd name="connsiteY38" fmla="*/ 4920 h 10000"/>
              <a:gd name="connsiteX39" fmla="*/ 9768 w 10000"/>
              <a:gd name="connsiteY39" fmla="*/ 4490 h 10000"/>
              <a:gd name="connsiteX40" fmla="*/ 9876 w 10000"/>
              <a:gd name="connsiteY40" fmla="*/ 4010 h 10000"/>
              <a:gd name="connsiteX41" fmla="*/ 9953 w 10000"/>
              <a:gd name="connsiteY41" fmla="*/ 3581 h 10000"/>
              <a:gd name="connsiteX42" fmla="*/ 10000 w 10000"/>
              <a:gd name="connsiteY42" fmla="*/ 3202 h 10000"/>
              <a:gd name="connsiteX43" fmla="*/ 10000 w 10000"/>
              <a:gd name="connsiteY43" fmla="*/ 2797 h 10000"/>
              <a:gd name="connsiteX44" fmla="*/ 9984 w 10000"/>
              <a:gd name="connsiteY44" fmla="*/ 2468 h 10000"/>
              <a:gd name="connsiteX45" fmla="*/ 9922 w 10000"/>
              <a:gd name="connsiteY45" fmla="*/ 1975 h 10000"/>
              <a:gd name="connsiteX46" fmla="*/ 9768 w 10000"/>
              <a:gd name="connsiteY46" fmla="*/ 1482 h 10000"/>
              <a:gd name="connsiteX47" fmla="*/ 9628 w 10000"/>
              <a:gd name="connsiteY47" fmla="*/ 1053 h 10000"/>
              <a:gd name="connsiteX48" fmla="*/ 9458 w 10000"/>
              <a:gd name="connsiteY48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2790 w 10000"/>
              <a:gd name="connsiteY5" fmla="*/ 3603 h 10000"/>
              <a:gd name="connsiteX6" fmla="*/ 1852 w 10000"/>
              <a:gd name="connsiteY6" fmla="*/ 4662 h 10000"/>
              <a:gd name="connsiteX7" fmla="*/ 819 w 10000"/>
              <a:gd name="connsiteY7" fmla="*/ 5109 h 10000"/>
              <a:gd name="connsiteX8" fmla="*/ 665 w 10000"/>
              <a:gd name="connsiteY8" fmla="*/ 5148 h 10000"/>
              <a:gd name="connsiteX9" fmla="*/ 2102 w 10000"/>
              <a:gd name="connsiteY9" fmla="*/ 7561 h 10000"/>
              <a:gd name="connsiteX10" fmla="*/ 0 w 10000"/>
              <a:gd name="connsiteY10" fmla="*/ 10000 h 10000"/>
              <a:gd name="connsiteX11" fmla="*/ 418 w 10000"/>
              <a:gd name="connsiteY11" fmla="*/ 9988 h 10000"/>
              <a:gd name="connsiteX12" fmla="*/ 850 w 10000"/>
              <a:gd name="connsiteY12" fmla="*/ 9974 h 10000"/>
              <a:gd name="connsiteX13" fmla="*/ 1329 w 10000"/>
              <a:gd name="connsiteY13" fmla="*/ 9923 h 10000"/>
              <a:gd name="connsiteX14" fmla="*/ 1824 w 10000"/>
              <a:gd name="connsiteY14" fmla="*/ 9873 h 10000"/>
              <a:gd name="connsiteX15" fmla="*/ 2302 w 10000"/>
              <a:gd name="connsiteY15" fmla="*/ 9785 h 10000"/>
              <a:gd name="connsiteX16" fmla="*/ 2782 w 10000"/>
              <a:gd name="connsiteY16" fmla="*/ 9696 h 10000"/>
              <a:gd name="connsiteX17" fmla="*/ 3153 w 10000"/>
              <a:gd name="connsiteY17" fmla="*/ 9608 h 10000"/>
              <a:gd name="connsiteX18" fmla="*/ 3554 w 10000"/>
              <a:gd name="connsiteY18" fmla="*/ 9507 h 10000"/>
              <a:gd name="connsiteX19" fmla="*/ 4049 w 10000"/>
              <a:gd name="connsiteY19" fmla="*/ 9368 h 10000"/>
              <a:gd name="connsiteX20" fmla="*/ 4467 w 10000"/>
              <a:gd name="connsiteY20" fmla="*/ 9216 h 10000"/>
              <a:gd name="connsiteX21" fmla="*/ 4868 w 10000"/>
              <a:gd name="connsiteY21" fmla="*/ 9077 h 10000"/>
              <a:gd name="connsiteX22" fmla="*/ 5301 w 10000"/>
              <a:gd name="connsiteY22" fmla="*/ 8888 h 10000"/>
              <a:gd name="connsiteX23" fmla="*/ 5734 w 10000"/>
              <a:gd name="connsiteY23" fmla="*/ 8698 h 10000"/>
              <a:gd name="connsiteX24" fmla="*/ 6089 w 10000"/>
              <a:gd name="connsiteY24" fmla="*/ 8522 h 10000"/>
              <a:gd name="connsiteX25" fmla="*/ 6491 w 10000"/>
              <a:gd name="connsiteY25" fmla="*/ 8281 h 10000"/>
              <a:gd name="connsiteX26" fmla="*/ 6893 w 10000"/>
              <a:gd name="connsiteY26" fmla="*/ 8042 h 10000"/>
              <a:gd name="connsiteX27" fmla="*/ 7249 w 10000"/>
              <a:gd name="connsiteY27" fmla="*/ 7777 h 10000"/>
              <a:gd name="connsiteX28" fmla="*/ 7542 w 10000"/>
              <a:gd name="connsiteY28" fmla="*/ 7561 h 10000"/>
              <a:gd name="connsiteX29" fmla="*/ 7867 w 10000"/>
              <a:gd name="connsiteY29" fmla="*/ 7296 h 10000"/>
              <a:gd name="connsiteX30" fmla="*/ 8114 w 10000"/>
              <a:gd name="connsiteY30" fmla="*/ 7068 h 10000"/>
              <a:gd name="connsiteX31" fmla="*/ 8393 w 10000"/>
              <a:gd name="connsiteY31" fmla="*/ 6790 h 10000"/>
              <a:gd name="connsiteX32" fmla="*/ 8670 w 10000"/>
              <a:gd name="connsiteY32" fmla="*/ 6499 h 10000"/>
              <a:gd name="connsiteX33" fmla="*/ 8871 w 10000"/>
              <a:gd name="connsiteY33" fmla="*/ 6183 h 10000"/>
              <a:gd name="connsiteX34" fmla="*/ 9088 w 10000"/>
              <a:gd name="connsiteY34" fmla="*/ 5905 h 10000"/>
              <a:gd name="connsiteX35" fmla="*/ 9242 w 10000"/>
              <a:gd name="connsiteY35" fmla="*/ 5640 h 10000"/>
              <a:gd name="connsiteX36" fmla="*/ 9458 w 10000"/>
              <a:gd name="connsiteY36" fmla="*/ 5235 h 10000"/>
              <a:gd name="connsiteX37" fmla="*/ 9597 w 10000"/>
              <a:gd name="connsiteY37" fmla="*/ 4920 h 10000"/>
              <a:gd name="connsiteX38" fmla="*/ 9768 w 10000"/>
              <a:gd name="connsiteY38" fmla="*/ 4490 h 10000"/>
              <a:gd name="connsiteX39" fmla="*/ 9876 w 10000"/>
              <a:gd name="connsiteY39" fmla="*/ 4010 h 10000"/>
              <a:gd name="connsiteX40" fmla="*/ 9953 w 10000"/>
              <a:gd name="connsiteY40" fmla="*/ 3581 h 10000"/>
              <a:gd name="connsiteX41" fmla="*/ 10000 w 10000"/>
              <a:gd name="connsiteY41" fmla="*/ 3202 h 10000"/>
              <a:gd name="connsiteX42" fmla="*/ 10000 w 10000"/>
              <a:gd name="connsiteY42" fmla="*/ 2797 h 10000"/>
              <a:gd name="connsiteX43" fmla="*/ 9984 w 10000"/>
              <a:gd name="connsiteY43" fmla="*/ 2468 h 10000"/>
              <a:gd name="connsiteX44" fmla="*/ 9922 w 10000"/>
              <a:gd name="connsiteY44" fmla="*/ 1975 h 10000"/>
              <a:gd name="connsiteX45" fmla="*/ 9768 w 10000"/>
              <a:gd name="connsiteY45" fmla="*/ 1482 h 10000"/>
              <a:gd name="connsiteX46" fmla="*/ 9628 w 10000"/>
              <a:gd name="connsiteY46" fmla="*/ 1053 h 10000"/>
              <a:gd name="connsiteX47" fmla="*/ 9458 w 10000"/>
              <a:gd name="connsiteY47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1852 w 10000"/>
              <a:gd name="connsiteY5" fmla="*/ 4662 h 10000"/>
              <a:gd name="connsiteX6" fmla="*/ 819 w 10000"/>
              <a:gd name="connsiteY6" fmla="*/ 5109 h 10000"/>
              <a:gd name="connsiteX7" fmla="*/ 665 w 10000"/>
              <a:gd name="connsiteY7" fmla="*/ 5148 h 10000"/>
              <a:gd name="connsiteX8" fmla="*/ 2102 w 10000"/>
              <a:gd name="connsiteY8" fmla="*/ 7561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4 h 10000"/>
              <a:gd name="connsiteX12" fmla="*/ 1329 w 10000"/>
              <a:gd name="connsiteY12" fmla="*/ 9923 h 10000"/>
              <a:gd name="connsiteX13" fmla="*/ 1824 w 10000"/>
              <a:gd name="connsiteY13" fmla="*/ 9873 h 10000"/>
              <a:gd name="connsiteX14" fmla="*/ 2302 w 10000"/>
              <a:gd name="connsiteY14" fmla="*/ 9785 h 10000"/>
              <a:gd name="connsiteX15" fmla="*/ 2782 w 10000"/>
              <a:gd name="connsiteY15" fmla="*/ 9696 h 10000"/>
              <a:gd name="connsiteX16" fmla="*/ 3153 w 10000"/>
              <a:gd name="connsiteY16" fmla="*/ 9608 h 10000"/>
              <a:gd name="connsiteX17" fmla="*/ 3554 w 10000"/>
              <a:gd name="connsiteY17" fmla="*/ 9507 h 10000"/>
              <a:gd name="connsiteX18" fmla="*/ 4049 w 10000"/>
              <a:gd name="connsiteY18" fmla="*/ 9368 h 10000"/>
              <a:gd name="connsiteX19" fmla="*/ 4467 w 10000"/>
              <a:gd name="connsiteY19" fmla="*/ 9216 h 10000"/>
              <a:gd name="connsiteX20" fmla="*/ 4868 w 10000"/>
              <a:gd name="connsiteY20" fmla="*/ 9077 h 10000"/>
              <a:gd name="connsiteX21" fmla="*/ 5301 w 10000"/>
              <a:gd name="connsiteY21" fmla="*/ 8888 h 10000"/>
              <a:gd name="connsiteX22" fmla="*/ 5734 w 10000"/>
              <a:gd name="connsiteY22" fmla="*/ 8698 h 10000"/>
              <a:gd name="connsiteX23" fmla="*/ 6089 w 10000"/>
              <a:gd name="connsiteY23" fmla="*/ 8522 h 10000"/>
              <a:gd name="connsiteX24" fmla="*/ 6491 w 10000"/>
              <a:gd name="connsiteY24" fmla="*/ 8281 h 10000"/>
              <a:gd name="connsiteX25" fmla="*/ 6893 w 10000"/>
              <a:gd name="connsiteY25" fmla="*/ 8042 h 10000"/>
              <a:gd name="connsiteX26" fmla="*/ 7249 w 10000"/>
              <a:gd name="connsiteY26" fmla="*/ 7777 h 10000"/>
              <a:gd name="connsiteX27" fmla="*/ 7542 w 10000"/>
              <a:gd name="connsiteY27" fmla="*/ 7561 h 10000"/>
              <a:gd name="connsiteX28" fmla="*/ 7867 w 10000"/>
              <a:gd name="connsiteY28" fmla="*/ 7296 h 10000"/>
              <a:gd name="connsiteX29" fmla="*/ 8114 w 10000"/>
              <a:gd name="connsiteY29" fmla="*/ 7068 h 10000"/>
              <a:gd name="connsiteX30" fmla="*/ 8393 w 10000"/>
              <a:gd name="connsiteY30" fmla="*/ 6790 h 10000"/>
              <a:gd name="connsiteX31" fmla="*/ 8670 w 10000"/>
              <a:gd name="connsiteY31" fmla="*/ 6499 h 10000"/>
              <a:gd name="connsiteX32" fmla="*/ 8871 w 10000"/>
              <a:gd name="connsiteY32" fmla="*/ 6183 h 10000"/>
              <a:gd name="connsiteX33" fmla="*/ 9088 w 10000"/>
              <a:gd name="connsiteY33" fmla="*/ 5905 h 10000"/>
              <a:gd name="connsiteX34" fmla="*/ 9242 w 10000"/>
              <a:gd name="connsiteY34" fmla="*/ 5640 h 10000"/>
              <a:gd name="connsiteX35" fmla="*/ 9458 w 10000"/>
              <a:gd name="connsiteY35" fmla="*/ 5235 h 10000"/>
              <a:gd name="connsiteX36" fmla="*/ 9597 w 10000"/>
              <a:gd name="connsiteY36" fmla="*/ 4920 h 10000"/>
              <a:gd name="connsiteX37" fmla="*/ 9768 w 10000"/>
              <a:gd name="connsiteY37" fmla="*/ 4490 h 10000"/>
              <a:gd name="connsiteX38" fmla="*/ 9876 w 10000"/>
              <a:gd name="connsiteY38" fmla="*/ 4010 h 10000"/>
              <a:gd name="connsiteX39" fmla="*/ 9953 w 10000"/>
              <a:gd name="connsiteY39" fmla="*/ 3581 h 10000"/>
              <a:gd name="connsiteX40" fmla="*/ 10000 w 10000"/>
              <a:gd name="connsiteY40" fmla="*/ 3202 h 10000"/>
              <a:gd name="connsiteX41" fmla="*/ 10000 w 10000"/>
              <a:gd name="connsiteY41" fmla="*/ 2797 h 10000"/>
              <a:gd name="connsiteX42" fmla="*/ 9984 w 10000"/>
              <a:gd name="connsiteY42" fmla="*/ 2468 h 10000"/>
              <a:gd name="connsiteX43" fmla="*/ 9922 w 10000"/>
              <a:gd name="connsiteY43" fmla="*/ 1975 h 10000"/>
              <a:gd name="connsiteX44" fmla="*/ 9768 w 10000"/>
              <a:gd name="connsiteY44" fmla="*/ 1482 h 10000"/>
              <a:gd name="connsiteX45" fmla="*/ 9628 w 10000"/>
              <a:gd name="connsiteY45" fmla="*/ 1053 h 10000"/>
              <a:gd name="connsiteX46" fmla="*/ 9458 w 10000"/>
              <a:gd name="connsiteY46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819 w 10000"/>
              <a:gd name="connsiteY5" fmla="*/ 5109 h 10000"/>
              <a:gd name="connsiteX6" fmla="*/ 665 w 10000"/>
              <a:gd name="connsiteY6" fmla="*/ 5148 h 10000"/>
              <a:gd name="connsiteX7" fmla="*/ 2102 w 10000"/>
              <a:gd name="connsiteY7" fmla="*/ 7561 h 10000"/>
              <a:gd name="connsiteX8" fmla="*/ 0 w 10000"/>
              <a:gd name="connsiteY8" fmla="*/ 10000 h 10000"/>
              <a:gd name="connsiteX9" fmla="*/ 418 w 10000"/>
              <a:gd name="connsiteY9" fmla="*/ 9988 h 10000"/>
              <a:gd name="connsiteX10" fmla="*/ 850 w 10000"/>
              <a:gd name="connsiteY10" fmla="*/ 9974 h 10000"/>
              <a:gd name="connsiteX11" fmla="*/ 1329 w 10000"/>
              <a:gd name="connsiteY11" fmla="*/ 9923 h 10000"/>
              <a:gd name="connsiteX12" fmla="*/ 1824 w 10000"/>
              <a:gd name="connsiteY12" fmla="*/ 9873 h 10000"/>
              <a:gd name="connsiteX13" fmla="*/ 2302 w 10000"/>
              <a:gd name="connsiteY13" fmla="*/ 9785 h 10000"/>
              <a:gd name="connsiteX14" fmla="*/ 2782 w 10000"/>
              <a:gd name="connsiteY14" fmla="*/ 9696 h 10000"/>
              <a:gd name="connsiteX15" fmla="*/ 3153 w 10000"/>
              <a:gd name="connsiteY15" fmla="*/ 9608 h 10000"/>
              <a:gd name="connsiteX16" fmla="*/ 3554 w 10000"/>
              <a:gd name="connsiteY16" fmla="*/ 9507 h 10000"/>
              <a:gd name="connsiteX17" fmla="*/ 4049 w 10000"/>
              <a:gd name="connsiteY17" fmla="*/ 9368 h 10000"/>
              <a:gd name="connsiteX18" fmla="*/ 4467 w 10000"/>
              <a:gd name="connsiteY18" fmla="*/ 9216 h 10000"/>
              <a:gd name="connsiteX19" fmla="*/ 4868 w 10000"/>
              <a:gd name="connsiteY19" fmla="*/ 9077 h 10000"/>
              <a:gd name="connsiteX20" fmla="*/ 5301 w 10000"/>
              <a:gd name="connsiteY20" fmla="*/ 8888 h 10000"/>
              <a:gd name="connsiteX21" fmla="*/ 5734 w 10000"/>
              <a:gd name="connsiteY21" fmla="*/ 8698 h 10000"/>
              <a:gd name="connsiteX22" fmla="*/ 6089 w 10000"/>
              <a:gd name="connsiteY22" fmla="*/ 8522 h 10000"/>
              <a:gd name="connsiteX23" fmla="*/ 6491 w 10000"/>
              <a:gd name="connsiteY23" fmla="*/ 8281 h 10000"/>
              <a:gd name="connsiteX24" fmla="*/ 6893 w 10000"/>
              <a:gd name="connsiteY24" fmla="*/ 8042 h 10000"/>
              <a:gd name="connsiteX25" fmla="*/ 7249 w 10000"/>
              <a:gd name="connsiteY25" fmla="*/ 7777 h 10000"/>
              <a:gd name="connsiteX26" fmla="*/ 7542 w 10000"/>
              <a:gd name="connsiteY26" fmla="*/ 7561 h 10000"/>
              <a:gd name="connsiteX27" fmla="*/ 7867 w 10000"/>
              <a:gd name="connsiteY27" fmla="*/ 7296 h 10000"/>
              <a:gd name="connsiteX28" fmla="*/ 8114 w 10000"/>
              <a:gd name="connsiteY28" fmla="*/ 7068 h 10000"/>
              <a:gd name="connsiteX29" fmla="*/ 8393 w 10000"/>
              <a:gd name="connsiteY29" fmla="*/ 6790 h 10000"/>
              <a:gd name="connsiteX30" fmla="*/ 8670 w 10000"/>
              <a:gd name="connsiteY30" fmla="*/ 6499 h 10000"/>
              <a:gd name="connsiteX31" fmla="*/ 8871 w 10000"/>
              <a:gd name="connsiteY31" fmla="*/ 6183 h 10000"/>
              <a:gd name="connsiteX32" fmla="*/ 9088 w 10000"/>
              <a:gd name="connsiteY32" fmla="*/ 5905 h 10000"/>
              <a:gd name="connsiteX33" fmla="*/ 9242 w 10000"/>
              <a:gd name="connsiteY33" fmla="*/ 5640 h 10000"/>
              <a:gd name="connsiteX34" fmla="*/ 9458 w 10000"/>
              <a:gd name="connsiteY34" fmla="*/ 5235 h 10000"/>
              <a:gd name="connsiteX35" fmla="*/ 9597 w 10000"/>
              <a:gd name="connsiteY35" fmla="*/ 4920 h 10000"/>
              <a:gd name="connsiteX36" fmla="*/ 9768 w 10000"/>
              <a:gd name="connsiteY36" fmla="*/ 4490 h 10000"/>
              <a:gd name="connsiteX37" fmla="*/ 9876 w 10000"/>
              <a:gd name="connsiteY37" fmla="*/ 4010 h 10000"/>
              <a:gd name="connsiteX38" fmla="*/ 9953 w 10000"/>
              <a:gd name="connsiteY38" fmla="*/ 3581 h 10000"/>
              <a:gd name="connsiteX39" fmla="*/ 10000 w 10000"/>
              <a:gd name="connsiteY39" fmla="*/ 3202 h 10000"/>
              <a:gd name="connsiteX40" fmla="*/ 10000 w 10000"/>
              <a:gd name="connsiteY40" fmla="*/ 2797 h 10000"/>
              <a:gd name="connsiteX41" fmla="*/ 9984 w 10000"/>
              <a:gd name="connsiteY41" fmla="*/ 2468 h 10000"/>
              <a:gd name="connsiteX42" fmla="*/ 9922 w 10000"/>
              <a:gd name="connsiteY42" fmla="*/ 1975 h 10000"/>
              <a:gd name="connsiteX43" fmla="*/ 9768 w 10000"/>
              <a:gd name="connsiteY43" fmla="*/ 1482 h 10000"/>
              <a:gd name="connsiteX44" fmla="*/ 9628 w 10000"/>
              <a:gd name="connsiteY44" fmla="*/ 1053 h 10000"/>
              <a:gd name="connsiteX45" fmla="*/ 9458 w 10000"/>
              <a:gd name="connsiteY45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665 w 10000"/>
              <a:gd name="connsiteY5" fmla="*/ 5148 h 10000"/>
              <a:gd name="connsiteX6" fmla="*/ 2102 w 10000"/>
              <a:gd name="connsiteY6" fmla="*/ 7561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4 h 10000"/>
              <a:gd name="connsiteX10" fmla="*/ 1329 w 10000"/>
              <a:gd name="connsiteY10" fmla="*/ 9923 h 10000"/>
              <a:gd name="connsiteX11" fmla="*/ 1824 w 10000"/>
              <a:gd name="connsiteY11" fmla="*/ 9873 h 10000"/>
              <a:gd name="connsiteX12" fmla="*/ 2302 w 10000"/>
              <a:gd name="connsiteY12" fmla="*/ 9785 h 10000"/>
              <a:gd name="connsiteX13" fmla="*/ 2782 w 10000"/>
              <a:gd name="connsiteY13" fmla="*/ 9696 h 10000"/>
              <a:gd name="connsiteX14" fmla="*/ 3153 w 10000"/>
              <a:gd name="connsiteY14" fmla="*/ 9608 h 10000"/>
              <a:gd name="connsiteX15" fmla="*/ 3554 w 10000"/>
              <a:gd name="connsiteY15" fmla="*/ 9507 h 10000"/>
              <a:gd name="connsiteX16" fmla="*/ 4049 w 10000"/>
              <a:gd name="connsiteY16" fmla="*/ 9368 h 10000"/>
              <a:gd name="connsiteX17" fmla="*/ 4467 w 10000"/>
              <a:gd name="connsiteY17" fmla="*/ 9216 h 10000"/>
              <a:gd name="connsiteX18" fmla="*/ 4868 w 10000"/>
              <a:gd name="connsiteY18" fmla="*/ 9077 h 10000"/>
              <a:gd name="connsiteX19" fmla="*/ 5301 w 10000"/>
              <a:gd name="connsiteY19" fmla="*/ 8888 h 10000"/>
              <a:gd name="connsiteX20" fmla="*/ 5734 w 10000"/>
              <a:gd name="connsiteY20" fmla="*/ 8698 h 10000"/>
              <a:gd name="connsiteX21" fmla="*/ 6089 w 10000"/>
              <a:gd name="connsiteY21" fmla="*/ 8522 h 10000"/>
              <a:gd name="connsiteX22" fmla="*/ 6491 w 10000"/>
              <a:gd name="connsiteY22" fmla="*/ 8281 h 10000"/>
              <a:gd name="connsiteX23" fmla="*/ 6893 w 10000"/>
              <a:gd name="connsiteY23" fmla="*/ 8042 h 10000"/>
              <a:gd name="connsiteX24" fmla="*/ 7249 w 10000"/>
              <a:gd name="connsiteY24" fmla="*/ 7777 h 10000"/>
              <a:gd name="connsiteX25" fmla="*/ 7542 w 10000"/>
              <a:gd name="connsiteY25" fmla="*/ 7561 h 10000"/>
              <a:gd name="connsiteX26" fmla="*/ 7867 w 10000"/>
              <a:gd name="connsiteY26" fmla="*/ 7296 h 10000"/>
              <a:gd name="connsiteX27" fmla="*/ 8114 w 10000"/>
              <a:gd name="connsiteY27" fmla="*/ 7068 h 10000"/>
              <a:gd name="connsiteX28" fmla="*/ 8393 w 10000"/>
              <a:gd name="connsiteY28" fmla="*/ 6790 h 10000"/>
              <a:gd name="connsiteX29" fmla="*/ 8670 w 10000"/>
              <a:gd name="connsiteY29" fmla="*/ 6499 h 10000"/>
              <a:gd name="connsiteX30" fmla="*/ 8871 w 10000"/>
              <a:gd name="connsiteY30" fmla="*/ 6183 h 10000"/>
              <a:gd name="connsiteX31" fmla="*/ 9088 w 10000"/>
              <a:gd name="connsiteY31" fmla="*/ 5905 h 10000"/>
              <a:gd name="connsiteX32" fmla="*/ 9242 w 10000"/>
              <a:gd name="connsiteY32" fmla="*/ 5640 h 10000"/>
              <a:gd name="connsiteX33" fmla="*/ 9458 w 10000"/>
              <a:gd name="connsiteY33" fmla="*/ 5235 h 10000"/>
              <a:gd name="connsiteX34" fmla="*/ 9597 w 10000"/>
              <a:gd name="connsiteY34" fmla="*/ 4920 h 10000"/>
              <a:gd name="connsiteX35" fmla="*/ 9768 w 10000"/>
              <a:gd name="connsiteY35" fmla="*/ 4490 h 10000"/>
              <a:gd name="connsiteX36" fmla="*/ 9876 w 10000"/>
              <a:gd name="connsiteY36" fmla="*/ 4010 h 10000"/>
              <a:gd name="connsiteX37" fmla="*/ 9953 w 10000"/>
              <a:gd name="connsiteY37" fmla="*/ 3581 h 10000"/>
              <a:gd name="connsiteX38" fmla="*/ 10000 w 10000"/>
              <a:gd name="connsiteY38" fmla="*/ 3202 h 10000"/>
              <a:gd name="connsiteX39" fmla="*/ 10000 w 10000"/>
              <a:gd name="connsiteY39" fmla="*/ 2797 h 10000"/>
              <a:gd name="connsiteX40" fmla="*/ 9984 w 10000"/>
              <a:gd name="connsiteY40" fmla="*/ 2468 h 10000"/>
              <a:gd name="connsiteX41" fmla="*/ 9922 w 10000"/>
              <a:gd name="connsiteY41" fmla="*/ 1975 h 10000"/>
              <a:gd name="connsiteX42" fmla="*/ 9768 w 10000"/>
              <a:gd name="connsiteY42" fmla="*/ 1482 h 10000"/>
              <a:gd name="connsiteX43" fmla="*/ 9628 w 10000"/>
              <a:gd name="connsiteY43" fmla="*/ 1053 h 10000"/>
              <a:gd name="connsiteX44" fmla="*/ 9458 w 10000"/>
              <a:gd name="connsiteY44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665 w 10000"/>
              <a:gd name="connsiteY5" fmla="*/ 5148 h 10000"/>
              <a:gd name="connsiteX6" fmla="*/ 2102 w 10000"/>
              <a:gd name="connsiteY6" fmla="*/ 7561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4 h 10000"/>
              <a:gd name="connsiteX10" fmla="*/ 1329 w 10000"/>
              <a:gd name="connsiteY10" fmla="*/ 9923 h 10000"/>
              <a:gd name="connsiteX11" fmla="*/ 1824 w 10000"/>
              <a:gd name="connsiteY11" fmla="*/ 9873 h 10000"/>
              <a:gd name="connsiteX12" fmla="*/ 2302 w 10000"/>
              <a:gd name="connsiteY12" fmla="*/ 9785 h 10000"/>
              <a:gd name="connsiteX13" fmla="*/ 2782 w 10000"/>
              <a:gd name="connsiteY13" fmla="*/ 9696 h 10000"/>
              <a:gd name="connsiteX14" fmla="*/ 3153 w 10000"/>
              <a:gd name="connsiteY14" fmla="*/ 9608 h 10000"/>
              <a:gd name="connsiteX15" fmla="*/ 3554 w 10000"/>
              <a:gd name="connsiteY15" fmla="*/ 9507 h 10000"/>
              <a:gd name="connsiteX16" fmla="*/ 4049 w 10000"/>
              <a:gd name="connsiteY16" fmla="*/ 9368 h 10000"/>
              <a:gd name="connsiteX17" fmla="*/ 4467 w 10000"/>
              <a:gd name="connsiteY17" fmla="*/ 9216 h 10000"/>
              <a:gd name="connsiteX18" fmla="*/ 4868 w 10000"/>
              <a:gd name="connsiteY18" fmla="*/ 9077 h 10000"/>
              <a:gd name="connsiteX19" fmla="*/ 5301 w 10000"/>
              <a:gd name="connsiteY19" fmla="*/ 8888 h 10000"/>
              <a:gd name="connsiteX20" fmla="*/ 5734 w 10000"/>
              <a:gd name="connsiteY20" fmla="*/ 8698 h 10000"/>
              <a:gd name="connsiteX21" fmla="*/ 6089 w 10000"/>
              <a:gd name="connsiteY21" fmla="*/ 8522 h 10000"/>
              <a:gd name="connsiteX22" fmla="*/ 6491 w 10000"/>
              <a:gd name="connsiteY22" fmla="*/ 8281 h 10000"/>
              <a:gd name="connsiteX23" fmla="*/ 6893 w 10000"/>
              <a:gd name="connsiteY23" fmla="*/ 8042 h 10000"/>
              <a:gd name="connsiteX24" fmla="*/ 7249 w 10000"/>
              <a:gd name="connsiteY24" fmla="*/ 7777 h 10000"/>
              <a:gd name="connsiteX25" fmla="*/ 7542 w 10000"/>
              <a:gd name="connsiteY25" fmla="*/ 7561 h 10000"/>
              <a:gd name="connsiteX26" fmla="*/ 7867 w 10000"/>
              <a:gd name="connsiteY26" fmla="*/ 7296 h 10000"/>
              <a:gd name="connsiteX27" fmla="*/ 8114 w 10000"/>
              <a:gd name="connsiteY27" fmla="*/ 7068 h 10000"/>
              <a:gd name="connsiteX28" fmla="*/ 8393 w 10000"/>
              <a:gd name="connsiteY28" fmla="*/ 6790 h 10000"/>
              <a:gd name="connsiteX29" fmla="*/ 8670 w 10000"/>
              <a:gd name="connsiteY29" fmla="*/ 6499 h 10000"/>
              <a:gd name="connsiteX30" fmla="*/ 8871 w 10000"/>
              <a:gd name="connsiteY30" fmla="*/ 6183 h 10000"/>
              <a:gd name="connsiteX31" fmla="*/ 9088 w 10000"/>
              <a:gd name="connsiteY31" fmla="*/ 5905 h 10000"/>
              <a:gd name="connsiteX32" fmla="*/ 9242 w 10000"/>
              <a:gd name="connsiteY32" fmla="*/ 5640 h 10000"/>
              <a:gd name="connsiteX33" fmla="*/ 9458 w 10000"/>
              <a:gd name="connsiteY33" fmla="*/ 5235 h 10000"/>
              <a:gd name="connsiteX34" fmla="*/ 9597 w 10000"/>
              <a:gd name="connsiteY34" fmla="*/ 4920 h 10000"/>
              <a:gd name="connsiteX35" fmla="*/ 9768 w 10000"/>
              <a:gd name="connsiteY35" fmla="*/ 4490 h 10000"/>
              <a:gd name="connsiteX36" fmla="*/ 9876 w 10000"/>
              <a:gd name="connsiteY36" fmla="*/ 4010 h 10000"/>
              <a:gd name="connsiteX37" fmla="*/ 9953 w 10000"/>
              <a:gd name="connsiteY37" fmla="*/ 3581 h 10000"/>
              <a:gd name="connsiteX38" fmla="*/ 10000 w 10000"/>
              <a:gd name="connsiteY38" fmla="*/ 3202 h 10000"/>
              <a:gd name="connsiteX39" fmla="*/ 10000 w 10000"/>
              <a:gd name="connsiteY39" fmla="*/ 2797 h 10000"/>
              <a:gd name="connsiteX40" fmla="*/ 9984 w 10000"/>
              <a:gd name="connsiteY40" fmla="*/ 2468 h 10000"/>
              <a:gd name="connsiteX41" fmla="*/ 9922 w 10000"/>
              <a:gd name="connsiteY41" fmla="*/ 1975 h 10000"/>
              <a:gd name="connsiteX42" fmla="*/ 9768 w 10000"/>
              <a:gd name="connsiteY42" fmla="*/ 1482 h 10000"/>
              <a:gd name="connsiteX43" fmla="*/ 9628 w 10000"/>
              <a:gd name="connsiteY43" fmla="*/ 1053 h 10000"/>
              <a:gd name="connsiteX44" fmla="*/ 9458 w 10000"/>
              <a:gd name="connsiteY44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665 w 10000"/>
              <a:gd name="connsiteY5" fmla="*/ 5148 h 10000"/>
              <a:gd name="connsiteX6" fmla="*/ 2102 w 10000"/>
              <a:gd name="connsiteY6" fmla="*/ 7561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4 h 10000"/>
              <a:gd name="connsiteX10" fmla="*/ 1329 w 10000"/>
              <a:gd name="connsiteY10" fmla="*/ 9923 h 10000"/>
              <a:gd name="connsiteX11" fmla="*/ 1824 w 10000"/>
              <a:gd name="connsiteY11" fmla="*/ 9873 h 10000"/>
              <a:gd name="connsiteX12" fmla="*/ 2302 w 10000"/>
              <a:gd name="connsiteY12" fmla="*/ 9785 h 10000"/>
              <a:gd name="connsiteX13" fmla="*/ 2782 w 10000"/>
              <a:gd name="connsiteY13" fmla="*/ 9696 h 10000"/>
              <a:gd name="connsiteX14" fmla="*/ 3153 w 10000"/>
              <a:gd name="connsiteY14" fmla="*/ 9608 h 10000"/>
              <a:gd name="connsiteX15" fmla="*/ 3554 w 10000"/>
              <a:gd name="connsiteY15" fmla="*/ 9507 h 10000"/>
              <a:gd name="connsiteX16" fmla="*/ 4049 w 10000"/>
              <a:gd name="connsiteY16" fmla="*/ 9368 h 10000"/>
              <a:gd name="connsiteX17" fmla="*/ 4467 w 10000"/>
              <a:gd name="connsiteY17" fmla="*/ 9216 h 10000"/>
              <a:gd name="connsiteX18" fmla="*/ 4868 w 10000"/>
              <a:gd name="connsiteY18" fmla="*/ 9077 h 10000"/>
              <a:gd name="connsiteX19" fmla="*/ 5301 w 10000"/>
              <a:gd name="connsiteY19" fmla="*/ 8888 h 10000"/>
              <a:gd name="connsiteX20" fmla="*/ 5734 w 10000"/>
              <a:gd name="connsiteY20" fmla="*/ 8698 h 10000"/>
              <a:gd name="connsiteX21" fmla="*/ 6089 w 10000"/>
              <a:gd name="connsiteY21" fmla="*/ 8522 h 10000"/>
              <a:gd name="connsiteX22" fmla="*/ 6491 w 10000"/>
              <a:gd name="connsiteY22" fmla="*/ 8281 h 10000"/>
              <a:gd name="connsiteX23" fmla="*/ 6893 w 10000"/>
              <a:gd name="connsiteY23" fmla="*/ 8042 h 10000"/>
              <a:gd name="connsiteX24" fmla="*/ 7249 w 10000"/>
              <a:gd name="connsiteY24" fmla="*/ 7777 h 10000"/>
              <a:gd name="connsiteX25" fmla="*/ 7542 w 10000"/>
              <a:gd name="connsiteY25" fmla="*/ 7561 h 10000"/>
              <a:gd name="connsiteX26" fmla="*/ 7867 w 10000"/>
              <a:gd name="connsiteY26" fmla="*/ 7296 h 10000"/>
              <a:gd name="connsiteX27" fmla="*/ 8114 w 10000"/>
              <a:gd name="connsiteY27" fmla="*/ 7068 h 10000"/>
              <a:gd name="connsiteX28" fmla="*/ 8393 w 10000"/>
              <a:gd name="connsiteY28" fmla="*/ 6790 h 10000"/>
              <a:gd name="connsiteX29" fmla="*/ 8670 w 10000"/>
              <a:gd name="connsiteY29" fmla="*/ 6499 h 10000"/>
              <a:gd name="connsiteX30" fmla="*/ 8871 w 10000"/>
              <a:gd name="connsiteY30" fmla="*/ 6183 h 10000"/>
              <a:gd name="connsiteX31" fmla="*/ 9088 w 10000"/>
              <a:gd name="connsiteY31" fmla="*/ 5905 h 10000"/>
              <a:gd name="connsiteX32" fmla="*/ 9242 w 10000"/>
              <a:gd name="connsiteY32" fmla="*/ 5640 h 10000"/>
              <a:gd name="connsiteX33" fmla="*/ 9458 w 10000"/>
              <a:gd name="connsiteY33" fmla="*/ 5235 h 10000"/>
              <a:gd name="connsiteX34" fmla="*/ 9597 w 10000"/>
              <a:gd name="connsiteY34" fmla="*/ 4920 h 10000"/>
              <a:gd name="connsiteX35" fmla="*/ 9768 w 10000"/>
              <a:gd name="connsiteY35" fmla="*/ 4490 h 10000"/>
              <a:gd name="connsiteX36" fmla="*/ 9876 w 10000"/>
              <a:gd name="connsiteY36" fmla="*/ 4010 h 10000"/>
              <a:gd name="connsiteX37" fmla="*/ 9953 w 10000"/>
              <a:gd name="connsiteY37" fmla="*/ 3581 h 10000"/>
              <a:gd name="connsiteX38" fmla="*/ 10000 w 10000"/>
              <a:gd name="connsiteY38" fmla="*/ 3202 h 10000"/>
              <a:gd name="connsiteX39" fmla="*/ 10000 w 10000"/>
              <a:gd name="connsiteY39" fmla="*/ 2797 h 10000"/>
              <a:gd name="connsiteX40" fmla="*/ 9984 w 10000"/>
              <a:gd name="connsiteY40" fmla="*/ 2468 h 10000"/>
              <a:gd name="connsiteX41" fmla="*/ 9922 w 10000"/>
              <a:gd name="connsiteY41" fmla="*/ 1975 h 10000"/>
              <a:gd name="connsiteX42" fmla="*/ 9768 w 10000"/>
              <a:gd name="connsiteY42" fmla="*/ 1482 h 10000"/>
              <a:gd name="connsiteX43" fmla="*/ 9628 w 10000"/>
              <a:gd name="connsiteY43" fmla="*/ 1053 h 10000"/>
              <a:gd name="connsiteX44" fmla="*/ 9458 w 10000"/>
              <a:gd name="connsiteY44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665 w 10000"/>
              <a:gd name="connsiteY5" fmla="*/ 5148 h 10000"/>
              <a:gd name="connsiteX6" fmla="*/ 2102 w 10000"/>
              <a:gd name="connsiteY6" fmla="*/ 7561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4 h 10000"/>
              <a:gd name="connsiteX10" fmla="*/ 1329 w 10000"/>
              <a:gd name="connsiteY10" fmla="*/ 9923 h 10000"/>
              <a:gd name="connsiteX11" fmla="*/ 1824 w 10000"/>
              <a:gd name="connsiteY11" fmla="*/ 9873 h 10000"/>
              <a:gd name="connsiteX12" fmla="*/ 2302 w 10000"/>
              <a:gd name="connsiteY12" fmla="*/ 9785 h 10000"/>
              <a:gd name="connsiteX13" fmla="*/ 2782 w 10000"/>
              <a:gd name="connsiteY13" fmla="*/ 9696 h 10000"/>
              <a:gd name="connsiteX14" fmla="*/ 3153 w 10000"/>
              <a:gd name="connsiteY14" fmla="*/ 9608 h 10000"/>
              <a:gd name="connsiteX15" fmla="*/ 3554 w 10000"/>
              <a:gd name="connsiteY15" fmla="*/ 9507 h 10000"/>
              <a:gd name="connsiteX16" fmla="*/ 4049 w 10000"/>
              <a:gd name="connsiteY16" fmla="*/ 9368 h 10000"/>
              <a:gd name="connsiteX17" fmla="*/ 4467 w 10000"/>
              <a:gd name="connsiteY17" fmla="*/ 9216 h 10000"/>
              <a:gd name="connsiteX18" fmla="*/ 4868 w 10000"/>
              <a:gd name="connsiteY18" fmla="*/ 9077 h 10000"/>
              <a:gd name="connsiteX19" fmla="*/ 5301 w 10000"/>
              <a:gd name="connsiteY19" fmla="*/ 8888 h 10000"/>
              <a:gd name="connsiteX20" fmla="*/ 5734 w 10000"/>
              <a:gd name="connsiteY20" fmla="*/ 8698 h 10000"/>
              <a:gd name="connsiteX21" fmla="*/ 6089 w 10000"/>
              <a:gd name="connsiteY21" fmla="*/ 8522 h 10000"/>
              <a:gd name="connsiteX22" fmla="*/ 6491 w 10000"/>
              <a:gd name="connsiteY22" fmla="*/ 8281 h 10000"/>
              <a:gd name="connsiteX23" fmla="*/ 6893 w 10000"/>
              <a:gd name="connsiteY23" fmla="*/ 8042 h 10000"/>
              <a:gd name="connsiteX24" fmla="*/ 7249 w 10000"/>
              <a:gd name="connsiteY24" fmla="*/ 7777 h 10000"/>
              <a:gd name="connsiteX25" fmla="*/ 7542 w 10000"/>
              <a:gd name="connsiteY25" fmla="*/ 7561 h 10000"/>
              <a:gd name="connsiteX26" fmla="*/ 7867 w 10000"/>
              <a:gd name="connsiteY26" fmla="*/ 7296 h 10000"/>
              <a:gd name="connsiteX27" fmla="*/ 8114 w 10000"/>
              <a:gd name="connsiteY27" fmla="*/ 7068 h 10000"/>
              <a:gd name="connsiteX28" fmla="*/ 8393 w 10000"/>
              <a:gd name="connsiteY28" fmla="*/ 6790 h 10000"/>
              <a:gd name="connsiteX29" fmla="*/ 8670 w 10000"/>
              <a:gd name="connsiteY29" fmla="*/ 6499 h 10000"/>
              <a:gd name="connsiteX30" fmla="*/ 8871 w 10000"/>
              <a:gd name="connsiteY30" fmla="*/ 6183 h 10000"/>
              <a:gd name="connsiteX31" fmla="*/ 9088 w 10000"/>
              <a:gd name="connsiteY31" fmla="*/ 5905 h 10000"/>
              <a:gd name="connsiteX32" fmla="*/ 9242 w 10000"/>
              <a:gd name="connsiteY32" fmla="*/ 5640 h 10000"/>
              <a:gd name="connsiteX33" fmla="*/ 9458 w 10000"/>
              <a:gd name="connsiteY33" fmla="*/ 5235 h 10000"/>
              <a:gd name="connsiteX34" fmla="*/ 9597 w 10000"/>
              <a:gd name="connsiteY34" fmla="*/ 4920 h 10000"/>
              <a:gd name="connsiteX35" fmla="*/ 9768 w 10000"/>
              <a:gd name="connsiteY35" fmla="*/ 4490 h 10000"/>
              <a:gd name="connsiteX36" fmla="*/ 9876 w 10000"/>
              <a:gd name="connsiteY36" fmla="*/ 4010 h 10000"/>
              <a:gd name="connsiteX37" fmla="*/ 9953 w 10000"/>
              <a:gd name="connsiteY37" fmla="*/ 3581 h 10000"/>
              <a:gd name="connsiteX38" fmla="*/ 10000 w 10000"/>
              <a:gd name="connsiteY38" fmla="*/ 3202 h 10000"/>
              <a:gd name="connsiteX39" fmla="*/ 10000 w 10000"/>
              <a:gd name="connsiteY39" fmla="*/ 2797 h 10000"/>
              <a:gd name="connsiteX40" fmla="*/ 9984 w 10000"/>
              <a:gd name="connsiteY40" fmla="*/ 2468 h 10000"/>
              <a:gd name="connsiteX41" fmla="*/ 9922 w 10000"/>
              <a:gd name="connsiteY41" fmla="*/ 1975 h 10000"/>
              <a:gd name="connsiteX42" fmla="*/ 9768 w 10000"/>
              <a:gd name="connsiteY42" fmla="*/ 1482 h 10000"/>
              <a:gd name="connsiteX43" fmla="*/ 9628 w 10000"/>
              <a:gd name="connsiteY43" fmla="*/ 1053 h 10000"/>
              <a:gd name="connsiteX44" fmla="*/ 9458 w 10000"/>
              <a:gd name="connsiteY44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665 w 10000"/>
              <a:gd name="connsiteY5" fmla="*/ 5148 h 10000"/>
              <a:gd name="connsiteX6" fmla="*/ 2102 w 10000"/>
              <a:gd name="connsiteY6" fmla="*/ 7561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4 h 10000"/>
              <a:gd name="connsiteX10" fmla="*/ 1329 w 10000"/>
              <a:gd name="connsiteY10" fmla="*/ 9923 h 10000"/>
              <a:gd name="connsiteX11" fmla="*/ 1824 w 10000"/>
              <a:gd name="connsiteY11" fmla="*/ 9873 h 10000"/>
              <a:gd name="connsiteX12" fmla="*/ 2302 w 10000"/>
              <a:gd name="connsiteY12" fmla="*/ 9785 h 10000"/>
              <a:gd name="connsiteX13" fmla="*/ 2782 w 10000"/>
              <a:gd name="connsiteY13" fmla="*/ 9696 h 10000"/>
              <a:gd name="connsiteX14" fmla="*/ 3153 w 10000"/>
              <a:gd name="connsiteY14" fmla="*/ 9608 h 10000"/>
              <a:gd name="connsiteX15" fmla="*/ 3554 w 10000"/>
              <a:gd name="connsiteY15" fmla="*/ 9507 h 10000"/>
              <a:gd name="connsiteX16" fmla="*/ 4049 w 10000"/>
              <a:gd name="connsiteY16" fmla="*/ 9368 h 10000"/>
              <a:gd name="connsiteX17" fmla="*/ 4467 w 10000"/>
              <a:gd name="connsiteY17" fmla="*/ 9216 h 10000"/>
              <a:gd name="connsiteX18" fmla="*/ 4868 w 10000"/>
              <a:gd name="connsiteY18" fmla="*/ 9077 h 10000"/>
              <a:gd name="connsiteX19" fmla="*/ 5301 w 10000"/>
              <a:gd name="connsiteY19" fmla="*/ 8888 h 10000"/>
              <a:gd name="connsiteX20" fmla="*/ 5734 w 10000"/>
              <a:gd name="connsiteY20" fmla="*/ 8698 h 10000"/>
              <a:gd name="connsiteX21" fmla="*/ 6089 w 10000"/>
              <a:gd name="connsiteY21" fmla="*/ 8522 h 10000"/>
              <a:gd name="connsiteX22" fmla="*/ 6491 w 10000"/>
              <a:gd name="connsiteY22" fmla="*/ 8281 h 10000"/>
              <a:gd name="connsiteX23" fmla="*/ 6893 w 10000"/>
              <a:gd name="connsiteY23" fmla="*/ 8042 h 10000"/>
              <a:gd name="connsiteX24" fmla="*/ 7249 w 10000"/>
              <a:gd name="connsiteY24" fmla="*/ 7777 h 10000"/>
              <a:gd name="connsiteX25" fmla="*/ 7542 w 10000"/>
              <a:gd name="connsiteY25" fmla="*/ 7561 h 10000"/>
              <a:gd name="connsiteX26" fmla="*/ 7867 w 10000"/>
              <a:gd name="connsiteY26" fmla="*/ 7296 h 10000"/>
              <a:gd name="connsiteX27" fmla="*/ 8114 w 10000"/>
              <a:gd name="connsiteY27" fmla="*/ 7068 h 10000"/>
              <a:gd name="connsiteX28" fmla="*/ 8393 w 10000"/>
              <a:gd name="connsiteY28" fmla="*/ 6790 h 10000"/>
              <a:gd name="connsiteX29" fmla="*/ 8670 w 10000"/>
              <a:gd name="connsiteY29" fmla="*/ 6499 h 10000"/>
              <a:gd name="connsiteX30" fmla="*/ 8871 w 10000"/>
              <a:gd name="connsiteY30" fmla="*/ 6183 h 10000"/>
              <a:gd name="connsiteX31" fmla="*/ 9088 w 10000"/>
              <a:gd name="connsiteY31" fmla="*/ 5905 h 10000"/>
              <a:gd name="connsiteX32" fmla="*/ 9242 w 10000"/>
              <a:gd name="connsiteY32" fmla="*/ 5640 h 10000"/>
              <a:gd name="connsiteX33" fmla="*/ 9458 w 10000"/>
              <a:gd name="connsiteY33" fmla="*/ 5235 h 10000"/>
              <a:gd name="connsiteX34" fmla="*/ 9597 w 10000"/>
              <a:gd name="connsiteY34" fmla="*/ 4920 h 10000"/>
              <a:gd name="connsiteX35" fmla="*/ 9768 w 10000"/>
              <a:gd name="connsiteY35" fmla="*/ 4490 h 10000"/>
              <a:gd name="connsiteX36" fmla="*/ 9876 w 10000"/>
              <a:gd name="connsiteY36" fmla="*/ 4010 h 10000"/>
              <a:gd name="connsiteX37" fmla="*/ 9953 w 10000"/>
              <a:gd name="connsiteY37" fmla="*/ 3581 h 10000"/>
              <a:gd name="connsiteX38" fmla="*/ 10000 w 10000"/>
              <a:gd name="connsiteY38" fmla="*/ 3202 h 10000"/>
              <a:gd name="connsiteX39" fmla="*/ 10000 w 10000"/>
              <a:gd name="connsiteY39" fmla="*/ 2797 h 10000"/>
              <a:gd name="connsiteX40" fmla="*/ 9984 w 10000"/>
              <a:gd name="connsiteY40" fmla="*/ 2468 h 10000"/>
              <a:gd name="connsiteX41" fmla="*/ 9922 w 10000"/>
              <a:gd name="connsiteY41" fmla="*/ 1975 h 10000"/>
              <a:gd name="connsiteX42" fmla="*/ 9768 w 10000"/>
              <a:gd name="connsiteY42" fmla="*/ 1482 h 10000"/>
              <a:gd name="connsiteX43" fmla="*/ 9628 w 10000"/>
              <a:gd name="connsiteY43" fmla="*/ 1053 h 10000"/>
              <a:gd name="connsiteX44" fmla="*/ 9458 w 10000"/>
              <a:gd name="connsiteY44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665 w 10000"/>
              <a:gd name="connsiteY5" fmla="*/ 5148 h 10000"/>
              <a:gd name="connsiteX6" fmla="*/ 2102 w 10000"/>
              <a:gd name="connsiteY6" fmla="*/ 7561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4 h 10000"/>
              <a:gd name="connsiteX10" fmla="*/ 1329 w 10000"/>
              <a:gd name="connsiteY10" fmla="*/ 9923 h 10000"/>
              <a:gd name="connsiteX11" fmla="*/ 1824 w 10000"/>
              <a:gd name="connsiteY11" fmla="*/ 9873 h 10000"/>
              <a:gd name="connsiteX12" fmla="*/ 2302 w 10000"/>
              <a:gd name="connsiteY12" fmla="*/ 9785 h 10000"/>
              <a:gd name="connsiteX13" fmla="*/ 2782 w 10000"/>
              <a:gd name="connsiteY13" fmla="*/ 9696 h 10000"/>
              <a:gd name="connsiteX14" fmla="*/ 3153 w 10000"/>
              <a:gd name="connsiteY14" fmla="*/ 9608 h 10000"/>
              <a:gd name="connsiteX15" fmla="*/ 3554 w 10000"/>
              <a:gd name="connsiteY15" fmla="*/ 9507 h 10000"/>
              <a:gd name="connsiteX16" fmla="*/ 4049 w 10000"/>
              <a:gd name="connsiteY16" fmla="*/ 9368 h 10000"/>
              <a:gd name="connsiteX17" fmla="*/ 4467 w 10000"/>
              <a:gd name="connsiteY17" fmla="*/ 9216 h 10000"/>
              <a:gd name="connsiteX18" fmla="*/ 4868 w 10000"/>
              <a:gd name="connsiteY18" fmla="*/ 9077 h 10000"/>
              <a:gd name="connsiteX19" fmla="*/ 5301 w 10000"/>
              <a:gd name="connsiteY19" fmla="*/ 8888 h 10000"/>
              <a:gd name="connsiteX20" fmla="*/ 5734 w 10000"/>
              <a:gd name="connsiteY20" fmla="*/ 8698 h 10000"/>
              <a:gd name="connsiteX21" fmla="*/ 6089 w 10000"/>
              <a:gd name="connsiteY21" fmla="*/ 8522 h 10000"/>
              <a:gd name="connsiteX22" fmla="*/ 6491 w 10000"/>
              <a:gd name="connsiteY22" fmla="*/ 8281 h 10000"/>
              <a:gd name="connsiteX23" fmla="*/ 6893 w 10000"/>
              <a:gd name="connsiteY23" fmla="*/ 8042 h 10000"/>
              <a:gd name="connsiteX24" fmla="*/ 7249 w 10000"/>
              <a:gd name="connsiteY24" fmla="*/ 7777 h 10000"/>
              <a:gd name="connsiteX25" fmla="*/ 7542 w 10000"/>
              <a:gd name="connsiteY25" fmla="*/ 7561 h 10000"/>
              <a:gd name="connsiteX26" fmla="*/ 7867 w 10000"/>
              <a:gd name="connsiteY26" fmla="*/ 7296 h 10000"/>
              <a:gd name="connsiteX27" fmla="*/ 8114 w 10000"/>
              <a:gd name="connsiteY27" fmla="*/ 7068 h 10000"/>
              <a:gd name="connsiteX28" fmla="*/ 8393 w 10000"/>
              <a:gd name="connsiteY28" fmla="*/ 6790 h 10000"/>
              <a:gd name="connsiteX29" fmla="*/ 8670 w 10000"/>
              <a:gd name="connsiteY29" fmla="*/ 6499 h 10000"/>
              <a:gd name="connsiteX30" fmla="*/ 8871 w 10000"/>
              <a:gd name="connsiteY30" fmla="*/ 6183 h 10000"/>
              <a:gd name="connsiteX31" fmla="*/ 9088 w 10000"/>
              <a:gd name="connsiteY31" fmla="*/ 5905 h 10000"/>
              <a:gd name="connsiteX32" fmla="*/ 9242 w 10000"/>
              <a:gd name="connsiteY32" fmla="*/ 5640 h 10000"/>
              <a:gd name="connsiteX33" fmla="*/ 9458 w 10000"/>
              <a:gd name="connsiteY33" fmla="*/ 5235 h 10000"/>
              <a:gd name="connsiteX34" fmla="*/ 9597 w 10000"/>
              <a:gd name="connsiteY34" fmla="*/ 4920 h 10000"/>
              <a:gd name="connsiteX35" fmla="*/ 9768 w 10000"/>
              <a:gd name="connsiteY35" fmla="*/ 4490 h 10000"/>
              <a:gd name="connsiteX36" fmla="*/ 9876 w 10000"/>
              <a:gd name="connsiteY36" fmla="*/ 4010 h 10000"/>
              <a:gd name="connsiteX37" fmla="*/ 9953 w 10000"/>
              <a:gd name="connsiteY37" fmla="*/ 3581 h 10000"/>
              <a:gd name="connsiteX38" fmla="*/ 10000 w 10000"/>
              <a:gd name="connsiteY38" fmla="*/ 3202 h 10000"/>
              <a:gd name="connsiteX39" fmla="*/ 10000 w 10000"/>
              <a:gd name="connsiteY39" fmla="*/ 2797 h 10000"/>
              <a:gd name="connsiteX40" fmla="*/ 9984 w 10000"/>
              <a:gd name="connsiteY40" fmla="*/ 2468 h 10000"/>
              <a:gd name="connsiteX41" fmla="*/ 9922 w 10000"/>
              <a:gd name="connsiteY41" fmla="*/ 1975 h 10000"/>
              <a:gd name="connsiteX42" fmla="*/ 9768 w 10000"/>
              <a:gd name="connsiteY42" fmla="*/ 1482 h 10000"/>
              <a:gd name="connsiteX43" fmla="*/ 9628 w 10000"/>
              <a:gd name="connsiteY43" fmla="*/ 1053 h 10000"/>
              <a:gd name="connsiteX44" fmla="*/ 9458 w 10000"/>
              <a:gd name="connsiteY44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665 w 10000"/>
              <a:gd name="connsiteY5" fmla="*/ 5148 h 10000"/>
              <a:gd name="connsiteX6" fmla="*/ 2102 w 10000"/>
              <a:gd name="connsiteY6" fmla="*/ 7561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4 h 10000"/>
              <a:gd name="connsiteX10" fmla="*/ 1329 w 10000"/>
              <a:gd name="connsiteY10" fmla="*/ 9923 h 10000"/>
              <a:gd name="connsiteX11" fmla="*/ 1824 w 10000"/>
              <a:gd name="connsiteY11" fmla="*/ 9873 h 10000"/>
              <a:gd name="connsiteX12" fmla="*/ 2302 w 10000"/>
              <a:gd name="connsiteY12" fmla="*/ 9785 h 10000"/>
              <a:gd name="connsiteX13" fmla="*/ 2782 w 10000"/>
              <a:gd name="connsiteY13" fmla="*/ 9696 h 10000"/>
              <a:gd name="connsiteX14" fmla="*/ 3153 w 10000"/>
              <a:gd name="connsiteY14" fmla="*/ 9608 h 10000"/>
              <a:gd name="connsiteX15" fmla="*/ 3554 w 10000"/>
              <a:gd name="connsiteY15" fmla="*/ 9507 h 10000"/>
              <a:gd name="connsiteX16" fmla="*/ 4049 w 10000"/>
              <a:gd name="connsiteY16" fmla="*/ 9368 h 10000"/>
              <a:gd name="connsiteX17" fmla="*/ 4467 w 10000"/>
              <a:gd name="connsiteY17" fmla="*/ 9216 h 10000"/>
              <a:gd name="connsiteX18" fmla="*/ 4868 w 10000"/>
              <a:gd name="connsiteY18" fmla="*/ 9077 h 10000"/>
              <a:gd name="connsiteX19" fmla="*/ 5301 w 10000"/>
              <a:gd name="connsiteY19" fmla="*/ 8888 h 10000"/>
              <a:gd name="connsiteX20" fmla="*/ 5734 w 10000"/>
              <a:gd name="connsiteY20" fmla="*/ 8698 h 10000"/>
              <a:gd name="connsiteX21" fmla="*/ 6089 w 10000"/>
              <a:gd name="connsiteY21" fmla="*/ 8522 h 10000"/>
              <a:gd name="connsiteX22" fmla="*/ 6491 w 10000"/>
              <a:gd name="connsiteY22" fmla="*/ 8281 h 10000"/>
              <a:gd name="connsiteX23" fmla="*/ 6893 w 10000"/>
              <a:gd name="connsiteY23" fmla="*/ 8042 h 10000"/>
              <a:gd name="connsiteX24" fmla="*/ 7249 w 10000"/>
              <a:gd name="connsiteY24" fmla="*/ 7777 h 10000"/>
              <a:gd name="connsiteX25" fmla="*/ 7542 w 10000"/>
              <a:gd name="connsiteY25" fmla="*/ 7561 h 10000"/>
              <a:gd name="connsiteX26" fmla="*/ 7867 w 10000"/>
              <a:gd name="connsiteY26" fmla="*/ 7296 h 10000"/>
              <a:gd name="connsiteX27" fmla="*/ 8114 w 10000"/>
              <a:gd name="connsiteY27" fmla="*/ 7068 h 10000"/>
              <a:gd name="connsiteX28" fmla="*/ 8393 w 10000"/>
              <a:gd name="connsiteY28" fmla="*/ 6790 h 10000"/>
              <a:gd name="connsiteX29" fmla="*/ 8670 w 10000"/>
              <a:gd name="connsiteY29" fmla="*/ 6499 h 10000"/>
              <a:gd name="connsiteX30" fmla="*/ 8871 w 10000"/>
              <a:gd name="connsiteY30" fmla="*/ 6183 h 10000"/>
              <a:gd name="connsiteX31" fmla="*/ 9088 w 10000"/>
              <a:gd name="connsiteY31" fmla="*/ 5905 h 10000"/>
              <a:gd name="connsiteX32" fmla="*/ 9242 w 10000"/>
              <a:gd name="connsiteY32" fmla="*/ 5640 h 10000"/>
              <a:gd name="connsiteX33" fmla="*/ 9458 w 10000"/>
              <a:gd name="connsiteY33" fmla="*/ 5235 h 10000"/>
              <a:gd name="connsiteX34" fmla="*/ 9597 w 10000"/>
              <a:gd name="connsiteY34" fmla="*/ 4920 h 10000"/>
              <a:gd name="connsiteX35" fmla="*/ 9768 w 10000"/>
              <a:gd name="connsiteY35" fmla="*/ 4490 h 10000"/>
              <a:gd name="connsiteX36" fmla="*/ 9876 w 10000"/>
              <a:gd name="connsiteY36" fmla="*/ 4010 h 10000"/>
              <a:gd name="connsiteX37" fmla="*/ 9953 w 10000"/>
              <a:gd name="connsiteY37" fmla="*/ 3581 h 10000"/>
              <a:gd name="connsiteX38" fmla="*/ 10000 w 10000"/>
              <a:gd name="connsiteY38" fmla="*/ 3202 h 10000"/>
              <a:gd name="connsiteX39" fmla="*/ 10000 w 10000"/>
              <a:gd name="connsiteY39" fmla="*/ 2797 h 10000"/>
              <a:gd name="connsiteX40" fmla="*/ 9984 w 10000"/>
              <a:gd name="connsiteY40" fmla="*/ 2468 h 10000"/>
              <a:gd name="connsiteX41" fmla="*/ 9922 w 10000"/>
              <a:gd name="connsiteY41" fmla="*/ 1975 h 10000"/>
              <a:gd name="connsiteX42" fmla="*/ 9768 w 10000"/>
              <a:gd name="connsiteY42" fmla="*/ 1482 h 10000"/>
              <a:gd name="connsiteX43" fmla="*/ 9628 w 10000"/>
              <a:gd name="connsiteY43" fmla="*/ 1053 h 10000"/>
              <a:gd name="connsiteX44" fmla="*/ 9458 w 10000"/>
              <a:gd name="connsiteY44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665 w 10000"/>
              <a:gd name="connsiteY5" fmla="*/ 5148 h 10000"/>
              <a:gd name="connsiteX6" fmla="*/ 2102 w 10000"/>
              <a:gd name="connsiteY6" fmla="*/ 7561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4 h 10000"/>
              <a:gd name="connsiteX10" fmla="*/ 1329 w 10000"/>
              <a:gd name="connsiteY10" fmla="*/ 9923 h 10000"/>
              <a:gd name="connsiteX11" fmla="*/ 1824 w 10000"/>
              <a:gd name="connsiteY11" fmla="*/ 9873 h 10000"/>
              <a:gd name="connsiteX12" fmla="*/ 2302 w 10000"/>
              <a:gd name="connsiteY12" fmla="*/ 9785 h 10000"/>
              <a:gd name="connsiteX13" fmla="*/ 2782 w 10000"/>
              <a:gd name="connsiteY13" fmla="*/ 9696 h 10000"/>
              <a:gd name="connsiteX14" fmla="*/ 3153 w 10000"/>
              <a:gd name="connsiteY14" fmla="*/ 9608 h 10000"/>
              <a:gd name="connsiteX15" fmla="*/ 3554 w 10000"/>
              <a:gd name="connsiteY15" fmla="*/ 9507 h 10000"/>
              <a:gd name="connsiteX16" fmla="*/ 4049 w 10000"/>
              <a:gd name="connsiteY16" fmla="*/ 9368 h 10000"/>
              <a:gd name="connsiteX17" fmla="*/ 4467 w 10000"/>
              <a:gd name="connsiteY17" fmla="*/ 9216 h 10000"/>
              <a:gd name="connsiteX18" fmla="*/ 4868 w 10000"/>
              <a:gd name="connsiteY18" fmla="*/ 9077 h 10000"/>
              <a:gd name="connsiteX19" fmla="*/ 5301 w 10000"/>
              <a:gd name="connsiteY19" fmla="*/ 8888 h 10000"/>
              <a:gd name="connsiteX20" fmla="*/ 5734 w 10000"/>
              <a:gd name="connsiteY20" fmla="*/ 8698 h 10000"/>
              <a:gd name="connsiteX21" fmla="*/ 6089 w 10000"/>
              <a:gd name="connsiteY21" fmla="*/ 8522 h 10000"/>
              <a:gd name="connsiteX22" fmla="*/ 6491 w 10000"/>
              <a:gd name="connsiteY22" fmla="*/ 8281 h 10000"/>
              <a:gd name="connsiteX23" fmla="*/ 6893 w 10000"/>
              <a:gd name="connsiteY23" fmla="*/ 8042 h 10000"/>
              <a:gd name="connsiteX24" fmla="*/ 7249 w 10000"/>
              <a:gd name="connsiteY24" fmla="*/ 7777 h 10000"/>
              <a:gd name="connsiteX25" fmla="*/ 7542 w 10000"/>
              <a:gd name="connsiteY25" fmla="*/ 7561 h 10000"/>
              <a:gd name="connsiteX26" fmla="*/ 7867 w 10000"/>
              <a:gd name="connsiteY26" fmla="*/ 7296 h 10000"/>
              <a:gd name="connsiteX27" fmla="*/ 8114 w 10000"/>
              <a:gd name="connsiteY27" fmla="*/ 7068 h 10000"/>
              <a:gd name="connsiteX28" fmla="*/ 8393 w 10000"/>
              <a:gd name="connsiteY28" fmla="*/ 6790 h 10000"/>
              <a:gd name="connsiteX29" fmla="*/ 8670 w 10000"/>
              <a:gd name="connsiteY29" fmla="*/ 6499 h 10000"/>
              <a:gd name="connsiteX30" fmla="*/ 8871 w 10000"/>
              <a:gd name="connsiteY30" fmla="*/ 6183 h 10000"/>
              <a:gd name="connsiteX31" fmla="*/ 9088 w 10000"/>
              <a:gd name="connsiteY31" fmla="*/ 5905 h 10000"/>
              <a:gd name="connsiteX32" fmla="*/ 9242 w 10000"/>
              <a:gd name="connsiteY32" fmla="*/ 5640 h 10000"/>
              <a:gd name="connsiteX33" fmla="*/ 9458 w 10000"/>
              <a:gd name="connsiteY33" fmla="*/ 5235 h 10000"/>
              <a:gd name="connsiteX34" fmla="*/ 9597 w 10000"/>
              <a:gd name="connsiteY34" fmla="*/ 4920 h 10000"/>
              <a:gd name="connsiteX35" fmla="*/ 9768 w 10000"/>
              <a:gd name="connsiteY35" fmla="*/ 4490 h 10000"/>
              <a:gd name="connsiteX36" fmla="*/ 9876 w 10000"/>
              <a:gd name="connsiteY36" fmla="*/ 4010 h 10000"/>
              <a:gd name="connsiteX37" fmla="*/ 9953 w 10000"/>
              <a:gd name="connsiteY37" fmla="*/ 3581 h 10000"/>
              <a:gd name="connsiteX38" fmla="*/ 10000 w 10000"/>
              <a:gd name="connsiteY38" fmla="*/ 3202 h 10000"/>
              <a:gd name="connsiteX39" fmla="*/ 10000 w 10000"/>
              <a:gd name="connsiteY39" fmla="*/ 2797 h 10000"/>
              <a:gd name="connsiteX40" fmla="*/ 9984 w 10000"/>
              <a:gd name="connsiteY40" fmla="*/ 2468 h 10000"/>
              <a:gd name="connsiteX41" fmla="*/ 9922 w 10000"/>
              <a:gd name="connsiteY41" fmla="*/ 1975 h 10000"/>
              <a:gd name="connsiteX42" fmla="*/ 9768 w 10000"/>
              <a:gd name="connsiteY42" fmla="*/ 1482 h 10000"/>
              <a:gd name="connsiteX43" fmla="*/ 9628 w 10000"/>
              <a:gd name="connsiteY43" fmla="*/ 1053 h 10000"/>
              <a:gd name="connsiteX44" fmla="*/ 9458 w 10000"/>
              <a:gd name="connsiteY44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665 w 10000"/>
              <a:gd name="connsiteY5" fmla="*/ 5148 h 10000"/>
              <a:gd name="connsiteX6" fmla="*/ 2167 w 10000"/>
              <a:gd name="connsiteY6" fmla="*/ 7833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4 h 10000"/>
              <a:gd name="connsiteX10" fmla="*/ 1329 w 10000"/>
              <a:gd name="connsiteY10" fmla="*/ 9923 h 10000"/>
              <a:gd name="connsiteX11" fmla="*/ 1824 w 10000"/>
              <a:gd name="connsiteY11" fmla="*/ 9873 h 10000"/>
              <a:gd name="connsiteX12" fmla="*/ 2302 w 10000"/>
              <a:gd name="connsiteY12" fmla="*/ 9785 h 10000"/>
              <a:gd name="connsiteX13" fmla="*/ 2782 w 10000"/>
              <a:gd name="connsiteY13" fmla="*/ 9696 h 10000"/>
              <a:gd name="connsiteX14" fmla="*/ 3153 w 10000"/>
              <a:gd name="connsiteY14" fmla="*/ 9608 h 10000"/>
              <a:gd name="connsiteX15" fmla="*/ 3554 w 10000"/>
              <a:gd name="connsiteY15" fmla="*/ 9507 h 10000"/>
              <a:gd name="connsiteX16" fmla="*/ 4049 w 10000"/>
              <a:gd name="connsiteY16" fmla="*/ 9368 h 10000"/>
              <a:gd name="connsiteX17" fmla="*/ 4467 w 10000"/>
              <a:gd name="connsiteY17" fmla="*/ 9216 h 10000"/>
              <a:gd name="connsiteX18" fmla="*/ 4868 w 10000"/>
              <a:gd name="connsiteY18" fmla="*/ 9077 h 10000"/>
              <a:gd name="connsiteX19" fmla="*/ 5301 w 10000"/>
              <a:gd name="connsiteY19" fmla="*/ 8888 h 10000"/>
              <a:gd name="connsiteX20" fmla="*/ 5734 w 10000"/>
              <a:gd name="connsiteY20" fmla="*/ 8698 h 10000"/>
              <a:gd name="connsiteX21" fmla="*/ 6089 w 10000"/>
              <a:gd name="connsiteY21" fmla="*/ 8522 h 10000"/>
              <a:gd name="connsiteX22" fmla="*/ 6491 w 10000"/>
              <a:gd name="connsiteY22" fmla="*/ 8281 h 10000"/>
              <a:gd name="connsiteX23" fmla="*/ 6893 w 10000"/>
              <a:gd name="connsiteY23" fmla="*/ 8042 h 10000"/>
              <a:gd name="connsiteX24" fmla="*/ 7249 w 10000"/>
              <a:gd name="connsiteY24" fmla="*/ 7777 h 10000"/>
              <a:gd name="connsiteX25" fmla="*/ 7542 w 10000"/>
              <a:gd name="connsiteY25" fmla="*/ 7561 h 10000"/>
              <a:gd name="connsiteX26" fmla="*/ 7867 w 10000"/>
              <a:gd name="connsiteY26" fmla="*/ 7296 h 10000"/>
              <a:gd name="connsiteX27" fmla="*/ 8114 w 10000"/>
              <a:gd name="connsiteY27" fmla="*/ 7068 h 10000"/>
              <a:gd name="connsiteX28" fmla="*/ 8393 w 10000"/>
              <a:gd name="connsiteY28" fmla="*/ 6790 h 10000"/>
              <a:gd name="connsiteX29" fmla="*/ 8670 w 10000"/>
              <a:gd name="connsiteY29" fmla="*/ 6499 h 10000"/>
              <a:gd name="connsiteX30" fmla="*/ 8871 w 10000"/>
              <a:gd name="connsiteY30" fmla="*/ 6183 h 10000"/>
              <a:gd name="connsiteX31" fmla="*/ 9088 w 10000"/>
              <a:gd name="connsiteY31" fmla="*/ 5905 h 10000"/>
              <a:gd name="connsiteX32" fmla="*/ 9242 w 10000"/>
              <a:gd name="connsiteY32" fmla="*/ 5640 h 10000"/>
              <a:gd name="connsiteX33" fmla="*/ 9458 w 10000"/>
              <a:gd name="connsiteY33" fmla="*/ 5235 h 10000"/>
              <a:gd name="connsiteX34" fmla="*/ 9597 w 10000"/>
              <a:gd name="connsiteY34" fmla="*/ 4920 h 10000"/>
              <a:gd name="connsiteX35" fmla="*/ 9768 w 10000"/>
              <a:gd name="connsiteY35" fmla="*/ 4490 h 10000"/>
              <a:gd name="connsiteX36" fmla="*/ 9876 w 10000"/>
              <a:gd name="connsiteY36" fmla="*/ 4010 h 10000"/>
              <a:gd name="connsiteX37" fmla="*/ 9953 w 10000"/>
              <a:gd name="connsiteY37" fmla="*/ 3581 h 10000"/>
              <a:gd name="connsiteX38" fmla="*/ 10000 w 10000"/>
              <a:gd name="connsiteY38" fmla="*/ 3202 h 10000"/>
              <a:gd name="connsiteX39" fmla="*/ 10000 w 10000"/>
              <a:gd name="connsiteY39" fmla="*/ 2797 h 10000"/>
              <a:gd name="connsiteX40" fmla="*/ 9984 w 10000"/>
              <a:gd name="connsiteY40" fmla="*/ 2468 h 10000"/>
              <a:gd name="connsiteX41" fmla="*/ 9922 w 10000"/>
              <a:gd name="connsiteY41" fmla="*/ 1975 h 10000"/>
              <a:gd name="connsiteX42" fmla="*/ 9768 w 10000"/>
              <a:gd name="connsiteY42" fmla="*/ 1482 h 10000"/>
              <a:gd name="connsiteX43" fmla="*/ 9628 w 10000"/>
              <a:gd name="connsiteY43" fmla="*/ 1053 h 10000"/>
              <a:gd name="connsiteX44" fmla="*/ 9458 w 10000"/>
              <a:gd name="connsiteY44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665 w 10000"/>
              <a:gd name="connsiteY5" fmla="*/ 5148 h 10000"/>
              <a:gd name="connsiteX6" fmla="*/ 2167 w 10000"/>
              <a:gd name="connsiteY6" fmla="*/ 7833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4 h 10000"/>
              <a:gd name="connsiteX10" fmla="*/ 1329 w 10000"/>
              <a:gd name="connsiteY10" fmla="*/ 9923 h 10000"/>
              <a:gd name="connsiteX11" fmla="*/ 1824 w 10000"/>
              <a:gd name="connsiteY11" fmla="*/ 9873 h 10000"/>
              <a:gd name="connsiteX12" fmla="*/ 2302 w 10000"/>
              <a:gd name="connsiteY12" fmla="*/ 9785 h 10000"/>
              <a:gd name="connsiteX13" fmla="*/ 2782 w 10000"/>
              <a:gd name="connsiteY13" fmla="*/ 9696 h 10000"/>
              <a:gd name="connsiteX14" fmla="*/ 3153 w 10000"/>
              <a:gd name="connsiteY14" fmla="*/ 9608 h 10000"/>
              <a:gd name="connsiteX15" fmla="*/ 3554 w 10000"/>
              <a:gd name="connsiteY15" fmla="*/ 9507 h 10000"/>
              <a:gd name="connsiteX16" fmla="*/ 4049 w 10000"/>
              <a:gd name="connsiteY16" fmla="*/ 9368 h 10000"/>
              <a:gd name="connsiteX17" fmla="*/ 4467 w 10000"/>
              <a:gd name="connsiteY17" fmla="*/ 9216 h 10000"/>
              <a:gd name="connsiteX18" fmla="*/ 4868 w 10000"/>
              <a:gd name="connsiteY18" fmla="*/ 9077 h 10000"/>
              <a:gd name="connsiteX19" fmla="*/ 5301 w 10000"/>
              <a:gd name="connsiteY19" fmla="*/ 8888 h 10000"/>
              <a:gd name="connsiteX20" fmla="*/ 5734 w 10000"/>
              <a:gd name="connsiteY20" fmla="*/ 8698 h 10000"/>
              <a:gd name="connsiteX21" fmla="*/ 6089 w 10000"/>
              <a:gd name="connsiteY21" fmla="*/ 8522 h 10000"/>
              <a:gd name="connsiteX22" fmla="*/ 6491 w 10000"/>
              <a:gd name="connsiteY22" fmla="*/ 8281 h 10000"/>
              <a:gd name="connsiteX23" fmla="*/ 6893 w 10000"/>
              <a:gd name="connsiteY23" fmla="*/ 8042 h 10000"/>
              <a:gd name="connsiteX24" fmla="*/ 7249 w 10000"/>
              <a:gd name="connsiteY24" fmla="*/ 7777 h 10000"/>
              <a:gd name="connsiteX25" fmla="*/ 7542 w 10000"/>
              <a:gd name="connsiteY25" fmla="*/ 7561 h 10000"/>
              <a:gd name="connsiteX26" fmla="*/ 7867 w 10000"/>
              <a:gd name="connsiteY26" fmla="*/ 7296 h 10000"/>
              <a:gd name="connsiteX27" fmla="*/ 8114 w 10000"/>
              <a:gd name="connsiteY27" fmla="*/ 7068 h 10000"/>
              <a:gd name="connsiteX28" fmla="*/ 8393 w 10000"/>
              <a:gd name="connsiteY28" fmla="*/ 6790 h 10000"/>
              <a:gd name="connsiteX29" fmla="*/ 8670 w 10000"/>
              <a:gd name="connsiteY29" fmla="*/ 6499 h 10000"/>
              <a:gd name="connsiteX30" fmla="*/ 8871 w 10000"/>
              <a:gd name="connsiteY30" fmla="*/ 6183 h 10000"/>
              <a:gd name="connsiteX31" fmla="*/ 9088 w 10000"/>
              <a:gd name="connsiteY31" fmla="*/ 5905 h 10000"/>
              <a:gd name="connsiteX32" fmla="*/ 9242 w 10000"/>
              <a:gd name="connsiteY32" fmla="*/ 5640 h 10000"/>
              <a:gd name="connsiteX33" fmla="*/ 9458 w 10000"/>
              <a:gd name="connsiteY33" fmla="*/ 5235 h 10000"/>
              <a:gd name="connsiteX34" fmla="*/ 9597 w 10000"/>
              <a:gd name="connsiteY34" fmla="*/ 4920 h 10000"/>
              <a:gd name="connsiteX35" fmla="*/ 9768 w 10000"/>
              <a:gd name="connsiteY35" fmla="*/ 4490 h 10000"/>
              <a:gd name="connsiteX36" fmla="*/ 9876 w 10000"/>
              <a:gd name="connsiteY36" fmla="*/ 4010 h 10000"/>
              <a:gd name="connsiteX37" fmla="*/ 9953 w 10000"/>
              <a:gd name="connsiteY37" fmla="*/ 3581 h 10000"/>
              <a:gd name="connsiteX38" fmla="*/ 10000 w 10000"/>
              <a:gd name="connsiteY38" fmla="*/ 3202 h 10000"/>
              <a:gd name="connsiteX39" fmla="*/ 10000 w 10000"/>
              <a:gd name="connsiteY39" fmla="*/ 2797 h 10000"/>
              <a:gd name="connsiteX40" fmla="*/ 9984 w 10000"/>
              <a:gd name="connsiteY40" fmla="*/ 2468 h 10000"/>
              <a:gd name="connsiteX41" fmla="*/ 9922 w 10000"/>
              <a:gd name="connsiteY41" fmla="*/ 1975 h 10000"/>
              <a:gd name="connsiteX42" fmla="*/ 9768 w 10000"/>
              <a:gd name="connsiteY42" fmla="*/ 1482 h 10000"/>
              <a:gd name="connsiteX43" fmla="*/ 9628 w 10000"/>
              <a:gd name="connsiteY43" fmla="*/ 1053 h 10000"/>
              <a:gd name="connsiteX44" fmla="*/ 9458 w 10000"/>
              <a:gd name="connsiteY44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409 w 10000"/>
              <a:gd name="connsiteY5" fmla="*/ 5222 h 10000"/>
              <a:gd name="connsiteX6" fmla="*/ 2167 w 10000"/>
              <a:gd name="connsiteY6" fmla="*/ 7833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4 h 10000"/>
              <a:gd name="connsiteX10" fmla="*/ 1329 w 10000"/>
              <a:gd name="connsiteY10" fmla="*/ 9923 h 10000"/>
              <a:gd name="connsiteX11" fmla="*/ 1824 w 10000"/>
              <a:gd name="connsiteY11" fmla="*/ 9873 h 10000"/>
              <a:gd name="connsiteX12" fmla="*/ 2302 w 10000"/>
              <a:gd name="connsiteY12" fmla="*/ 9785 h 10000"/>
              <a:gd name="connsiteX13" fmla="*/ 2782 w 10000"/>
              <a:gd name="connsiteY13" fmla="*/ 9696 h 10000"/>
              <a:gd name="connsiteX14" fmla="*/ 3153 w 10000"/>
              <a:gd name="connsiteY14" fmla="*/ 9608 h 10000"/>
              <a:gd name="connsiteX15" fmla="*/ 3554 w 10000"/>
              <a:gd name="connsiteY15" fmla="*/ 9507 h 10000"/>
              <a:gd name="connsiteX16" fmla="*/ 4049 w 10000"/>
              <a:gd name="connsiteY16" fmla="*/ 9368 h 10000"/>
              <a:gd name="connsiteX17" fmla="*/ 4467 w 10000"/>
              <a:gd name="connsiteY17" fmla="*/ 9216 h 10000"/>
              <a:gd name="connsiteX18" fmla="*/ 4868 w 10000"/>
              <a:gd name="connsiteY18" fmla="*/ 9077 h 10000"/>
              <a:gd name="connsiteX19" fmla="*/ 5301 w 10000"/>
              <a:gd name="connsiteY19" fmla="*/ 8888 h 10000"/>
              <a:gd name="connsiteX20" fmla="*/ 5734 w 10000"/>
              <a:gd name="connsiteY20" fmla="*/ 8698 h 10000"/>
              <a:gd name="connsiteX21" fmla="*/ 6089 w 10000"/>
              <a:gd name="connsiteY21" fmla="*/ 8522 h 10000"/>
              <a:gd name="connsiteX22" fmla="*/ 6491 w 10000"/>
              <a:gd name="connsiteY22" fmla="*/ 8281 h 10000"/>
              <a:gd name="connsiteX23" fmla="*/ 6893 w 10000"/>
              <a:gd name="connsiteY23" fmla="*/ 8042 h 10000"/>
              <a:gd name="connsiteX24" fmla="*/ 7249 w 10000"/>
              <a:gd name="connsiteY24" fmla="*/ 7777 h 10000"/>
              <a:gd name="connsiteX25" fmla="*/ 7542 w 10000"/>
              <a:gd name="connsiteY25" fmla="*/ 7561 h 10000"/>
              <a:gd name="connsiteX26" fmla="*/ 7867 w 10000"/>
              <a:gd name="connsiteY26" fmla="*/ 7296 h 10000"/>
              <a:gd name="connsiteX27" fmla="*/ 8114 w 10000"/>
              <a:gd name="connsiteY27" fmla="*/ 7068 h 10000"/>
              <a:gd name="connsiteX28" fmla="*/ 8393 w 10000"/>
              <a:gd name="connsiteY28" fmla="*/ 6790 h 10000"/>
              <a:gd name="connsiteX29" fmla="*/ 8670 w 10000"/>
              <a:gd name="connsiteY29" fmla="*/ 6499 h 10000"/>
              <a:gd name="connsiteX30" fmla="*/ 8871 w 10000"/>
              <a:gd name="connsiteY30" fmla="*/ 6183 h 10000"/>
              <a:gd name="connsiteX31" fmla="*/ 9088 w 10000"/>
              <a:gd name="connsiteY31" fmla="*/ 5905 h 10000"/>
              <a:gd name="connsiteX32" fmla="*/ 9242 w 10000"/>
              <a:gd name="connsiteY32" fmla="*/ 5640 h 10000"/>
              <a:gd name="connsiteX33" fmla="*/ 9458 w 10000"/>
              <a:gd name="connsiteY33" fmla="*/ 5235 h 10000"/>
              <a:gd name="connsiteX34" fmla="*/ 9597 w 10000"/>
              <a:gd name="connsiteY34" fmla="*/ 4920 h 10000"/>
              <a:gd name="connsiteX35" fmla="*/ 9768 w 10000"/>
              <a:gd name="connsiteY35" fmla="*/ 4490 h 10000"/>
              <a:gd name="connsiteX36" fmla="*/ 9876 w 10000"/>
              <a:gd name="connsiteY36" fmla="*/ 4010 h 10000"/>
              <a:gd name="connsiteX37" fmla="*/ 9953 w 10000"/>
              <a:gd name="connsiteY37" fmla="*/ 3581 h 10000"/>
              <a:gd name="connsiteX38" fmla="*/ 10000 w 10000"/>
              <a:gd name="connsiteY38" fmla="*/ 3202 h 10000"/>
              <a:gd name="connsiteX39" fmla="*/ 10000 w 10000"/>
              <a:gd name="connsiteY39" fmla="*/ 2797 h 10000"/>
              <a:gd name="connsiteX40" fmla="*/ 9984 w 10000"/>
              <a:gd name="connsiteY40" fmla="*/ 2468 h 10000"/>
              <a:gd name="connsiteX41" fmla="*/ 9922 w 10000"/>
              <a:gd name="connsiteY41" fmla="*/ 1975 h 10000"/>
              <a:gd name="connsiteX42" fmla="*/ 9768 w 10000"/>
              <a:gd name="connsiteY42" fmla="*/ 1482 h 10000"/>
              <a:gd name="connsiteX43" fmla="*/ 9628 w 10000"/>
              <a:gd name="connsiteY43" fmla="*/ 1053 h 10000"/>
              <a:gd name="connsiteX44" fmla="*/ 9458 w 10000"/>
              <a:gd name="connsiteY44" fmla="*/ 699 h 10000"/>
              <a:gd name="connsiteX0" fmla="*/ 9165 w 10000"/>
              <a:gd name="connsiteY0" fmla="*/ 226 h 10000"/>
              <a:gd name="connsiteX1" fmla="*/ 9682 w 10000"/>
              <a:gd name="connsiteY1" fmla="*/ 129 h 10000"/>
              <a:gd name="connsiteX2" fmla="*/ 4918 w 10000"/>
              <a:gd name="connsiteY2" fmla="*/ 0 h 10000"/>
              <a:gd name="connsiteX3" fmla="*/ 2027 w 10000"/>
              <a:gd name="connsiteY3" fmla="*/ 2138 h 10000"/>
              <a:gd name="connsiteX4" fmla="*/ 2484 w 10000"/>
              <a:gd name="connsiteY4" fmla="*/ 1983 h 10000"/>
              <a:gd name="connsiteX5" fmla="*/ 409 w 10000"/>
              <a:gd name="connsiteY5" fmla="*/ 5222 h 10000"/>
              <a:gd name="connsiteX6" fmla="*/ 2167 w 10000"/>
              <a:gd name="connsiteY6" fmla="*/ 7833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4 h 10000"/>
              <a:gd name="connsiteX10" fmla="*/ 1329 w 10000"/>
              <a:gd name="connsiteY10" fmla="*/ 9923 h 10000"/>
              <a:gd name="connsiteX11" fmla="*/ 1824 w 10000"/>
              <a:gd name="connsiteY11" fmla="*/ 9873 h 10000"/>
              <a:gd name="connsiteX12" fmla="*/ 2302 w 10000"/>
              <a:gd name="connsiteY12" fmla="*/ 9785 h 10000"/>
              <a:gd name="connsiteX13" fmla="*/ 2782 w 10000"/>
              <a:gd name="connsiteY13" fmla="*/ 9696 h 10000"/>
              <a:gd name="connsiteX14" fmla="*/ 3153 w 10000"/>
              <a:gd name="connsiteY14" fmla="*/ 9608 h 10000"/>
              <a:gd name="connsiteX15" fmla="*/ 3554 w 10000"/>
              <a:gd name="connsiteY15" fmla="*/ 9507 h 10000"/>
              <a:gd name="connsiteX16" fmla="*/ 4049 w 10000"/>
              <a:gd name="connsiteY16" fmla="*/ 9368 h 10000"/>
              <a:gd name="connsiteX17" fmla="*/ 4467 w 10000"/>
              <a:gd name="connsiteY17" fmla="*/ 9216 h 10000"/>
              <a:gd name="connsiteX18" fmla="*/ 4868 w 10000"/>
              <a:gd name="connsiteY18" fmla="*/ 9077 h 10000"/>
              <a:gd name="connsiteX19" fmla="*/ 5301 w 10000"/>
              <a:gd name="connsiteY19" fmla="*/ 8888 h 10000"/>
              <a:gd name="connsiteX20" fmla="*/ 5734 w 10000"/>
              <a:gd name="connsiteY20" fmla="*/ 8698 h 10000"/>
              <a:gd name="connsiteX21" fmla="*/ 6089 w 10000"/>
              <a:gd name="connsiteY21" fmla="*/ 8522 h 10000"/>
              <a:gd name="connsiteX22" fmla="*/ 6491 w 10000"/>
              <a:gd name="connsiteY22" fmla="*/ 8281 h 10000"/>
              <a:gd name="connsiteX23" fmla="*/ 6893 w 10000"/>
              <a:gd name="connsiteY23" fmla="*/ 8042 h 10000"/>
              <a:gd name="connsiteX24" fmla="*/ 7249 w 10000"/>
              <a:gd name="connsiteY24" fmla="*/ 7777 h 10000"/>
              <a:gd name="connsiteX25" fmla="*/ 7542 w 10000"/>
              <a:gd name="connsiteY25" fmla="*/ 7561 h 10000"/>
              <a:gd name="connsiteX26" fmla="*/ 7867 w 10000"/>
              <a:gd name="connsiteY26" fmla="*/ 7296 h 10000"/>
              <a:gd name="connsiteX27" fmla="*/ 8114 w 10000"/>
              <a:gd name="connsiteY27" fmla="*/ 7068 h 10000"/>
              <a:gd name="connsiteX28" fmla="*/ 8393 w 10000"/>
              <a:gd name="connsiteY28" fmla="*/ 6790 h 10000"/>
              <a:gd name="connsiteX29" fmla="*/ 8670 w 10000"/>
              <a:gd name="connsiteY29" fmla="*/ 6499 h 10000"/>
              <a:gd name="connsiteX30" fmla="*/ 8871 w 10000"/>
              <a:gd name="connsiteY30" fmla="*/ 6183 h 10000"/>
              <a:gd name="connsiteX31" fmla="*/ 9088 w 10000"/>
              <a:gd name="connsiteY31" fmla="*/ 5905 h 10000"/>
              <a:gd name="connsiteX32" fmla="*/ 9242 w 10000"/>
              <a:gd name="connsiteY32" fmla="*/ 5640 h 10000"/>
              <a:gd name="connsiteX33" fmla="*/ 9458 w 10000"/>
              <a:gd name="connsiteY33" fmla="*/ 5235 h 10000"/>
              <a:gd name="connsiteX34" fmla="*/ 9597 w 10000"/>
              <a:gd name="connsiteY34" fmla="*/ 4920 h 10000"/>
              <a:gd name="connsiteX35" fmla="*/ 9768 w 10000"/>
              <a:gd name="connsiteY35" fmla="*/ 4490 h 10000"/>
              <a:gd name="connsiteX36" fmla="*/ 9876 w 10000"/>
              <a:gd name="connsiteY36" fmla="*/ 4010 h 10000"/>
              <a:gd name="connsiteX37" fmla="*/ 9953 w 10000"/>
              <a:gd name="connsiteY37" fmla="*/ 3581 h 10000"/>
              <a:gd name="connsiteX38" fmla="*/ 10000 w 10000"/>
              <a:gd name="connsiteY38" fmla="*/ 3202 h 10000"/>
              <a:gd name="connsiteX39" fmla="*/ 10000 w 10000"/>
              <a:gd name="connsiteY39" fmla="*/ 2797 h 10000"/>
              <a:gd name="connsiteX40" fmla="*/ 9984 w 10000"/>
              <a:gd name="connsiteY40" fmla="*/ 2468 h 10000"/>
              <a:gd name="connsiteX41" fmla="*/ 9922 w 10000"/>
              <a:gd name="connsiteY41" fmla="*/ 1975 h 10000"/>
              <a:gd name="connsiteX42" fmla="*/ 9768 w 10000"/>
              <a:gd name="connsiteY42" fmla="*/ 1482 h 10000"/>
              <a:gd name="connsiteX43" fmla="*/ 9628 w 10000"/>
              <a:gd name="connsiteY43" fmla="*/ 1053 h 10000"/>
              <a:gd name="connsiteX44" fmla="*/ 9458 w 10000"/>
              <a:gd name="connsiteY44" fmla="*/ 699 h 10000"/>
              <a:gd name="connsiteX0" fmla="*/ 9402 w 10237"/>
              <a:gd name="connsiteY0" fmla="*/ 226 h 10007"/>
              <a:gd name="connsiteX1" fmla="*/ 9919 w 10237"/>
              <a:gd name="connsiteY1" fmla="*/ 129 h 10007"/>
              <a:gd name="connsiteX2" fmla="*/ 5155 w 10237"/>
              <a:gd name="connsiteY2" fmla="*/ 0 h 10007"/>
              <a:gd name="connsiteX3" fmla="*/ 2264 w 10237"/>
              <a:gd name="connsiteY3" fmla="*/ 2138 h 10007"/>
              <a:gd name="connsiteX4" fmla="*/ 2721 w 10237"/>
              <a:gd name="connsiteY4" fmla="*/ 1983 h 10007"/>
              <a:gd name="connsiteX5" fmla="*/ 646 w 10237"/>
              <a:gd name="connsiteY5" fmla="*/ 5222 h 10007"/>
              <a:gd name="connsiteX6" fmla="*/ 2404 w 10237"/>
              <a:gd name="connsiteY6" fmla="*/ 7833 h 10007"/>
              <a:gd name="connsiteX7" fmla="*/ 0 w 10237"/>
              <a:gd name="connsiteY7" fmla="*/ 10007 h 10007"/>
              <a:gd name="connsiteX8" fmla="*/ 655 w 10237"/>
              <a:gd name="connsiteY8" fmla="*/ 9988 h 10007"/>
              <a:gd name="connsiteX9" fmla="*/ 1087 w 10237"/>
              <a:gd name="connsiteY9" fmla="*/ 9974 h 10007"/>
              <a:gd name="connsiteX10" fmla="*/ 1566 w 10237"/>
              <a:gd name="connsiteY10" fmla="*/ 9923 h 10007"/>
              <a:gd name="connsiteX11" fmla="*/ 2061 w 10237"/>
              <a:gd name="connsiteY11" fmla="*/ 9873 h 10007"/>
              <a:gd name="connsiteX12" fmla="*/ 2539 w 10237"/>
              <a:gd name="connsiteY12" fmla="*/ 9785 h 10007"/>
              <a:gd name="connsiteX13" fmla="*/ 3019 w 10237"/>
              <a:gd name="connsiteY13" fmla="*/ 9696 h 10007"/>
              <a:gd name="connsiteX14" fmla="*/ 3390 w 10237"/>
              <a:gd name="connsiteY14" fmla="*/ 9608 h 10007"/>
              <a:gd name="connsiteX15" fmla="*/ 3791 w 10237"/>
              <a:gd name="connsiteY15" fmla="*/ 9507 h 10007"/>
              <a:gd name="connsiteX16" fmla="*/ 4286 w 10237"/>
              <a:gd name="connsiteY16" fmla="*/ 9368 h 10007"/>
              <a:gd name="connsiteX17" fmla="*/ 4704 w 10237"/>
              <a:gd name="connsiteY17" fmla="*/ 9216 h 10007"/>
              <a:gd name="connsiteX18" fmla="*/ 5105 w 10237"/>
              <a:gd name="connsiteY18" fmla="*/ 9077 h 10007"/>
              <a:gd name="connsiteX19" fmla="*/ 5538 w 10237"/>
              <a:gd name="connsiteY19" fmla="*/ 8888 h 10007"/>
              <a:gd name="connsiteX20" fmla="*/ 5971 w 10237"/>
              <a:gd name="connsiteY20" fmla="*/ 8698 h 10007"/>
              <a:gd name="connsiteX21" fmla="*/ 6326 w 10237"/>
              <a:gd name="connsiteY21" fmla="*/ 8522 h 10007"/>
              <a:gd name="connsiteX22" fmla="*/ 6728 w 10237"/>
              <a:gd name="connsiteY22" fmla="*/ 8281 h 10007"/>
              <a:gd name="connsiteX23" fmla="*/ 7130 w 10237"/>
              <a:gd name="connsiteY23" fmla="*/ 8042 h 10007"/>
              <a:gd name="connsiteX24" fmla="*/ 7486 w 10237"/>
              <a:gd name="connsiteY24" fmla="*/ 7777 h 10007"/>
              <a:gd name="connsiteX25" fmla="*/ 7779 w 10237"/>
              <a:gd name="connsiteY25" fmla="*/ 7561 h 10007"/>
              <a:gd name="connsiteX26" fmla="*/ 8104 w 10237"/>
              <a:gd name="connsiteY26" fmla="*/ 7296 h 10007"/>
              <a:gd name="connsiteX27" fmla="*/ 8351 w 10237"/>
              <a:gd name="connsiteY27" fmla="*/ 7068 h 10007"/>
              <a:gd name="connsiteX28" fmla="*/ 8630 w 10237"/>
              <a:gd name="connsiteY28" fmla="*/ 6790 h 10007"/>
              <a:gd name="connsiteX29" fmla="*/ 8907 w 10237"/>
              <a:gd name="connsiteY29" fmla="*/ 6499 h 10007"/>
              <a:gd name="connsiteX30" fmla="*/ 9108 w 10237"/>
              <a:gd name="connsiteY30" fmla="*/ 6183 h 10007"/>
              <a:gd name="connsiteX31" fmla="*/ 9325 w 10237"/>
              <a:gd name="connsiteY31" fmla="*/ 5905 h 10007"/>
              <a:gd name="connsiteX32" fmla="*/ 9479 w 10237"/>
              <a:gd name="connsiteY32" fmla="*/ 5640 h 10007"/>
              <a:gd name="connsiteX33" fmla="*/ 9695 w 10237"/>
              <a:gd name="connsiteY33" fmla="*/ 5235 h 10007"/>
              <a:gd name="connsiteX34" fmla="*/ 9834 w 10237"/>
              <a:gd name="connsiteY34" fmla="*/ 4920 h 10007"/>
              <a:gd name="connsiteX35" fmla="*/ 10005 w 10237"/>
              <a:gd name="connsiteY35" fmla="*/ 4490 h 10007"/>
              <a:gd name="connsiteX36" fmla="*/ 10113 w 10237"/>
              <a:gd name="connsiteY36" fmla="*/ 4010 h 10007"/>
              <a:gd name="connsiteX37" fmla="*/ 10190 w 10237"/>
              <a:gd name="connsiteY37" fmla="*/ 3581 h 10007"/>
              <a:gd name="connsiteX38" fmla="*/ 10237 w 10237"/>
              <a:gd name="connsiteY38" fmla="*/ 3202 h 10007"/>
              <a:gd name="connsiteX39" fmla="*/ 10237 w 10237"/>
              <a:gd name="connsiteY39" fmla="*/ 2797 h 10007"/>
              <a:gd name="connsiteX40" fmla="*/ 10221 w 10237"/>
              <a:gd name="connsiteY40" fmla="*/ 2468 h 10007"/>
              <a:gd name="connsiteX41" fmla="*/ 10159 w 10237"/>
              <a:gd name="connsiteY41" fmla="*/ 1975 h 10007"/>
              <a:gd name="connsiteX42" fmla="*/ 10005 w 10237"/>
              <a:gd name="connsiteY42" fmla="*/ 1482 h 10007"/>
              <a:gd name="connsiteX43" fmla="*/ 9865 w 10237"/>
              <a:gd name="connsiteY43" fmla="*/ 1053 h 10007"/>
              <a:gd name="connsiteX44" fmla="*/ 9695 w 10237"/>
              <a:gd name="connsiteY44" fmla="*/ 699 h 10007"/>
              <a:gd name="connsiteX0" fmla="*/ 9402 w 10237"/>
              <a:gd name="connsiteY0" fmla="*/ 226 h 10007"/>
              <a:gd name="connsiteX1" fmla="*/ 9919 w 10237"/>
              <a:gd name="connsiteY1" fmla="*/ 129 h 10007"/>
              <a:gd name="connsiteX2" fmla="*/ 5155 w 10237"/>
              <a:gd name="connsiteY2" fmla="*/ 0 h 10007"/>
              <a:gd name="connsiteX3" fmla="*/ 2264 w 10237"/>
              <a:gd name="connsiteY3" fmla="*/ 2138 h 10007"/>
              <a:gd name="connsiteX4" fmla="*/ 2721 w 10237"/>
              <a:gd name="connsiteY4" fmla="*/ 1983 h 10007"/>
              <a:gd name="connsiteX5" fmla="*/ 646 w 10237"/>
              <a:gd name="connsiteY5" fmla="*/ 5222 h 10007"/>
              <a:gd name="connsiteX6" fmla="*/ 2151 w 10237"/>
              <a:gd name="connsiteY6" fmla="*/ 7820 h 10007"/>
              <a:gd name="connsiteX7" fmla="*/ 0 w 10237"/>
              <a:gd name="connsiteY7" fmla="*/ 10007 h 10007"/>
              <a:gd name="connsiteX8" fmla="*/ 655 w 10237"/>
              <a:gd name="connsiteY8" fmla="*/ 9988 h 10007"/>
              <a:gd name="connsiteX9" fmla="*/ 1087 w 10237"/>
              <a:gd name="connsiteY9" fmla="*/ 9974 h 10007"/>
              <a:gd name="connsiteX10" fmla="*/ 1566 w 10237"/>
              <a:gd name="connsiteY10" fmla="*/ 9923 h 10007"/>
              <a:gd name="connsiteX11" fmla="*/ 2061 w 10237"/>
              <a:gd name="connsiteY11" fmla="*/ 9873 h 10007"/>
              <a:gd name="connsiteX12" fmla="*/ 2539 w 10237"/>
              <a:gd name="connsiteY12" fmla="*/ 9785 h 10007"/>
              <a:gd name="connsiteX13" fmla="*/ 3019 w 10237"/>
              <a:gd name="connsiteY13" fmla="*/ 9696 h 10007"/>
              <a:gd name="connsiteX14" fmla="*/ 3390 w 10237"/>
              <a:gd name="connsiteY14" fmla="*/ 9608 h 10007"/>
              <a:gd name="connsiteX15" fmla="*/ 3791 w 10237"/>
              <a:gd name="connsiteY15" fmla="*/ 9507 h 10007"/>
              <a:gd name="connsiteX16" fmla="*/ 4286 w 10237"/>
              <a:gd name="connsiteY16" fmla="*/ 9368 h 10007"/>
              <a:gd name="connsiteX17" fmla="*/ 4704 w 10237"/>
              <a:gd name="connsiteY17" fmla="*/ 9216 h 10007"/>
              <a:gd name="connsiteX18" fmla="*/ 5105 w 10237"/>
              <a:gd name="connsiteY18" fmla="*/ 9077 h 10007"/>
              <a:gd name="connsiteX19" fmla="*/ 5538 w 10237"/>
              <a:gd name="connsiteY19" fmla="*/ 8888 h 10007"/>
              <a:gd name="connsiteX20" fmla="*/ 5971 w 10237"/>
              <a:gd name="connsiteY20" fmla="*/ 8698 h 10007"/>
              <a:gd name="connsiteX21" fmla="*/ 6326 w 10237"/>
              <a:gd name="connsiteY21" fmla="*/ 8522 h 10007"/>
              <a:gd name="connsiteX22" fmla="*/ 6728 w 10237"/>
              <a:gd name="connsiteY22" fmla="*/ 8281 h 10007"/>
              <a:gd name="connsiteX23" fmla="*/ 7130 w 10237"/>
              <a:gd name="connsiteY23" fmla="*/ 8042 h 10007"/>
              <a:gd name="connsiteX24" fmla="*/ 7486 w 10237"/>
              <a:gd name="connsiteY24" fmla="*/ 7777 h 10007"/>
              <a:gd name="connsiteX25" fmla="*/ 7779 w 10237"/>
              <a:gd name="connsiteY25" fmla="*/ 7561 h 10007"/>
              <a:gd name="connsiteX26" fmla="*/ 8104 w 10237"/>
              <a:gd name="connsiteY26" fmla="*/ 7296 h 10007"/>
              <a:gd name="connsiteX27" fmla="*/ 8351 w 10237"/>
              <a:gd name="connsiteY27" fmla="*/ 7068 h 10007"/>
              <a:gd name="connsiteX28" fmla="*/ 8630 w 10237"/>
              <a:gd name="connsiteY28" fmla="*/ 6790 h 10007"/>
              <a:gd name="connsiteX29" fmla="*/ 8907 w 10237"/>
              <a:gd name="connsiteY29" fmla="*/ 6499 h 10007"/>
              <a:gd name="connsiteX30" fmla="*/ 9108 w 10237"/>
              <a:gd name="connsiteY30" fmla="*/ 6183 h 10007"/>
              <a:gd name="connsiteX31" fmla="*/ 9325 w 10237"/>
              <a:gd name="connsiteY31" fmla="*/ 5905 h 10007"/>
              <a:gd name="connsiteX32" fmla="*/ 9479 w 10237"/>
              <a:gd name="connsiteY32" fmla="*/ 5640 h 10007"/>
              <a:gd name="connsiteX33" fmla="*/ 9695 w 10237"/>
              <a:gd name="connsiteY33" fmla="*/ 5235 h 10007"/>
              <a:gd name="connsiteX34" fmla="*/ 9834 w 10237"/>
              <a:gd name="connsiteY34" fmla="*/ 4920 h 10007"/>
              <a:gd name="connsiteX35" fmla="*/ 10005 w 10237"/>
              <a:gd name="connsiteY35" fmla="*/ 4490 h 10007"/>
              <a:gd name="connsiteX36" fmla="*/ 10113 w 10237"/>
              <a:gd name="connsiteY36" fmla="*/ 4010 h 10007"/>
              <a:gd name="connsiteX37" fmla="*/ 10190 w 10237"/>
              <a:gd name="connsiteY37" fmla="*/ 3581 h 10007"/>
              <a:gd name="connsiteX38" fmla="*/ 10237 w 10237"/>
              <a:gd name="connsiteY38" fmla="*/ 3202 h 10007"/>
              <a:gd name="connsiteX39" fmla="*/ 10237 w 10237"/>
              <a:gd name="connsiteY39" fmla="*/ 2797 h 10007"/>
              <a:gd name="connsiteX40" fmla="*/ 10221 w 10237"/>
              <a:gd name="connsiteY40" fmla="*/ 2468 h 10007"/>
              <a:gd name="connsiteX41" fmla="*/ 10159 w 10237"/>
              <a:gd name="connsiteY41" fmla="*/ 1975 h 10007"/>
              <a:gd name="connsiteX42" fmla="*/ 10005 w 10237"/>
              <a:gd name="connsiteY42" fmla="*/ 1482 h 10007"/>
              <a:gd name="connsiteX43" fmla="*/ 9865 w 10237"/>
              <a:gd name="connsiteY43" fmla="*/ 1053 h 10007"/>
              <a:gd name="connsiteX44" fmla="*/ 9695 w 10237"/>
              <a:gd name="connsiteY44" fmla="*/ 699 h 10007"/>
              <a:gd name="connsiteX0" fmla="*/ 9402 w 10237"/>
              <a:gd name="connsiteY0" fmla="*/ 226 h 10007"/>
              <a:gd name="connsiteX1" fmla="*/ 9919 w 10237"/>
              <a:gd name="connsiteY1" fmla="*/ 129 h 10007"/>
              <a:gd name="connsiteX2" fmla="*/ 5155 w 10237"/>
              <a:gd name="connsiteY2" fmla="*/ 0 h 10007"/>
              <a:gd name="connsiteX3" fmla="*/ 2264 w 10237"/>
              <a:gd name="connsiteY3" fmla="*/ 2138 h 10007"/>
              <a:gd name="connsiteX4" fmla="*/ 2721 w 10237"/>
              <a:gd name="connsiteY4" fmla="*/ 1983 h 10007"/>
              <a:gd name="connsiteX5" fmla="*/ 646 w 10237"/>
              <a:gd name="connsiteY5" fmla="*/ 5222 h 10007"/>
              <a:gd name="connsiteX6" fmla="*/ 2151 w 10237"/>
              <a:gd name="connsiteY6" fmla="*/ 7820 h 10007"/>
              <a:gd name="connsiteX7" fmla="*/ 0 w 10237"/>
              <a:gd name="connsiteY7" fmla="*/ 10007 h 10007"/>
              <a:gd name="connsiteX8" fmla="*/ 655 w 10237"/>
              <a:gd name="connsiteY8" fmla="*/ 9988 h 10007"/>
              <a:gd name="connsiteX9" fmla="*/ 1087 w 10237"/>
              <a:gd name="connsiteY9" fmla="*/ 9974 h 10007"/>
              <a:gd name="connsiteX10" fmla="*/ 1566 w 10237"/>
              <a:gd name="connsiteY10" fmla="*/ 9923 h 10007"/>
              <a:gd name="connsiteX11" fmla="*/ 2061 w 10237"/>
              <a:gd name="connsiteY11" fmla="*/ 9873 h 10007"/>
              <a:gd name="connsiteX12" fmla="*/ 2539 w 10237"/>
              <a:gd name="connsiteY12" fmla="*/ 9785 h 10007"/>
              <a:gd name="connsiteX13" fmla="*/ 3019 w 10237"/>
              <a:gd name="connsiteY13" fmla="*/ 9696 h 10007"/>
              <a:gd name="connsiteX14" fmla="*/ 3390 w 10237"/>
              <a:gd name="connsiteY14" fmla="*/ 9608 h 10007"/>
              <a:gd name="connsiteX15" fmla="*/ 3791 w 10237"/>
              <a:gd name="connsiteY15" fmla="*/ 9507 h 10007"/>
              <a:gd name="connsiteX16" fmla="*/ 4286 w 10237"/>
              <a:gd name="connsiteY16" fmla="*/ 9368 h 10007"/>
              <a:gd name="connsiteX17" fmla="*/ 4704 w 10237"/>
              <a:gd name="connsiteY17" fmla="*/ 9216 h 10007"/>
              <a:gd name="connsiteX18" fmla="*/ 5105 w 10237"/>
              <a:gd name="connsiteY18" fmla="*/ 9077 h 10007"/>
              <a:gd name="connsiteX19" fmla="*/ 5538 w 10237"/>
              <a:gd name="connsiteY19" fmla="*/ 8888 h 10007"/>
              <a:gd name="connsiteX20" fmla="*/ 5971 w 10237"/>
              <a:gd name="connsiteY20" fmla="*/ 8698 h 10007"/>
              <a:gd name="connsiteX21" fmla="*/ 6326 w 10237"/>
              <a:gd name="connsiteY21" fmla="*/ 8522 h 10007"/>
              <a:gd name="connsiteX22" fmla="*/ 6728 w 10237"/>
              <a:gd name="connsiteY22" fmla="*/ 8281 h 10007"/>
              <a:gd name="connsiteX23" fmla="*/ 7130 w 10237"/>
              <a:gd name="connsiteY23" fmla="*/ 8042 h 10007"/>
              <a:gd name="connsiteX24" fmla="*/ 7486 w 10237"/>
              <a:gd name="connsiteY24" fmla="*/ 7777 h 10007"/>
              <a:gd name="connsiteX25" fmla="*/ 7779 w 10237"/>
              <a:gd name="connsiteY25" fmla="*/ 7561 h 10007"/>
              <a:gd name="connsiteX26" fmla="*/ 8104 w 10237"/>
              <a:gd name="connsiteY26" fmla="*/ 7296 h 10007"/>
              <a:gd name="connsiteX27" fmla="*/ 8351 w 10237"/>
              <a:gd name="connsiteY27" fmla="*/ 7068 h 10007"/>
              <a:gd name="connsiteX28" fmla="*/ 8630 w 10237"/>
              <a:gd name="connsiteY28" fmla="*/ 6790 h 10007"/>
              <a:gd name="connsiteX29" fmla="*/ 8907 w 10237"/>
              <a:gd name="connsiteY29" fmla="*/ 6499 h 10007"/>
              <a:gd name="connsiteX30" fmla="*/ 9108 w 10237"/>
              <a:gd name="connsiteY30" fmla="*/ 6183 h 10007"/>
              <a:gd name="connsiteX31" fmla="*/ 9325 w 10237"/>
              <a:gd name="connsiteY31" fmla="*/ 5905 h 10007"/>
              <a:gd name="connsiteX32" fmla="*/ 9479 w 10237"/>
              <a:gd name="connsiteY32" fmla="*/ 5640 h 10007"/>
              <a:gd name="connsiteX33" fmla="*/ 9695 w 10237"/>
              <a:gd name="connsiteY33" fmla="*/ 5235 h 10007"/>
              <a:gd name="connsiteX34" fmla="*/ 9834 w 10237"/>
              <a:gd name="connsiteY34" fmla="*/ 4920 h 10007"/>
              <a:gd name="connsiteX35" fmla="*/ 10005 w 10237"/>
              <a:gd name="connsiteY35" fmla="*/ 4490 h 10007"/>
              <a:gd name="connsiteX36" fmla="*/ 10113 w 10237"/>
              <a:gd name="connsiteY36" fmla="*/ 4010 h 10007"/>
              <a:gd name="connsiteX37" fmla="*/ 10190 w 10237"/>
              <a:gd name="connsiteY37" fmla="*/ 3581 h 10007"/>
              <a:gd name="connsiteX38" fmla="*/ 10237 w 10237"/>
              <a:gd name="connsiteY38" fmla="*/ 3202 h 10007"/>
              <a:gd name="connsiteX39" fmla="*/ 10237 w 10237"/>
              <a:gd name="connsiteY39" fmla="*/ 2797 h 10007"/>
              <a:gd name="connsiteX40" fmla="*/ 10221 w 10237"/>
              <a:gd name="connsiteY40" fmla="*/ 2468 h 10007"/>
              <a:gd name="connsiteX41" fmla="*/ 10159 w 10237"/>
              <a:gd name="connsiteY41" fmla="*/ 1975 h 10007"/>
              <a:gd name="connsiteX42" fmla="*/ 10005 w 10237"/>
              <a:gd name="connsiteY42" fmla="*/ 1482 h 10007"/>
              <a:gd name="connsiteX43" fmla="*/ 9865 w 10237"/>
              <a:gd name="connsiteY43" fmla="*/ 1053 h 10007"/>
              <a:gd name="connsiteX44" fmla="*/ 9695 w 10237"/>
              <a:gd name="connsiteY44" fmla="*/ 699 h 10007"/>
              <a:gd name="connsiteX0" fmla="*/ 9402 w 10237"/>
              <a:gd name="connsiteY0" fmla="*/ 226 h 10007"/>
              <a:gd name="connsiteX1" fmla="*/ 9919 w 10237"/>
              <a:gd name="connsiteY1" fmla="*/ 129 h 10007"/>
              <a:gd name="connsiteX2" fmla="*/ 5155 w 10237"/>
              <a:gd name="connsiteY2" fmla="*/ 0 h 10007"/>
              <a:gd name="connsiteX3" fmla="*/ 2264 w 10237"/>
              <a:gd name="connsiteY3" fmla="*/ 2138 h 10007"/>
              <a:gd name="connsiteX4" fmla="*/ 2721 w 10237"/>
              <a:gd name="connsiteY4" fmla="*/ 1983 h 10007"/>
              <a:gd name="connsiteX5" fmla="*/ 646 w 10237"/>
              <a:gd name="connsiteY5" fmla="*/ 5222 h 10007"/>
              <a:gd name="connsiteX6" fmla="*/ 2151 w 10237"/>
              <a:gd name="connsiteY6" fmla="*/ 7820 h 10007"/>
              <a:gd name="connsiteX7" fmla="*/ 0 w 10237"/>
              <a:gd name="connsiteY7" fmla="*/ 10007 h 10007"/>
              <a:gd name="connsiteX8" fmla="*/ 655 w 10237"/>
              <a:gd name="connsiteY8" fmla="*/ 9988 h 10007"/>
              <a:gd name="connsiteX9" fmla="*/ 1087 w 10237"/>
              <a:gd name="connsiteY9" fmla="*/ 9974 h 10007"/>
              <a:gd name="connsiteX10" fmla="*/ 1566 w 10237"/>
              <a:gd name="connsiteY10" fmla="*/ 9923 h 10007"/>
              <a:gd name="connsiteX11" fmla="*/ 2061 w 10237"/>
              <a:gd name="connsiteY11" fmla="*/ 9873 h 10007"/>
              <a:gd name="connsiteX12" fmla="*/ 2539 w 10237"/>
              <a:gd name="connsiteY12" fmla="*/ 9785 h 10007"/>
              <a:gd name="connsiteX13" fmla="*/ 3019 w 10237"/>
              <a:gd name="connsiteY13" fmla="*/ 9696 h 10007"/>
              <a:gd name="connsiteX14" fmla="*/ 3390 w 10237"/>
              <a:gd name="connsiteY14" fmla="*/ 9608 h 10007"/>
              <a:gd name="connsiteX15" fmla="*/ 3791 w 10237"/>
              <a:gd name="connsiteY15" fmla="*/ 9507 h 10007"/>
              <a:gd name="connsiteX16" fmla="*/ 4286 w 10237"/>
              <a:gd name="connsiteY16" fmla="*/ 9368 h 10007"/>
              <a:gd name="connsiteX17" fmla="*/ 4704 w 10237"/>
              <a:gd name="connsiteY17" fmla="*/ 9216 h 10007"/>
              <a:gd name="connsiteX18" fmla="*/ 5105 w 10237"/>
              <a:gd name="connsiteY18" fmla="*/ 9077 h 10007"/>
              <a:gd name="connsiteX19" fmla="*/ 5538 w 10237"/>
              <a:gd name="connsiteY19" fmla="*/ 8888 h 10007"/>
              <a:gd name="connsiteX20" fmla="*/ 5971 w 10237"/>
              <a:gd name="connsiteY20" fmla="*/ 8698 h 10007"/>
              <a:gd name="connsiteX21" fmla="*/ 6326 w 10237"/>
              <a:gd name="connsiteY21" fmla="*/ 8522 h 10007"/>
              <a:gd name="connsiteX22" fmla="*/ 6728 w 10237"/>
              <a:gd name="connsiteY22" fmla="*/ 8281 h 10007"/>
              <a:gd name="connsiteX23" fmla="*/ 7130 w 10237"/>
              <a:gd name="connsiteY23" fmla="*/ 8042 h 10007"/>
              <a:gd name="connsiteX24" fmla="*/ 7486 w 10237"/>
              <a:gd name="connsiteY24" fmla="*/ 7777 h 10007"/>
              <a:gd name="connsiteX25" fmla="*/ 7779 w 10237"/>
              <a:gd name="connsiteY25" fmla="*/ 7561 h 10007"/>
              <a:gd name="connsiteX26" fmla="*/ 8104 w 10237"/>
              <a:gd name="connsiteY26" fmla="*/ 7296 h 10007"/>
              <a:gd name="connsiteX27" fmla="*/ 8351 w 10237"/>
              <a:gd name="connsiteY27" fmla="*/ 7068 h 10007"/>
              <a:gd name="connsiteX28" fmla="*/ 8630 w 10237"/>
              <a:gd name="connsiteY28" fmla="*/ 6790 h 10007"/>
              <a:gd name="connsiteX29" fmla="*/ 8907 w 10237"/>
              <a:gd name="connsiteY29" fmla="*/ 6499 h 10007"/>
              <a:gd name="connsiteX30" fmla="*/ 9108 w 10237"/>
              <a:gd name="connsiteY30" fmla="*/ 6183 h 10007"/>
              <a:gd name="connsiteX31" fmla="*/ 9325 w 10237"/>
              <a:gd name="connsiteY31" fmla="*/ 5905 h 10007"/>
              <a:gd name="connsiteX32" fmla="*/ 9479 w 10237"/>
              <a:gd name="connsiteY32" fmla="*/ 5640 h 10007"/>
              <a:gd name="connsiteX33" fmla="*/ 9695 w 10237"/>
              <a:gd name="connsiteY33" fmla="*/ 5235 h 10007"/>
              <a:gd name="connsiteX34" fmla="*/ 9834 w 10237"/>
              <a:gd name="connsiteY34" fmla="*/ 4920 h 10007"/>
              <a:gd name="connsiteX35" fmla="*/ 10005 w 10237"/>
              <a:gd name="connsiteY35" fmla="*/ 4490 h 10007"/>
              <a:gd name="connsiteX36" fmla="*/ 10113 w 10237"/>
              <a:gd name="connsiteY36" fmla="*/ 4010 h 10007"/>
              <a:gd name="connsiteX37" fmla="*/ 10190 w 10237"/>
              <a:gd name="connsiteY37" fmla="*/ 3581 h 10007"/>
              <a:gd name="connsiteX38" fmla="*/ 10237 w 10237"/>
              <a:gd name="connsiteY38" fmla="*/ 3202 h 10007"/>
              <a:gd name="connsiteX39" fmla="*/ 10237 w 10237"/>
              <a:gd name="connsiteY39" fmla="*/ 2797 h 10007"/>
              <a:gd name="connsiteX40" fmla="*/ 10221 w 10237"/>
              <a:gd name="connsiteY40" fmla="*/ 2468 h 10007"/>
              <a:gd name="connsiteX41" fmla="*/ 10159 w 10237"/>
              <a:gd name="connsiteY41" fmla="*/ 1975 h 10007"/>
              <a:gd name="connsiteX42" fmla="*/ 10005 w 10237"/>
              <a:gd name="connsiteY42" fmla="*/ 1482 h 10007"/>
              <a:gd name="connsiteX43" fmla="*/ 9865 w 10237"/>
              <a:gd name="connsiteY43" fmla="*/ 1053 h 10007"/>
              <a:gd name="connsiteX44" fmla="*/ 9695 w 10237"/>
              <a:gd name="connsiteY44" fmla="*/ 699 h 10007"/>
              <a:gd name="connsiteX0" fmla="*/ 9402 w 10237"/>
              <a:gd name="connsiteY0" fmla="*/ 303 h 10084"/>
              <a:gd name="connsiteX1" fmla="*/ 9919 w 10237"/>
              <a:gd name="connsiteY1" fmla="*/ 206 h 10084"/>
              <a:gd name="connsiteX2" fmla="*/ 5082 w 10237"/>
              <a:gd name="connsiteY2" fmla="*/ 0 h 10084"/>
              <a:gd name="connsiteX3" fmla="*/ 2264 w 10237"/>
              <a:gd name="connsiteY3" fmla="*/ 2215 h 10084"/>
              <a:gd name="connsiteX4" fmla="*/ 2721 w 10237"/>
              <a:gd name="connsiteY4" fmla="*/ 2060 h 10084"/>
              <a:gd name="connsiteX5" fmla="*/ 646 w 10237"/>
              <a:gd name="connsiteY5" fmla="*/ 5299 h 10084"/>
              <a:gd name="connsiteX6" fmla="*/ 2151 w 10237"/>
              <a:gd name="connsiteY6" fmla="*/ 7897 h 10084"/>
              <a:gd name="connsiteX7" fmla="*/ 0 w 10237"/>
              <a:gd name="connsiteY7" fmla="*/ 10084 h 10084"/>
              <a:gd name="connsiteX8" fmla="*/ 655 w 10237"/>
              <a:gd name="connsiteY8" fmla="*/ 10065 h 10084"/>
              <a:gd name="connsiteX9" fmla="*/ 1087 w 10237"/>
              <a:gd name="connsiteY9" fmla="*/ 10051 h 10084"/>
              <a:gd name="connsiteX10" fmla="*/ 1566 w 10237"/>
              <a:gd name="connsiteY10" fmla="*/ 10000 h 10084"/>
              <a:gd name="connsiteX11" fmla="*/ 2061 w 10237"/>
              <a:gd name="connsiteY11" fmla="*/ 9950 h 10084"/>
              <a:gd name="connsiteX12" fmla="*/ 2539 w 10237"/>
              <a:gd name="connsiteY12" fmla="*/ 9862 h 10084"/>
              <a:gd name="connsiteX13" fmla="*/ 3019 w 10237"/>
              <a:gd name="connsiteY13" fmla="*/ 9773 h 10084"/>
              <a:gd name="connsiteX14" fmla="*/ 3390 w 10237"/>
              <a:gd name="connsiteY14" fmla="*/ 9685 h 10084"/>
              <a:gd name="connsiteX15" fmla="*/ 3791 w 10237"/>
              <a:gd name="connsiteY15" fmla="*/ 9584 h 10084"/>
              <a:gd name="connsiteX16" fmla="*/ 4286 w 10237"/>
              <a:gd name="connsiteY16" fmla="*/ 9445 h 10084"/>
              <a:gd name="connsiteX17" fmla="*/ 4704 w 10237"/>
              <a:gd name="connsiteY17" fmla="*/ 9293 h 10084"/>
              <a:gd name="connsiteX18" fmla="*/ 5105 w 10237"/>
              <a:gd name="connsiteY18" fmla="*/ 9154 h 10084"/>
              <a:gd name="connsiteX19" fmla="*/ 5538 w 10237"/>
              <a:gd name="connsiteY19" fmla="*/ 8965 h 10084"/>
              <a:gd name="connsiteX20" fmla="*/ 5971 w 10237"/>
              <a:gd name="connsiteY20" fmla="*/ 8775 h 10084"/>
              <a:gd name="connsiteX21" fmla="*/ 6326 w 10237"/>
              <a:gd name="connsiteY21" fmla="*/ 8599 h 10084"/>
              <a:gd name="connsiteX22" fmla="*/ 6728 w 10237"/>
              <a:gd name="connsiteY22" fmla="*/ 8358 h 10084"/>
              <a:gd name="connsiteX23" fmla="*/ 7130 w 10237"/>
              <a:gd name="connsiteY23" fmla="*/ 8119 h 10084"/>
              <a:gd name="connsiteX24" fmla="*/ 7486 w 10237"/>
              <a:gd name="connsiteY24" fmla="*/ 7854 h 10084"/>
              <a:gd name="connsiteX25" fmla="*/ 7779 w 10237"/>
              <a:gd name="connsiteY25" fmla="*/ 7638 h 10084"/>
              <a:gd name="connsiteX26" fmla="*/ 8104 w 10237"/>
              <a:gd name="connsiteY26" fmla="*/ 7373 h 10084"/>
              <a:gd name="connsiteX27" fmla="*/ 8351 w 10237"/>
              <a:gd name="connsiteY27" fmla="*/ 7145 h 10084"/>
              <a:gd name="connsiteX28" fmla="*/ 8630 w 10237"/>
              <a:gd name="connsiteY28" fmla="*/ 6867 h 10084"/>
              <a:gd name="connsiteX29" fmla="*/ 8907 w 10237"/>
              <a:gd name="connsiteY29" fmla="*/ 6576 h 10084"/>
              <a:gd name="connsiteX30" fmla="*/ 9108 w 10237"/>
              <a:gd name="connsiteY30" fmla="*/ 6260 h 10084"/>
              <a:gd name="connsiteX31" fmla="*/ 9325 w 10237"/>
              <a:gd name="connsiteY31" fmla="*/ 5982 h 10084"/>
              <a:gd name="connsiteX32" fmla="*/ 9479 w 10237"/>
              <a:gd name="connsiteY32" fmla="*/ 5717 h 10084"/>
              <a:gd name="connsiteX33" fmla="*/ 9695 w 10237"/>
              <a:gd name="connsiteY33" fmla="*/ 5312 h 10084"/>
              <a:gd name="connsiteX34" fmla="*/ 9834 w 10237"/>
              <a:gd name="connsiteY34" fmla="*/ 4997 h 10084"/>
              <a:gd name="connsiteX35" fmla="*/ 10005 w 10237"/>
              <a:gd name="connsiteY35" fmla="*/ 4567 h 10084"/>
              <a:gd name="connsiteX36" fmla="*/ 10113 w 10237"/>
              <a:gd name="connsiteY36" fmla="*/ 4087 h 10084"/>
              <a:gd name="connsiteX37" fmla="*/ 10190 w 10237"/>
              <a:gd name="connsiteY37" fmla="*/ 3658 h 10084"/>
              <a:gd name="connsiteX38" fmla="*/ 10237 w 10237"/>
              <a:gd name="connsiteY38" fmla="*/ 3279 h 10084"/>
              <a:gd name="connsiteX39" fmla="*/ 10237 w 10237"/>
              <a:gd name="connsiteY39" fmla="*/ 2874 h 10084"/>
              <a:gd name="connsiteX40" fmla="*/ 10221 w 10237"/>
              <a:gd name="connsiteY40" fmla="*/ 2545 h 10084"/>
              <a:gd name="connsiteX41" fmla="*/ 10159 w 10237"/>
              <a:gd name="connsiteY41" fmla="*/ 2052 h 10084"/>
              <a:gd name="connsiteX42" fmla="*/ 10005 w 10237"/>
              <a:gd name="connsiteY42" fmla="*/ 1559 h 10084"/>
              <a:gd name="connsiteX43" fmla="*/ 9865 w 10237"/>
              <a:gd name="connsiteY43" fmla="*/ 1130 h 10084"/>
              <a:gd name="connsiteX44" fmla="*/ 9695 w 10237"/>
              <a:gd name="connsiteY44" fmla="*/ 776 h 10084"/>
              <a:gd name="connsiteX0" fmla="*/ 9402 w 10237"/>
              <a:gd name="connsiteY0" fmla="*/ 303 h 10084"/>
              <a:gd name="connsiteX1" fmla="*/ 9919 w 10237"/>
              <a:gd name="connsiteY1" fmla="*/ 168 h 10084"/>
              <a:gd name="connsiteX2" fmla="*/ 5082 w 10237"/>
              <a:gd name="connsiteY2" fmla="*/ 0 h 10084"/>
              <a:gd name="connsiteX3" fmla="*/ 2264 w 10237"/>
              <a:gd name="connsiteY3" fmla="*/ 2215 h 10084"/>
              <a:gd name="connsiteX4" fmla="*/ 2721 w 10237"/>
              <a:gd name="connsiteY4" fmla="*/ 2060 h 10084"/>
              <a:gd name="connsiteX5" fmla="*/ 646 w 10237"/>
              <a:gd name="connsiteY5" fmla="*/ 5299 h 10084"/>
              <a:gd name="connsiteX6" fmla="*/ 2151 w 10237"/>
              <a:gd name="connsiteY6" fmla="*/ 7897 h 10084"/>
              <a:gd name="connsiteX7" fmla="*/ 0 w 10237"/>
              <a:gd name="connsiteY7" fmla="*/ 10084 h 10084"/>
              <a:gd name="connsiteX8" fmla="*/ 655 w 10237"/>
              <a:gd name="connsiteY8" fmla="*/ 10065 h 10084"/>
              <a:gd name="connsiteX9" fmla="*/ 1087 w 10237"/>
              <a:gd name="connsiteY9" fmla="*/ 10051 h 10084"/>
              <a:gd name="connsiteX10" fmla="*/ 1566 w 10237"/>
              <a:gd name="connsiteY10" fmla="*/ 10000 h 10084"/>
              <a:gd name="connsiteX11" fmla="*/ 2061 w 10237"/>
              <a:gd name="connsiteY11" fmla="*/ 9950 h 10084"/>
              <a:gd name="connsiteX12" fmla="*/ 2539 w 10237"/>
              <a:gd name="connsiteY12" fmla="*/ 9862 h 10084"/>
              <a:gd name="connsiteX13" fmla="*/ 3019 w 10237"/>
              <a:gd name="connsiteY13" fmla="*/ 9773 h 10084"/>
              <a:gd name="connsiteX14" fmla="*/ 3390 w 10237"/>
              <a:gd name="connsiteY14" fmla="*/ 9685 h 10084"/>
              <a:gd name="connsiteX15" fmla="*/ 3791 w 10237"/>
              <a:gd name="connsiteY15" fmla="*/ 9584 h 10084"/>
              <a:gd name="connsiteX16" fmla="*/ 4286 w 10237"/>
              <a:gd name="connsiteY16" fmla="*/ 9445 h 10084"/>
              <a:gd name="connsiteX17" fmla="*/ 4704 w 10237"/>
              <a:gd name="connsiteY17" fmla="*/ 9293 h 10084"/>
              <a:gd name="connsiteX18" fmla="*/ 5105 w 10237"/>
              <a:gd name="connsiteY18" fmla="*/ 9154 h 10084"/>
              <a:gd name="connsiteX19" fmla="*/ 5538 w 10237"/>
              <a:gd name="connsiteY19" fmla="*/ 8965 h 10084"/>
              <a:gd name="connsiteX20" fmla="*/ 5971 w 10237"/>
              <a:gd name="connsiteY20" fmla="*/ 8775 h 10084"/>
              <a:gd name="connsiteX21" fmla="*/ 6326 w 10237"/>
              <a:gd name="connsiteY21" fmla="*/ 8599 h 10084"/>
              <a:gd name="connsiteX22" fmla="*/ 6728 w 10237"/>
              <a:gd name="connsiteY22" fmla="*/ 8358 h 10084"/>
              <a:gd name="connsiteX23" fmla="*/ 7130 w 10237"/>
              <a:gd name="connsiteY23" fmla="*/ 8119 h 10084"/>
              <a:gd name="connsiteX24" fmla="*/ 7486 w 10237"/>
              <a:gd name="connsiteY24" fmla="*/ 7854 h 10084"/>
              <a:gd name="connsiteX25" fmla="*/ 7779 w 10237"/>
              <a:gd name="connsiteY25" fmla="*/ 7638 h 10084"/>
              <a:gd name="connsiteX26" fmla="*/ 8104 w 10237"/>
              <a:gd name="connsiteY26" fmla="*/ 7373 h 10084"/>
              <a:gd name="connsiteX27" fmla="*/ 8351 w 10237"/>
              <a:gd name="connsiteY27" fmla="*/ 7145 h 10084"/>
              <a:gd name="connsiteX28" fmla="*/ 8630 w 10237"/>
              <a:gd name="connsiteY28" fmla="*/ 6867 h 10084"/>
              <a:gd name="connsiteX29" fmla="*/ 8907 w 10237"/>
              <a:gd name="connsiteY29" fmla="*/ 6576 h 10084"/>
              <a:gd name="connsiteX30" fmla="*/ 9108 w 10237"/>
              <a:gd name="connsiteY30" fmla="*/ 6260 h 10084"/>
              <a:gd name="connsiteX31" fmla="*/ 9325 w 10237"/>
              <a:gd name="connsiteY31" fmla="*/ 5982 h 10084"/>
              <a:gd name="connsiteX32" fmla="*/ 9479 w 10237"/>
              <a:gd name="connsiteY32" fmla="*/ 5717 h 10084"/>
              <a:gd name="connsiteX33" fmla="*/ 9695 w 10237"/>
              <a:gd name="connsiteY33" fmla="*/ 5312 h 10084"/>
              <a:gd name="connsiteX34" fmla="*/ 9834 w 10237"/>
              <a:gd name="connsiteY34" fmla="*/ 4997 h 10084"/>
              <a:gd name="connsiteX35" fmla="*/ 10005 w 10237"/>
              <a:gd name="connsiteY35" fmla="*/ 4567 h 10084"/>
              <a:gd name="connsiteX36" fmla="*/ 10113 w 10237"/>
              <a:gd name="connsiteY36" fmla="*/ 4087 h 10084"/>
              <a:gd name="connsiteX37" fmla="*/ 10190 w 10237"/>
              <a:gd name="connsiteY37" fmla="*/ 3658 h 10084"/>
              <a:gd name="connsiteX38" fmla="*/ 10237 w 10237"/>
              <a:gd name="connsiteY38" fmla="*/ 3279 h 10084"/>
              <a:gd name="connsiteX39" fmla="*/ 10237 w 10237"/>
              <a:gd name="connsiteY39" fmla="*/ 2874 h 10084"/>
              <a:gd name="connsiteX40" fmla="*/ 10221 w 10237"/>
              <a:gd name="connsiteY40" fmla="*/ 2545 h 10084"/>
              <a:gd name="connsiteX41" fmla="*/ 10159 w 10237"/>
              <a:gd name="connsiteY41" fmla="*/ 2052 h 10084"/>
              <a:gd name="connsiteX42" fmla="*/ 10005 w 10237"/>
              <a:gd name="connsiteY42" fmla="*/ 1559 h 10084"/>
              <a:gd name="connsiteX43" fmla="*/ 9865 w 10237"/>
              <a:gd name="connsiteY43" fmla="*/ 1130 h 10084"/>
              <a:gd name="connsiteX44" fmla="*/ 9695 w 10237"/>
              <a:gd name="connsiteY44" fmla="*/ 776 h 10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10237" h="10084">
                <a:moveTo>
                  <a:pt x="9402" y="303"/>
                </a:moveTo>
                <a:lnTo>
                  <a:pt x="9919" y="168"/>
                </a:lnTo>
                <a:lnTo>
                  <a:pt x="5082" y="0"/>
                </a:lnTo>
                <a:lnTo>
                  <a:pt x="2264" y="2215"/>
                </a:lnTo>
                <a:lnTo>
                  <a:pt x="2721" y="2060"/>
                </a:lnTo>
                <a:cubicBezTo>
                  <a:pt x="3335" y="2865"/>
                  <a:pt x="3582" y="4608"/>
                  <a:pt x="646" y="5299"/>
                </a:cubicBezTo>
                <a:lnTo>
                  <a:pt x="2151" y="7897"/>
                </a:lnTo>
                <a:lnTo>
                  <a:pt x="0" y="10084"/>
                </a:lnTo>
                <a:lnTo>
                  <a:pt x="655" y="10065"/>
                </a:lnTo>
                <a:lnTo>
                  <a:pt x="1087" y="10051"/>
                </a:lnTo>
                <a:lnTo>
                  <a:pt x="1566" y="10000"/>
                </a:lnTo>
                <a:lnTo>
                  <a:pt x="2061" y="9950"/>
                </a:lnTo>
                <a:lnTo>
                  <a:pt x="2539" y="9862"/>
                </a:lnTo>
                <a:lnTo>
                  <a:pt x="3019" y="9773"/>
                </a:lnTo>
                <a:lnTo>
                  <a:pt x="3390" y="9685"/>
                </a:lnTo>
                <a:lnTo>
                  <a:pt x="3791" y="9584"/>
                </a:lnTo>
                <a:lnTo>
                  <a:pt x="4286" y="9445"/>
                </a:lnTo>
                <a:lnTo>
                  <a:pt x="4704" y="9293"/>
                </a:lnTo>
                <a:lnTo>
                  <a:pt x="5105" y="9154"/>
                </a:lnTo>
                <a:lnTo>
                  <a:pt x="5538" y="8965"/>
                </a:lnTo>
                <a:lnTo>
                  <a:pt x="5971" y="8775"/>
                </a:lnTo>
                <a:lnTo>
                  <a:pt x="6326" y="8599"/>
                </a:lnTo>
                <a:lnTo>
                  <a:pt x="6728" y="8358"/>
                </a:lnTo>
                <a:lnTo>
                  <a:pt x="7130" y="8119"/>
                </a:lnTo>
                <a:lnTo>
                  <a:pt x="7486" y="7854"/>
                </a:lnTo>
                <a:lnTo>
                  <a:pt x="7779" y="7638"/>
                </a:lnTo>
                <a:lnTo>
                  <a:pt x="8104" y="7373"/>
                </a:lnTo>
                <a:lnTo>
                  <a:pt x="8351" y="7145"/>
                </a:lnTo>
                <a:lnTo>
                  <a:pt x="8630" y="6867"/>
                </a:lnTo>
                <a:lnTo>
                  <a:pt x="8907" y="6576"/>
                </a:lnTo>
                <a:lnTo>
                  <a:pt x="9108" y="6260"/>
                </a:lnTo>
                <a:cubicBezTo>
                  <a:pt x="9180" y="6167"/>
                  <a:pt x="9253" y="6075"/>
                  <a:pt x="9325" y="5982"/>
                </a:cubicBezTo>
                <a:cubicBezTo>
                  <a:pt x="9376" y="5893"/>
                  <a:pt x="9428" y="5806"/>
                  <a:pt x="9479" y="5717"/>
                </a:cubicBezTo>
                <a:lnTo>
                  <a:pt x="9695" y="5312"/>
                </a:lnTo>
                <a:cubicBezTo>
                  <a:pt x="9741" y="5207"/>
                  <a:pt x="9788" y="5102"/>
                  <a:pt x="9834" y="4997"/>
                </a:cubicBezTo>
                <a:lnTo>
                  <a:pt x="10005" y="4567"/>
                </a:lnTo>
                <a:lnTo>
                  <a:pt x="10113" y="4087"/>
                </a:lnTo>
                <a:cubicBezTo>
                  <a:pt x="10139" y="3943"/>
                  <a:pt x="10164" y="3801"/>
                  <a:pt x="10190" y="3658"/>
                </a:cubicBezTo>
                <a:cubicBezTo>
                  <a:pt x="10206" y="3532"/>
                  <a:pt x="10221" y="3405"/>
                  <a:pt x="10237" y="3279"/>
                </a:cubicBezTo>
                <a:lnTo>
                  <a:pt x="10237" y="2874"/>
                </a:lnTo>
                <a:cubicBezTo>
                  <a:pt x="10232" y="2764"/>
                  <a:pt x="10226" y="2655"/>
                  <a:pt x="10221" y="2545"/>
                </a:cubicBezTo>
                <a:cubicBezTo>
                  <a:pt x="10200" y="2381"/>
                  <a:pt x="10180" y="2216"/>
                  <a:pt x="10159" y="2052"/>
                </a:cubicBezTo>
                <a:cubicBezTo>
                  <a:pt x="10108" y="1888"/>
                  <a:pt x="10056" y="1724"/>
                  <a:pt x="10005" y="1559"/>
                </a:cubicBezTo>
                <a:cubicBezTo>
                  <a:pt x="9959" y="1416"/>
                  <a:pt x="9912" y="1274"/>
                  <a:pt x="9865" y="1130"/>
                </a:cubicBezTo>
                <a:cubicBezTo>
                  <a:pt x="9808" y="1013"/>
                  <a:pt x="9752" y="894"/>
                  <a:pt x="9695" y="776"/>
                </a:cubicBezTo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ap="rnd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/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7E03817C-F284-4493-8D6A-DA32838D5AFD}"/>
              </a:ext>
            </a:extLst>
          </p:cNvPr>
          <p:cNvSpPr>
            <a:spLocks/>
          </p:cNvSpPr>
          <p:nvPr/>
        </p:nvSpPr>
        <p:spPr bwMode="auto">
          <a:xfrm rot="17859639" flipH="1">
            <a:off x="3746006" y="3185818"/>
            <a:ext cx="1639013" cy="2540784"/>
          </a:xfrm>
          <a:custGeom>
            <a:avLst/>
            <a:gdLst>
              <a:gd name="connsiteX0" fmla="*/ 8981 w 9985"/>
              <a:gd name="connsiteY0" fmla="*/ 257 h 9988"/>
              <a:gd name="connsiteX1" fmla="*/ 9398 w 9985"/>
              <a:gd name="connsiteY1" fmla="*/ 73 h 9988"/>
              <a:gd name="connsiteX2" fmla="*/ 4815 w 9985"/>
              <a:gd name="connsiteY2" fmla="*/ 0 h 9988"/>
              <a:gd name="connsiteX3" fmla="*/ 2083 w 9985"/>
              <a:gd name="connsiteY3" fmla="*/ 2326 h 9988"/>
              <a:gd name="connsiteX4" fmla="*/ 2685 w 9985"/>
              <a:gd name="connsiteY4" fmla="*/ 2166 h 9988"/>
              <a:gd name="connsiteX5" fmla="*/ 2963 w 9985"/>
              <a:gd name="connsiteY5" fmla="*/ 2619 h 9988"/>
              <a:gd name="connsiteX6" fmla="*/ 3025 w 9985"/>
              <a:gd name="connsiteY6" fmla="*/ 2803 h 9988"/>
              <a:gd name="connsiteX7" fmla="*/ 3071 w 9985"/>
              <a:gd name="connsiteY7" fmla="*/ 3121 h 9988"/>
              <a:gd name="connsiteX8" fmla="*/ 3040 w 9985"/>
              <a:gd name="connsiteY8" fmla="*/ 3501 h 9988"/>
              <a:gd name="connsiteX9" fmla="*/ 2978 w 9985"/>
              <a:gd name="connsiteY9" fmla="*/ 3733 h 9988"/>
              <a:gd name="connsiteX10" fmla="*/ 2840 w 9985"/>
              <a:gd name="connsiteY10" fmla="*/ 3990 h 9988"/>
              <a:gd name="connsiteX11" fmla="*/ 2670 w 9985"/>
              <a:gd name="connsiteY11" fmla="*/ 4235 h 9988"/>
              <a:gd name="connsiteX12" fmla="*/ 2454 w 9985"/>
              <a:gd name="connsiteY12" fmla="*/ 4468 h 9988"/>
              <a:gd name="connsiteX13" fmla="*/ 2207 w 9985"/>
              <a:gd name="connsiteY13" fmla="*/ 4676 h 9988"/>
              <a:gd name="connsiteX14" fmla="*/ 1944 w 9985"/>
              <a:gd name="connsiteY14" fmla="*/ 4835 h 9988"/>
              <a:gd name="connsiteX15" fmla="*/ 1682 w 9985"/>
              <a:gd name="connsiteY15" fmla="*/ 4969 h 9988"/>
              <a:gd name="connsiteX16" fmla="*/ 1250 w 9985"/>
              <a:gd name="connsiteY16" fmla="*/ 5129 h 9988"/>
              <a:gd name="connsiteX17" fmla="*/ 818 w 9985"/>
              <a:gd name="connsiteY17" fmla="*/ 5251 h 9988"/>
              <a:gd name="connsiteX18" fmla="*/ 664 w 9985"/>
              <a:gd name="connsiteY18" fmla="*/ 5288 h 9988"/>
              <a:gd name="connsiteX19" fmla="*/ 2099 w 9985"/>
              <a:gd name="connsiteY19" fmla="*/ 7625 h 9988"/>
              <a:gd name="connsiteX20" fmla="*/ 0 w 9985"/>
              <a:gd name="connsiteY20" fmla="*/ 9988 h 9988"/>
              <a:gd name="connsiteX21" fmla="*/ 417 w 9985"/>
              <a:gd name="connsiteY21" fmla="*/ 9976 h 9988"/>
              <a:gd name="connsiteX22" fmla="*/ 849 w 9985"/>
              <a:gd name="connsiteY22" fmla="*/ 9963 h 9988"/>
              <a:gd name="connsiteX23" fmla="*/ 1327 w 9985"/>
              <a:gd name="connsiteY23" fmla="*/ 9914 h 9988"/>
              <a:gd name="connsiteX24" fmla="*/ 1821 w 9985"/>
              <a:gd name="connsiteY24" fmla="*/ 9865 h 9988"/>
              <a:gd name="connsiteX25" fmla="*/ 2299 w 9985"/>
              <a:gd name="connsiteY25" fmla="*/ 9780 h 9988"/>
              <a:gd name="connsiteX26" fmla="*/ 2778 w 9985"/>
              <a:gd name="connsiteY26" fmla="*/ 9694 h 9988"/>
              <a:gd name="connsiteX27" fmla="*/ 3148 w 9985"/>
              <a:gd name="connsiteY27" fmla="*/ 9608 h 9988"/>
              <a:gd name="connsiteX28" fmla="*/ 3549 w 9985"/>
              <a:gd name="connsiteY28" fmla="*/ 9510 h 9988"/>
              <a:gd name="connsiteX29" fmla="*/ 4043 w 9985"/>
              <a:gd name="connsiteY29" fmla="*/ 9376 h 9988"/>
              <a:gd name="connsiteX30" fmla="*/ 4460 w 9985"/>
              <a:gd name="connsiteY30" fmla="*/ 9229 h 9988"/>
              <a:gd name="connsiteX31" fmla="*/ 4861 w 9985"/>
              <a:gd name="connsiteY31" fmla="*/ 9094 h 9988"/>
              <a:gd name="connsiteX32" fmla="*/ 5293 w 9985"/>
              <a:gd name="connsiteY32" fmla="*/ 8911 h 9988"/>
              <a:gd name="connsiteX33" fmla="*/ 5725 w 9985"/>
              <a:gd name="connsiteY33" fmla="*/ 8727 h 9988"/>
              <a:gd name="connsiteX34" fmla="*/ 6080 w 9985"/>
              <a:gd name="connsiteY34" fmla="*/ 8556 h 9988"/>
              <a:gd name="connsiteX35" fmla="*/ 6481 w 9985"/>
              <a:gd name="connsiteY35" fmla="*/ 8323 h 9988"/>
              <a:gd name="connsiteX36" fmla="*/ 6883 w 9985"/>
              <a:gd name="connsiteY36" fmla="*/ 8091 h 9988"/>
              <a:gd name="connsiteX37" fmla="*/ 7238 w 9985"/>
              <a:gd name="connsiteY37" fmla="*/ 7834 h 9988"/>
              <a:gd name="connsiteX38" fmla="*/ 7531 w 9985"/>
              <a:gd name="connsiteY38" fmla="*/ 7625 h 9988"/>
              <a:gd name="connsiteX39" fmla="*/ 7855 w 9985"/>
              <a:gd name="connsiteY39" fmla="*/ 7368 h 9988"/>
              <a:gd name="connsiteX40" fmla="*/ 8102 w 9985"/>
              <a:gd name="connsiteY40" fmla="*/ 7148 h 9988"/>
              <a:gd name="connsiteX41" fmla="*/ 8380 w 9985"/>
              <a:gd name="connsiteY41" fmla="*/ 6879 h 9988"/>
              <a:gd name="connsiteX42" fmla="*/ 8657 w 9985"/>
              <a:gd name="connsiteY42" fmla="*/ 6597 h 9988"/>
              <a:gd name="connsiteX43" fmla="*/ 8858 w 9985"/>
              <a:gd name="connsiteY43" fmla="*/ 6291 h 9988"/>
              <a:gd name="connsiteX44" fmla="*/ 9074 w 9985"/>
              <a:gd name="connsiteY44" fmla="*/ 6022 h 9988"/>
              <a:gd name="connsiteX45" fmla="*/ 9228 w 9985"/>
              <a:gd name="connsiteY45" fmla="*/ 5765 h 9988"/>
              <a:gd name="connsiteX46" fmla="*/ 9444 w 9985"/>
              <a:gd name="connsiteY46" fmla="*/ 5373 h 9988"/>
              <a:gd name="connsiteX47" fmla="*/ 9583 w 9985"/>
              <a:gd name="connsiteY47" fmla="*/ 5067 h 9988"/>
              <a:gd name="connsiteX48" fmla="*/ 9753 w 9985"/>
              <a:gd name="connsiteY48" fmla="*/ 4651 h 9988"/>
              <a:gd name="connsiteX49" fmla="*/ 9861 w 9985"/>
              <a:gd name="connsiteY49" fmla="*/ 4186 h 9988"/>
              <a:gd name="connsiteX50" fmla="*/ 9938 w 9985"/>
              <a:gd name="connsiteY50" fmla="*/ 3770 h 9988"/>
              <a:gd name="connsiteX51" fmla="*/ 9985 w 9985"/>
              <a:gd name="connsiteY51" fmla="*/ 3403 h 9988"/>
              <a:gd name="connsiteX52" fmla="*/ 9985 w 9985"/>
              <a:gd name="connsiteY52" fmla="*/ 3011 h 9988"/>
              <a:gd name="connsiteX53" fmla="*/ 9969 w 9985"/>
              <a:gd name="connsiteY53" fmla="*/ 2693 h 9988"/>
              <a:gd name="connsiteX54" fmla="*/ 9907 w 9985"/>
              <a:gd name="connsiteY54" fmla="*/ 2215 h 9988"/>
              <a:gd name="connsiteX55" fmla="*/ 9753 w 9985"/>
              <a:gd name="connsiteY55" fmla="*/ 1738 h 9988"/>
              <a:gd name="connsiteX56" fmla="*/ 9614 w 9985"/>
              <a:gd name="connsiteY56" fmla="*/ 1322 h 9988"/>
              <a:gd name="connsiteX57" fmla="*/ 9444 w 9985"/>
              <a:gd name="connsiteY57" fmla="*/ 979 h 9988"/>
              <a:gd name="connsiteX58" fmla="*/ 9290 w 9985"/>
              <a:gd name="connsiteY58" fmla="*/ 698 h 9988"/>
              <a:gd name="connsiteX59" fmla="*/ 9151 w 9985"/>
              <a:gd name="connsiteY59" fmla="*/ 477 h 9988"/>
              <a:gd name="connsiteX60" fmla="*/ 8981 w 9985"/>
              <a:gd name="connsiteY60" fmla="*/ 257 h 9988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3030 w 10000"/>
              <a:gd name="connsiteY5" fmla="*/ 2806 h 10000"/>
              <a:gd name="connsiteX6" fmla="*/ 3076 w 10000"/>
              <a:gd name="connsiteY6" fmla="*/ 3125 h 10000"/>
              <a:gd name="connsiteX7" fmla="*/ 3045 w 10000"/>
              <a:gd name="connsiteY7" fmla="*/ 3505 h 10000"/>
              <a:gd name="connsiteX8" fmla="*/ 2982 w 10000"/>
              <a:gd name="connsiteY8" fmla="*/ 3737 h 10000"/>
              <a:gd name="connsiteX9" fmla="*/ 2844 w 10000"/>
              <a:gd name="connsiteY9" fmla="*/ 3995 h 10000"/>
              <a:gd name="connsiteX10" fmla="*/ 2674 w 10000"/>
              <a:gd name="connsiteY10" fmla="*/ 4240 h 10000"/>
              <a:gd name="connsiteX11" fmla="*/ 2458 w 10000"/>
              <a:gd name="connsiteY11" fmla="*/ 4473 h 10000"/>
              <a:gd name="connsiteX12" fmla="*/ 2210 w 10000"/>
              <a:gd name="connsiteY12" fmla="*/ 4682 h 10000"/>
              <a:gd name="connsiteX13" fmla="*/ 1947 w 10000"/>
              <a:gd name="connsiteY13" fmla="*/ 4841 h 10000"/>
              <a:gd name="connsiteX14" fmla="*/ 1685 w 10000"/>
              <a:gd name="connsiteY14" fmla="*/ 4975 h 10000"/>
              <a:gd name="connsiteX15" fmla="*/ 1252 w 10000"/>
              <a:gd name="connsiteY15" fmla="*/ 5135 h 10000"/>
              <a:gd name="connsiteX16" fmla="*/ 819 w 10000"/>
              <a:gd name="connsiteY16" fmla="*/ 5257 h 10000"/>
              <a:gd name="connsiteX17" fmla="*/ 665 w 10000"/>
              <a:gd name="connsiteY17" fmla="*/ 5294 h 10000"/>
              <a:gd name="connsiteX18" fmla="*/ 2102 w 10000"/>
              <a:gd name="connsiteY18" fmla="*/ 7634 h 10000"/>
              <a:gd name="connsiteX19" fmla="*/ 0 w 10000"/>
              <a:gd name="connsiteY19" fmla="*/ 10000 h 10000"/>
              <a:gd name="connsiteX20" fmla="*/ 418 w 10000"/>
              <a:gd name="connsiteY20" fmla="*/ 9988 h 10000"/>
              <a:gd name="connsiteX21" fmla="*/ 850 w 10000"/>
              <a:gd name="connsiteY21" fmla="*/ 9975 h 10000"/>
              <a:gd name="connsiteX22" fmla="*/ 1329 w 10000"/>
              <a:gd name="connsiteY22" fmla="*/ 9926 h 10000"/>
              <a:gd name="connsiteX23" fmla="*/ 1824 w 10000"/>
              <a:gd name="connsiteY23" fmla="*/ 9877 h 10000"/>
              <a:gd name="connsiteX24" fmla="*/ 2302 w 10000"/>
              <a:gd name="connsiteY24" fmla="*/ 9792 h 10000"/>
              <a:gd name="connsiteX25" fmla="*/ 2782 w 10000"/>
              <a:gd name="connsiteY25" fmla="*/ 9706 h 10000"/>
              <a:gd name="connsiteX26" fmla="*/ 3153 w 10000"/>
              <a:gd name="connsiteY26" fmla="*/ 9620 h 10000"/>
              <a:gd name="connsiteX27" fmla="*/ 3554 w 10000"/>
              <a:gd name="connsiteY27" fmla="*/ 9521 h 10000"/>
              <a:gd name="connsiteX28" fmla="*/ 4049 w 10000"/>
              <a:gd name="connsiteY28" fmla="*/ 9387 h 10000"/>
              <a:gd name="connsiteX29" fmla="*/ 4467 w 10000"/>
              <a:gd name="connsiteY29" fmla="*/ 9240 h 10000"/>
              <a:gd name="connsiteX30" fmla="*/ 4868 w 10000"/>
              <a:gd name="connsiteY30" fmla="*/ 9105 h 10000"/>
              <a:gd name="connsiteX31" fmla="*/ 5301 w 10000"/>
              <a:gd name="connsiteY31" fmla="*/ 8922 h 10000"/>
              <a:gd name="connsiteX32" fmla="*/ 5734 w 10000"/>
              <a:gd name="connsiteY32" fmla="*/ 8737 h 10000"/>
              <a:gd name="connsiteX33" fmla="*/ 6089 w 10000"/>
              <a:gd name="connsiteY33" fmla="*/ 8566 h 10000"/>
              <a:gd name="connsiteX34" fmla="*/ 6491 w 10000"/>
              <a:gd name="connsiteY34" fmla="*/ 8333 h 10000"/>
              <a:gd name="connsiteX35" fmla="*/ 6893 w 10000"/>
              <a:gd name="connsiteY35" fmla="*/ 8101 h 10000"/>
              <a:gd name="connsiteX36" fmla="*/ 7249 w 10000"/>
              <a:gd name="connsiteY36" fmla="*/ 7843 h 10000"/>
              <a:gd name="connsiteX37" fmla="*/ 7542 w 10000"/>
              <a:gd name="connsiteY37" fmla="*/ 7634 h 10000"/>
              <a:gd name="connsiteX38" fmla="*/ 7867 w 10000"/>
              <a:gd name="connsiteY38" fmla="*/ 7377 h 10000"/>
              <a:gd name="connsiteX39" fmla="*/ 8114 w 10000"/>
              <a:gd name="connsiteY39" fmla="*/ 7157 h 10000"/>
              <a:gd name="connsiteX40" fmla="*/ 8393 w 10000"/>
              <a:gd name="connsiteY40" fmla="*/ 6887 h 10000"/>
              <a:gd name="connsiteX41" fmla="*/ 8670 w 10000"/>
              <a:gd name="connsiteY41" fmla="*/ 6605 h 10000"/>
              <a:gd name="connsiteX42" fmla="*/ 8871 w 10000"/>
              <a:gd name="connsiteY42" fmla="*/ 6299 h 10000"/>
              <a:gd name="connsiteX43" fmla="*/ 9088 w 10000"/>
              <a:gd name="connsiteY43" fmla="*/ 6029 h 10000"/>
              <a:gd name="connsiteX44" fmla="*/ 9242 w 10000"/>
              <a:gd name="connsiteY44" fmla="*/ 5772 h 10000"/>
              <a:gd name="connsiteX45" fmla="*/ 9458 w 10000"/>
              <a:gd name="connsiteY45" fmla="*/ 5379 h 10000"/>
              <a:gd name="connsiteX46" fmla="*/ 9597 w 10000"/>
              <a:gd name="connsiteY46" fmla="*/ 5073 h 10000"/>
              <a:gd name="connsiteX47" fmla="*/ 9768 w 10000"/>
              <a:gd name="connsiteY47" fmla="*/ 4657 h 10000"/>
              <a:gd name="connsiteX48" fmla="*/ 9876 w 10000"/>
              <a:gd name="connsiteY48" fmla="*/ 4191 h 10000"/>
              <a:gd name="connsiteX49" fmla="*/ 9953 w 10000"/>
              <a:gd name="connsiteY49" fmla="*/ 3775 h 10000"/>
              <a:gd name="connsiteX50" fmla="*/ 10000 w 10000"/>
              <a:gd name="connsiteY50" fmla="*/ 3407 h 10000"/>
              <a:gd name="connsiteX51" fmla="*/ 10000 w 10000"/>
              <a:gd name="connsiteY51" fmla="*/ 3015 h 10000"/>
              <a:gd name="connsiteX52" fmla="*/ 9984 w 10000"/>
              <a:gd name="connsiteY52" fmla="*/ 2696 h 10000"/>
              <a:gd name="connsiteX53" fmla="*/ 9922 w 10000"/>
              <a:gd name="connsiteY53" fmla="*/ 2218 h 10000"/>
              <a:gd name="connsiteX54" fmla="*/ 9768 w 10000"/>
              <a:gd name="connsiteY54" fmla="*/ 1740 h 10000"/>
              <a:gd name="connsiteX55" fmla="*/ 9628 w 10000"/>
              <a:gd name="connsiteY55" fmla="*/ 1324 h 10000"/>
              <a:gd name="connsiteX56" fmla="*/ 9458 w 10000"/>
              <a:gd name="connsiteY56" fmla="*/ 980 h 10000"/>
              <a:gd name="connsiteX57" fmla="*/ 9304 w 10000"/>
              <a:gd name="connsiteY57" fmla="*/ 699 h 10000"/>
              <a:gd name="connsiteX58" fmla="*/ 9165 w 10000"/>
              <a:gd name="connsiteY58" fmla="*/ 478 h 10000"/>
              <a:gd name="connsiteX59" fmla="*/ 8994 w 10000"/>
              <a:gd name="connsiteY59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3076 w 10000"/>
              <a:gd name="connsiteY5" fmla="*/ 3125 h 10000"/>
              <a:gd name="connsiteX6" fmla="*/ 3045 w 10000"/>
              <a:gd name="connsiteY6" fmla="*/ 3505 h 10000"/>
              <a:gd name="connsiteX7" fmla="*/ 2982 w 10000"/>
              <a:gd name="connsiteY7" fmla="*/ 3737 h 10000"/>
              <a:gd name="connsiteX8" fmla="*/ 2844 w 10000"/>
              <a:gd name="connsiteY8" fmla="*/ 3995 h 10000"/>
              <a:gd name="connsiteX9" fmla="*/ 2674 w 10000"/>
              <a:gd name="connsiteY9" fmla="*/ 4240 h 10000"/>
              <a:gd name="connsiteX10" fmla="*/ 2458 w 10000"/>
              <a:gd name="connsiteY10" fmla="*/ 4473 h 10000"/>
              <a:gd name="connsiteX11" fmla="*/ 2210 w 10000"/>
              <a:gd name="connsiteY11" fmla="*/ 4682 h 10000"/>
              <a:gd name="connsiteX12" fmla="*/ 1947 w 10000"/>
              <a:gd name="connsiteY12" fmla="*/ 4841 h 10000"/>
              <a:gd name="connsiteX13" fmla="*/ 1685 w 10000"/>
              <a:gd name="connsiteY13" fmla="*/ 4975 h 10000"/>
              <a:gd name="connsiteX14" fmla="*/ 1252 w 10000"/>
              <a:gd name="connsiteY14" fmla="*/ 5135 h 10000"/>
              <a:gd name="connsiteX15" fmla="*/ 819 w 10000"/>
              <a:gd name="connsiteY15" fmla="*/ 5257 h 10000"/>
              <a:gd name="connsiteX16" fmla="*/ 665 w 10000"/>
              <a:gd name="connsiteY16" fmla="*/ 5294 h 10000"/>
              <a:gd name="connsiteX17" fmla="*/ 2102 w 10000"/>
              <a:gd name="connsiteY17" fmla="*/ 7634 h 10000"/>
              <a:gd name="connsiteX18" fmla="*/ 0 w 10000"/>
              <a:gd name="connsiteY18" fmla="*/ 10000 h 10000"/>
              <a:gd name="connsiteX19" fmla="*/ 418 w 10000"/>
              <a:gd name="connsiteY19" fmla="*/ 9988 h 10000"/>
              <a:gd name="connsiteX20" fmla="*/ 850 w 10000"/>
              <a:gd name="connsiteY20" fmla="*/ 9975 h 10000"/>
              <a:gd name="connsiteX21" fmla="*/ 1329 w 10000"/>
              <a:gd name="connsiteY21" fmla="*/ 9926 h 10000"/>
              <a:gd name="connsiteX22" fmla="*/ 1824 w 10000"/>
              <a:gd name="connsiteY22" fmla="*/ 9877 h 10000"/>
              <a:gd name="connsiteX23" fmla="*/ 2302 w 10000"/>
              <a:gd name="connsiteY23" fmla="*/ 9792 h 10000"/>
              <a:gd name="connsiteX24" fmla="*/ 2782 w 10000"/>
              <a:gd name="connsiteY24" fmla="*/ 9706 h 10000"/>
              <a:gd name="connsiteX25" fmla="*/ 3153 w 10000"/>
              <a:gd name="connsiteY25" fmla="*/ 9620 h 10000"/>
              <a:gd name="connsiteX26" fmla="*/ 3554 w 10000"/>
              <a:gd name="connsiteY26" fmla="*/ 9521 h 10000"/>
              <a:gd name="connsiteX27" fmla="*/ 4049 w 10000"/>
              <a:gd name="connsiteY27" fmla="*/ 9387 h 10000"/>
              <a:gd name="connsiteX28" fmla="*/ 4467 w 10000"/>
              <a:gd name="connsiteY28" fmla="*/ 9240 h 10000"/>
              <a:gd name="connsiteX29" fmla="*/ 4868 w 10000"/>
              <a:gd name="connsiteY29" fmla="*/ 9105 h 10000"/>
              <a:gd name="connsiteX30" fmla="*/ 5301 w 10000"/>
              <a:gd name="connsiteY30" fmla="*/ 8922 h 10000"/>
              <a:gd name="connsiteX31" fmla="*/ 5734 w 10000"/>
              <a:gd name="connsiteY31" fmla="*/ 8737 h 10000"/>
              <a:gd name="connsiteX32" fmla="*/ 6089 w 10000"/>
              <a:gd name="connsiteY32" fmla="*/ 8566 h 10000"/>
              <a:gd name="connsiteX33" fmla="*/ 6491 w 10000"/>
              <a:gd name="connsiteY33" fmla="*/ 8333 h 10000"/>
              <a:gd name="connsiteX34" fmla="*/ 6893 w 10000"/>
              <a:gd name="connsiteY34" fmla="*/ 8101 h 10000"/>
              <a:gd name="connsiteX35" fmla="*/ 7249 w 10000"/>
              <a:gd name="connsiteY35" fmla="*/ 7843 h 10000"/>
              <a:gd name="connsiteX36" fmla="*/ 7542 w 10000"/>
              <a:gd name="connsiteY36" fmla="*/ 7634 h 10000"/>
              <a:gd name="connsiteX37" fmla="*/ 7867 w 10000"/>
              <a:gd name="connsiteY37" fmla="*/ 7377 h 10000"/>
              <a:gd name="connsiteX38" fmla="*/ 8114 w 10000"/>
              <a:gd name="connsiteY38" fmla="*/ 7157 h 10000"/>
              <a:gd name="connsiteX39" fmla="*/ 8393 w 10000"/>
              <a:gd name="connsiteY39" fmla="*/ 6887 h 10000"/>
              <a:gd name="connsiteX40" fmla="*/ 8670 w 10000"/>
              <a:gd name="connsiteY40" fmla="*/ 6605 h 10000"/>
              <a:gd name="connsiteX41" fmla="*/ 8871 w 10000"/>
              <a:gd name="connsiteY41" fmla="*/ 6299 h 10000"/>
              <a:gd name="connsiteX42" fmla="*/ 9088 w 10000"/>
              <a:gd name="connsiteY42" fmla="*/ 6029 h 10000"/>
              <a:gd name="connsiteX43" fmla="*/ 9242 w 10000"/>
              <a:gd name="connsiteY43" fmla="*/ 5772 h 10000"/>
              <a:gd name="connsiteX44" fmla="*/ 9458 w 10000"/>
              <a:gd name="connsiteY44" fmla="*/ 5379 h 10000"/>
              <a:gd name="connsiteX45" fmla="*/ 9597 w 10000"/>
              <a:gd name="connsiteY45" fmla="*/ 5073 h 10000"/>
              <a:gd name="connsiteX46" fmla="*/ 9768 w 10000"/>
              <a:gd name="connsiteY46" fmla="*/ 4657 h 10000"/>
              <a:gd name="connsiteX47" fmla="*/ 9876 w 10000"/>
              <a:gd name="connsiteY47" fmla="*/ 4191 h 10000"/>
              <a:gd name="connsiteX48" fmla="*/ 9953 w 10000"/>
              <a:gd name="connsiteY48" fmla="*/ 3775 h 10000"/>
              <a:gd name="connsiteX49" fmla="*/ 10000 w 10000"/>
              <a:gd name="connsiteY49" fmla="*/ 3407 h 10000"/>
              <a:gd name="connsiteX50" fmla="*/ 10000 w 10000"/>
              <a:gd name="connsiteY50" fmla="*/ 3015 h 10000"/>
              <a:gd name="connsiteX51" fmla="*/ 9984 w 10000"/>
              <a:gd name="connsiteY51" fmla="*/ 2696 h 10000"/>
              <a:gd name="connsiteX52" fmla="*/ 9922 w 10000"/>
              <a:gd name="connsiteY52" fmla="*/ 2218 h 10000"/>
              <a:gd name="connsiteX53" fmla="*/ 9768 w 10000"/>
              <a:gd name="connsiteY53" fmla="*/ 1740 h 10000"/>
              <a:gd name="connsiteX54" fmla="*/ 9628 w 10000"/>
              <a:gd name="connsiteY54" fmla="*/ 1324 h 10000"/>
              <a:gd name="connsiteX55" fmla="*/ 9458 w 10000"/>
              <a:gd name="connsiteY55" fmla="*/ 980 h 10000"/>
              <a:gd name="connsiteX56" fmla="*/ 9304 w 10000"/>
              <a:gd name="connsiteY56" fmla="*/ 699 h 10000"/>
              <a:gd name="connsiteX57" fmla="*/ 9165 w 10000"/>
              <a:gd name="connsiteY57" fmla="*/ 478 h 10000"/>
              <a:gd name="connsiteX58" fmla="*/ 8994 w 10000"/>
              <a:gd name="connsiteY58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3045 w 10000"/>
              <a:gd name="connsiteY5" fmla="*/ 3505 h 10000"/>
              <a:gd name="connsiteX6" fmla="*/ 2982 w 10000"/>
              <a:gd name="connsiteY6" fmla="*/ 3737 h 10000"/>
              <a:gd name="connsiteX7" fmla="*/ 2844 w 10000"/>
              <a:gd name="connsiteY7" fmla="*/ 3995 h 10000"/>
              <a:gd name="connsiteX8" fmla="*/ 2674 w 10000"/>
              <a:gd name="connsiteY8" fmla="*/ 4240 h 10000"/>
              <a:gd name="connsiteX9" fmla="*/ 2458 w 10000"/>
              <a:gd name="connsiteY9" fmla="*/ 4473 h 10000"/>
              <a:gd name="connsiteX10" fmla="*/ 2210 w 10000"/>
              <a:gd name="connsiteY10" fmla="*/ 4682 h 10000"/>
              <a:gd name="connsiteX11" fmla="*/ 1947 w 10000"/>
              <a:gd name="connsiteY11" fmla="*/ 4841 h 10000"/>
              <a:gd name="connsiteX12" fmla="*/ 1685 w 10000"/>
              <a:gd name="connsiteY12" fmla="*/ 4975 h 10000"/>
              <a:gd name="connsiteX13" fmla="*/ 1252 w 10000"/>
              <a:gd name="connsiteY13" fmla="*/ 5135 h 10000"/>
              <a:gd name="connsiteX14" fmla="*/ 819 w 10000"/>
              <a:gd name="connsiteY14" fmla="*/ 5257 h 10000"/>
              <a:gd name="connsiteX15" fmla="*/ 665 w 10000"/>
              <a:gd name="connsiteY15" fmla="*/ 5294 h 10000"/>
              <a:gd name="connsiteX16" fmla="*/ 2102 w 10000"/>
              <a:gd name="connsiteY16" fmla="*/ 7634 h 10000"/>
              <a:gd name="connsiteX17" fmla="*/ 0 w 10000"/>
              <a:gd name="connsiteY17" fmla="*/ 10000 h 10000"/>
              <a:gd name="connsiteX18" fmla="*/ 418 w 10000"/>
              <a:gd name="connsiteY18" fmla="*/ 9988 h 10000"/>
              <a:gd name="connsiteX19" fmla="*/ 850 w 10000"/>
              <a:gd name="connsiteY19" fmla="*/ 9975 h 10000"/>
              <a:gd name="connsiteX20" fmla="*/ 1329 w 10000"/>
              <a:gd name="connsiteY20" fmla="*/ 9926 h 10000"/>
              <a:gd name="connsiteX21" fmla="*/ 1824 w 10000"/>
              <a:gd name="connsiteY21" fmla="*/ 9877 h 10000"/>
              <a:gd name="connsiteX22" fmla="*/ 2302 w 10000"/>
              <a:gd name="connsiteY22" fmla="*/ 9792 h 10000"/>
              <a:gd name="connsiteX23" fmla="*/ 2782 w 10000"/>
              <a:gd name="connsiteY23" fmla="*/ 9706 h 10000"/>
              <a:gd name="connsiteX24" fmla="*/ 3153 w 10000"/>
              <a:gd name="connsiteY24" fmla="*/ 9620 h 10000"/>
              <a:gd name="connsiteX25" fmla="*/ 3554 w 10000"/>
              <a:gd name="connsiteY25" fmla="*/ 9521 h 10000"/>
              <a:gd name="connsiteX26" fmla="*/ 4049 w 10000"/>
              <a:gd name="connsiteY26" fmla="*/ 9387 h 10000"/>
              <a:gd name="connsiteX27" fmla="*/ 4467 w 10000"/>
              <a:gd name="connsiteY27" fmla="*/ 9240 h 10000"/>
              <a:gd name="connsiteX28" fmla="*/ 4868 w 10000"/>
              <a:gd name="connsiteY28" fmla="*/ 9105 h 10000"/>
              <a:gd name="connsiteX29" fmla="*/ 5301 w 10000"/>
              <a:gd name="connsiteY29" fmla="*/ 8922 h 10000"/>
              <a:gd name="connsiteX30" fmla="*/ 5734 w 10000"/>
              <a:gd name="connsiteY30" fmla="*/ 8737 h 10000"/>
              <a:gd name="connsiteX31" fmla="*/ 6089 w 10000"/>
              <a:gd name="connsiteY31" fmla="*/ 8566 h 10000"/>
              <a:gd name="connsiteX32" fmla="*/ 6491 w 10000"/>
              <a:gd name="connsiteY32" fmla="*/ 8333 h 10000"/>
              <a:gd name="connsiteX33" fmla="*/ 6893 w 10000"/>
              <a:gd name="connsiteY33" fmla="*/ 8101 h 10000"/>
              <a:gd name="connsiteX34" fmla="*/ 7249 w 10000"/>
              <a:gd name="connsiteY34" fmla="*/ 7843 h 10000"/>
              <a:gd name="connsiteX35" fmla="*/ 7542 w 10000"/>
              <a:gd name="connsiteY35" fmla="*/ 7634 h 10000"/>
              <a:gd name="connsiteX36" fmla="*/ 7867 w 10000"/>
              <a:gd name="connsiteY36" fmla="*/ 7377 h 10000"/>
              <a:gd name="connsiteX37" fmla="*/ 8114 w 10000"/>
              <a:gd name="connsiteY37" fmla="*/ 7157 h 10000"/>
              <a:gd name="connsiteX38" fmla="*/ 8393 w 10000"/>
              <a:gd name="connsiteY38" fmla="*/ 6887 h 10000"/>
              <a:gd name="connsiteX39" fmla="*/ 8670 w 10000"/>
              <a:gd name="connsiteY39" fmla="*/ 6605 h 10000"/>
              <a:gd name="connsiteX40" fmla="*/ 8871 w 10000"/>
              <a:gd name="connsiteY40" fmla="*/ 6299 h 10000"/>
              <a:gd name="connsiteX41" fmla="*/ 9088 w 10000"/>
              <a:gd name="connsiteY41" fmla="*/ 6029 h 10000"/>
              <a:gd name="connsiteX42" fmla="*/ 9242 w 10000"/>
              <a:gd name="connsiteY42" fmla="*/ 5772 h 10000"/>
              <a:gd name="connsiteX43" fmla="*/ 9458 w 10000"/>
              <a:gd name="connsiteY43" fmla="*/ 5379 h 10000"/>
              <a:gd name="connsiteX44" fmla="*/ 9597 w 10000"/>
              <a:gd name="connsiteY44" fmla="*/ 5073 h 10000"/>
              <a:gd name="connsiteX45" fmla="*/ 9768 w 10000"/>
              <a:gd name="connsiteY45" fmla="*/ 4657 h 10000"/>
              <a:gd name="connsiteX46" fmla="*/ 9876 w 10000"/>
              <a:gd name="connsiteY46" fmla="*/ 4191 h 10000"/>
              <a:gd name="connsiteX47" fmla="*/ 9953 w 10000"/>
              <a:gd name="connsiteY47" fmla="*/ 3775 h 10000"/>
              <a:gd name="connsiteX48" fmla="*/ 10000 w 10000"/>
              <a:gd name="connsiteY48" fmla="*/ 3407 h 10000"/>
              <a:gd name="connsiteX49" fmla="*/ 10000 w 10000"/>
              <a:gd name="connsiteY49" fmla="*/ 3015 h 10000"/>
              <a:gd name="connsiteX50" fmla="*/ 9984 w 10000"/>
              <a:gd name="connsiteY50" fmla="*/ 2696 h 10000"/>
              <a:gd name="connsiteX51" fmla="*/ 9922 w 10000"/>
              <a:gd name="connsiteY51" fmla="*/ 2218 h 10000"/>
              <a:gd name="connsiteX52" fmla="*/ 9768 w 10000"/>
              <a:gd name="connsiteY52" fmla="*/ 1740 h 10000"/>
              <a:gd name="connsiteX53" fmla="*/ 9628 w 10000"/>
              <a:gd name="connsiteY53" fmla="*/ 1324 h 10000"/>
              <a:gd name="connsiteX54" fmla="*/ 9458 w 10000"/>
              <a:gd name="connsiteY54" fmla="*/ 980 h 10000"/>
              <a:gd name="connsiteX55" fmla="*/ 9304 w 10000"/>
              <a:gd name="connsiteY55" fmla="*/ 699 h 10000"/>
              <a:gd name="connsiteX56" fmla="*/ 9165 w 10000"/>
              <a:gd name="connsiteY56" fmla="*/ 478 h 10000"/>
              <a:gd name="connsiteX57" fmla="*/ 8994 w 10000"/>
              <a:gd name="connsiteY57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689 w 10000"/>
              <a:gd name="connsiteY4" fmla="*/ 2169 h 10000"/>
              <a:gd name="connsiteX5" fmla="*/ 2982 w 10000"/>
              <a:gd name="connsiteY5" fmla="*/ 3737 h 10000"/>
              <a:gd name="connsiteX6" fmla="*/ 2844 w 10000"/>
              <a:gd name="connsiteY6" fmla="*/ 3995 h 10000"/>
              <a:gd name="connsiteX7" fmla="*/ 2674 w 10000"/>
              <a:gd name="connsiteY7" fmla="*/ 4240 h 10000"/>
              <a:gd name="connsiteX8" fmla="*/ 2458 w 10000"/>
              <a:gd name="connsiteY8" fmla="*/ 4473 h 10000"/>
              <a:gd name="connsiteX9" fmla="*/ 2210 w 10000"/>
              <a:gd name="connsiteY9" fmla="*/ 4682 h 10000"/>
              <a:gd name="connsiteX10" fmla="*/ 1947 w 10000"/>
              <a:gd name="connsiteY10" fmla="*/ 4841 h 10000"/>
              <a:gd name="connsiteX11" fmla="*/ 1685 w 10000"/>
              <a:gd name="connsiteY11" fmla="*/ 4975 h 10000"/>
              <a:gd name="connsiteX12" fmla="*/ 1252 w 10000"/>
              <a:gd name="connsiteY12" fmla="*/ 5135 h 10000"/>
              <a:gd name="connsiteX13" fmla="*/ 819 w 10000"/>
              <a:gd name="connsiteY13" fmla="*/ 5257 h 10000"/>
              <a:gd name="connsiteX14" fmla="*/ 665 w 10000"/>
              <a:gd name="connsiteY14" fmla="*/ 5294 h 10000"/>
              <a:gd name="connsiteX15" fmla="*/ 2102 w 10000"/>
              <a:gd name="connsiteY15" fmla="*/ 7634 h 10000"/>
              <a:gd name="connsiteX16" fmla="*/ 0 w 10000"/>
              <a:gd name="connsiteY16" fmla="*/ 10000 h 10000"/>
              <a:gd name="connsiteX17" fmla="*/ 418 w 10000"/>
              <a:gd name="connsiteY17" fmla="*/ 9988 h 10000"/>
              <a:gd name="connsiteX18" fmla="*/ 850 w 10000"/>
              <a:gd name="connsiteY18" fmla="*/ 9975 h 10000"/>
              <a:gd name="connsiteX19" fmla="*/ 1329 w 10000"/>
              <a:gd name="connsiteY19" fmla="*/ 9926 h 10000"/>
              <a:gd name="connsiteX20" fmla="*/ 1824 w 10000"/>
              <a:gd name="connsiteY20" fmla="*/ 9877 h 10000"/>
              <a:gd name="connsiteX21" fmla="*/ 2302 w 10000"/>
              <a:gd name="connsiteY21" fmla="*/ 9792 h 10000"/>
              <a:gd name="connsiteX22" fmla="*/ 2782 w 10000"/>
              <a:gd name="connsiteY22" fmla="*/ 9706 h 10000"/>
              <a:gd name="connsiteX23" fmla="*/ 3153 w 10000"/>
              <a:gd name="connsiteY23" fmla="*/ 9620 h 10000"/>
              <a:gd name="connsiteX24" fmla="*/ 3554 w 10000"/>
              <a:gd name="connsiteY24" fmla="*/ 9521 h 10000"/>
              <a:gd name="connsiteX25" fmla="*/ 4049 w 10000"/>
              <a:gd name="connsiteY25" fmla="*/ 9387 h 10000"/>
              <a:gd name="connsiteX26" fmla="*/ 4467 w 10000"/>
              <a:gd name="connsiteY26" fmla="*/ 9240 h 10000"/>
              <a:gd name="connsiteX27" fmla="*/ 4868 w 10000"/>
              <a:gd name="connsiteY27" fmla="*/ 9105 h 10000"/>
              <a:gd name="connsiteX28" fmla="*/ 5301 w 10000"/>
              <a:gd name="connsiteY28" fmla="*/ 8922 h 10000"/>
              <a:gd name="connsiteX29" fmla="*/ 5734 w 10000"/>
              <a:gd name="connsiteY29" fmla="*/ 8737 h 10000"/>
              <a:gd name="connsiteX30" fmla="*/ 6089 w 10000"/>
              <a:gd name="connsiteY30" fmla="*/ 8566 h 10000"/>
              <a:gd name="connsiteX31" fmla="*/ 6491 w 10000"/>
              <a:gd name="connsiteY31" fmla="*/ 8333 h 10000"/>
              <a:gd name="connsiteX32" fmla="*/ 6893 w 10000"/>
              <a:gd name="connsiteY32" fmla="*/ 8101 h 10000"/>
              <a:gd name="connsiteX33" fmla="*/ 7249 w 10000"/>
              <a:gd name="connsiteY33" fmla="*/ 7843 h 10000"/>
              <a:gd name="connsiteX34" fmla="*/ 7542 w 10000"/>
              <a:gd name="connsiteY34" fmla="*/ 7634 h 10000"/>
              <a:gd name="connsiteX35" fmla="*/ 7867 w 10000"/>
              <a:gd name="connsiteY35" fmla="*/ 7377 h 10000"/>
              <a:gd name="connsiteX36" fmla="*/ 8114 w 10000"/>
              <a:gd name="connsiteY36" fmla="*/ 7157 h 10000"/>
              <a:gd name="connsiteX37" fmla="*/ 8393 w 10000"/>
              <a:gd name="connsiteY37" fmla="*/ 6887 h 10000"/>
              <a:gd name="connsiteX38" fmla="*/ 8670 w 10000"/>
              <a:gd name="connsiteY38" fmla="*/ 6605 h 10000"/>
              <a:gd name="connsiteX39" fmla="*/ 8871 w 10000"/>
              <a:gd name="connsiteY39" fmla="*/ 6299 h 10000"/>
              <a:gd name="connsiteX40" fmla="*/ 9088 w 10000"/>
              <a:gd name="connsiteY40" fmla="*/ 6029 h 10000"/>
              <a:gd name="connsiteX41" fmla="*/ 9242 w 10000"/>
              <a:gd name="connsiteY41" fmla="*/ 5772 h 10000"/>
              <a:gd name="connsiteX42" fmla="*/ 9458 w 10000"/>
              <a:gd name="connsiteY42" fmla="*/ 5379 h 10000"/>
              <a:gd name="connsiteX43" fmla="*/ 9597 w 10000"/>
              <a:gd name="connsiteY43" fmla="*/ 5073 h 10000"/>
              <a:gd name="connsiteX44" fmla="*/ 9768 w 10000"/>
              <a:gd name="connsiteY44" fmla="*/ 4657 h 10000"/>
              <a:gd name="connsiteX45" fmla="*/ 9876 w 10000"/>
              <a:gd name="connsiteY45" fmla="*/ 4191 h 10000"/>
              <a:gd name="connsiteX46" fmla="*/ 9953 w 10000"/>
              <a:gd name="connsiteY46" fmla="*/ 3775 h 10000"/>
              <a:gd name="connsiteX47" fmla="*/ 10000 w 10000"/>
              <a:gd name="connsiteY47" fmla="*/ 3407 h 10000"/>
              <a:gd name="connsiteX48" fmla="*/ 10000 w 10000"/>
              <a:gd name="connsiteY48" fmla="*/ 3015 h 10000"/>
              <a:gd name="connsiteX49" fmla="*/ 9984 w 10000"/>
              <a:gd name="connsiteY49" fmla="*/ 2696 h 10000"/>
              <a:gd name="connsiteX50" fmla="*/ 9922 w 10000"/>
              <a:gd name="connsiteY50" fmla="*/ 2218 h 10000"/>
              <a:gd name="connsiteX51" fmla="*/ 9768 w 10000"/>
              <a:gd name="connsiteY51" fmla="*/ 1740 h 10000"/>
              <a:gd name="connsiteX52" fmla="*/ 9628 w 10000"/>
              <a:gd name="connsiteY52" fmla="*/ 1324 h 10000"/>
              <a:gd name="connsiteX53" fmla="*/ 9458 w 10000"/>
              <a:gd name="connsiteY53" fmla="*/ 980 h 10000"/>
              <a:gd name="connsiteX54" fmla="*/ 9304 w 10000"/>
              <a:gd name="connsiteY54" fmla="*/ 699 h 10000"/>
              <a:gd name="connsiteX55" fmla="*/ 9165 w 10000"/>
              <a:gd name="connsiteY55" fmla="*/ 478 h 10000"/>
              <a:gd name="connsiteX56" fmla="*/ 8994 w 10000"/>
              <a:gd name="connsiteY56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551 w 10000"/>
              <a:gd name="connsiteY4" fmla="*/ 2217 h 10000"/>
              <a:gd name="connsiteX5" fmla="*/ 2982 w 10000"/>
              <a:gd name="connsiteY5" fmla="*/ 3737 h 10000"/>
              <a:gd name="connsiteX6" fmla="*/ 2844 w 10000"/>
              <a:gd name="connsiteY6" fmla="*/ 3995 h 10000"/>
              <a:gd name="connsiteX7" fmla="*/ 2674 w 10000"/>
              <a:gd name="connsiteY7" fmla="*/ 4240 h 10000"/>
              <a:gd name="connsiteX8" fmla="*/ 2458 w 10000"/>
              <a:gd name="connsiteY8" fmla="*/ 4473 h 10000"/>
              <a:gd name="connsiteX9" fmla="*/ 2210 w 10000"/>
              <a:gd name="connsiteY9" fmla="*/ 4682 h 10000"/>
              <a:gd name="connsiteX10" fmla="*/ 1947 w 10000"/>
              <a:gd name="connsiteY10" fmla="*/ 4841 h 10000"/>
              <a:gd name="connsiteX11" fmla="*/ 1685 w 10000"/>
              <a:gd name="connsiteY11" fmla="*/ 4975 h 10000"/>
              <a:gd name="connsiteX12" fmla="*/ 1252 w 10000"/>
              <a:gd name="connsiteY12" fmla="*/ 5135 h 10000"/>
              <a:gd name="connsiteX13" fmla="*/ 819 w 10000"/>
              <a:gd name="connsiteY13" fmla="*/ 5257 h 10000"/>
              <a:gd name="connsiteX14" fmla="*/ 665 w 10000"/>
              <a:gd name="connsiteY14" fmla="*/ 5294 h 10000"/>
              <a:gd name="connsiteX15" fmla="*/ 2102 w 10000"/>
              <a:gd name="connsiteY15" fmla="*/ 7634 h 10000"/>
              <a:gd name="connsiteX16" fmla="*/ 0 w 10000"/>
              <a:gd name="connsiteY16" fmla="*/ 10000 h 10000"/>
              <a:gd name="connsiteX17" fmla="*/ 418 w 10000"/>
              <a:gd name="connsiteY17" fmla="*/ 9988 h 10000"/>
              <a:gd name="connsiteX18" fmla="*/ 850 w 10000"/>
              <a:gd name="connsiteY18" fmla="*/ 9975 h 10000"/>
              <a:gd name="connsiteX19" fmla="*/ 1329 w 10000"/>
              <a:gd name="connsiteY19" fmla="*/ 9926 h 10000"/>
              <a:gd name="connsiteX20" fmla="*/ 1824 w 10000"/>
              <a:gd name="connsiteY20" fmla="*/ 9877 h 10000"/>
              <a:gd name="connsiteX21" fmla="*/ 2302 w 10000"/>
              <a:gd name="connsiteY21" fmla="*/ 9792 h 10000"/>
              <a:gd name="connsiteX22" fmla="*/ 2782 w 10000"/>
              <a:gd name="connsiteY22" fmla="*/ 9706 h 10000"/>
              <a:gd name="connsiteX23" fmla="*/ 3153 w 10000"/>
              <a:gd name="connsiteY23" fmla="*/ 9620 h 10000"/>
              <a:gd name="connsiteX24" fmla="*/ 3554 w 10000"/>
              <a:gd name="connsiteY24" fmla="*/ 9521 h 10000"/>
              <a:gd name="connsiteX25" fmla="*/ 4049 w 10000"/>
              <a:gd name="connsiteY25" fmla="*/ 9387 h 10000"/>
              <a:gd name="connsiteX26" fmla="*/ 4467 w 10000"/>
              <a:gd name="connsiteY26" fmla="*/ 9240 h 10000"/>
              <a:gd name="connsiteX27" fmla="*/ 4868 w 10000"/>
              <a:gd name="connsiteY27" fmla="*/ 9105 h 10000"/>
              <a:gd name="connsiteX28" fmla="*/ 5301 w 10000"/>
              <a:gd name="connsiteY28" fmla="*/ 8922 h 10000"/>
              <a:gd name="connsiteX29" fmla="*/ 5734 w 10000"/>
              <a:gd name="connsiteY29" fmla="*/ 8737 h 10000"/>
              <a:gd name="connsiteX30" fmla="*/ 6089 w 10000"/>
              <a:gd name="connsiteY30" fmla="*/ 8566 h 10000"/>
              <a:gd name="connsiteX31" fmla="*/ 6491 w 10000"/>
              <a:gd name="connsiteY31" fmla="*/ 8333 h 10000"/>
              <a:gd name="connsiteX32" fmla="*/ 6893 w 10000"/>
              <a:gd name="connsiteY32" fmla="*/ 8101 h 10000"/>
              <a:gd name="connsiteX33" fmla="*/ 7249 w 10000"/>
              <a:gd name="connsiteY33" fmla="*/ 7843 h 10000"/>
              <a:gd name="connsiteX34" fmla="*/ 7542 w 10000"/>
              <a:gd name="connsiteY34" fmla="*/ 7634 h 10000"/>
              <a:gd name="connsiteX35" fmla="*/ 7867 w 10000"/>
              <a:gd name="connsiteY35" fmla="*/ 7377 h 10000"/>
              <a:gd name="connsiteX36" fmla="*/ 8114 w 10000"/>
              <a:gd name="connsiteY36" fmla="*/ 7157 h 10000"/>
              <a:gd name="connsiteX37" fmla="*/ 8393 w 10000"/>
              <a:gd name="connsiteY37" fmla="*/ 6887 h 10000"/>
              <a:gd name="connsiteX38" fmla="*/ 8670 w 10000"/>
              <a:gd name="connsiteY38" fmla="*/ 6605 h 10000"/>
              <a:gd name="connsiteX39" fmla="*/ 8871 w 10000"/>
              <a:gd name="connsiteY39" fmla="*/ 6299 h 10000"/>
              <a:gd name="connsiteX40" fmla="*/ 9088 w 10000"/>
              <a:gd name="connsiteY40" fmla="*/ 6029 h 10000"/>
              <a:gd name="connsiteX41" fmla="*/ 9242 w 10000"/>
              <a:gd name="connsiteY41" fmla="*/ 5772 h 10000"/>
              <a:gd name="connsiteX42" fmla="*/ 9458 w 10000"/>
              <a:gd name="connsiteY42" fmla="*/ 5379 h 10000"/>
              <a:gd name="connsiteX43" fmla="*/ 9597 w 10000"/>
              <a:gd name="connsiteY43" fmla="*/ 5073 h 10000"/>
              <a:gd name="connsiteX44" fmla="*/ 9768 w 10000"/>
              <a:gd name="connsiteY44" fmla="*/ 4657 h 10000"/>
              <a:gd name="connsiteX45" fmla="*/ 9876 w 10000"/>
              <a:gd name="connsiteY45" fmla="*/ 4191 h 10000"/>
              <a:gd name="connsiteX46" fmla="*/ 9953 w 10000"/>
              <a:gd name="connsiteY46" fmla="*/ 3775 h 10000"/>
              <a:gd name="connsiteX47" fmla="*/ 10000 w 10000"/>
              <a:gd name="connsiteY47" fmla="*/ 3407 h 10000"/>
              <a:gd name="connsiteX48" fmla="*/ 10000 w 10000"/>
              <a:gd name="connsiteY48" fmla="*/ 3015 h 10000"/>
              <a:gd name="connsiteX49" fmla="*/ 9984 w 10000"/>
              <a:gd name="connsiteY49" fmla="*/ 2696 h 10000"/>
              <a:gd name="connsiteX50" fmla="*/ 9922 w 10000"/>
              <a:gd name="connsiteY50" fmla="*/ 2218 h 10000"/>
              <a:gd name="connsiteX51" fmla="*/ 9768 w 10000"/>
              <a:gd name="connsiteY51" fmla="*/ 1740 h 10000"/>
              <a:gd name="connsiteX52" fmla="*/ 9628 w 10000"/>
              <a:gd name="connsiteY52" fmla="*/ 1324 h 10000"/>
              <a:gd name="connsiteX53" fmla="*/ 9458 w 10000"/>
              <a:gd name="connsiteY53" fmla="*/ 980 h 10000"/>
              <a:gd name="connsiteX54" fmla="*/ 9304 w 10000"/>
              <a:gd name="connsiteY54" fmla="*/ 699 h 10000"/>
              <a:gd name="connsiteX55" fmla="*/ 9165 w 10000"/>
              <a:gd name="connsiteY55" fmla="*/ 478 h 10000"/>
              <a:gd name="connsiteX56" fmla="*/ 8994 w 10000"/>
              <a:gd name="connsiteY56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504 w 10000"/>
              <a:gd name="connsiteY4" fmla="*/ 2254 h 10000"/>
              <a:gd name="connsiteX5" fmla="*/ 2982 w 10000"/>
              <a:gd name="connsiteY5" fmla="*/ 3737 h 10000"/>
              <a:gd name="connsiteX6" fmla="*/ 2844 w 10000"/>
              <a:gd name="connsiteY6" fmla="*/ 3995 h 10000"/>
              <a:gd name="connsiteX7" fmla="*/ 2674 w 10000"/>
              <a:gd name="connsiteY7" fmla="*/ 4240 h 10000"/>
              <a:gd name="connsiteX8" fmla="*/ 2458 w 10000"/>
              <a:gd name="connsiteY8" fmla="*/ 4473 h 10000"/>
              <a:gd name="connsiteX9" fmla="*/ 2210 w 10000"/>
              <a:gd name="connsiteY9" fmla="*/ 4682 h 10000"/>
              <a:gd name="connsiteX10" fmla="*/ 1947 w 10000"/>
              <a:gd name="connsiteY10" fmla="*/ 4841 h 10000"/>
              <a:gd name="connsiteX11" fmla="*/ 1685 w 10000"/>
              <a:gd name="connsiteY11" fmla="*/ 4975 h 10000"/>
              <a:gd name="connsiteX12" fmla="*/ 1252 w 10000"/>
              <a:gd name="connsiteY12" fmla="*/ 5135 h 10000"/>
              <a:gd name="connsiteX13" fmla="*/ 819 w 10000"/>
              <a:gd name="connsiteY13" fmla="*/ 5257 h 10000"/>
              <a:gd name="connsiteX14" fmla="*/ 665 w 10000"/>
              <a:gd name="connsiteY14" fmla="*/ 5294 h 10000"/>
              <a:gd name="connsiteX15" fmla="*/ 2102 w 10000"/>
              <a:gd name="connsiteY15" fmla="*/ 7634 h 10000"/>
              <a:gd name="connsiteX16" fmla="*/ 0 w 10000"/>
              <a:gd name="connsiteY16" fmla="*/ 10000 h 10000"/>
              <a:gd name="connsiteX17" fmla="*/ 418 w 10000"/>
              <a:gd name="connsiteY17" fmla="*/ 9988 h 10000"/>
              <a:gd name="connsiteX18" fmla="*/ 850 w 10000"/>
              <a:gd name="connsiteY18" fmla="*/ 9975 h 10000"/>
              <a:gd name="connsiteX19" fmla="*/ 1329 w 10000"/>
              <a:gd name="connsiteY19" fmla="*/ 9926 h 10000"/>
              <a:gd name="connsiteX20" fmla="*/ 1824 w 10000"/>
              <a:gd name="connsiteY20" fmla="*/ 9877 h 10000"/>
              <a:gd name="connsiteX21" fmla="*/ 2302 w 10000"/>
              <a:gd name="connsiteY21" fmla="*/ 9792 h 10000"/>
              <a:gd name="connsiteX22" fmla="*/ 2782 w 10000"/>
              <a:gd name="connsiteY22" fmla="*/ 9706 h 10000"/>
              <a:gd name="connsiteX23" fmla="*/ 3153 w 10000"/>
              <a:gd name="connsiteY23" fmla="*/ 9620 h 10000"/>
              <a:gd name="connsiteX24" fmla="*/ 3554 w 10000"/>
              <a:gd name="connsiteY24" fmla="*/ 9521 h 10000"/>
              <a:gd name="connsiteX25" fmla="*/ 4049 w 10000"/>
              <a:gd name="connsiteY25" fmla="*/ 9387 h 10000"/>
              <a:gd name="connsiteX26" fmla="*/ 4467 w 10000"/>
              <a:gd name="connsiteY26" fmla="*/ 9240 h 10000"/>
              <a:gd name="connsiteX27" fmla="*/ 4868 w 10000"/>
              <a:gd name="connsiteY27" fmla="*/ 9105 h 10000"/>
              <a:gd name="connsiteX28" fmla="*/ 5301 w 10000"/>
              <a:gd name="connsiteY28" fmla="*/ 8922 h 10000"/>
              <a:gd name="connsiteX29" fmla="*/ 5734 w 10000"/>
              <a:gd name="connsiteY29" fmla="*/ 8737 h 10000"/>
              <a:gd name="connsiteX30" fmla="*/ 6089 w 10000"/>
              <a:gd name="connsiteY30" fmla="*/ 8566 h 10000"/>
              <a:gd name="connsiteX31" fmla="*/ 6491 w 10000"/>
              <a:gd name="connsiteY31" fmla="*/ 8333 h 10000"/>
              <a:gd name="connsiteX32" fmla="*/ 6893 w 10000"/>
              <a:gd name="connsiteY32" fmla="*/ 8101 h 10000"/>
              <a:gd name="connsiteX33" fmla="*/ 7249 w 10000"/>
              <a:gd name="connsiteY33" fmla="*/ 7843 h 10000"/>
              <a:gd name="connsiteX34" fmla="*/ 7542 w 10000"/>
              <a:gd name="connsiteY34" fmla="*/ 7634 h 10000"/>
              <a:gd name="connsiteX35" fmla="*/ 7867 w 10000"/>
              <a:gd name="connsiteY35" fmla="*/ 7377 h 10000"/>
              <a:gd name="connsiteX36" fmla="*/ 8114 w 10000"/>
              <a:gd name="connsiteY36" fmla="*/ 7157 h 10000"/>
              <a:gd name="connsiteX37" fmla="*/ 8393 w 10000"/>
              <a:gd name="connsiteY37" fmla="*/ 6887 h 10000"/>
              <a:gd name="connsiteX38" fmla="*/ 8670 w 10000"/>
              <a:gd name="connsiteY38" fmla="*/ 6605 h 10000"/>
              <a:gd name="connsiteX39" fmla="*/ 8871 w 10000"/>
              <a:gd name="connsiteY39" fmla="*/ 6299 h 10000"/>
              <a:gd name="connsiteX40" fmla="*/ 9088 w 10000"/>
              <a:gd name="connsiteY40" fmla="*/ 6029 h 10000"/>
              <a:gd name="connsiteX41" fmla="*/ 9242 w 10000"/>
              <a:gd name="connsiteY41" fmla="*/ 5772 h 10000"/>
              <a:gd name="connsiteX42" fmla="*/ 9458 w 10000"/>
              <a:gd name="connsiteY42" fmla="*/ 5379 h 10000"/>
              <a:gd name="connsiteX43" fmla="*/ 9597 w 10000"/>
              <a:gd name="connsiteY43" fmla="*/ 5073 h 10000"/>
              <a:gd name="connsiteX44" fmla="*/ 9768 w 10000"/>
              <a:gd name="connsiteY44" fmla="*/ 4657 h 10000"/>
              <a:gd name="connsiteX45" fmla="*/ 9876 w 10000"/>
              <a:gd name="connsiteY45" fmla="*/ 4191 h 10000"/>
              <a:gd name="connsiteX46" fmla="*/ 9953 w 10000"/>
              <a:gd name="connsiteY46" fmla="*/ 3775 h 10000"/>
              <a:gd name="connsiteX47" fmla="*/ 10000 w 10000"/>
              <a:gd name="connsiteY47" fmla="*/ 3407 h 10000"/>
              <a:gd name="connsiteX48" fmla="*/ 10000 w 10000"/>
              <a:gd name="connsiteY48" fmla="*/ 3015 h 10000"/>
              <a:gd name="connsiteX49" fmla="*/ 9984 w 10000"/>
              <a:gd name="connsiteY49" fmla="*/ 2696 h 10000"/>
              <a:gd name="connsiteX50" fmla="*/ 9922 w 10000"/>
              <a:gd name="connsiteY50" fmla="*/ 2218 h 10000"/>
              <a:gd name="connsiteX51" fmla="*/ 9768 w 10000"/>
              <a:gd name="connsiteY51" fmla="*/ 1740 h 10000"/>
              <a:gd name="connsiteX52" fmla="*/ 9628 w 10000"/>
              <a:gd name="connsiteY52" fmla="*/ 1324 h 10000"/>
              <a:gd name="connsiteX53" fmla="*/ 9458 w 10000"/>
              <a:gd name="connsiteY53" fmla="*/ 980 h 10000"/>
              <a:gd name="connsiteX54" fmla="*/ 9304 w 10000"/>
              <a:gd name="connsiteY54" fmla="*/ 699 h 10000"/>
              <a:gd name="connsiteX55" fmla="*/ 9165 w 10000"/>
              <a:gd name="connsiteY55" fmla="*/ 478 h 10000"/>
              <a:gd name="connsiteX56" fmla="*/ 8994 w 10000"/>
              <a:gd name="connsiteY56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504 w 10000"/>
              <a:gd name="connsiteY4" fmla="*/ 2254 h 10000"/>
              <a:gd name="connsiteX5" fmla="*/ 2808 w 10000"/>
              <a:gd name="connsiteY5" fmla="*/ 2761 h 10000"/>
              <a:gd name="connsiteX6" fmla="*/ 2982 w 10000"/>
              <a:gd name="connsiteY6" fmla="*/ 3737 h 10000"/>
              <a:gd name="connsiteX7" fmla="*/ 2844 w 10000"/>
              <a:gd name="connsiteY7" fmla="*/ 3995 h 10000"/>
              <a:gd name="connsiteX8" fmla="*/ 2674 w 10000"/>
              <a:gd name="connsiteY8" fmla="*/ 4240 h 10000"/>
              <a:gd name="connsiteX9" fmla="*/ 2458 w 10000"/>
              <a:gd name="connsiteY9" fmla="*/ 4473 h 10000"/>
              <a:gd name="connsiteX10" fmla="*/ 2210 w 10000"/>
              <a:gd name="connsiteY10" fmla="*/ 4682 h 10000"/>
              <a:gd name="connsiteX11" fmla="*/ 1947 w 10000"/>
              <a:gd name="connsiteY11" fmla="*/ 4841 h 10000"/>
              <a:gd name="connsiteX12" fmla="*/ 1685 w 10000"/>
              <a:gd name="connsiteY12" fmla="*/ 4975 h 10000"/>
              <a:gd name="connsiteX13" fmla="*/ 1252 w 10000"/>
              <a:gd name="connsiteY13" fmla="*/ 5135 h 10000"/>
              <a:gd name="connsiteX14" fmla="*/ 819 w 10000"/>
              <a:gd name="connsiteY14" fmla="*/ 5257 h 10000"/>
              <a:gd name="connsiteX15" fmla="*/ 665 w 10000"/>
              <a:gd name="connsiteY15" fmla="*/ 5294 h 10000"/>
              <a:gd name="connsiteX16" fmla="*/ 2102 w 10000"/>
              <a:gd name="connsiteY16" fmla="*/ 7634 h 10000"/>
              <a:gd name="connsiteX17" fmla="*/ 0 w 10000"/>
              <a:gd name="connsiteY17" fmla="*/ 10000 h 10000"/>
              <a:gd name="connsiteX18" fmla="*/ 418 w 10000"/>
              <a:gd name="connsiteY18" fmla="*/ 9988 h 10000"/>
              <a:gd name="connsiteX19" fmla="*/ 850 w 10000"/>
              <a:gd name="connsiteY19" fmla="*/ 9975 h 10000"/>
              <a:gd name="connsiteX20" fmla="*/ 1329 w 10000"/>
              <a:gd name="connsiteY20" fmla="*/ 9926 h 10000"/>
              <a:gd name="connsiteX21" fmla="*/ 1824 w 10000"/>
              <a:gd name="connsiteY21" fmla="*/ 9877 h 10000"/>
              <a:gd name="connsiteX22" fmla="*/ 2302 w 10000"/>
              <a:gd name="connsiteY22" fmla="*/ 9792 h 10000"/>
              <a:gd name="connsiteX23" fmla="*/ 2782 w 10000"/>
              <a:gd name="connsiteY23" fmla="*/ 9706 h 10000"/>
              <a:gd name="connsiteX24" fmla="*/ 3153 w 10000"/>
              <a:gd name="connsiteY24" fmla="*/ 9620 h 10000"/>
              <a:gd name="connsiteX25" fmla="*/ 3554 w 10000"/>
              <a:gd name="connsiteY25" fmla="*/ 9521 h 10000"/>
              <a:gd name="connsiteX26" fmla="*/ 4049 w 10000"/>
              <a:gd name="connsiteY26" fmla="*/ 9387 h 10000"/>
              <a:gd name="connsiteX27" fmla="*/ 4467 w 10000"/>
              <a:gd name="connsiteY27" fmla="*/ 9240 h 10000"/>
              <a:gd name="connsiteX28" fmla="*/ 4868 w 10000"/>
              <a:gd name="connsiteY28" fmla="*/ 9105 h 10000"/>
              <a:gd name="connsiteX29" fmla="*/ 5301 w 10000"/>
              <a:gd name="connsiteY29" fmla="*/ 8922 h 10000"/>
              <a:gd name="connsiteX30" fmla="*/ 5734 w 10000"/>
              <a:gd name="connsiteY30" fmla="*/ 8737 h 10000"/>
              <a:gd name="connsiteX31" fmla="*/ 6089 w 10000"/>
              <a:gd name="connsiteY31" fmla="*/ 8566 h 10000"/>
              <a:gd name="connsiteX32" fmla="*/ 6491 w 10000"/>
              <a:gd name="connsiteY32" fmla="*/ 8333 h 10000"/>
              <a:gd name="connsiteX33" fmla="*/ 6893 w 10000"/>
              <a:gd name="connsiteY33" fmla="*/ 8101 h 10000"/>
              <a:gd name="connsiteX34" fmla="*/ 7249 w 10000"/>
              <a:gd name="connsiteY34" fmla="*/ 7843 h 10000"/>
              <a:gd name="connsiteX35" fmla="*/ 7542 w 10000"/>
              <a:gd name="connsiteY35" fmla="*/ 7634 h 10000"/>
              <a:gd name="connsiteX36" fmla="*/ 7867 w 10000"/>
              <a:gd name="connsiteY36" fmla="*/ 7377 h 10000"/>
              <a:gd name="connsiteX37" fmla="*/ 8114 w 10000"/>
              <a:gd name="connsiteY37" fmla="*/ 7157 h 10000"/>
              <a:gd name="connsiteX38" fmla="*/ 8393 w 10000"/>
              <a:gd name="connsiteY38" fmla="*/ 6887 h 10000"/>
              <a:gd name="connsiteX39" fmla="*/ 8670 w 10000"/>
              <a:gd name="connsiteY39" fmla="*/ 6605 h 10000"/>
              <a:gd name="connsiteX40" fmla="*/ 8871 w 10000"/>
              <a:gd name="connsiteY40" fmla="*/ 6299 h 10000"/>
              <a:gd name="connsiteX41" fmla="*/ 9088 w 10000"/>
              <a:gd name="connsiteY41" fmla="*/ 6029 h 10000"/>
              <a:gd name="connsiteX42" fmla="*/ 9242 w 10000"/>
              <a:gd name="connsiteY42" fmla="*/ 5772 h 10000"/>
              <a:gd name="connsiteX43" fmla="*/ 9458 w 10000"/>
              <a:gd name="connsiteY43" fmla="*/ 5379 h 10000"/>
              <a:gd name="connsiteX44" fmla="*/ 9597 w 10000"/>
              <a:gd name="connsiteY44" fmla="*/ 5073 h 10000"/>
              <a:gd name="connsiteX45" fmla="*/ 9768 w 10000"/>
              <a:gd name="connsiteY45" fmla="*/ 4657 h 10000"/>
              <a:gd name="connsiteX46" fmla="*/ 9876 w 10000"/>
              <a:gd name="connsiteY46" fmla="*/ 4191 h 10000"/>
              <a:gd name="connsiteX47" fmla="*/ 9953 w 10000"/>
              <a:gd name="connsiteY47" fmla="*/ 3775 h 10000"/>
              <a:gd name="connsiteX48" fmla="*/ 10000 w 10000"/>
              <a:gd name="connsiteY48" fmla="*/ 3407 h 10000"/>
              <a:gd name="connsiteX49" fmla="*/ 10000 w 10000"/>
              <a:gd name="connsiteY49" fmla="*/ 3015 h 10000"/>
              <a:gd name="connsiteX50" fmla="*/ 9984 w 10000"/>
              <a:gd name="connsiteY50" fmla="*/ 2696 h 10000"/>
              <a:gd name="connsiteX51" fmla="*/ 9922 w 10000"/>
              <a:gd name="connsiteY51" fmla="*/ 2218 h 10000"/>
              <a:gd name="connsiteX52" fmla="*/ 9768 w 10000"/>
              <a:gd name="connsiteY52" fmla="*/ 1740 h 10000"/>
              <a:gd name="connsiteX53" fmla="*/ 9628 w 10000"/>
              <a:gd name="connsiteY53" fmla="*/ 1324 h 10000"/>
              <a:gd name="connsiteX54" fmla="*/ 9458 w 10000"/>
              <a:gd name="connsiteY54" fmla="*/ 980 h 10000"/>
              <a:gd name="connsiteX55" fmla="*/ 9304 w 10000"/>
              <a:gd name="connsiteY55" fmla="*/ 699 h 10000"/>
              <a:gd name="connsiteX56" fmla="*/ 9165 w 10000"/>
              <a:gd name="connsiteY56" fmla="*/ 478 h 10000"/>
              <a:gd name="connsiteX57" fmla="*/ 8994 w 10000"/>
              <a:gd name="connsiteY57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504 w 10000"/>
              <a:gd name="connsiteY4" fmla="*/ 2254 h 10000"/>
              <a:gd name="connsiteX5" fmla="*/ 2808 w 10000"/>
              <a:gd name="connsiteY5" fmla="*/ 2761 h 10000"/>
              <a:gd name="connsiteX6" fmla="*/ 2982 w 10000"/>
              <a:gd name="connsiteY6" fmla="*/ 3737 h 10000"/>
              <a:gd name="connsiteX7" fmla="*/ 2844 w 10000"/>
              <a:gd name="connsiteY7" fmla="*/ 3995 h 10000"/>
              <a:gd name="connsiteX8" fmla="*/ 2458 w 10000"/>
              <a:gd name="connsiteY8" fmla="*/ 4473 h 10000"/>
              <a:gd name="connsiteX9" fmla="*/ 2210 w 10000"/>
              <a:gd name="connsiteY9" fmla="*/ 4682 h 10000"/>
              <a:gd name="connsiteX10" fmla="*/ 1947 w 10000"/>
              <a:gd name="connsiteY10" fmla="*/ 4841 h 10000"/>
              <a:gd name="connsiteX11" fmla="*/ 1685 w 10000"/>
              <a:gd name="connsiteY11" fmla="*/ 4975 h 10000"/>
              <a:gd name="connsiteX12" fmla="*/ 1252 w 10000"/>
              <a:gd name="connsiteY12" fmla="*/ 5135 h 10000"/>
              <a:gd name="connsiteX13" fmla="*/ 819 w 10000"/>
              <a:gd name="connsiteY13" fmla="*/ 5257 h 10000"/>
              <a:gd name="connsiteX14" fmla="*/ 665 w 10000"/>
              <a:gd name="connsiteY14" fmla="*/ 5294 h 10000"/>
              <a:gd name="connsiteX15" fmla="*/ 2102 w 10000"/>
              <a:gd name="connsiteY15" fmla="*/ 7634 h 10000"/>
              <a:gd name="connsiteX16" fmla="*/ 0 w 10000"/>
              <a:gd name="connsiteY16" fmla="*/ 10000 h 10000"/>
              <a:gd name="connsiteX17" fmla="*/ 418 w 10000"/>
              <a:gd name="connsiteY17" fmla="*/ 9988 h 10000"/>
              <a:gd name="connsiteX18" fmla="*/ 850 w 10000"/>
              <a:gd name="connsiteY18" fmla="*/ 9975 h 10000"/>
              <a:gd name="connsiteX19" fmla="*/ 1329 w 10000"/>
              <a:gd name="connsiteY19" fmla="*/ 9926 h 10000"/>
              <a:gd name="connsiteX20" fmla="*/ 1824 w 10000"/>
              <a:gd name="connsiteY20" fmla="*/ 9877 h 10000"/>
              <a:gd name="connsiteX21" fmla="*/ 2302 w 10000"/>
              <a:gd name="connsiteY21" fmla="*/ 9792 h 10000"/>
              <a:gd name="connsiteX22" fmla="*/ 2782 w 10000"/>
              <a:gd name="connsiteY22" fmla="*/ 9706 h 10000"/>
              <a:gd name="connsiteX23" fmla="*/ 3153 w 10000"/>
              <a:gd name="connsiteY23" fmla="*/ 9620 h 10000"/>
              <a:gd name="connsiteX24" fmla="*/ 3554 w 10000"/>
              <a:gd name="connsiteY24" fmla="*/ 9521 h 10000"/>
              <a:gd name="connsiteX25" fmla="*/ 4049 w 10000"/>
              <a:gd name="connsiteY25" fmla="*/ 9387 h 10000"/>
              <a:gd name="connsiteX26" fmla="*/ 4467 w 10000"/>
              <a:gd name="connsiteY26" fmla="*/ 9240 h 10000"/>
              <a:gd name="connsiteX27" fmla="*/ 4868 w 10000"/>
              <a:gd name="connsiteY27" fmla="*/ 9105 h 10000"/>
              <a:gd name="connsiteX28" fmla="*/ 5301 w 10000"/>
              <a:gd name="connsiteY28" fmla="*/ 8922 h 10000"/>
              <a:gd name="connsiteX29" fmla="*/ 5734 w 10000"/>
              <a:gd name="connsiteY29" fmla="*/ 8737 h 10000"/>
              <a:gd name="connsiteX30" fmla="*/ 6089 w 10000"/>
              <a:gd name="connsiteY30" fmla="*/ 8566 h 10000"/>
              <a:gd name="connsiteX31" fmla="*/ 6491 w 10000"/>
              <a:gd name="connsiteY31" fmla="*/ 8333 h 10000"/>
              <a:gd name="connsiteX32" fmla="*/ 6893 w 10000"/>
              <a:gd name="connsiteY32" fmla="*/ 8101 h 10000"/>
              <a:gd name="connsiteX33" fmla="*/ 7249 w 10000"/>
              <a:gd name="connsiteY33" fmla="*/ 7843 h 10000"/>
              <a:gd name="connsiteX34" fmla="*/ 7542 w 10000"/>
              <a:gd name="connsiteY34" fmla="*/ 7634 h 10000"/>
              <a:gd name="connsiteX35" fmla="*/ 7867 w 10000"/>
              <a:gd name="connsiteY35" fmla="*/ 7377 h 10000"/>
              <a:gd name="connsiteX36" fmla="*/ 8114 w 10000"/>
              <a:gd name="connsiteY36" fmla="*/ 7157 h 10000"/>
              <a:gd name="connsiteX37" fmla="*/ 8393 w 10000"/>
              <a:gd name="connsiteY37" fmla="*/ 6887 h 10000"/>
              <a:gd name="connsiteX38" fmla="*/ 8670 w 10000"/>
              <a:gd name="connsiteY38" fmla="*/ 6605 h 10000"/>
              <a:gd name="connsiteX39" fmla="*/ 8871 w 10000"/>
              <a:gd name="connsiteY39" fmla="*/ 6299 h 10000"/>
              <a:gd name="connsiteX40" fmla="*/ 9088 w 10000"/>
              <a:gd name="connsiteY40" fmla="*/ 6029 h 10000"/>
              <a:gd name="connsiteX41" fmla="*/ 9242 w 10000"/>
              <a:gd name="connsiteY41" fmla="*/ 5772 h 10000"/>
              <a:gd name="connsiteX42" fmla="*/ 9458 w 10000"/>
              <a:gd name="connsiteY42" fmla="*/ 5379 h 10000"/>
              <a:gd name="connsiteX43" fmla="*/ 9597 w 10000"/>
              <a:gd name="connsiteY43" fmla="*/ 5073 h 10000"/>
              <a:gd name="connsiteX44" fmla="*/ 9768 w 10000"/>
              <a:gd name="connsiteY44" fmla="*/ 4657 h 10000"/>
              <a:gd name="connsiteX45" fmla="*/ 9876 w 10000"/>
              <a:gd name="connsiteY45" fmla="*/ 4191 h 10000"/>
              <a:gd name="connsiteX46" fmla="*/ 9953 w 10000"/>
              <a:gd name="connsiteY46" fmla="*/ 3775 h 10000"/>
              <a:gd name="connsiteX47" fmla="*/ 10000 w 10000"/>
              <a:gd name="connsiteY47" fmla="*/ 3407 h 10000"/>
              <a:gd name="connsiteX48" fmla="*/ 10000 w 10000"/>
              <a:gd name="connsiteY48" fmla="*/ 3015 h 10000"/>
              <a:gd name="connsiteX49" fmla="*/ 9984 w 10000"/>
              <a:gd name="connsiteY49" fmla="*/ 2696 h 10000"/>
              <a:gd name="connsiteX50" fmla="*/ 9922 w 10000"/>
              <a:gd name="connsiteY50" fmla="*/ 2218 h 10000"/>
              <a:gd name="connsiteX51" fmla="*/ 9768 w 10000"/>
              <a:gd name="connsiteY51" fmla="*/ 1740 h 10000"/>
              <a:gd name="connsiteX52" fmla="*/ 9628 w 10000"/>
              <a:gd name="connsiteY52" fmla="*/ 1324 h 10000"/>
              <a:gd name="connsiteX53" fmla="*/ 9458 w 10000"/>
              <a:gd name="connsiteY53" fmla="*/ 980 h 10000"/>
              <a:gd name="connsiteX54" fmla="*/ 9304 w 10000"/>
              <a:gd name="connsiteY54" fmla="*/ 699 h 10000"/>
              <a:gd name="connsiteX55" fmla="*/ 9165 w 10000"/>
              <a:gd name="connsiteY55" fmla="*/ 478 h 10000"/>
              <a:gd name="connsiteX56" fmla="*/ 8994 w 10000"/>
              <a:gd name="connsiteY56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504 w 10000"/>
              <a:gd name="connsiteY4" fmla="*/ 2254 h 10000"/>
              <a:gd name="connsiteX5" fmla="*/ 2808 w 10000"/>
              <a:gd name="connsiteY5" fmla="*/ 2761 h 10000"/>
              <a:gd name="connsiteX6" fmla="*/ 2982 w 10000"/>
              <a:gd name="connsiteY6" fmla="*/ 3737 h 10000"/>
              <a:gd name="connsiteX7" fmla="*/ 2844 w 10000"/>
              <a:gd name="connsiteY7" fmla="*/ 3995 h 10000"/>
              <a:gd name="connsiteX8" fmla="*/ 2210 w 10000"/>
              <a:gd name="connsiteY8" fmla="*/ 4682 h 10000"/>
              <a:gd name="connsiteX9" fmla="*/ 1947 w 10000"/>
              <a:gd name="connsiteY9" fmla="*/ 4841 h 10000"/>
              <a:gd name="connsiteX10" fmla="*/ 1685 w 10000"/>
              <a:gd name="connsiteY10" fmla="*/ 4975 h 10000"/>
              <a:gd name="connsiteX11" fmla="*/ 1252 w 10000"/>
              <a:gd name="connsiteY11" fmla="*/ 5135 h 10000"/>
              <a:gd name="connsiteX12" fmla="*/ 819 w 10000"/>
              <a:gd name="connsiteY12" fmla="*/ 5257 h 10000"/>
              <a:gd name="connsiteX13" fmla="*/ 665 w 10000"/>
              <a:gd name="connsiteY13" fmla="*/ 5294 h 10000"/>
              <a:gd name="connsiteX14" fmla="*/ 2102 w 10000"/>
              <a:gd name="connsiteY14" fmla="*/ 7634 h 10000"/>
              <a:gd name="connsiteX15" fmla="*/ 0 w 10000"/>
              <a:gd name="connsiteY15" fmla="*/ 10000 h 10000"/>
              <a:gd name="connsiteX16" fmla="*/ 418 w 10000"/>
              <a:gd name="connsiteY16" fmla="*/ 9988 h 10000"/>
              <a:gd name="connsiteX17" fmla="*/ 850 w 10000"/>
              <a:gd name="connsiteY17" fmla="*/ 9975 h 10000"/>
              <a:gd name="connsiteX18" fmla="*/ 1329 w 10000"/>
              <a:gd name="connsiteY18" fmla="*/ 9926 h 10000"/>
              <a:gd name="connsiteX19" fmla="*/ 1824 w 10000"/>
              <a:gd name="connsiteY19" fmla="*/ 9877 h 10000"/>
              <a:gd name="connsiteX20" fmla="*/ 2302 w 10000"/>
              <a:gd name="connsiteY20" fmla="*/ 9792 h 10000"/>
              <a:gd name="connsiteX21" fmla="*/ 2782 w 10000"/>
              <a:gd name="connsiteY21" fmla="*/ 9706 h 10000"/>
              <a:gd name="connsiteX22" fmla="*/ 3153 w 10000"/>
              <a:gd name="connsiteY22" fmla="*/ 9620 h 10000"/>
              <a:gd name="connsiteX23" fmla="*/ 3554 w 10000"/>
              <a:gd name="connsiteY23" fmla="*/ 9521 h 10000"/>
              <a:gd name="connsiteX24" fmla="*/ 4049 w 10000"/>
              <a:gd name="connsiteY24" fmla="*/ 9387 h 10000"/>
              <a:gd name="connsiteX25" fmla="*/ 4467 w 10000"/>
              <a:gd name="connsiteY25" fmla="*/ 9240 h 10000"/>
              <a:gd name="connsiteX26" fmla="*/ 4868 w 10000"/>
              <a:gd name="connsiteY26" fmla="*/ 9105 h 10000"/>
              <a:gd name="connsiteX27" fmla="*/ 5301 w 10000"/>
              <a:gd name="connsiteY27" fmla="*/ 8922 h 10000"/>
              <a:gd name="connsiteX28" fmla="*/ 5734 w 10000"/>
              <a:gd name="connsiteY28" fmla="*/ 8737 h 10000"/>
              <a:gd name="connsiteX29" fmla="*/ 6089 w 10000"/>
              <a:gd name="connsiteY29" fmla="*/ 8566 h 10000"/>
              <a:gd name="connsiteX30" fmla="*/ 6491 w 10000"/>
              <a:gd name="connsiteY30" fmla="*/ 8333 h 10000"/>
              <a:gd name="connsiteX31" fmla="*/ 6893 w 10000"/>
              <a:gd name="connsiteY31" fmla="*/ 8101 h 10000"/>
              <a:gd name="connsiteX32" fmla="*/ 7249 w 10000"/>
              <a:gd name="connsiteY32" fmla="*/ 7843 h 10000"/>
              <a:gd name="connsiteX33" fmla="*/ 7542 w 10000"/>
              <a:gd name="connsiteY33" fmla="*/ 7634 h 10000"/>
              <a:gd name="connsiteX34" fmla="*/ 7867 w 10000"/>
              <a:gd name="connsiteY34" fmla="*/ 7377 h 10000"/>
              <a:gd name="connsiteX35" fmla="*/ 8114 w 10000"/>
              <a:gd name="connsiteY35" fmla="*/ 7157 h 10000"/>
              <a:gd name="connsiteX36" fmla="*/ 8393 w 10000"/>
              <a:gd name="connsiteY36" fmla="*/ 6887 h 10000"/>
              <a:gd name="connsiteX37" fmla="*/ 8670 w 10000"/>
              <a:gd name="connsiteY37" fmla="*/ 6605 h 10000"/>
              <a:gd name="connsiteX38" fmla="*/ 8871 w 10000"/>
              <a:gd name="connsiteY38" fmla="*/ 6299 h 10000"/>
              <a:gd name="connsiteX39" fmla="*/ 9088 w 10000"/>
              <a:gd name="connsiteY39" fmla="*/ 6029 h 10000"/>
              <a:gd name="connsiteX40" fmla="*/ 9242 w 10000"/>
              <a:gd name="connsiteY40" fmla="*/ 5772 h 10000"/>
              <a:gd name="connsiteX41" fmla="*/ 9458 w 10000"/>
              <a:gd name="connsiteY41" fmla="*/ 5379 h 10000"/>
              <a:gd name="connsiteX42" fmla="*/ 9597 w 10000"/>
              <a:gd name="connsiteY42" fmla="*/ 5073 h 10000"/>
              <a:gd name="connsiteX43" fmla="*/ 9768 w 10000"/>
              <a:gd name="connsiteY43" fmla="*/ 4657 h 10000"/>
              <a:gd name="connsiteX44" fmla="*/ 9876 w 10000"/>
              <a:gd name="connsiteY44" fmla="*/ 4191 h 10000"/>
              <a:gd name="connsiteX45" fmla="*/ 9953 w 10000"/>
              <a:gd name="connsiteY45" fmla="*/ 3775 h 10000"/>
              <a:gd name="connsiteX46" fmla="*/ 10000 w 10000"/>
              <a:gd name="connsiteY46" fmla="*/ 3407 h 10000"/>
              <a:gd name="connsiteX47" fmla="*/ 10000 w 10000"/>
              <a:gd name="connsiteY47" fmla="*/ 3015 h 10000"/>
              <a:gd name="connsiteX48" fmla="*/ 9984 w 10000"/>
              <a:gd name="connsiteY48" fmla="*/ 2696 h 10000"/>
              <a:gd name="connsiteX49" fmla="*/ 9922 w 10000"/>
              <a:gd name="connsiteY49" fmla="*/ 2218 h 10000"/>
              <a:gd name="connsiteX50" fmla="*/ 9768 w 10000"/>
              <a:gd name="connsiteY50" fmla="*/ 1740 h 10000"/>
              <a:gd name="connsiteX51" fmla="*/ 9628 w 10000"/>
              <a:gd name="connsiteY51" fmla="*/ 1324 h 10000"/>
              <a:gd name="connsiteX52" fmla="*/ 9458 w 10000"/>
              <a:gd name="connsiteY52" fmla="*/ 980 h 10000"/>
              <a:gd name="connsiteX53" fmla="*/ 9304 w 10000"/>
              <a:gd name="connsiteY53" fmla="*/ 699 h 10000"/>
              <a:gd name="connsiteX54" fmla="*/ 9165 w 10000"/>
              <a:gd name="connsiteY54" fmla="*/ 478 h 10000"/>
              <a:gd name="connsiteX55" fmla="*/ 8994 w 10000"/>
              <a:gd name="connsiteY55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504 w 10000"/>
              <a:gd name="connsiteY4" fmla="*/ 2254 h 10000"/>
              <a:gd name="connsiteX5" fmla="*/ 2808 w 10000"/>
              <a:gd name="connsiteY5" fmla="*/ 2761 h 10000"/>
              <a:gd name="connsiteX6" fmla="*/ 2982 w 10000"/>
              <a:gd name="connsiteY6" fmla="*/ 3737 h 10000"/>
              <a:gd name="connsiteX7" fmla="*/ 2844 w 10000"/>
              <a:gd name="connsiteY7" fmla="*/ 3995 h 10000"/>
              <a:gd name="connsiteX8" fmla="*/ 1947 w 10000"/>
              <a:gd name="connsiteY8" fmla="*/ 4841 h 10000"/>
              <a:gd name="connsiteX9" fmla="*/ 1685 w 10000"/>
              <a:gd name="connsiteY9" fmla="*/ 4975 h 10000"/>
              <a:gd name="connsiteX10" fmla="*/ 1252 w 10000"/>
              <a:gd name="connsiteY10" fmla="*/ 5135 h 10000"/>
              <a:gd name="connsiteX11" fmla="*/ 819 w 10000"/>
              <a:gd name="connsiteY11" fmla="*/ 5257 h 10000"/>
              <a:gd name="connsiteX12" fmla="*/ 665 w 10000"/>
              <a:gd name="connsiteY12" fmla="*/ 5294 h 10000"/>
              <a:gd name="connsiteX13" fmla="*/ 2102 w 10000"/>
              <a:gd name="connsiteY13" fmla="*/ 7634 h 10000"/>
              <a:gd name="connsiteX14" fmla="*/ 0 w 10000"/>
              <a:gd name="connsiteY14" fmla="*/ 10000 h 10000"/>
              <a:gd name="connsiteX15" fmla="*/ 418 w 10000"/>
              <a:gd name="connsiteY15" fmla="*/ 9988 h 10000"/>
              <a:gd name="connsiteX16" fmla="*/ 850 w 10000"/>
              <a:gd name="connsiteY16" fmla="*/ 9975 h 10000"/>
              <a:gd name="connsiteX17" fmla="*/ 1329 w 10000"/>
              <a:gd name="connsiteY17" fmla="*/ 9926 h 10000"/>
              <a:gd name="connsiteX18" fmla="*/ 1824 w 10000"/>
              <a:gd name="connsiteY18" fmla="*/ 9877 h 10000"/>
              <a:gd name="connsiteX19" fmla="*/ 2302 w 10000"/>
              <a:gd name="connsiteY19" fmla="*/ 9792 h 10000"/>
              <a:gd name="connsiteX20" fmla="*/ 2782 w 10000"/>
              <a:gd name="connsiteY20" fmla="*/ 9706 h 10000"/>
              <a:gd name="connsiteX21" fmla="*/ 3153 w 10000"/>
              <a:gd name="connsiteY21" fmla="*/ 9620 h 10000"/>
              <a:gd name="connsiteX22" fmla="*/ 3554 w 10000"/>
              <a:gd name="connsiteY22" fmla="*/ 9521 h 10000"/>
              <a:gd name="connsiteX23" fmla="*/ 4049 w 10000"/>
              <a:gd name="connsiteY23" fmla="*/ 9387 h 10000"/>
              <a:gd name="connsiteX24" fmla="*/ 4467 w 10000"/>
              <a:gd name="connsiteY24" fmla="*/ 9240 h 10000"/>
              <a:gd name="connsiteX25" fmla="*/ 4868 w 10000"/>
              <a:gd name="connsiteY25" fmla="*/ 9105 h 10000"/>
              <a:gd name="connsiteX26" fmla="*/ 5301 w 10000"/>
              <a:gd name="connsiteY26" fmla="*/ 8922 h 10000"/>
              <a:gd name="connsiteX27" fmla="*/ 5734 w 10000"/>
              <a:gd name="connsiteY27" fmla="*/ 8737 h 10000"/>
              <a:gd name="connsiteX28" fmla="*/ 6089 w 10000"/>
              <a:gd name="connsiteY28" fmla="*/ 8566 h 10000"/>
              <a:gd name="connsiteX29" fmla="*/ 6491 w 10000"/>
              <a:gd name="connsiteY29" fmla="*/ 8333 h 10000"/>
              <a:gd name="connsiteX30" fmla="*/ 6893 w 10000"/>
              <a:gd name="connsiteY30" fmla="*/ 8101 h 10000"/>
              <a:gd name="connsiteX31" fmla="*/ 7249 w 10000"/>
              <a:gd name="connsiteY31" fmla="*/ 7843 h 10000"/>
              <a:gd name="connsiteX32" fmla="*/ 7542 w 10000"/>
              <a:gd name="connsiteY32" fmla="*/ 7634 h 10000"/>
              <a:gd name="connsiteX33" fmla="*/ 7867 w 10000"/>
              <a:gd name="connsiteY33" fmla="*/ 7377 h 10000"/>
              <a:gd name="connsiteX34" fmla="*/ 8114 w 10000"/>
              <a:gd name="connsiteY34" fmla="*/ 7157 h 10000"/>
              <a:gd name="connsiteX35" fmla="*/ 8393 w 10000"/>
              <a:gd name="connsiteY35" fmla="*/ 6887 h 10000"/>
              <a:gd name="connsiteX36" fmla="*/ 8670 w 10000"/>
              <a:gd name="connsiteY36" fmla="*/ 6605 h 10000"/>
              <a:gd name="connsiteX37" fmla="*/ 8871 w 10000"/>
              <a:gd name="connsiteY37" fmla="*/ 6299 h 10000"/>
              <a:gd name="connsiteX38" fmla="*/ 9088 w 10000"/>
              <a:gd name="connsiteY38" fmla="*/ 6029 h 10000"/>
              <a:gd name="connsiteX39" fmla="*/ 9242 w 10000"/>
              <a:gd name="connsiteY39" fmla="*/ 5772 h 10000"/>
              <a:gd name="connsiteX40" fmla="*/ 9458 w 10000"/>
              <a:gd name="connsiteY40" fmla="*/ 5379 h 10000"/>
              <a:gd name="connsiteX41" fmla="*/ 9597 w 10000"/>
              <a:gd name="connsiteY41" fmla="*/ 5073 h 10000"/>
              <a:gd name="connsiteX42" fmla="*/ 9768 w 10000"/>
              <a:gd name="connsiteY42" fmla="*/ 4657 h 10000"/>
              <a:gd name="connsiteX43" fmla="*/ 9876 w 10000"/>
              <a:gd name="connsiteY43" fmla="*/ 4191 h 10000"/>
              <a:gd name="connsiteX44" fmla="*/ 9953 w 10000"/>
              <a:gd name="connsiteY44" fmla="*/ 3775 h 10000"/>
              <a:gd name="connsiteX45" fmla="*/ 10000 w 10000"/>
              <a:gd name="connsiteY45" fmla="*/ 3407 h 10000"/>
              <a:gd name="connsiteX46" fmla="*/ 10000 w 10000"/>
              <a:gd name="connsiteY46" fmla="*/ 3015 h 10000"/>
              <a:gd name="connsiteX47" fmla="*/ 9984 w 10000"/>
              <a:gd name="connsiteY47" fmla="*/ 2696 h 10000"/>
              <a:gd name="connsiteX48" fmla="*/ 9922 w 10000"/>
              <a:gd name="connsiteY48" fmla="*/ 2218 h 10000"/>
              <a:gd name="connsiteX49" fmla="*/ 9768 w 10000"/>
              <a:gd name="connsiteY49" fmla="*/ 1740 h 10000"/>
              <a:gd name="connsiteX50" fmla="*/ 9628 w 10000"/>
              <a:gd name="connsiteY50" fmla="*/ 1324 h 10000"/>
              <a:gd name="connsiteX51" fmla="*/ 9458 w 10000"/>
              <a:gd name="connsiteY51" fmla="*/ 980 h 10000"/>
              <a:gd name="connsiteX52" fmla="*/ 9304 w 10000"/>
              <a:gd name="connsiteY52" fmla="*/ 699 h 10000"/>
              <a:gd name="connsiteX53" fmla="*/ 9165 w 10000"/>
              <a:gd name="connsiteY53" fmla="*/ 478 h 10000"/>
              <a:gd name="connsiteX54" fmla="*/ 8994 w 10000"/>
              <a:gd name="connsiteY54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504 w 10000"/>
              <a:gd name="connsiteY4" fmla="*/ 2254 h 10000"/>
              <a:gd name="connsiteX5" fmla="*/ 2808 w 10000"/>
              <a:gd name="connsiteY5" fmla="*/ 2761 h 10000"/>
              <a:gd name="connsiteX6" fmla="*/ 2991 w 10000"/>
              <a:gd name="connsiteY6" fmla="*/ 3677 h 10000"/>
              <a:gd name="connsiteX7" fmla="*/ 2844 w 10000"/>
              <a:gd name="connsiteY7" fmla="*/ 3995 h 10000"/>
              <a:gd name="connsiteX8" fmla="*/ 1947 w 10000"/>
              <a:gd name="connsiteY8" fmla="*/ 4841 h 10000"/>
              <a:gd name="connsiteX9" fmla="*/ 1685 w 10000"/>
              <a:gd name="connsiteY9" fmla="*/ 4975 h 10000"/>
              <a:gd name="connsiteX10" fmla="*/ 1252 w 10000"/>
              <a:gd name="connsiteY10" fmla="*/ 5135 h 10000"/>
              <a:gd name="connsiteX11" fmla="*/ 819 w 10000"/>
              <a:gd name="connsiteY11" fmla="*/ 5257 h 10000"/>
              <a:gd name="connsiteX12" fmla="*/ 665 w 10000"/>
              <a:gd name="connsiteY12" fmla="*/ 5294 h 10000"/>
              <a:gd name="connsiteX13" fmla="*/ 2102 w 10000"/>
              <a:gd name="connsiteY13" fmla="*/ 7634 h 10000"/>
              <a:gd name="connsiteX14" fmla="*/ 0 w 10000"/>
              <a:gd name="connsiteY14" fmla="*/ 10000 h 10000"/>
              <a:gd name="connsiteX15" fmla="*/ 418 w 10000"/>
              <a:gd name="connsiteY15" fmla="*/ 9988 h 10000"/>
              <a:gd name="connsiteX16" fmla="*/ 850 w 10000"/>
              <a:gd name="connsiteY16" fmla="*/ 9975 h 10000"/>
              <a:gd name="connsiteX17" fmla="*/ 1329 w 10000"/>
              <a:gd name="connsiteY17" fmla="*/ 9926 h 10000"/>
              <a:gd name="connsiteX18" fmla="*/ 1824 w 10000"/>
              <a:gd name="connsiteY18" fmla="*/ 9877 h 10000"/>
              <a:gd name="connsiteX19" fmla="*/ 2302 w 10000"/>
              <a:gd name="connsiteY19" fmla="*/ 9792 h 10000"/>
              <a:gd name="connsiteX20" fmla="*/ 2782 w 10000"/>
              <a:gd name="connsiteY20" fmla="*/ 9706 h 10000"/>
              <a:gd name="connsiteX21" fmla="*/ 3153 w 10000"/>
              <a:gd name="connsiteY21" fmla="*/ 9620 h 10000"/>
              <a:gd name="connsiteX22" fmla="*/ 3554 w 10000"/>
              <a:gd name="connsiteY22" fmla="*/ 9521 h 10000"/>
              <a:gd name="connsiteX23" fmla="*/ 4049 w 10000"/>
              <a:gd name="connsiteY23" fmla="*/ 9387 h 10000"/>
              <a:gd name="connsiteX24" fmla="*/ 4467 w 10000"/>
              <a:gd name="connsiteY24" fmla="*/ 9240 h 10000"/>
              <a:gd name="connsiteX25" fmla="*/ 4868 w 10000"/>
              <a:gd name="connsiteY25" fmla="*/ 9105 h 10000"/>
              <a:gd name="connsiteX26" fmla="*/ 5301 w 10000"/>
              <a:gd name="connsiteY26" fmla="*/ 8922 h 10000"/>
              <a:gd name="connsiteX27" fmla="*/ 5734 w 10000"/>
              <a:gd name="connsiteY27" fmla="*/ 8737 h 10000"/>
              <a:gd name="connsiteX28" fmla="*/ 6089 w 10000"/>
              <a:gd name="connsiteY28" fmla="*/ 8566 h 10000"/>
              <a:gd name="connsiteX29" fmla="*/ 6491 w 10000"/>
              <a:gd name="connsiteY29" fmla="*/ 8333 h 10000"/>
              <a:gd name="connsiteX30" fmla="*/ 6893 w 10000"/>
              <a:gd name="connsiteY30" fmla="*/ 8101 h 10000"/>
              <a:gd name="connsiteX31" fmla="*/ 7249 w 10000"/>
              <a:gd name="connsiteY31" fmla="*/ 7843 h 10000"/>
              <a:gd name="connsiteX32" fmla="*/ 7542 w 10000"/>
              <a:gd name="connsiteY32" fmla="*/ 7634 h 10000"/>
              <a:gd name="connsiteX33" fmla="*/ 7867 w 10000"/>
              <a:gd name="connsiteY33" fmla="*/ 7377 h 10000"/>
              <a:gd name="connsiteX34" fmla="*/ 8114 w 10000"/>
              <a:gd name="connsiteY34" fmla="*/ 7157 h 10000"/>
              <a:gd name="connsiteX35" fmla="*/ 8393 w 10000"/>
              <a:gd name="connsiteY35" fmla="*/ 6887 h 10000"/>
              <a:gd name="connsiteX36" fmla="*/ 8670 w 10000"/>
              <a:gd name="connsiteY36" fmla="*/ 6605 h 10000"/>
              <a:gd name="connsiteX37" fmla="*/ 8871 w 10000"/>
              <a:gd name="connsiteY37" fmla="*/ 6299 h 10000"/>
              <a:gd name="connsiteX38" fmla="*/ 9088 w 10000"/>
              <a:gd name="connsiteY38" fmla="*/ 6029 h 10000"/>
              <a:gd name="connsiteX39" fmla="*/ 9242 w 10000"/>
              <a:gd name="connsiteY39" fmla="*/ 5772 h 10000"/>
              <a:gd name="connsiteX40" fmla="*/ 9458 w 10000"/>
              <a:gd name="connsiteY40" fmla="*/ 5379 h 10000"/>
              <a:gd name="connsiteX41" fmla="*/ 9597 w 10000"/>
              <a:gd name="connsiteY41" fmla="*/ 5073 h 10000"/>
              <a:gd name="connsiteX42" fmla="*/ 9768 w 10000"/>
              <a:gd name="connsiteY42" fmla="*/ 4657 h 10000"/>
              <a:gd name="connsiteX43" fmla="*/ 9876 w 10000"/>
              <a:gd name="connsiteY43" fmla="*/ 4191 h 10000"/>
              <a:gd name="connsiteX44" fmla="*/ 9953 w 10000"/>
              <a:gd name="connsiteY44" fmla="*/ 3775 h 10000"/>
              <a:gd name="connsiteX45" fmla="*/ 10000 w 10000"/>
              <a:gd name="connsiteY45" fmla="*/ 3407 h 10000"/>
              <a:gd name="connsiteX46" fmla="*/ 10000 w 10000"/>
              <a:gd name="connsiteY46" fmla="*/ 3015 h 10000"/>
              <a:gd name="connsiteX47" fmla="*/ 9984 w 10000"/>
              <a:gd name="connsiteY47" fmla="*/ 2696 h 10000"/>
              <a:gd name="connsiteX48" fmla="*/ 9922 w 10000"/>
              <a:gd name="connsiteY48" fmla="*/ 2218 h 10000"/>
              <a:gd name="connsiteX49" fmla="*/ 9768 w 10000"/>
              <a:gd name="connsiteY49" fmla="*/ 1740 h 10000"/>
              <a:gd name="connsiteX50" fmla="*/ 9628 w 10000"/>
              <a:gd name="connsiteY50" fmla="*/ 1324 h 10000"/>
              <a:gd name="connsiteX51" fmla="*/ 9458 w 10000"/>
              <a:gd name="connsiteY51" fmla="*/ 980 h 10000"/>
              <a:gd name="connsiteX52" fmla="*/ 9304 w 10000"/>
              <a:gd name="connsiteY52" fmla="*/ 699 h 10000"/>
              <a:gd name="connsiteX53" fmla="*/ 9165 w 10000"/>
              <a:gd name="connsiteY53" fmla="*/ 478 h 10000"/>
              <a:gd name="connsiteX54" fmla="*/ 8994 w 10000"/>
              <a:gd name="connsiteY54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504 w 10000"/>
              <a:gd name="connsiteY4" fmla="*/ 2254 h 10000"/>
              <a:gd name="connsiteX5" fmla="*/ 2808 w 10000"/>
              <a:gd name="connsiteY5" fmla="*/ 2761 h 10000"/>
              <a:gd name="connsiteX6" fmla="*/ 2844 w 10000"/>
              <a:gd name="connsiteY6" fmla="*/ 3995 h 10000"/>
              <a:gd name="connsiteX7" fmla="*/ 1947 w 10000"/>
              <a:gd name="connsiteY7" fmla="*/ 4841 h 10000"/>
              <a:gd name="connsiteX8" fmla="*/ 1685 w 10000"/>
              <a:gd name="connsiteY8" fmla="*/ 4975 h 10000"/>
              <a:gd name="connsiteX9" fmla="*/ 1252 w 10000"/>
              <a:gd name="connsiteY9" fmla="*/ 5135 h 10000"/>
              <a:gd name="connsiteX10" fmla="*/ 819 w 10000"/>
              <a:gd name="connsiteY10" fmla="*/ 5257 h 10000"/>
              <a:gd name="connsiteX11" fmla="*/ 665 w 10000"/>
              <a:gd name="connsiteY11" fmla="*/ 5294 h 10000"/>
              <a:gd name="connsiteX12" fmla="*/ 2102 w 10000"/>
              <a:gd name="connsiteY12" fmla="*/ 7634 h 10000"/>
              <a:gd name="connsiteX13" fmla="*/ 0 w 10000"/>
              <a:gd name="connsiteY13" fmla="*/ 10000 h 10000"/>
              <a:gd name="connsiteX14" fmla="*/ 418 w 10000"/>
              <a:gd name="connsiteY14" fmla="*/ 9988 h 10000"/>
              <a:gd name="connsiteX15" fmla="*/ 850 w 10000"/>
              <a:gd name="connsiteY15" fmla="*/ 9975 h 10000"/>
              <a:gd name="connsiteX16" fmla="*/ 1329 w 10000"/>
              <a:gd name="connsiteY16" fmla="*/ 9926 h 10000"/>
              <a:gd name="connsiteX17" fmla="*/ 1824 w 10000"/>
              <a:gd name="connsiteY17" fmla="*/ 9877 h 10000"/>
              <a:gd name="connsiteX18" fmla="*/ 2302 w 10000"/>
              <a:gd name="connsiteY18" fmla="*/ 9792 h 10000"/>
              <a:gd name="connsiteX19" fmla="*/ 2782 w 10000"/>
              <a:gd name="connsiteY19" fmla="*/ 9706 h 10000"/>
              <a:gd name="connsiteX20" fmla="*/ 3153 w 10000"/>
              <a:gd name="connsiteY20" fmla="*/ 9620 h 10000"/>
              <a:gd name="connsiteX21" fmla="*/ 3554 w 10000"/>
              <a:gd name="connsiteY21" fmla="*/ 9521 h 10000"/>
              <a:gd name="connsiteX22" fmla="*/ 4049 w 10000"/>
              <a:gd name="connsiteY22" fmla="*/ 9387 h 10000"/>
              <a:gd name="connsiteX23" fmla="*/ 4467 w 10000"/>
              <a:gd name="connsiteY23" fmla="*/ 9240 h 10000"/>
              <a:gd name="connsiteX24" fmla="*/ 4868 w 10000"/>
              <a:gd name="connsiteY24" fmla="*/ 9105 h 10000"/>
              <a:gd name="connsiteX25" fmla="*/ 5301 w 10000"/>
              <a:gd name="connsiteY25" fmla="*/ 8922 h 10000"/>
              <a:gd name="connsiteX26" fmla="*/ 5734 w 10000"/>
              <a:gd name="connsiteY26" fmla="*/ 8737 h 10000"/>
              <a:gd name="connsiteX27" fmla="*/ 6089 w 10000"/>
              <a:gd name="connsiteY27" fmla="*/ 8566 h 10000"/>
              <a:gd name="connsiteX28" fmla="*/ 6491 w 10000"/>
              <a:gd name="connsiteY28" fmla="*/ 8333 h 10000"/>
              <a:gd name="connsiteX29" fmla="*/ 6893 w 10000"/>
              <a:gd name="connsiteY29" fmla="*/ 8101 h 10000"/>
              <a:gd name="connsiteX30" fmla="*/ 7249 w 10000"/>
              <a:gd name="connsiteY30" fmla="*/ 7843 h 10000"/>
              <a:gd name="connsiteX31" fmla="*/ 7542 w 10000"/>
              <a:gd name="connsiteY31" fmla="*/ 7634 h 10000"/>
              <a:gd name="connsiteX32" fmla="*/ 7867 w 10000"/>
              <a:gd name="connsiteY32" fmla="*/ 7377 h 10000"/>
              <a:gd name="connsiteX33" fmla="*/ 8114 w 10000"/>
              <a:gd name="connsiteY33" fmla="*/ 7157 h 10000"/>
              <a:gd name="connsiteX34" fmla="*/ 8393 w 10000"/>
              <a:gd name="connsiteY34" fmla="*/ 6887 h 10000"/>
              <a:gd name="connsiteX35" fmla="*/ 8670 w 10000"/>
              <a:gd name="connsiteY35" fmla="*/ 6605 h 10000"/>
              <a:gd name="connsiteX36" fmla="*/ 8871 w 10000"/>
              <a:gd name="connsiteY36" fmla="*/ 6299 h 10000"/>
              <a:gd name="connsiteX37" fmla="*/ 9088 w 10000"/>
              <a:gd name="connsiteY37" fmla="*/ 6029 h 10000"/>
              <a:gd name="connsiteX38" fmla="*/ 9242 w 10000"/>
              <a:gd name="connsiteY38" fmla="*/ 5772 h 10000"/>
              <a:gd name="connsiteX39" fmla="*/ 9458 w 10000"/>
              <a:gd name="connsiteY39" fmla="*/ 5379 h 10000"/>
              <a:gd name="connsiteX40" fmla="*/ 9597 w 10000"/>
              <a:gd name="connsiteY40" fmla="*/ 5073 h 10000"/>
              <a:gd name="connsiteX41" fmla="*/ 9768 w 10000"/>
              <a:gd name="connsiteY41" fmla="*/ 4657 h 10000"/>
              <a:gd name="connsiteX42" fmla="*/ 9876 w 10000"/>
              <a:gd name="connsiteY42" fmla="*/ 4191 h 10000"/>
              <a:gd name="connsiteX43" fmla="*/ 9953 w 10000"/>
              <a:gd name="connsiteY43" fmla="*/ 3775 h 10000"/>
              <a:gd name="connsiteX44" fmla="*/ 10000 w 10000"/>
              <a:gd name="connsiteY44" fmla="*/ 3407 h 10000"/>
              <a:gd name="connsiteX45" fmla="*/ 10000 w 10000"/>
              <a:gd name="connsiteY45" fmla="*/ 3015 h 10000"/>
              <a:gd name="connsiteX46" fmla="*/ 9984 w 10000"/>
              <a:gd name="connsiteY46" fmla="*/ 2696 h 10000"/>
              <a:gd name="connsiteX47" fmla="*/ 9922 w 10000"/>
              <a:gd name="connsiteY47" fmla="*/ 2218 h 10000"/>
              <a:gd name="connsiteX48" fmla="*/ 9768 w 10000"/>
              <a:gd name="connsiteY48" fmla="*/ 1740 h 10000"/>
              <a:gd name="connsiteX49" fmla="*/ 9628 w 10000"/>
              <a:gd name="connsiteY49" fmla="*/ 1324 h 10000"/>
              <a:gd name="connsiteX50" fmla="*/ 9458 w 10000"/>
              <a:gd name="connsiteY50" fmla="*/ 980 h 10000"/>
              <a:gd name="connsiteX51" fmla="*/ 9304 w 10000"/>
              <a:gd name="connsiteY51" fmla="*/ 699 h 10000"/>
              <a:gd name="connsiteX52" fmla="*/ 9165 w 10000"/>
              <a:gd name="connsiteY52" fmla="*/ 478 h 10000"/>
              <a:gd name="connsiteX53" fmla="*/ 8994 w 10000"/>
              <a:gd name="connsiteY53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504 w 10000"/>
              <a:gd name="connsiteY4" fmla="*/ 2254 h 10000"/>
              <a:gd name="connsiteX5" fmla="*/ 2808 w 10000"/>
              <a:gd name="connsiteY5" fmla="*/ 2761 h 10000"/>
              <a:gd name="connsiteX6" fmla="*/ 1947 w 10000"/>
              <a:gd name="connsiteY6" fmla="*/ 4841 h 10000"/>
              <a:gd name="connsiteX7" fmla="*/ 1685 w 10000"/>
              <a:gd name="connsiteY7" fmla="*/ 4975 h 10000"/>
              <a:gd name="connsiteX8" fmla="*/ 1252 w 10000"/>
              <a:gd name="connsiteY8" fmla="*/ 5135 h 10000"/>
              <a:gd name="connsiteX9" fmla="*/ 819 w 10000"/>
              <a:gd name="connsiteY9" fmla="*/ 5257 h 10000"/>
              <a:gd name="connsiteX10" fmla="*/ 665 w 10000"/>
              <a:gd name="connsiteY10" fmla="*/ 5294 h 10000"/>
              <a:gd name="connsiteX11" fmla="*/ 2102 w 10000"/>
              <a:gd name="connsiteY11" fmla="*/ 7634 h 10000"/>
              <a:gd name="connsiteX12" fmla="*/ 0 w 10000"/>
              <a:gd name="connsiteY12" fmla="*/ 10000 h 10000"/>
              <a:gd name="connsiteX13" fmla="*/ 418 w 10000"/>
              <a:gd name="connsiteY13" fmla="*/ 9988 h 10000"/>
              <a:gd name="connsiteX14" fmla="*/ 850 w 10000"/>
              <a:gd name="connsiteY14" fmla="*/ 9975 h 10000"/>
              <a:gd name="connsiteX15" fmla="*/ 1329 w 10000"/>
              <a:gd name="connsiteY15" fmla="*/ 9926 h 10000"/>
              <a:gd name="connsiteX16" fmla="*/ 1824 w 10000"/>
              <a:gd name="connsiteY16" fmla="*/ 9877 h 10000"/>
              <a:gd name="connsiteX17" fmla="*/ 2302 w 10000"/>
              <a:gd name="connsiteY17" fmla="*/ 9792 h 10000"/>
              <a:gd name="connsiteX18" fmla="*/ 2782 w 10000"/>
              <a:gd name="connsiteY18" fmla="*/ 9706 h 10000"/>
              <a:gd name="connsiteX19" fmla="*/ 3153 w 10000"/>
              <a:gd name="connsiteY19" fmla="*/ 9620 h 10000"/>
              <a:gd name="connsiteX20" fmla="*/ 3554 w 10000"/>
              <a:gd name="connsiteY20" fmla="*/ 9521 h 10000"/>
              <a:gd name="connsiteX21" fmla="*/ 4049 w 10000"/>
              <a:gd name="connsiteY21" fmla="*/ 9387 h 10000"/>
              <a:gd name="connsiteX22" fmla="*/ 4467 w 10000"/>
              <a:gd name="connsiteY22" fmla="*/ 9240 h 10000"/>
              <a:gd name="connsiteX23" fmla="*/ 4868 w 10000"/>
              <a:gd name="connsiteY23" fmla="*/ 9105 h 10000"/>
              <a:gd name="connsiteX24" fmla="*/ 5301 w 10000"/>
              <a:gd name="connsiteY24" fmla="*/ 8922 h 10000"/>
              <a:gd name="connsiteX25" fmla="*/ 5734 w 10000"/>
              <a:gd name="connsiteY25" fmla="*/ 8737 h 10000"/>
              <a:gd name="connsiteX26" fmla="*/ 6089 w 10000"/>
              <a:gd name="connsiteY26" fmla="*/ 8566 h 10000"/>
              <a:gd name="connsiteX27" fmla="*/ 6491 w 10000"/>
              <a:gd name="connsiteY27" fmla="*/ 8333 h 10000"/>
              <a:gd name="connsiteX28" fmla="*/ 6893 w 10000"/>
              <a:gd name="connsiteY28" fmla="*/ 8101 h 10000"/>
              <a:gd name="connsiteX29" fmla="*/ 7249 w 10000"/>
              <a:gd name="connsiteY29" fmla="*/ 7843 h 10000"/>
              <a:gd name="connsiteX30" fmla="*/ 7542 w 10000"/>
              <a:gd name="connsiteY30" fmla="*/ 7634 h 10000"/>
              <a:gd name="connsiteX31" fmla="*/ 7867 w 10000"/>
              <a:gd name="connsiteY31" fmla="*/ 7377 h 10000"/>
              <a:gd name="connsiteX32" fmla="*/ 8114 w 10000"/>
              <a:gd name="connsiteY32" fmla="*/ 7157 h 10000"/>
              <a:gd name="connsiteX33" fmla="*/ 8393 w 10000"/>
              <a:gd name="connsiteY33" fmla="*/ 6887 h 10000"/>
              <a:gd name="connsiteX34" fmla="*/ 8670 w 10000"/>
              <a:gd name="connsiteY34" fmla="*/ 6605 h 10000"/>
              <a:gd name="connsiteX35" fmla="*/ 8871 w 10000"/>
              <a:gd name="connsiteY35" fmla="*/ 6299 h 10000"/>
              <a:gd name="connsiteX36" fmla="*/ 9088 w 10000"/>
              <a:gd name="connsiteY36" fmla="*/ 6029 h 10000"/>
              <a:gd name="connsiteX37" fmla="*/ 9242 w 10000"/>
              <a:gd name="connsiteY37" fmla="*/ 5772 h 10000"/>
              <a:gd name="connsiteX38" fmla="*/ 9458 w 10000"/>
              <a:gd name="connsiteY38" fmla="*/ 5379 h 10000"/>
              <a:gd name="connsiteX39" fmla="*/ 9597 w 10000"/>
              <a:gd name="connsiteY39" fmla="*/ 5073 h 10000"/>
              <a:gd name="connsiteX40" fmla="*/ 9768 w 10000"/>
              <a:gd name="connsiteY40" fmla="*/ 4657 h 10000"/>
              <a:gd name="connsiteX41" fmla="*/ 9876 w 10000"/>
              <a:gd name="connsiteY41" fmla="*/ 4191 h 10000"/>
              <a:gd name="connsiteX42" fmla="*/ 9953 w 10000"/>
              <a:gd name="connsiteY42" fmla="*/ 3775 h 10000"/>
              <a:gd name="connsiteX43" fmla="*/ 10000 w 10000"/>
              <a:gd name="connsiteY43" fmla="*/ 3407 h 10000"/>
              <a:gd name="connsiteX44" fmla="*/ 10000 w 10000"/>
              <a:gd name="connsiteY44" fmla="*/ 3015 h 10000"/>
              <a:gd name="connsiteX45" fmla="*/ 9984 w 10000"/>
              <a:gd name="connsiteY45" fmla="*/ 2696 h 10000"/>
              <a:gd name="connsiteX46" fmla="*/ 9922 w 10000"/>
              <a:gd name="connsiteY46" fmla="*/ 2218 h 10000"/>
              <a:gd name="connsiteX47" fmla="*/ 9768 w 10000"/>
              <a:gd name="connsiteY47" fmla="*/ 1740 h 10000"/>
              <a:gd name="connsiteX48" fmla="*/ 9628 w 10000"/>
              <a:gd name="connsiteY48" fmla="*/ 1324 h 10000"/>
              <a:gd name="connsiteX49" fmla="*/ 9458 w 10000"/>
              <a:gd name="connsiteY49" fmla="*/ 980 h 10000"/>
              <a:gd name="connsiteX50" fmla="*/ 9304 w 10000"/>
              <a:gd name="connsiteY50" fmla="*/ 699 h 10000"/>
              <a:gd name="connsiteX51" fmla="*/ 9165 w 10000"/>
              <a:gd name="connsiteY51" fmla="*/ 478 h 10000"/>
              <a:gd name="connsiteX52" fmla="*/ 8994 w 10000"/>
              <a:gd name="connsiteY52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504 w 10000"/>
              <a:gd name="connsiteY4" fmla="*/ 2254 h 10000"/>
              <a:gd name="connsiteX5" fmla="*/ 2916 w 10000"/>
              <a:gd name="connsiteY5" fmla="*/ 3370 h 10000"/>
              <a:gd name="connsiteX6" fmla="*/ 1947 w 10000"/>
              <a:gd name="connsiteY6" fmla="*/ 4841 h 10000"/>
              <a:gd name="connsiteX7" fmla="*/ 1685 w 10000"/>
              <a:gd name="connsiteY7" fmla="*/ 4975 h 10000"/>
              <a:gd name="connsiteX8" fmla="*/ 1252 w 10000"/>
              <a:gd name="connsiteY8" fmla="*/ 5135 h 10000"/>
              <a:gd name="connsiteX9" fmla="*/ 819 w 10000"/>
              <a:gd name="connsiteY9" fmla="*/ 5257 h 10000"/>
              <a:gd name="connsiteX10" fmla="*/ 665 w 10000"/>
              <a:gd name="connsiteY10" fmla="*/ 5294 h 10000"/>
              <a:gd name="connsiteX11" fmla="*/ 2102 w 10000"/>
              <a:gd name="connsiteY11" fmla="*/ 7634 h 10000"/>
              <a:gd name="connsiteX12" fmla="*/ 0 w 10000"/>
              <a:gd name="connsiteY12" fmla="*/ 10000 h 10000"/>
              <a:gd name="connsiteX13" fmla="*/ 418 w 10000"/>
              <a:gd name="connsiteY13" fmla="*/ 9988 h 10000"/>
              <a:gd name="connsiteX14" fmla="*/ 850 w 10000"/>
              <a:gd name="connsiteY14" fmla="*/ 9975 h 10000"/>
              <a:gd name="connsiteX15" fmla="*/ 1329 w 10000"/>
              <a:gd name="connsiteY15" fmla="*/ 9926 h 10000"/>
              <a:gd name="connsiteX16" fmla="*/ 1824 w 10000"/>
              <a:gd name="connsiteY16" fmla="*/ 9877 h 10000"/>
              <a:gd name="connsiteX17" fmla="*/ 2302 w 10000"/>
              <a:gd name="connsiteY17" fmla="*/ 9792 h 10000"/>
              <a:gd name="connsiteX18" fmla="*/ 2782 w 10000"/>
              <a:gd name="connsiteY18" fmla="*/ 9706 h 10000"/>
              <a:gd name="connsiteX19" fmla="*/ 3153 w 10000"/>
              <a:gd name="connsiteY19" fmla="*/ 9620 h 10000"/>
              <a:gd name="connsiteX20" fmla="*/ 3554 w 10000"/>
              <a:gd name="connsiteY20" fmla="*/ 9521 h 10000"/>
              <a:gd name="connsiteX21" fmla="*/ 4049 w 10000"/>
              <a:gd name="connsiteY21" fmla="*/ 9387 h 10000"/>
              <a:gd name="connsiteX22" fmla="*/ 4467 w 10000"/>
              <a:gd name="connsiteY22" fmla="*/ 9240 h 10000"/>
              <a:gd name="connsiteX23" fmla="*/ 4868 w 10000"/>
              <a:gd name="connsiteY23" fmla="*/ 9105 h 10000"/>
              <a:gd name="connsiteX24" fmla="*/ 5301 w 10000"/>
              <a:gd name="connsiteY24" fmla="*/ 8922 h 10000"/>
              <a:gd name="connsiteX25" fmla="*/ 5734 w 10000"/>
              <a:gd name="connsiteY25" fmla="*/ 8737 h 10000"/>
              <a:gd name="connsiteX26" fmla="*/ 6089 w 10000"/>
              <a:gd name="connsiteY26" fmla="*/ 8566 h 10000"/>
              <a:gd name="connsiteX27" fmla="*/ 6491 w 10000"/>
              <a:gd name="connsiteY27" fmla="*/ 8333 h 10000"/>
              <a:gd name="connsiteX28" fmla="*/ 6893 w 10000"/>
              <a:gd name="connsiteY28" fmla="*/ 8101 h 10000"/>
              <a:gd name="connsiteX29" fmla="*/ 7249 w 10000"/>
              <a:gd name="connsiteY29" fmla="*/ 7843 h 10000"/>
              <a:gd name="connsiteX30" fmla="*/ 7542 w 10000"/>
              <a:gd name="connsiteY30" fmla="*/ 7634 h 10000"/>
              <a:gd name="connsiteX31" fmla="*/ 7867 w 10000"/>
              <a:gd name="connsiteY31" fmla="*/ 7377 h 10000"/>
              <a:gd name="connsiteX32" fmla="*/ 8114 w 10000"/>
              <a:gd name="connsiteY32" fmla="*/ 7157 h 10000"/>
              <a:gd name="connsiteX33" fmla="*/ 8393 w 10000"/>
              <a:gd name="connsiteY33" fmla="*/ 6887 h 10000"/>
              <a:gd name="connsiteX34" fmla="*/ 8670 w 10000"/>
              <a:gd name="connsiteY34" fmla="*/ 6605 h 10000"/>
              <a:gd name="connsiteX35" fmla="*/ 8871 w 10000"/>
              <a:gd name="connsiteY35" fmla="*/ 6299 h 10000"/>
              <a:gd name="connsiteX36" fmla="*/ 9088 w 10000"/>
              <a:gd name="connsiteY36" fmla="*/ 6029 h 10000"/>
              <a:gd name="connsiteX37" fmla="*/ 9242 w 10000"/>
              <a:gd name="connsiteY37" fmla="*/ 5772 h 10000"/>
              <a:gd name="connsiteX38" fmla="*/ 9458 w 10000"/>
              <a:gd name="connsiteY38" fmla="*/ 5379 h 10000"/>
              <a:gd name="connsiteX39" fmla="*/ 9597 w 10000"/>
              <a:gd name="connsiteY39" fmla="*/ 5073 h 10000"/>
              <a:gd name="connsiteX40" fmla="*/ 9768 w 10000"/>
              <a:gd name="connsiteY40" fmla="*/ 4657 h 10000"/>
              <a:gd name="connsiteX41" fmla="*/ 9876 w 10000"/>
              <a:gd name="connsiteY41" fmla="*/ 4191 h 10000"/>
              <a:gd name="connsiteX42" fmla="*/ 9953 w 10000"/>
              <a:gd name="connsiteY42" fmla="*/ 3775 h 10000"/>
              <a:gd name="connsiteX43" fmla="*/ 10000 w 10000"/>
              <a:gd name="connsiteY43" fmla="*/ 3407 h 10000"/>
              <a:gd name="connsiteX44" fmla="*/ 10000 w 10000"/>
              <a:gd name="connsiteY44" fmla="*/ 3015 h 10000"/>
              <a:gd name="connsiteX45" fmla="*/ 9984 w 10000"/>
              <a:gd name="connsiteY45" fmla="*/ 2696 h 10000"/>
              <a:gd name="connsiteX46" fmla="*/ 9922 w 10000"/>
              <a:gd name="connsiteY46" fmla="*/ 2218 h 10000"/>
              <a:gd name="connsiteX47" fmla="*/ 9768 w 10000"/>
              <a:gd name="connsiteY47" fmla="*/ 1740 h 10000"/>
              <a:gd name="connsiteX48" fmla="*/ 9628 w 10000"/>
              <a:gd name="connsiteY48" fmla="*/ 1324 h 10000"/>
              <a:gd name="connsiteX49" fmla="*/ 9458 w 10000"/>
              <a:gd name="connsiteY49" fmla="*/ 980 h 10000"/>
              <a:gd name="connsiteX50" fmla="*/ 9304 w 10000"/>
              <a:gd name="connsiteY50" fmla="*/ 699 h 10000"/>
              <a:gd name="connsiteX51" fmla="*/ 9165 w 10000"/>
              <a:gd name="connsiteY51" fmla="*/ 478 h 10000"/>
              <a:gd name="connsiteX52" fmla="*/ 8994 w 10000"/>
              <a:gd name="connsiteY52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504 w 10000"/>
              <a:gd name="connsiteY4" fmla="*/ 2254 h 10000"/>
              <a:gd name="connsiteX5" fmla="*/ 2916 w 10000"/>
              <a:gd name="connsiteY5" fmla="*/ 3370 h 10000"/>
              <a:gd name="connsiteX6" fmla="*/ 2032 w 10000"/>
              <a:gd name="connsiteY6" fmla="*/ 4848 h 10000"/>
              <a:gd name="connsiteX7" fmla="*/ 1685 w 10000"/>
              <a:gd name="connsiteY7" fmla="*/ 4975 h 10000"/>
              <a:gd name="connsiteX8" fmla="*/ 1252 w 10000"/>
              <a:gd name="connsiteY8" fmla="*/ 5135 h 10000"/>
              <a:gd name="connsiteX9" fmla="*/ 819 w 10000"/>
              <a:gd name="connsiteY9" fmla="*/ 5257 h 10000"/>
              <a:gd name="connsiteX10" fmla="*/ 665 w 10000"/>
              <a:gd name="connsiteY10" fmla="*/ 5294 h 10000"/>
              <a:gd name="connsiteX11" fmla="*/ 2102 w 10000"/>
              <a:gd name="connsiteY11" fmla="*/ 7634 h 10000"/>
              <a:gd name="connsiteX12" fmla="*/ 0 w 10000"/>
              <a:gd name="connsiteY12" fmla="*/ 10000 h 10000"/>
              <a:gd name="connsiteX13" fmla="*/ 418 w 10000"/>
              <a:gd name="connsiteY13" fmla="*/ 9988 h 10000"/>
              <a:gd name="connsiteX14" fmla="*/ 850 w 10000"/>
              <a:gd name="connsiteY14" fmla="*/ 9975 h 10000"/>
              <a:gd name="connsiteX15" fmla="*/ 1329 w 10000"/>
              <a:gd name="connsiteY15" fmla="*/ 9926 h 10000"/>
              <a:gd name="connsiteX16" fmla="*/ 1824 w 10000"/>
              <a:gd name="connsiteY16" fmla="*/ 9877 h 10000"/>
              <a:gd name="connsiteX17" fmla="*/ 2302 w 10000"/>
              <a:gd name="connsiteY17" fmla="*/ 9792 h 10000"/>
              <a:gd name="connsiteX18" fmla="*/ 2782 w 10000"/>
              <a:gd name="connsiteY18" fmla="*/ 9706 h 10000"/>
              <a:gd name="connsiteX19" fmla="*/ 3153 w 10000"/>
              <a:gd name="connsiteY19" fmla="*/ 9620 h 10000"/>
              <a:gd name="connsiteX20" fmla="*/ 3554 w 10000"/>
              <a:gd name="connsiteY20" fmla="*/ 9521 h 10000"/>
              <a:gd name="connsiteX21" fmla="*/ 4049 w 10000"/>
              <a:gd name="connsiteY21" fmla="*/ 9387 h 10000"/>
              <a:gd name="connsiteX22" fmla="*/ 4467 w 10000"/>
              <a:gd name="connsiteY22" fmla="*/ 9240 h 10000"/>
              <a:gd name="connsiteX23" fmla="*/ 4868 w 10000"/>
              <a:gd name="connsiteY23" fmla="*/ 9105 h 10000"/>
              <a:gd name="connsiteX24" fmla="*/ 5301 w 10000"/>
              <a:gd name="connsiteY24" fmla="*/ 8922 h 10000"/>
              <a:gd name="connsiteX25" fmla="*/ 5734 w 10000"/>
              <a:gd name="connsiteY25" fmla="*/ 8737 h 10000"/>
              <a:gd name="connsiteX26" fmla="*/ 6089 w 10000"/>
              <a:gd name="connsiteY26" fmla="*/ 8566 h 10000"/>
              <a:gd name="connsiteX27" fmla="*/ 6491 w 10000"/>
              <a:gd name="connsiteY27" fmla="*/ 8333 h 10000"/>
              <a:gd name="connsiteX28" fmla="*/ 6893 w 10000"/>
              <a:gd name="connsiteY28" fmla="*/ 8101 h 10000"/>
              <a:gd name="connsiteX29" fmla="*/ 7249 w 10000"/>
              <a:gd name="connsiteY29" fmla="*/ 7843 h 10000"/>
              <a:gd name="connsiteX30" fmla="*/ 7542 w 10000"/>
              <a:gd name="connsiteY30" fmla="*/ 7634 h 10000"/>
              <a:gd name="connsiteX31" fmla="*/ 7867 w 10000"/>
              <a:gd name="connsiteY31" fmla="*/ 7377 h 10000"/>
              <a:gd name="connsiteX32" fmla="*/ 8114 w 10000"/>
              <a:gd name="connsiteY32" fmla="*/ 7157 h 10000"/>
              <a:gd name="connsiteX33" fmla="*/ 8393 w 10000"/>
              <a:gd name="connsiteY33" fmla="*/ 6887 h 10000"/>
              <a:gd name="connsiteX34" fmla="*/ 8670 w 10000"/>
              <a:gd name="connsiteY34" fmla="*/ 6605 h 10000"/>
              <a:gd name="connsiteX35" fmla="*/ 8871 w 10000"/>
              <a:gd name="connsiteY35" fmla="*/ 6299 h 10000"/>
              <a:gd name="connsiteX36" fmla="*/ 9088 w 10000"/>
              <a:gd name="connsiteY36" fmla="*/ 6029 h 10000"/>
              <a:gd name="connsiteX37" fmla="*/ 9242 w 10000"/>
              <a:gd name="connsiteY37" fmla="*/ 5772 h 10000"/>
              <a:gd name="connsiteX38" fmla="*/ 9458 w 10000"/>
              <a:gd name="connsiteY38" fmla="*/ 5379 h 10000"/>
              <a:gd name="connsiteX39" fmla="*/ 9597 w 10000"/>
              <a:gd name="connsiteY39" fmla="*/ 5073 h 10000"/>
              <a:gd name="connsiteX40" fmla="*/ 9768 w 10000"/>
              <a:gd name="connsiteY40" fmla="*/ 4657 h 10000"/>
              <a:gd name="connsiteX41" fmla="*/ 9876 w 10000"/>
              <a:gd name="connsiteY41" fmla="*/ 4191 h 10000"/>
              <a:gd name="connsiteX42" fmla="*/ 9953 w 10000"/>
              <a:gd name="connsiteY42" fmla="*/ 3775 h 10000"/>
              <a:gd name="connsiteX43" fmla="*/ 10000 w 10000"/>
              <a:gd name="connsiteY43" fmla="*/ 3407 h 10000"/>
              <a:gd name="connsiteX44" fmla="*/ 10000 w 10000"/>
              <a:gd name="connsiteY44" fmla="*/ 3015 h 10000"/>
              <a:gd name="connsiteX45" fmla="*/ 9984 w 10000"/>
              <a:gd name="connsiteY45" fmla="*/ 2696 h 10000"/>
              <a:gd name="connsiteX46" fmla="*/ 9922 w 10000"/>
              <a:gd name="connsiteY46" fmla="*/ 2218 h 10000"/>
              <a:gd name="connsiteX47" fmla="*/ 9768 w 10000"/>
              <a:gd name="connsiteY47" fmla="*/ 1740 h 10000"/>
              <a:gd name="connsiteX48" fmla="*/ 9628 w 10000"/>
              <a:gd name="connsiteY48" fmla="*/ 1324 h 10000"/>
              <a:gd name="connsiteX49" fmla="*/ 9458 w 10000"/>
              <a:gd name="connsiteY49" fmla="*/ 980 h 10000"/>
              <a:gd name="connsiteX50" fmla="*/ 9304 w 10000"/>
              <a:gd name="connsiteY50" fmla="*/ 699 h 10000"/>
              <a:gd name="connsiteX51" fmla="*/ 9165 w 10000"/>
              <a:gd name="connsiteY51" fmla="*/ 478 h 10000"/>
              <a:gd name="connsiteX52" fmla="*/ 8994 w 10000"/>
              <a:gd name="connsiteY52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504 w 10000"/>
              <a:gd name="connsiteY4" fmla="*/ 2254 h 10000"/>
              <a:gd name="connsiteX5" fmla="*/ 2916 w 10000"/>
              <a:gd name="connsiteY5" fmla="*/ 3370 h 10000"/>
              <a:gd name="connsiteX6" fmla="*/ 2032 w 10000"/>
              <a:gd name="connsiteY6" fmla="*/ 4848 h 10000"/>
              <a:gd name="connsiteX7" fmla="*/ 1685 w 10000"/>
              <a:gd name="connsiteY7" fmla="*/ 4975 h 10000"/>
              <a:gd name="connsiteX8" fmla="*/ 1252 w 10000"/>
              <a:gd name="connsiteY8" fmla="*/ 5135 h 10000"/>
              <a:gd name="connsiteX9" fmla="*/ 819 w 10000"/>
              <a:gd name="connsiteY9" fmla="*/ 5257 h 10000"/>
              <a:gd name="connsiteX10" fmla="*/ 665 w 10000"/>
              <a:gd name="connsiteY10" fmla="*/ 5294 h 10000"/>
              <a:gd name="connsiteX11" fmla="*/ 2102 w 10000"/>
              <a:gd name="connsiteY11" fmla="*/ 7634 h 10000"/>
              <a:gd name="connsiteX12" fmla="*/ 0 w 10000"/>
              <a:gd name="connsiteY12" fmla="*/ 10000 h 10000"/>
              <a:gd name="connsiteX13" fmla="*/ 418 w 10000"/>
              <a:gd name="connsiteY13" fmla="*/ 9988 h 10000"/>
              <a:gd name="connsiteX14" fmla="*/ 850 w 10000"/>
              <a:gd name="connsiteY14" fmla="*/ 9975 h 10000"/>
              <a:gd name="connsiteX15" fmla="*/ 1329 w 10000"/>
              <a:gd name="connsiteY15" fmla="*/ 9926 h 10000"/>
              <a:gd name="connsiteX16" fmla="*/ 1824 w 10000"/>
              <a:gd name="connsiteY16" fmla="*/ 9877 h 10000"/>
              <a:gd name="connsiteX17" fmla="*/ 2302 w 10000"/>
              <a:gd name="connsiteY17" fmla="*/ 9792 h 10000"/>
              <a:gd name="connsiteX18" fmla="*/ 2782 w 10000"/>
              <a:gd name="connsiteY18" fmla="*/ 9706 h 10000"/>
              <a:gd name="connsiteX19" fmla="*/ 3153 w 10000"/>
              <a:gd name="connsiteY19" fmla="*/ 9620 h 10000"/>
              <a:gd name="connsiteX20" fmla="*/ 3554 w 10000"/>
              <a:gd name="connsiteY20" fmla="*/ 9521 h 10000"/>
              <a:gd name="connsiteX21" fmla="*/ 4049 w 10000"/>
              <a:gd name="connsiteY21" fmla="*/ 9387 h 10000"/>
              <a:gd name="connsiteX22" fmla="*/ 4467 w 10000"/>
              <a:gd name="connsiteY22" fmla="*/ 9240 h 10000"/>
              <a:gd name="connsiteX23" fmla="*/ 4868 w 10000"/>
              <a:gd name="connsiteY23" fmla="*/ 9105 h 10000"/>
              <a:gd name="connsiteX24" fmla="*/ 5301 w 10000"/>
              <a:gd name="connsiteY24" fmla="*/ 8922 h 10000"/>
              <a:gd name="connsiteX25" fmla="*/ 5734 w 10000"/>
              <a:gd name="connsiteY25" fmla="*/ 8737 h 10000"/>
              <a:gd name="connsiteX26" fmla="*/ 6089 w 10000"/>
              <a:gd name="connsiteY26" fmla="*/ 8566 h 10000"/>
              <a:gd name="connsiteX27" fmla="*/ 6491 w 10000"/>
              <a:gd name="connsiteY27" fmla="*/ 8333 h 10000"/>
              <a:gd name="connsiteX28" fmla="*/ 6893 w 10000"/>
              <a:gd name="connsiteY28" fmla="*/ 8101 h 10000"/>
              <a:gd name="connsiteX29" fmla="*/ 7249 w 10000"/>
              <a:gd name="connsiteY29" fmla="*/ 7843 h 10000"/>
              <a:gd name="connsiteX30" fmla="*/ 7542 w 10000"/>
              <a:gd name="connsiteY30" fmla="*/ 7634 h 10000"/>
              <a:gd name="connsiteX31" fmla="*/ 7867 w 10000"/>
              <a:gd name="connsiteY31" fmla="*/ 7377 h 10000"/>
              <a:gd name="connsiteX32" fmla="*/ 8114 w 10000"/>
              <a:gd name="connsiteY32" fmla="*/ 7157 h 10000"/>
              <a:gd name="connsiteX33" fmla="*/ 8393 w 10000"/>
              <a:gd name="connsiteY33" fmla="*/ 6887 h 10000"/>
              <a:gd name="connsiteX34" fmla="*/ 8670 w 10000"/>
              <a:gd name="connsiteY34" fmla="*/ 6605 h 10000"/>
              <a:gd name="connsiteX35" fmla="*/ 8871 w 10000"/>
              <a:gd name="connsiteY35" fmla="*/ 6299 h 10000"/>
              <a:gd name="connsiteX36" fmla="*/ 9088 w 10000"/>
              <a:gd name="connsiteY36" fmla="*/ 6029 h 10000"/>
              <a:gd name="connsiteX37" fmla="*/ 9242 w 10000"/>
              <a:gd name="connsiteY37" fmla="*/ 5772 h 10000"/>
              <a:gd name="connsiteX38" fmla="*/ 9458 w 10000"/>
              <a:gd name="connsiteY38" fmla="*/ 5379 h 10000"/>
              <a:gd name="connsiteX39" fmla="*/ 9597 w 10000"/>
              <a:gd name="connsiteY39" fmla="*/ 5073 h 10000"/>
              <a:gd name="connsiteX40" fmla="*/ 9768 w 10000"/>
              <a:gd name="connsiteY40" fmla="*/ 4657 h 10000"/>
              <a:gd name="connsiteX41" fmla="*/ 9876 w 10000"/>
              <a:gd name="connsiteY41" fmla="*/ 4191 h 10000"/>
              <a:gd name="connsiteX42" fmla="*/ 9953 w 10000"/>
              <a:gd name="connsiteY42" fmla="*/ 3775 h 10000"/>
              <a:gd name="connsiteX43" fmla="*/ 10000 w 10000"/>
              <a:gd name="connsiteY43" fmla="*/ 3407 h 10000"/>
              <a:gd name="connsiteX44" fmla="*/ 10000 w 10000"/>
              <a:gd name="connsiteY44" fmla="*/ 3015 h 10000"/>
              <a:gd name="connsiteX45" fmla="*/ 9984 w 10000"/>
              <a:gd name="connsiteY45" fmla="*/ 2696 h 10000"/>
              <a:gd name="connsiteX46" fmla="*/ 9922 w 10000"/>
              <a:gd name="connsiteY46" fmla="*/ 2218 h 10000"/>
              <a:gd name="connsiteX47" fmla="*/ 9768 w 10000"/>
              <a:gd name="connsiteY47" fmla="*/ 1740 h 10000"/>
              <a:gd name="connsiteX48" fmla="*/ 9628 w 10000"/>
              <a:gd name="connsiteY48" fmla="*/ 1324 h 10000"/>
              <a:gd name="connsiteX49" fmla="*/ 9458 w 10000"/>
              <a:gd name="connsiteY49" fmla="*/ 980 h 10000"/>
              <a:gd name="connsiteX50" fmla="*/ 9304 w 10000"/>
              <a:gd name="connsiteY50" fmla="*/ 699 h 10000"/>
              <a:gd name="connsiteX51" fmla="*/ 9165 w 10000"/>
              <a:gd name="connsiteY51" fmla="*/ 478 h 10000"/>
              <a:gd name="connsiteX52" fmla="*/ 8994 w 10000"/>
              <a:gd name="connsiteY52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504 w 10000"/>
              <a:gd name="connsiteY4" fmla="*/ 2254 h 10000"/>
              <a:gd name="connsiteX5" fmla="*/ 2916 w 10000"/>
              <a:gd name="connsiteY5" fmla="*/ 3370 h 10000"/>
              <a:gd name="connsiteX6" fmla="*/ 2032 w 10000"/>
              <a:gd name="connsiteY6" fmla="*/ 4848 h 10000"/>
              <a:gd name="connsiteX7" fmla="*/ 1685 w 10000"/>
              <a:gd name="connsiteY7" fmla="*/ 4975 h 10000"/>
              <a:gd name="connsiteX8" fmla="*/ 1252 w 10000"/>
              <a:gd name="connsiteY8" fmla="*/ 5135 h 10000"/>
              <a:gd name="connsiteX9" fmla="*/ 819 w 10000"/>
              <a:gd name="connsiteY9" fmla="*/ 5257 h 10000"/>
              <a:gd name="connsiteX10" fmla="*/ 665 w 10000"/>
              <a:gd name="connsiteY10" fmla="*/ 5294 h 10000"/>
              <a:gd name="connsiteX11" fmla="*/ 2102 w 10000"/>
              <a:gd name="connsiteY11" fmla="*/ 7634 h 10000"/>
              <a:gd name="connsiteX12" fmla="*/ 0 w 10000"/>
              <a:gd name="connsiteY12" fmla="*/ 10000 h 10000"/>
              <a:gd name="connsiteX13" fmla="*/ 418 w 10000"/>
              <a:gd name="connsiteY13" fmla="*/ 9988 h 10000"/>
              <a:gd name="connsiteX14" fmla="*/ 850 w 10000"/>
              <a:gd name="connsiteY14" fmla="*/ 9975 h 10000"/>
              <a:gd name="connsiteX15" fmla="*/ 1329 w 10000"/>
              <a:gd name="connsiteY15" fmla="*/ 9926 h 10000"/>
              <a:gd name="connsiteX16" fmla="*/ 1824 w 10000"/>
              <a:gd name="connsiteY16" fmla="*/ 9877 h 10000"/>
              <a:gd name="connsiteX17" fmla="*/ 2302 w 10000"/>
              <a:gd name="connsiteY17" fmla="*/ 9792 h 10000"/>
              <a:gd name="connsiteX18" fmla="*/ 2782 w 10000"/>
              <a:gd name="connsiteY18" fmla="*/ 9706 h 10000"/>
              <a:gd name="connsiteX19" fmla="*/ 3153 w 10000"/>
              <a:gd name="connsiteY19" fmla="*/ 9620 h 10000"/>
              <a:gd name="connsiteX20" fmla="*/ 3554 w 10000"/>
              <a:gd name="connsiteY20" fmla="*/ 9521 h 10000"/>
              <a:gd name="connsiteX21" fmla="*/ 4049 w 10000"/>
              <a:gd name="connsiteY21" fmla="*/ 9387 h 10000"/>
              <a:gd name="connsiteX22" fmla="*/ 4467 w 10000"/>
              <a:gd name="connsiteY22" fmla="*/ 9240 h 10000"/>
              <a:gd name="connsiteX23" fmla="*/ 4868 w 10000"/>
              <a:gd name="connsiteY23" fmla="*/ 9105 h 10000"/>
              <a:gd name="connsiteX24" fmla="*/ 5301 w 10000"/>
              <a:gd name="connsiteY24" fmla="*/ 8922 h 10000"/>
              <a:gd name="connsiteX25" fmla="*/ 5734 w 10000"/>
              <a:gd name="connsiteY25" fmla="*/ 8737 h 10000"/>
              <a:gd name="connsiteX26" fmla="*/ 6089 w 10000"/>
              <a:gd name="connsiteY26" fmla="*/ 8566 h 10000"/>
              <a:gd name="connsiteX27" fmla="*/ 6491 w 10000"/>
              <a:gd name="connsiteY27" fmla="*/ 8333 h 10000"/>
              <a:gd name="connsiteX28" fmla="*/ 6893 w 10000"/>
              <a:gd name="connsiteY28" fmla="*/ 8101 h 10000"/>
              <a:gd name="connsiteX29" fmla="*/ 7249 w 10000"/>
              <a:gd name="connsiteY29" fmla="*/ 7843 h 10000"/>
              <a:gd name="connsiteX30" fmla="*/ 7542 w 10000"/>
              <a:gd name="connsiteY30" fmla="*/ 7634 h 10000"/>
              <a:gd name="connsiteX31" fmla="*/ 7867 w 10000"/>
              <a:gd name="connsiteY31" fmla="*/ 7377 h 10000"/>
              <a:gd name="connsiteX32" fmla="*/ 8114 w 10000"/>
              <a:gd name="connsiteY32" fmla="*/ 7157 h 10000"/>
              <a:gd name="connsiteX33" fmla="*/ 8393 w 10000"/>
              <a:gd name="connsiteY33" fmla="*/ 6887 h 10000"/>
              <a:gd name="connsiteX34" fmla="*/ 8670 w 10000"/>
              <a:gd name="connsiteY34" fmla="*/ 6605 h 10000"/>
              <a:gd name="connsiteX35" fmla="*/ 8871 w 10000"/>
              <a:gd name="connsiteY35" fmla="*/ 6299 h 10000"/>
              <a:gd name="connsiteX36" fmla="*/ 9088 w 10000"/>
              <a:gd name="connsiteY36" fmla="*/ 6029 h 10000"/>
              <a:gd name="connsiteX37" fmla="*/ 9242 w 10000"/>
              <a:gd name="connsiteY37" fmla="*/ 5772 h 10000"/>
              <a:gd name="connsiteX38" fmla="*/ 9458 w 10000"/>
              <a:gd name="connsiteY38" fmla="*/ 5379 h 10000"/>
              <a:gd name="connsiteX39" fmla="*/ 9597 w 10000"/>
              <a:gd name="connsiteY39" fmla="*/ 5073 h 10000"/>
              <a:gd name="connsiteX40" fmla="*/ 9768 w 10000"/>
              <a:gd name="connsiteY40" fmla="*/ 4657 h 10000"/>
              <a:gd name="connsiteX41" fmla="*/ 9876 w 10000"/>
              <a:gd name="connsiteY41" fmla="*/ 4191 h 10000"/>
              <a:gd name="connsiteX42" fmla="*/ 9953 w 10000"/>
              <a:gd name="connsiteY42" fmla="*/ 3775 h 10000"/>
              <a:gd name="connsiteX43" fmla="*/ 10000 w 10000"/>
              <a:gd name="connsiteY43" fmla="*/ 3407 h 10000"/>
              <a:gd name="connsiteX44" fmla="*/ 10000 w 10000"/>
              <a:gd name="connsiteY44" fmla="*/ 3015 h 10000"/>
              <a:gd name="connsiteX45" fmla="*/ 9984 w 10000"/>
              <a:gd name="connsiteY45" fmla="*/ 2696 h 10000"/>
              <a:gd name="connsiteX46" fmla="*/ 9922 w 10000"/>
              <a:gd name="connsiteY46" fmla="*/ 2218 h 10000"/>
              <a:gd name="connsiteX47" fmla="*/ 9768 w 10000"/>
              <a:gd name="connsiteY47" fmla="*/ 1740 h 10000"/>
              <a:gd name="connsiteX48" fmla="*/ 9628 w 10000"/>
              <a:gd name="connsiteY48" fmla="*/ 1324 h 10000"/>
              <a:gd name="connsiteX49" fmla="*/ 9458 w 10000"/>
              <a:gd name="connsiteY49" fmla="*/ 980 h 10000"/>
              <a:gd name="connsiteX50" fmla="*/ 9304 w 10000"/>
              <a:gd name="connsiteY50" fmla="*/ 699 h 10000"/>
              <a:gd name="connsiteX51" fmla="*/ 9165 w 10000"/>
              <a:gd name="connsiteY51" fmla="*/ 478 h 10000"/>
              <a:gd name="connsiteX52" fmla="*/ 8994 w 10000"/>
              <a:gd name="connsiteY52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504 w 10000"/>
              <a:gd name="connsiteY4" fmla="*/ 2254 h 10000"/>
              <a:gd name="connsiteX5" fmla="*/ 2916 w 10000"/>
              <a:gd name="connsiteY5" fmla="*/ 3370 h 10000"/>
              <a:gd name="connsiteX6" fmla="*/ 2535 w 10000"/>
              <a:gd name="connsiteY6" fmla="*/ 4234 h 10000"/>
              <a:gd name="connsiteX7" fmla="*/ 2032 w 10000"/>
              <a:gd name="connsiteY7" fmla="*/ 4848 h 10000"/>
              <a:gd name="connsiteX8" fmla="*/ 1685 w 10000"/>
              <a:gd name="connsiteY8" fmla="*/ 4975 h 10000"/>
              <a:gd name="connsiteX9" fmla="*/ 1252 w 10000"/>
              <a:gd name="connsiteY9" fmla="*/ 5135 h 10000"/>
              <a:gd name="connsiteX10" fmla="*/ 819 w 10000"/>
              <a:gd name="connsiteY10" fmla="*/ 5257 h 10000"/>
              <a:gd name="connsiteX11" fmla="*/ 665 w 10000"/>
              <a:gd name="connsiteY11" fmla="*/ 5294 h 10000"/>
              <a:gd name="connsiteX12" fmla="*/ 2102 w 10000"/>
              <a:gd name="connsiteY12" fmla="*/ 7634 h 10000"/>
              <a:gd name="connsiteX13" fmla="*/ 0 w 10000"/>
              <a:gd name="connsiteY13" fmla="*/ 10000 h 10000"/>
              <a:gd name="connsiteX14" fmla="*/ 418 w 10000"/>
              <a:gd name="connsiteY14" fmla="*/ 9988 h 10000"/>
              <a:gd name="connsiteX15" fmla="*/ 850 w 10000"/>
              <a:gd name="connsiteY15" fmla="*/ 9975 h 10000"/>
              <a:gd name="connsiteX16" fmla="*/ 1329 w 10000"/>
              <a:gd name="connsiteY16" fmla="*/ 9926 h 10000"/>
              <a:gd name="connsiteX17" fmla="*/ 1824 w 10000"/>
              <a:gd name="connsiteY17" fmla="*/ 9877 h 10000"/>
              <a:gd name="connsiteX18" fmla="*/ 2302 w 10000"/>
              <a:gd name="connsiteY18" fmla="*/ 9792 h 10000"/>
              <a:gd name="connsiteX19" fmla="*/ 2782 w 10000"/>
              <a:gd name="connsiteY19" fmla="*/ 9706 h 10000"/>
              <a:gd name="connsiteX20" fmla="*/ 3153 w 10000"/>
              <a:gd name="connsiteY20" fmla="*/ 9620 h 10000"/>
              <a:gd name="connsiteX21" fmla="*/ 3554 w 10000"/>
              <a:gd name="connsiteY21" fmla="*/ 9521 h 10000"/>
              <a:gd name="connsiteX22" fmla="*/ 4049 w 10000"/>
              <a:gd name="connsiteY22" fmla="*/ 9387 h 10000"/>
              <a:gd name="connsiteX23" fmla="*/ 4467 w 10000"/>
              <a:gd name="connsiteY23" fmla="*/ 9240 h 10000"/>
              <a:gd name="connsiteX24" fmla="*/ 4868 w 10000"/>
              <a:gd name="connsiteY24" fmla="*/ 9105 h 10000"/>
              <a:gd name="connsiteX25" fmla="*/ 5301 w 10000"/>
              <a:gd name="connsiteY25" fmla="*/ 8922 h 10000"/>
              <a:gd name="connsiteX26" fmla="*/ 5734 w 10000"/>
              <a:gd name="connsiteY26" fmla="*/ 8737 h 10000"/>
              <a:gd name="connsiteX27" fmla="*/ 6089 w 10000"/>
              <a:gd name="connsiteY27" fmla="*/ 8566 h 10000"/>
              <a:gd name="connsiteX28" fmla="*/ 6491 w 10000"/>
              <a:gd name="connsiteY28" fmla="*/ 8333 h 10000"/>
              <a:gd name="connsiteX29" fmla="*/ 6893 w 10000"/>
              <a:gd name="connsiteY29" fmla="*/ 8101 h 10000"/>
              <a:gd name="connsiteX30" fmla="*/ 7249 w 10000"/>
              <a:gd name="connsiteY30" fmla="*/ 7843 h 10000"/>
              <a:gd name="connsiteX31" fmla="*/ 7542 w 10000"/>
              <a:gd name="connsiteY31" fmla="*/ 7634 h 10000"/>
              <a:gd name="connsiteX32" fmla="*/ 7867 w 10000"/>
              <a:gd name="connsiteY32" fmla="*/ 7377 h 10000"/>
              <a:gd name="connsiteX33" fmla="*/ 8114 w 10000"/>
              <a:gd name="connsiteY33" fmla="*/ 7157 h 10000"/>
              <a:gd name="connsiteX34" fmla="*/ 8393 w 10000"/>
              <a:gd name="connsiteY34" fmla="*/ 6887 h 10000"/>
              <a:gd name="connsiteX35" fmla="*/ 8670 w 10000"/>
              <a:gd name="connsiteY35" fmla="*/ 6605 h 10000"/>
              <a:gd name="connsiteX36" fmla="*/ 8871 w 10000"/>
              <a:gd name="connsiteY36" fmla="*/ 6299 h 10000"/>
              <a:gd name="connsiteX37" fmla="*/ 9088 w 10000"/>
              <a:gd name="connsiteY37" fmla="*/ 6029 h 10000"/>
              <a:gd name="connsiteX38" fmla="*/ 9242 w 10000"/>
              <a:gd name="connsiteY38" fmla="*/ 5772 h 10000"/>
              <a:gd name="connsiteX39" fmla="*/ 9458 w 10000"/>
              <a:gd name="connsiteY39" fmla="*/ 5379 h 10000"/>
              <a:gd name="connsiteX40" fmla="*/ 9597 w 10000"/>
              <a:gd name="connsiteY40" fmla="*/ 5073 h 10000"/>
              <a:gd name="connsiteX41" fmla="*/ 9768 w 10000"/>
              <a:gd name="connsiteY41" fmla="*/ 4657 h 10000"/>
              <a:gd name="connsiteX42" fmla="*/ 9876 w 10000"/>
              <a:gd name="connsiteY42" fmla="*/ 4191 h 10000"/>
              <a:gd name="connsiteX43" fmla="*/ 9953 w 10000"/>
              <a:gd name="connsiteY43" fmla="*/ 3775 h 10000"/>
              <a:gd name="connsiteX44" fmla="*/ 10000 w 10000"/>
              <a:gd name="connsiteY44" fmla="*/ 3407 h 10000"/>
              <a:gd name="connsiteX45" fmla="*/ 10000 w 10000"/>
              <a:gd name="connsiteY45" fmla="*/ 3015 h 10000"/>
              <a:gd name="connsiteX46" fmla="*/ 9984 w 10000"/>
              <a:gd name="connsiteY46" fmla="*/ 2696 h 10000"/>
              <a:gd name="connsiteX47" fmla="*/ 9922 w 10000"/>
              <a:gd name="connsiteY47" fmla="*/ 2218 h 10000"/>
              <a:gd name="connsiteX48" fmla="*/ 9768 w 10000"/>
              <a:gd name="connsiteY48" fmla="*/ 1740 h 10000"/>
              <a:gd name="connsiteX49" fmla="*/ 9628 w 10000"/>
              <a:gd name="connsiteY49" fmla="*/ 1324 h 10000"/>
              <a:gd name="connsiteX50" fmla="*/ 9458 w 10000"/>
              <a:gd name="connsiteY50" fmla="*/ 980 h 10000"/>
              <a:gd name="connsiteX51" fmla="*/ 9304 w 10000"/>
              <a:gd name="connsiteY51" fmla="*/ 699 h 10000"/>
              <a:gd name="connsiteX52" fmla="*/ 9165 w 10000"/>
              <a:gd name="connsiteY52" fmla="*/ 478 h 10000"/>
              <a:gd name="connsiteX53" fmla="*/ 8994 w 10000"/>
              <a:gd name="connsiteY53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504 w 10000"/>
              <a:gd name="connsiteY4" fmla="*/ 2254 h 10000"/>
              <a:gd name="connsiteX5" fmla="*/ 2916 w 10000"/>
              <a:gd name="connsiteY5" fmla="*/ 3370 h 10000"/>
              <a:gd name="connsiteX6" fmla="*/ 2535 w 10000"/>
              <a:gd name="connsiteY6" fmla="*/ 4234 h 10000"/>
              <a:gd name="connsiteX7" fmla="*/ 1685 w 10000"/>
              <a:gd name="connsiteY7" fmla="*/ 4975 h 10000"/>
              <a:gd name="connsiteX8" fmla="*/ 1252 w 10000"/>
              <a:gd name="connsiteY8" fmla="*/ 5135 h 10000"/>
              <a:gd name="connsiteX9" fmla="*/ 819 w 10000"/>
              <a:gd name="connsiteY9" fmla="*/ 5257 h 10000"/>
              <a:gd name="connsiteX10" fmla="*/ 665 w 10000"/>
              <a:gd name="connsiteY10" fmla="*/ 5294 h 10000"/>
              <a:gd name="connsiteX11" fmla="*/ 2102 w 10000"/>
              <a:gd name="connsiteY11" fmla="*/ 7634 h 10000"/>
              <a:gd name="connsiteX12" fmla="*/ 0 w 10000"/>
              <a:gd name="connsiteY12" fmla="*/ 10000 h 10000"/>
              <a:gd name="connsiteX13" fmla="*/ 418 w 10000"/>
              <a:gd name="connsiteY13" fmla="*/ 9988 h 10000"/>
              <a:gd name="connsiteX14" fmla="*/ 850 w 10000"/>
              <a:gd name="connsiteY14" fmla="*/ 9975 h 10000"/>
              <a:gd name="connsiteX15" fmla="*/ 1329 w 10000"/>
              <a:gd name="connsiteY15" fmla="*/ 9926 h 10000"/>
              <a:gd name="connsiteX16" fmla="*/ 1824 w 10000"/>
              <a:gd name="connsiteY16" fmla="*/ 9877 h 10000"/>
              <a:gd name="connsiteX17" fmla="*/ 2302 w 10000"/>
              <a:gd name="connsiteY17" fmla="*/ 9792 h 10000"/>
              <a:gd name="connsiteX18" fmla="*/ 2782 w 10000"/>
              <a:gd name="connsiteY18" fmla="*/ 9706 h 10000"/>
              <a:gd name="connsiteX19" fmla="*/ 3153 w 10000"/>
              <a:gd name="connsiteY19" fmla="*/ 9620 h 10000"/>
              <a:gd name="connsiteX20" fmla="*/ 3554 w 10000"/>
              <a:gd name="connsiteY20" fmla="*/ 9521 h 10000"/>
              <a:gd name="connsiteX21" fmla="*/ 4049 w 10000"/>
              <a:gd name="connsiteY21" fmla="*/ 9387 h 10000"/>
              <a:gd name="connsiteX22" fmla="*/ 4467 w 10000"/>
              <a:gd name="connsiteY22" fmla="*/ 9240 h 10000"/>
              <a:gd name="connsiteX23" fmla="*/ 4868 w 10000"/>
              <a:gd name="connsiteY23" fmla="*/ 9105 h 10000"/>
              <a:gd name="connsiteX24" fmla="*/ 5301 w 10000"/>
              <a:gd name="connsiteY24" fmla="*/ 8922 h 10000"/>
              <a:gd name="connsiteX25" fmla="*/ 5734 w 10000"/>
              <a:gd name="connsiteY25" fmla="*/ 8737 h 10000"/>
              <a:gd name="connsiteX26" fmla="*/ 6089 w 10000"/>
              <a:gd name="connsiteY26" fmla="*/ 8566 h 10000"/>
              <a:gd name="connsiteX27" fmla="*/ 6491 w 10000"/>
              <a:gd name="connsiteY27" fmla="*/ 8333 h 10000"/>
              <a:gd name="connsiteX28" fmla="*/ 6893 w 10000"/>
              <a:gd name="connsiteY28" fmla="*/ 8101 h 10000"/>
              <a:gd name="connsiteX29" fmla="*/ 7249 w 10000"/>
              <a:gd name="connsiteY29" fmla="*/ 7843 h 10000"/>
              <a:gd name="connsiteX30" fmla="*/ 7542 w 10000"/>
              <a:gd name="connsiteY30" fmla="*/ 7634 h 10000"/>
              <a:gd name="connsiteX31" fmla="*/ 7867 w 10000"/>
              <a:gd name="connsiteY31" fmla="*/ 7377 h 10000"/>
              <a:gd name="connsiteX32" fmla="*/ 8114 w 10000"/>
              <a:gd name="connsiteY32" fmla="*/ 7157 h 10000"/>
              <a:gd name="connsiteX33" fmla="*/ 8393 w 10000"/>
              <a:gd name="connsiteY33" fmla="*/ 6887 h 10000"/>
              <a:gd name="connsiteX34" fmla="*/ 8670 w 10000"/>
              <a:gd name="connsiteY34" fmla="*/ 6605 h 10000"/>
              <a:gd name="connsiteX35" fmla="*/ 8871 w 10000"/>
              <a:gd name="connsiteY35" fmla="*/ 6299 h 10000"/>
              <a:gd name="connsiteX36" fmla="*/ 9088 w 10000"/>
              <a:gd name="connsiteY36" fmla="*/ 6029 h 10000"/>
              <a:gd name="connsiteX37" fmla="*/ 9242 w 10000"/>
              <a:gd name="connsiteY37" fmla="*/ 5772 h 10000"/>
              <a:gd name="connsiteX38" fmla="*/ 9458 w 10000"/>
              <a:gd name="connsiteY38" fmla="*/ 5379 h 10000"/>
              <a:gd name="connsiteX39" fmla="*/ 9597 w 10000"/>
              <a:gd name="connsiteY39" fmla="*/ 5073 h 10000"/>
              <a:gd name="connsiteX40" fmla="*/ 9768 w 10000"/>
              <a:gd name="connsiteY40" fmla="*/ 4657 h 10000"/>
              <a:gd name="connsiteX41" fmla="*/ 9876 w 10000"/>
              <a:gd name="connsiteY41" fmla="*/ 4191 h 10000"/>
              <a:gd name="connsiteX42" fmla="*/ 9953 w 10000"/>
              <a:gd name="connsiteY42" fmla="*/ 3775 h 10000"/>
              <a:gd name="connsiteX43" fmla="*/ 10000 w 10000"/>
              <a:gd name="connsiteY43" fmla="*/ 3407 h 10000"/>
              <a:gd name="connsiteX44" fmla="*/ 10000 w 10000"/>
              <a:gd name="connsiteY44" fmla="*/ 3015 h 10000"/>
              <a:gd name="connsiteX45" fmla="*/ 9984 w 10000"/>
              <a:gd name="connsiteY45" fmla="*/ 2696 h 10000"/>
              <a:gd name="connsiteX46" fmla="*/ 9922 w 10000"/>
              <a:gd name="connsiteY46" fmla="*/ 2218 h 10000"/>
              <a:gd name="connsiteX47" fmla="*/ 9768 w 10000"/>
              <a:gd name="connsiteY47" fmla="*/ 1740 h 10000"/>
              <a:gd name="connsiteX48" fmla="*/ 9628 w 10000"/>
              <a:gd name="connsiteY48" fmla="*/ 1324 h 10000"/>
              <a:gd name="connsiteX49" fmla="*/ 9458 w 10000"/>
              <a:gd name="connsiteY49" fmla="*/ 980 h 10000"/>
              <a:gd name="connsiteX50" fmla="*/ 9304 w 10000"/>
              <a:gd name="connsiteY50" fmla="*/ 699 h 10000"/>
              <a:gd name="connsiteX51" fmla="*/ 9165 w 10000"/>
              <a:gd name="connsiteY51" fmla="*/ 478 h 10000"/>
              <a:gd name="connsiteX52" fmla="*/ 8994 w 10000"/>
              <a:gd name="connsiteY52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504 w 10000"/>
              <a:gd name="connsiteY4" fmla="*/ 2254 h 10000"/>
              <a:gd name="connsiteX5" fmla="*/ 2916 w 10000"/>
              <a:gd name="connsiteY5" fmla="*/ 3370 h 10000"/>
              <a:gd name="connsiteX6" fmla="*/ 2535 w 10000"/>
              <a:gd name="connsiteY6" fmla="*/ 4234 h 10000"/>
              <a:gd name="connsiteX7" fmla="*/ 1252 w 10000"/>
              <a:gd name="connsiteY7" fmla="*/ 5135 h 10000"/>
              <a:gd name="connsiteX8" fmla="*/ 819 w 10000"/>
              <a:gd name="connsiteY8" fmla="*/ 5257 h 10000"/>
              <a:gd name="connsiteX9" fmla="*/ 665 w 10000"/>
              <a:gd name="connsiteY9" fmla="*/ 5294 h 10000"/>
              <a:gd name="connsiteX10" fmla="*/ 2102 w 10000"/>
              <a:gd name="connsiteY10" fmla="*/ 7634 h 10000"/>
              <a:gd name="connsiteX11" fmla="*/ 0 w 10000"/>
              <a:gd name="connsiteY11" fmla="*/ 10000 h 10000"/>
              <a:gd name="connsiteX12" fmla="*/ 418 w 10000"/>
              <a:gd name="connsiteY12" fmla="*/ 9988 h 10000"/>
              <a:gd name="connsiteX13" fmla="*/ 850 w 10000"/>
              <a:gd name="connsiteY13" fmla="*/ 9975 h 10000"/>
              <a:gd name="connsiteX14" fmla="*/ 1329 w 10000"/>
              <a:gd name="connsiteY14" fmla="*/ 9926 h 10000"/>
              <a:gd name="connsiteX15" fmla="*/ 1824 w 10000"/>
              <a:gd name="connsiteY15" fmla="*/ 9877 h 10000"/>
              <a:gd name="connsiteX16" fmla="*/ 2302 w 10000"/>
              <a:gd name="connsiteY16" fmla="*/ 9792 h 10000"/>
              <a:gd name="connsiteX17" fmla="*/ 2782 w 10000"/>
              <a:gd name="connsiteY17" fmla="*/ 9706 h 10000"/>
              <a:gd name="connsiteX18" fmla="*/ 3153 w 10000"/>
              <a:gd name="connsiteY18" fmla="*/ 9620 h 10000"/>
              <a:gd name="connsiteX19" fmla="*/ 3554 w 10000"/>
              <a:gd name="connsiteY19" fmla="*/ 9521 h 10000"/>
              <a:gd name="connsiteX20" fmla="*/ 4049 w 10000"/>
              <a:gd name="connsiteY20" fmla="*/ 9387 h 10000"/>
              <a:gd name="connsiteX21" fmla="*/ 4467 w 10000"/>
              <a:gd name="connsiteY21" fmla="*/ 9240 h 10000"/>
              <a:gd name="connsiteX22" fmla="*/ 4868 w 10000"/>
              <a:gd name="connsiteY22" fmla="*/ 9105 h 10000"/>
              <a:gd name="connsiteX23" fmla="*/ 5301 w 10000"/>
              <a:gd name="connsiteY23" fmla="*/ 8922 h 10000"/>
              <a:gd name="connsiteX24" fmla="*/ 5734 w 10000"/>
              <a:gd name="connsiteY24" fmla="*/ 8737 h 10000"/>
              <a:gd name="connsiteX25" fmla="*/ 6089 w 10000"/>
              <a:gd name="connsiteY25" fmla="*/ 8566 h 10000"/>
              <a:gd name="connsiteX26" fmla="*/ 6491 w 10000"/>
              <a:gd name="connsiteY26" fmla="*/ 8333 h 10000"/>
              <a:gd name="connsiteX27" fmla="*/ 6893 w 10000"/>
              <a:gd name="connsiteY27" fmla="*/ 8101 h 10000"/>
              <a:gd name="connsiteX28" fmla="*/ 7249 w 10000"/>
              <a:gd name="connsiteY28" fmla="*/ 7843 h 10000"/>
              <a:gd name="connsiteX29" fmla="*/ 7542 w 10000"/>
              <a:gd name="connsiteY29" fmla="*/ 7634 h 10000"/>
              <a:gd name="connsiteX30" fmla="*/ 7867 w 10000"/>
              <a:gd name="connsiteY30" fmla="*/ 7377 h 10000"/>
              <a:gd name="connsiteX31" fmla="*/ 8114 w 10000"/>
              <a:gd name="connsiteY31" fmla="*/ 7157 h 10000"/>
              <a:gd name="connsiteX32" fmla="*/ 8393 w 10000"/>
              <a:gd name="connsiteY32" fmla="*/ 6887 h 10000"/>
              <a:gd name="connsiteX33" fmla="*/ 8670 w 10000"/>
              <a:gd name="connsiteY33" fmla="*/ 6605 h 10000"/>
              <a:gd name="connsiteX34" fmla="*/ 8871 w 10000"/>
              <a:gd name="connsiteY34" fmla="*/ 6299 h 10000"/>
              <a:gd name="connsiteX35" fmla="*/ 9088 w 10000"/>
              <a:gd name="connsiteY35" fmla="*/ 6029 h 10000"/>
              <a:gd name="connsiteX36" fmla="*/ 9242 w 10000"/>
              <a:gd name="connsiteY36" fmla="*/ 5772 h 10000"/>
              <a:gd name="connsiteX37" fmla="*/ 9458 w 10000"/>
              <a:gd name="connsiteY37" fmla="*/ 5379 h 10000"/>
              <a:gd name="connsiteX38" fmla="*/ 9597 w 10000"/>
              <a:gd name="connsiteY38" fmla="*/ 5073 h 10000"/>
              <a:gd name="connsiteX39" fmla="*/ 9768 w 10000"/>
              <a:gd name="connsiteY39" fmla="*/ 4657 h 10000"/>
              <a:gd name="connsiteX40" fmla="*/ 9876 w 10000"/>
              <a:gd name="connsiteY40" fmla="*/ 4191 h 10000"/>
              <a:gd name="connsiteX41" fmla="*/ 9953 w 10000"/>
              <a:gd name="connsiteY41" fmla="*/ 3775 h 10000"/>
              <a:gd name="connsiteX42" fmla="*/ 10000 w 10000"/>
              <a:gd name="connsiteY42" fmla="*/ 3407 h 10000"/>
              <a:gd name="connsiteX43" fmla="*/ 10000 w 10000"/>
              <a:gd name="connsiteY43" fmla="*/ 3015 h 10000"/>
              <a:gd name="connsiteX44" fmla="*/ 9984 w 10000"/>
              <a:gd name="connsiteY44" fmla="*/ 2696 h 10000"/>
              <a:gd name="connsiteX45" fmla="*/ 9922 w 10000"/>
              <a:gd name="connsiteY45" fmla="*/ 2218 h 10000"/>
              <a:gd name="connsiteX46" fmla="*/ 9768 w 10000"/>
              <a:gd name="connsiteY46" fmla="*/ 1740 h 10000"/>
              <a:gd name="connsiteX47" fmla="*/ 9628 w 10000"/>
              <a:gd name="connsiteY47" fmla="*/ 1324 h 10000"/>
              <a:gd name="connsiteX48" fmla="*/ 9458 w 10000"/>
              <a:gd name="connsiteY48" fmla="*/ 980 h 10000"/>
              <a:gd name="connsiteX49" fmla="*/ 9304 w 10000"/>
              <a:gd name="connsiteY49" fmla="*/ 699 h 10000"/>
              <a:gd name="connsiteX50" fmla="*/ 9165 w 10000"/>
              <a:gd name="connsiteY50" fmla="*/ 478 h 10000"/>
              <a:gd name="connsiteX51" fmla="*/ 8994 w 10000"/>
              <a:gd name="connsiteY51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504 w 10000"/>
              <a:gd name="connsiteY4" fmla="*/ 2254 h 10000"/>
              <a:gd name="connsiteX5" fmla="*/ 2916 w 10000"/>
              <a:gd name="connsiteY5" fmla="*/ 3370 h 10000"/>
              <a:gd name="connsiteX6" fmla="*/ 2535 w 10000"/>
              <a:gd name="connsiteY6" fmla="*/ 4234 h 10000"/>
              <a:gd name="connsiteX7" fmla="*/ 1747 w 10000"/>
              <a:gd name="connsiteY7" fmla="*/ 4871 h 10000"/>
              <a:gd name="connsiteX8" fmla="*/ 819 w 10000"/>
              <a:gd name="connsiteY8" fmla="*/ 5257 h 10000"/>
              <a:gd name="connsiteX9" fmla="*/ 665 w 10000"/>
              <a:gd name="connsiteY9" fmla="*/ 5294 h 10000"/>
              <a:gd name="connsiteX10" fmla="*/ 2102 w 10000"/>
              <a:gd name="connsiteY10" fmla="*/ 7634 h 10000"/>
              <a:gd name="connsiteX11" fmla="*/ 0 w 10000"/>
              <a:gd name="connsiteY11" fmla="*/ 10000 h 10000"/>
              <a:gd name="connsiteX12" fmla="*/ 418 w 10000"/>
              <a:gd name="connsiteY12" fmla="*/ 9988 h 10000"/>
              <a:gd name="connsiteX13" fmla="*/ 850 w 10000"/>
              <a:gd name="connsiteY13" fmla="*/ 9975 h 10000"/>
              <a:gd name="connsiteX14" fmla="*/ 1329 w 10000"/>
              <a:gd name="connsiteY14" fmla="*/ 9926 h 10000"/>
              <a:gd name="connsiteX15" fmla="*/ 1824 w 10000"/>
              <a:gd name="connsiteY15" fmla="*/ 9877 h 10000"/>
              <a:gd name="connsiteX16" fmla="*/ 2302 w 10000"/>
              <a:gd name="connsiteY16" fmla="*/ 9792 h 10000"/>
              <a:gd name="connsiteX17" fmla="*/ 2782 w 10000"/>
              <a:gd name="connsiteY17" fmla="*/ 9706 h 10000"/>
              <a:gd name="connsiteX18" fmla="*/ 3153 w 10000"/>
              <a:gd name="connsiteY18" fmla="*/ 9620 h 10000"/>
              <a:gd name="connsiteX19" fmla="*/ 3554 w 10000"/>
              <a:gd name="connsiteY19" fmla="*/ 9521 h 10000"/>
              <a:gd name="connsiteX20" fmla="*/ 4049 w 10000"/>
              <a:gd name="connsiteY20" fmla="*/ 9387 h 10000"/>
              <a:gd name="connsiteX21" fmla="*/ 4467 w 10000"/>
              <a:gd name="connsiteY21" fmla="*/ 9240 h 10000"/>
              <a:gd name="connsiteX22" fmla="*/ 4868 w 10000"/>
              <a:gd name="connsiteY22" fmla="*/ 9105 h 10000"/>
              <a:gd name="connsiteX23" fmla="*/ 5301 w 10000"/>
              <a:gd name="connsiteY23" fmla="*/ 8922 h 10000"/>
              <a:gd name="connsiteX24" fmla="*/ 5734 w 10000"/>
              <a:gd name="connsiteY24" fmla="*/ 8737 h 10000"/>
              <a:gd name="connsiteX25" fmla="*/ 6089 w 10000"/>
              <a:gd name="connsiteY25" fmla="*/ 8566 h 10000"/>
              <a:gd name="connsiteX26" fmla="*/ 6491 w 10000"/>
              <a:gd name="connsiteY26" fmla="*/ 8333 h 10000"/>
              <a:gd name="connsiteX27" fmla="*/ 6893 w 10000"/>
              <a:gd name="connsiteY27" fmla="*/ 8101 h 10000"/>
              <a:gd name="connsiteX28" fmla="*/ 7249 w 10000"/>
              <a:gd name="connsiteY28" fmla="*/ 7843 h 10000"/>
              <a:gd name="connsiteX29" fmla="*/ 7542 w 10000"/>
              <a:gd name="connsiteY29" fmla="*/ 7634 h 10000"/>
              <a:gd name="connsiteX30" fmla="*/ 7867 w 10000"/>
              <a:gd name="connsiteY30" fmla="*/ 7377 h 10000"/>
              <a:gd name="connsiteX31" fmla="*/ 8114 w 10000"/>
              <a:gd name="connsiteY31" fmla="*/ 7157 h 10000"/>
              <a:gd name="connsiteX32" fmla="*/ 8393 w 10000"/>
              <a:gd name="connsiteY32" fmla="*/ 6887 h 10000"/>
              <a:gd name="connsiteX33" fmla="*/ 8670 w 10000"/>
              <a:gd name="connsiteY33" fmla="*/ 6605 h 10000"/>
              <a:gd name="connsiteX34" fmla="*/ 8871 w 10000"/>
              <a:gd name="connsiteY34" fmla="*/ 6299 h 10000"/>
              <a:gd name="connsiteX35" fmla="*/ 9088 w 10000"/>
              <a:gd name="connsiteY35" fmla="*/ 6029 h 10000"/>
              <a:gd name="connsiteX36" fmla="*/ 9242 w 10000"/>
              <a:gd name="connsiteY36" fmla="*/ 5772 h 10000"/>
              <a:gd name="connsiteX37" fmla="*/ 9458 w 10000"/>
              <a:gd name="connsiteY37" fmla="*/ 5379 h 10000"/>
              <a:gd name="connsiteX38" fmla="*/ 9597 w 10000"/>
              <a:gd name="connsiteY38" fmla="*/ 5073 h 10000"/>
              <a:gd name="connsiteX39" fmla="*/ 9768 w 10000"/>
              <a:gd name="connsiteY39" fmla="*/ 4657 h 10000"/>
              <a:gd name="connsiteX40" fmla="*/ 9876 w 10000"/>
              <a:gd name="connsiteY40" fmla="*/ 4191 h 10000"/>
              <a:gd name="connsiteX41" fmla="*/ 9953 w 10000"/>
              <a:gd name="connsiteY41" fmla="*/ 3775 h 10000"/>
              <a:gd name="connsiteX42" fmla="*/ 10000 w 10000"/>
              <a:gd name="connsiteY42" fmla="*/ 3407 h 10000"/>
              <a:gd name="connsiteX43" fmla="*/ 10000 w 10000"/>
              <a:gd name="connsiteY43" fmla="*/ 3015 h 10000"/>
              <a:gd name="connsiteX44" fmla="*/ 9984 w 10000"/>
              <a:gd name="connsiteY44" fmla="*/ 2696 h 10000"/>
              <a:gd name="connsiteX45" fmla="*/ 9922 w 10000"/>
              <a:gd name="connsiteY45" fmla="*/ 2218 h 10000"/>
              <a:gd name="connsiteX46" fmla="*/ 9768 w 10000"/>
              <a:gd name="connsiteY46" fmla="*/ 1740 h 10000"/>
              <a:gd name="connsiteX47" fmla="*/ 9628 w 10000"/>
              <a:gd name="connsiteY47" fmla="*/ 1324 h 10000"/>
              <a:gd name="connsiteX48" fmla="*/ 9458 w 10000"/>
              <a:gd name="connsiteY48" fmla="*/ 980 h 10000"/>
              <a:gd name="connsiteX49" fmla="*/ 9304 w 10000"/>
              <a:gd name="connsiteY49" fmla="*/ 699 h 10000"/>
              <a:gd name="connsiteX50" fmla="*/ 9165 w 10000"/>
              <a:gd name="connsiteY50" fmla="*/ 478 h 10000"/>
              <a:gd name="connsiteX51" fmla="*/ 8994 w 10000"/>
              <a:gd name="connsiteY51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504 w 10000"/>
              <a:gd name="connsiteY4" fmla="*/ 2254 h 10000"/>
              <a:gd name="connsiteX5" fmla="*/ 2916 w 10000"/>
              <a:gd name="connsiteY5" fmla="*/ 3370 h 10000"/>
              <a:gd name="connsiteX6" fmla="*/ 2535 w 10000"/>
              <a:gd name="connsiteY6" fmla="*/ 4234 h 10000"/>
              <a:gd name="connsiteX7" fmla="*/ 1747 w 10000"/>
              <a:gd name="connsiteY7" fmla="*/ 4871 h 10000"/>
              <a:gd name="connsiteX8" fmla="*/ 665 w 10000"/>
              <a:gd name="connsiteY8" fmla="*/ 5294 h 10000"/>
              <a:gd name="connsiteX9" fmla="*/ 2102 w 10000"/>
              <a:gd name="connsiteY9" fmla="*/ 7634 h 10000"/>
              <a:gd name="connsiteX10" fmla="*/ 0 w 10000"/>
              <a:gd name="connsiteY10" fmla="*/ 10000 h 10000"/>
              <a:gd name="connsiteX11" fmla="*/ 418 w 10000"/>
              <a:gd name="connsiteY11" fmla="*/ 9988 h 10000"/>
              <a:gd name="connsiteX12" fmla="*/ 850 w 10000"/>
              <a:gd name="connsiteY12" fmla="*/ 9975 h 10000"/>
              <a:gd name="connsiteX13" fmla="*/ 1329 w 10000"/>
              <a:gd name="connsiteY13" fmla="*/ 9926 h 10000"/>
              <a:gd name="connsiteX14" fmla="*/ 1824 w 10000"/>
              <a:gd name="connsiteY14" fmla="*/ 9877 h 10000"/>
              <a:gd name="connsiteX15" fmla="*/ 2302 w 10000"/>
              <a:gd name="connsiteY15" fmla="*/ 9792 h 10000"/>
              <a:gd name="connsiteX16" fmla="*/ 2782 w 10000"/>
              <a:gd name="connsiteY16" fmla="*/ 9706 h 10000"/>
              <a:gd name="connsiteX17" fmla="*/ 3153 w 10000"/>
              <a:gd name="connsiteY17" fmla="*/ 9620 h 10000"/>
              <a:gd name="connsiteX18" fmla="*/ 3554 w 10000"/>
              <a:gd name="connsiteY18" fmla="*/ 9521 h 10000"/>
              <a:gd name="connsiteX19" fmla="*/ 4049 w 10000"/>
              <a:gd name="connsiteY19" fmla="*/ 9387 h 10000"/>
              <a:gd name="connsiteX20" fmla="*/ 4467 w 10000"/>
              <a:gd name="connsiteY20" fmla="*/ 9240 h 10000"/>
              <a:gd name="connsiteX21" fmla="*/ 4868 w 10000"/>
              <a:gd name="connsiteY21" fmla="*/ 9105 h 10000"/>
              <a:gd name="connsiteX22" fmla="*/ 5301 w 10000"/>
              <a:gd name="connsiteY22" fmla="*/ 8922 h 10000"/>
              <a:gd name="connsiteX23" fmla="*/ 5734 w 10000"/>
              <a:gd name="connsiteY23" fmla="*/ 8737 h 10000"/>
              <a:gd name="connsiteX24" fmla="*/ 6089 w 10000"/>
              <a:gd name="connsiteY24" fmla="*/ 8566 h 10000"/>
              <a:gd name="connsiteX25" fmla="*/ 6491 w 10000"/>
              <a:gd name="connsiteY25" fmla="*/ 8333 h 10000"/>
              <a:gd name="connsiteX26" fmla="*/ 6893 w 10000"/>
              <a:gd name="connsiteY26" fmla="*/ 8101 h 10000"/>
              <a:gd name="connsiteX27" fmla="*/ 7249 w 10000"/>
              <a:gd name="connsiteY27" fmla="*/ 7843 h 10000"/>
              <a:gd name="connsiteX28" fmla="*/ 7542 w 10000"/>
              <a:gd name="connsiteY28" fmla="*/ 7634 h 10000"/>
              <a:gd name="connsiteX29" fmla="*/ 7867 w 10000"/>
              <a:gd name="connsiteY29" fmla="*/ 7377 h 10000"/>
              <a:gd name="connsiteX30" fmla="*/ 8114 w 10000"/>
              <a:gd name="connsiteY30" fmla="*/ 7157 h 10000"/>
              <a:gd name="connsiteX31" fmla="*/ 8393 w 10000"/>
              <a:gd name="connsiteY31" fmla="*/ 6887 h 10000"/>
              <a:gd name="connsiteX32" fmla="*/ 8670 w 10000"/>
              <a:gd name="connsiteY32" fmla="*/ 6605 h 10000"/>
              <a:gd name="connsiteX33" fmla="*/ 8871 w 10000"/>
              <a:gd name="connsiteY33" fmla="*/ 6299 h 10000"/>
              <a:gd name="connsiteX34" fmla="*/ 9088 w 10000"/>
              <a:gd name="connsiteY34" fmla="*/ 6029 h 10000"/>
              <a:gd name="connsiteX35" fmla="*/ 9242 w 10000"/>
              <a:gd name="connsiteY35" fmla="*/ 5772 h 10000"/>
              <a:gd name="connsiteX36" fmla="*/ 9458 w 10000"/>
              <a:gd name="connsiteY36" fmla="*/ 5379 h 10000"/>
              <a:gd name="connsiteX37" fmla="*/ 9597 w 10000"/>
              <a:gd name="connsiteY37" fmla="*/ 5073 h 10000"/>
              <a:gd name="connsiteX38" fmla="*/ 9768 w 10000"/>
              <a:gd name="connsiteY38" fmla="*/ 4657 h 10000"/>
              <a:gd name="connsiteX39" fmla="*/ 9876 w 10000"/>
              <a:gd name="connsiteY39" fmla="*/ 4191 h 10000"/>
              <a:gd name="connsiteX40" fmla="*/ 9953 w 10000"/>
              <a:gd name="connsiteY40" fmla="*/ 3775 h 10000"/>
              <a:gd name="connsiteX41" fmla="*/ 10000 w 10000"/>
              <a:gd name="connsiteY41" fmla="*/ 3407 h 10000"/>
              <a:gd name="connsiteX42" fmla="*/ 10000 w 10000"/>
              <a:gd name="connsiteY42" fmla="*/ 3015 h 10000"/>
              <a:gd name="connsiteX43" fmla="*/ 9984 w 10000"/>
              <a:gd name="connsiteY43" fmla="*/ 2696 h 10000"/>
              <a:gd name="connsiteX44" fmla="*/ 9922 w 10000"/>
              <a:gd name="connsiteY44" fmla="*/ 2218 h 10000"/>
              <a:gd name="connsiteX45" fmla="*/ 9768 w 10000"/>
              <a:gd name="connsiteY45" fmla="*/ 1740 h 10000"/>
              <a:gd name="connsiteX46" fmla="*/ 9628 w 10000"/>
              <a:gd name="connsiteY46" fmla="*/ 1324 h 10000"/>
              <a:gd name="connsiteX47" fmla="*/ 9458 w 10000"/>
              <a:gd name="connsiteY47" fmla="*/ 980 h 10000"/>
              <a:gd name="connsiteX48" fmla="*/ 9304 w 10000"/>
              <a:gd name="connsiteY48" fmla="*/ 699 h 10000"/>
              <a:gd name="connsiteX49" fmla="*/ 9165 w 10000"/>
              <a:gd name="connsiteY49" fmla="*/ 478 h 10000"/>
              <a:gd name="connsiteX50" fmla="*/ 8994 w 10000"/>
              <a:gd name="connsiteY50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504 w 10000"/>
              <a:gd name="connsiteY4" fmla="*/ 2254 h 10000"/>
              <a:gd name="connsiteX5" fmla="*/ 2916 w 10000"/>
              <a:gd name="connsiteY5" fmla="*/ 3370 h 10000"/>
              <a:gd name="connsiteX6" fmla="*/ 2535 w 10000"/>
              <a:gd name="connsiteY6" fmla="*/ 4234 h 10000"/>
              <a:gd name="connsiteX7" fmla="*/ 1747 w 10000"/>
              <a:gd name="connsiteY7" fmla="*/ 4871 h 10000"/>
              <a:gd name="connsiteX8" fmla="*/ 665 w 10000"/>
              <a:gd name="connsiteY8" fmla="*/ 5294 h 10000"/>
              <a:gd name="connsiteX9" fmla="*/ 2102 w 10000"/>
              <a:gd name="connsiteY9" fmla="*/ 7634 h 10000"/>
              <a:gd name="connsiteX10" fmla="*/ 0 w 10000"/>
              <a:gd name="connsiteY10" fmla="*/ 10000 h 10000"/>
              <a:gd name="connsiteX11" fmla="*/ 418 w 10000"/>
              <a:gd name="connsiteY11" fmla="*/ 9988 h 10000"/>
              <a:gd name="connsiteX12" fmla="*/ 850 w 10000"/>
              <a:gd name="connsiteY12" fmla="*/ 9975 h 10000"/>
              <a:gd name="connsiteX13" fmla="*/ 1329 w 10000"/>
              <a:gd name="connsiteY13" fmla="*/ 9926 h 10000"/>
              <a:gd name="connsiteX14" fmla="*/ 1824 w 10000"/>
              <a:gd name="connsiteY14" fmla="*/ 9877 h 10000"/>
              <a:gd name="connsiteX15" fmla="*/ 2302 w 10000"/>
              <a:gd name="connsiteY15" fmla="*/ 9792 h 10000"/>
              <a:gd name="connsiteX16" fmla="*/ 2782 w 10000"/>
              <a:gd name="connsiteY16" fmla="*/ 9706 h 10000"/>
              <a:gd name="connsiteX17" fmla="*/ 3153 w 10000"/>
              <a:gd name="connsiteY17" fmla="*/ 9620 h 10000"/>
              <a:gd name="connsiteX18" fmla="*/ 3554 w 10000"/>
              <a:gd name="connsiteY18" fmla="*/ 9521 h 10000"/>
              <a:gd name="connsiteX19" fmla="*/ 4049 w 10000"/>
              <a:gd name="connsiteY19" fmla="*/ 9387 h 10000"/>
              <a:gd name="connsiteX20" fmla="*/ 4467 w 10000"/>
              <a:gd name="connsiteY20" fmla="*/ 9240 h 10000"/>
              <a:gd name="connsiteX21" fmla="*/ 4868 w 10000"/>
              <a:gd name="connsiteY21" fmla="*/ 9105 h 10000"/>
              <a:gd name="connsiteX22" fmla="*/ 5301 w 10000"/>
              <a:gd name="connsiteY22" fmla="*/ 8922 h 10000"/>
              <a:gd name="connsiteX23" fmla="*/ 5734 w 10000"/>
              <a:gd name="connsiteY23" fmla="*/ 8737 h 10000"/>
              <a:gd name="connsiteX24" fmla="*/ 6089 w 10000"/>
              <a:gd name="connsiteY24" fmla="*/ 8566 h 10000"/>
              <a:gd name="connsiteX25" fmla="*/ 6491 w 10000"/>
              <a:gd name="connsiteY25" fmla="*/ 8333 h 10000"/>
              <a:gd name="connsiteX26" fmla="*/ 6893 w 10000"/>
              <a:gd name="connsiteY26" fmla="*/ 8101 h 10000"/>
              <a:gd name="connsiteX27" fmla="*/ 7249 w 10000"/>
              <a:gd name="connsiteY27" fmla="*/ 7843 h 10000"/>
              <a:gd name="connsiteX28" fmla="*/ 7542 w 10000"/>
              <a:gd name="connsiteY28" fmla="*/ 7634 h 10000"/>
              <a:gd name="connsiteX29" fmla="*/ 7867 w 10000"/>
              <a:gd name="connsiteY29" fmla="*/ 7377 h 10000"/>
              <a:gd name="connsiteX30" fmla="*/ 8114 w 10000"/>
              <a:gd name="connsiteY30" fmla="*/ 7157 h 10000"/>
              <a:gd name="connsiteX31" fmla="*/ 8393 w 10000"/>
              <a:gd name="connsiteY31" fmla="*/ 6887 h 10000"/>
              <a:gd name="connsiteX32" fmla="*/ 8670 w 10000"/>
              <a:gd name="connsiteY32" fmla="*/ 6605 h 10000"/>
              <a:gd name="connsiteX33" fmla="*/ 8871 w 10000"/>
              <a:gd name="connsiteY33" fmla="*/ 6299 h 10000"/>
              <a:gd name="connsiteX34" fmla="*/ 9088 w 10000"/>
              <a:gd name="connsiteY34" fmla="*/ 6029 h 10000"/>
              <a:gd name="connsiteX35" fmla="*/ 9242 w 10000"/>
              <a:gd name="connsiteY35" fmla="*/ 5772 h 10000"/>
              <a:gd name="connsiteX36" fmla="*/ 9458 w 10000"/>
              <a:gd name="connsiteY36" fmla="*/ 5379 h 10000"/>
              <a:gd name="connsiteX37" fmla="*/ 9597 w 10000"/>
              <a:gd name="connsiteY37" fmla="*/ 5073 h 10000"/>
              <a:gd name="connsiteX38" fmla="*/ 9768 w 10000"/>
              <a:gd name="connsiteY38" fmla="*/ 4657 h 10000"/>
              <a:gd name="connsiteX39" fmla="*/ 9876 w 10000"/>
              <a:gd name="connsiteY39" fmla="*/ 4191 h 10000"/>
              <a:gd name="connsiteX40" fmla="*/ 9953 w 10000"/>
              <a:gd name="connsiteY40" fmla="*/ 3775 h 10000"/>
              <a:gd name="connsiteX41" fmla="*/ 10000 w 10000"/>
              <a:gd name="connsiteY41" fmla="*/ 3407 h 10000"/>
              <a:gd name="connsiteX42" fmla="*/ 10000 w 10000"/>
              <a:gd name="connsiteY42" fmla="*/ 3015 h 10000"/>
              <a:gd name="connsiteX43" fmla="*/ 9984 w 10000"/>
              <a:gd name="connsiteY43" fmla="*/ 2696 h 10000"/>
              <a:gd name="connsiteX44" fmla="*/ 9922 w 10000"/>
              <a:gd name="connsiteY44" fmla="*/ 2218 h 10000"/>
              <a:gd name="connsiteX45" fmla="*/ 9768 w 10000"/>
              <a:gd name="connsiteY45" fmla="*/ 1740 h 10000"/>
              <a:gd name="connsiteX46" fmla="*/ 9628 w 10000"/>
              <a:gd name="connsiteY46" fmla="*/ 1324 h 10000"/>
              <a:gd name="connsiteX47" fmla="*/ 9458 w 10000"/>
              <a:gd name="connsiteY47" fmla="*/ 980 h 10000"/>
              <a:gd name="connsiteX48" fmla="*/ 9304 w 10000"/>
              <a:gd name="connsiteY48" fmla="*/ 699 h 10000"/>
              <a:gd name="connsiteX49" fmla="*/ 9165 w 10000"/>
              <a:gd name="connsiteY49" fmla="*/ 478 h 10000"/>
              <a:gd name="connsiteX50" fmla="*/ 8994 w 10000"/>
              <a:gd name="connsiteY50" fmla="*/ 257 h 10000"/>
              <a:gd name="connsiteX0" fmla="*/ 8994 w 10000"/>
              <a:gd name="connsiteY0" fmla="*/ 257 h 10000"/>
              <a:gd name="connsiteX1" fmla="*/ 9412 w 10000"/>
              <a:gd name="connsiteY1" fmla="*/ 73 h 10000"/>
              <a:gd name="connsiteX2" fmla="*/ 4822 w 10000"/>
              <a:gd name="connsiteY2" fmla="*/ 0 h 10000"/>
              <a:gd name="connsiteX3" fmla="*/ 2086 w 10000"/>
              <a:gd name="connsiteY3" fmla="*/ 2329 h 10000"/>
              <a:gd name="connsiteX4" fmla="*/ 2504 w 10000"/>
              <a:gd name="connsiteY4" fmla="*/ 2254 h 10000"/>
              <a:gd name="connsiteX5" fmla="*/ 2916 w 10000"/>
              <a:gd name="connsiteY5" fmla="*/ 3370 h 10000"/>
              <a:gd name="connsiteX6" fmla="*/ 2535 w 10000"/>
              <a:gd name="connsiteY6" fmla="*/ 4234 h 10000"/>
              <a:gd name="connsiteX7" fmla="*/ 1747 w 10000"/>
              <a:gd name="connsiteY7" fmla="*/ 4871 h 10000"/>
              <a:gd name="connsiteX8" fmla="*/ 705 w 10000"/>
              <a:gd name="connsiteY8" fmla="*/ 5265 h 10000"/>
              <a:gd name="connsiteX9" fmla="*/ 2102 w 10000"/>
              <a:gd name="connsiteY9" fmla="*/ 7634 h 10000"/>
              <a:gd name="connsiteX10" fmla="*/ 0 w 10000"/>
              <a:gd name="connsiteY10" fmla="*/ 10000 h 10000"/>
              <a:gd name="connsiteX11" fmla="*/ 418 w 10000"/>
              <a:gd name="connsiteY11" fmla="*/ 9988 h 10000"/>
              <a:gd name="connsiteX12" fmla="*/ 850 w 10000"/>
              <a:gd name="connsiteY12" fmla="*/ 9975 h 10000"/>
              <a:gd name="connsiteX13" fmla="*/ 1329 w 10000"/>
              <a:gd name="connsiteY13" fmla="*/ 9926 h 10000"/>
              <a:gd name="connsiteX14" fmla="*/ 1824 w 10000"/>
              <a:gd name="connsiteY14" fmla="*/ 9877 h 10000"/>
              <a:gd name="connsiteX15" fmla="*/ 2302 w 10000"/>
              <a:gd name="connsiteY15" fmla="*/ 9792 h 10000"/>
              <a:gd name="connsiteX16" fmla="*/ 2782 w 10000"/>
              <a:gd name="connsiteY16" fmla="*/ 9706 h 10000"/>
              <a:gd name="connsiteX17" fmla="*/ 3153 w 10000"/>
              <a:gd name="connsiteY17" fmla="*/ 9620 h 10000"/>
              <a:gd name="connsiteX18" fmla="*/ 3554 w 10000"/>
              <a:gd name="connsiteY18" fmla="*/ 9521 h 10000"/>
              <a:gd name="connsiteX19" fmla="*/ 4049 w 10000"/>
              <a:gd name="connsiteY19" fmla="*/ 9387 h 10000"/>
              <a:gd name="connsiteX20" fmla="*/ 4467 w 10000"/>
              <a:gd name="connsiteY20" fmla="*/ 9240 h 10000"/>
              <a:gd name="connsiteX21" fmla="*/ 4868 w 10000"/>
              <a:gd name="connsiteY21" fmla="*/ 9105 h 10000"/>
              <a:gd name="connsiteX22" fmla="*/ 5301 w 10000"/>
              <a:gd name="connsiteY22" fmla="*/ 8922 h 10000"/>
              <a:gd name="connsiteX23" fmla="*/ 5734 w 10000"/>
              <a:gd name="connsiteY23" fmla="*/ 8737 h 10000"/>
              <a:gd name="connsiteX24" fmla="*/ 6089 w 10000"/>
              <a:gd name="connsiteY24" fmla="*/ 8566 h 10000"/>
              <a:gd name="connsiteX25" fmla="*/ 6491 w 10000"/>
              <a:gd name="connsiteY25" fmla="*/ 8333 h 10000"/>
              <a:gd name="connsiteX26" fmla="*/ 6893 w 10000"/>
              <a:gd name="connsiteY26" fmla="*/ 8101 h 10000"/>
              <a:gd name="connsiteX27" fmla="*/ 7249 w 10000"/>
              <a:gd name="connsiteY27" fmla="*/ 7843 h 10000"/>
              <a:gd name="connsiteX28" fmla="*/ 7542 w 10000"/>
              <a:gd name="connsiteY28" fmla="*/ 7634 h 10000"/>
              <a:gd name="connsiteX29" fmla="*/ 7867 w 10000"/>
              <a:gd name="connsiteY29" fmla="*/ 7377 h 10000"/>
              <a:gd name="connsiteX30" fmla="*/ 8114 w 10000"/>
              <a:gd name="connsiteY30" fmla="*/ 7157 h 10000"/>
              <a:gd name="connsiteX31" fmla="*/ 8393 w 10000"/>
              <a:gd name="connsiteY31" fmla="*/ 6887 h 10000"/>
              <a:gd name="connsiteX32" fmla="*/ 8670 w 10000"/>
              <a:gd name="connsiteY32" fmla="*/ 6605 h 10000"/>
              <a:gd name="connsiteX33" fmla="*/ 8871 w 10000"/>
              <a:gd name="connsiteY33" fmla="*/ 6299 h 10000"/>
              <a:gd name="connsiteX34" fmla="*/ 9088 w 10000"/>
              <a:gd name="connsiteY34" fmla="*/ 6029 h 10000"/>
              <a:gd name="connsiteX35" fmla="*/ 9242 w 10000"/>
              <a:gd name="connsiteY35" fmla="*/ 5772 h 10000"/>
              <a:gd name="connsiteX36" fmla="*/ 9458 w 10000"/>
              <a:gd name="connsiteY36" fmla="*/ 5379 h 10000"/>
              <a:gd name="connsiteX37" fmla="*/ 9597 w 10000"/>
              <a:gd name="connsiteY37" fmla="*/ 5073 h 10000"/>
              <a:gd name="connsiteX38" fmla="*/ 9768 w 10000"/>
              <a:gd name="connsiteY38" fmla="*/ 4657 h 10000"/>
              <a:gd name="connsiteX39" fmla="*/ 9876 w 10000"/>
              <a:gd name="connsiteY39" fmla="*/ 4191 h 10000"/>
              <a:gd name="connsiteX40" fmla="*/ 9953 w 10000"/>
              <a:gd name="connsiteY40" fmla="*/ 3775 h 10000"/>
              <a:gd name="connsiteX41" fmla="*/ 10000 w 10000"/>
              <a:gd name="connsiteY41" fmla="*/ 3407 h 10000"/>
              <a:gd name="connsiteX42" fmla="*/ 10000 w 10000"/>
              <a:gd name="connsiteY42" fmla="*/ 3015 h 10000"/>
              <a:gd name="connsiteX43" fmla="*/ 9984 w 10000"/>
              <a:gd name="connsiteY43" fmla="*/ 2696 h 10000"/>
              <a:gd name="connsiteX44" fmla="*/ 9922 w 10000"/>
              <a:gd name="connsiteY44" fmla="*/ 2218 h 10000"/>
              <a:gd name="connsiteX45" fmla="*/ 9768 w 10000"/>
              <a:gd name="connsiteY45" fmla="*/ 1740 h 10000"/>
              <a:gd name="connsiteX46" fmla="*/ 9628 w 10000"/>
              <a:gd name="connsiteY46" fmla="*/ 1324 h 10000"/>
              <a:gd name="connsiteX47" fmla="*/ 9458 w 10000"/>
              <a:gd name="connsiteY47" fmla="*/ 980 h 10000"/>
              <a:gd name="connsiteX48" fmla="*/ 9304 w 10000"/>
              <a:gd name="connsiteY48" fmla="*/ 699 h 10000"/>
              <a:gd name="connsiteX49" fmla="*/ 9165 w 10000"/>
              <a:gd name="connsiteY49" fmla="*/ 478 h 10000"/>
              <a:gd name="connsiteX50" fmla="*/ 8994 w 10000"/>
              <a:gd name="connsiteY50" fmla="*/ 257 h 10000"/>
              <a:gd name="connsiteX0" fmla="*/ 8994 w 10000"/>
              <a:gd name="connsiteY0" fmla="*/ 184 h 9927"/>
              <a:gd name="connsiteX1" fmla="*/ 9412 w 10000"/>
              <a:gd name="connsiteY1" fmla="*/ 0 h 9927"/>
              <a:gd name="connsiteX2" fmla="*/ 4692 w 10000"/>
              <a:gd name="connsiteY2" fmla="*/ 144 h 9927"/>
              <a:gd name="connsiteX3" fmla="*/ 2086 w 10000"/>
              <a:gd name="connsiteY3" fmla="*/ 2256 h 9927"/>
              <a:gd name="connsiteX4" fmla="*/ 2504 w 10000"/>
              <a:gd name="connsiteY4" fmla="*/ 2181 h 9927"/>
              <a:gd name="connsiteX5" fmla="*/ 2916 w 10000"/>
              <a:gd name="connsiteY5" fmla="*/ 3297 h 9927"/>
              <a:gd name="connsiteX6" fmla="*/ 2535 w 10000"/>
              <a:gd name="connsiteY6" fmla="*/ 4161 h 9927"/>
              <a:gd name="connsiteX7" fmla="*/ 1747 w 10000"/>
              <a:gd name="connsiteY7" fmla="*/ 4798 h 9927"/>
              <a:gd name="connsiteX8" fmla="*/ 705 w 10000"/>
              <a:gd name="connsiteY8" fmla="*/ 5192 h 9927"/>
              <a:gd name="connsiteX9" fmla="*/ 2102 w 10000"/>
              <a:gd name="connsiteY9" fmla="*/ 7561 h 9927"/>
              <a:gd name="connsiteX10" fmla="*/ 0 w 10000"/>
              <a:gd name="connsiteY10" fmla="*/ 9927 h 9927"/>
              <a:gd name="connsiteX11" fmla="*/ 418 w 10000"/>
              <a:gd name="connsiteY11" fmla="*/ 9915 h 9927"/>
              <a:gd name="connsiteX12" fmla="*/ 850 w 10000"/>
              <a:gd name="connsiteY12" fmla="*/ 9902 h 9927"/>
              <a:gd name="connsiteX13" fmla="*/ 1329 w 10000"/>
              <a:gd name="connsiteY13" fmla="*/ 9853 h 9927"/>
              <a:gd name="connsiteX14" fmla="*/ 1824 w 10000"/>
              <a:gd name="connsiteY14" fmla="*/ 9804 h 9927"/>
              <a:gd name="connsiteX15" fmla="*/ 2302 w 10000"/>
              <a:gd name="connsiteY15" fmla="*/ 9719 h 9927"/>
              <a:gd name="connsiteX16" fmla="*/ 2782 w 10000"/>
              <a:gd name="connsiteY16" fmla="*/ 9633 h 9927"/>
              <a:gd name="connsiteX17" fmla="*/ 3153 w 10000"/>
              <a:gd name="connsiteY17" fmla="*/ 9547 h 9927"/>
              <a:gd name="connsiteX18" fmla="*/ 3554 w 10000"/>
              <a:gd name="connsiteY18" fmla="*/ 9448 h 9927"/>
              <a:gd name="connsiteX19" fmla="*/ 4049 w 10000"/>
              <a:gd name="connsiteY19" fmla="*/ 9314 h 9927"/>
              <a:gd name="connsiteX20" fmla="*/ 4467 w 10000"/>
              <a:gd name="connsiteY20" fmla="*/ 9167 h 9927"/>
              <a:gd name="connsiteX21" fmla="*/ 4868 w 10000"/>
              <a:gd name="connsiteY21" fmla="*/ 9032 h 9927"/>
              <a:gd name="connsiteX22" fmla="*/ 5301 w 10000"/>
              <a:gd name="connsiteY22" fmla="*/ 8849 h 9927"/>
              <a:gd name="connsiteX23" fmla="*/ 5734 w 10000"/>
              <a:gd name="connsiteY23" fmla="*/ 8664 h 9927"/>
              <a:gd name="connsiteX24" fmla="*/ 6089 w 10000"/>
              <a:gd name="connsiteY24" fmla="*/ 8493 h 9927"/>
              <a:gd name="connsiteX25" fmla="*/ 6491 w 10000"/>
              <a:gd name="connsiteY25" fmla="*/ 8260 h 9927"/>
              <a:gd name="connsiteX26" fmla="*/ 6893 w 10000"/>
              <a:gd name="connsiteY26" fmla="*/ 8028 h 9927"/>
              <a:gd name="connsiteX27" fmla="*/ 7249 w 10000"/>
              <a:gd name="connsiteY27" fmla="*/ 7770 h 9927"/>
              <a:gd name="connsiteX28" fmla="*/ 7542 w 10000"/>
              <a:gd name="connsiteY28" fmla="*/ 7561 h 9927"/>
              <a:gd name="connsiteX29" fmla="*/ 7867 w 10000"/>
              <a:gd name="connsiteY29" fmla="*/ 7304 h 9927"/>
              <a:gd name="connsiteX30" fmla="*/ 8114 w 10000"/>
              <a:gd name="connsiteY30" fmla="*/ 7084 h 9927"/>
              <a:gd name="connsiteX31" fmla="*/ 8393 w 10000"/>
              <a:gd name="connsiteY31" fmla="*/ 6814 h 9927"/>
              <a:gd name="connsiteX32" fmla="*/ 8670 w 10000"/>
              <a:gd name="connsiteY32" fmla="*/ 6532 h 9927"/>
              <a:gd name="connsiteX33" fmla="*/ 8871 w 10000"/>
              <a:gd name="connsiteY33" fmla="*/ 6226 h 9927"/>
              <a:gd name="connsiteX34" fmla="*/ 9088 w 10000"/>
              <a:gd name="connsiteY34" fmla="*/ 5956 h 9927"/>
              <a:gd name="connsiteX35" fmla="*/ 9242 w 10000"/>
              <a:gd name="connsiteY35" fmla="*/ 5699 h 9927"/>
              <a:gd name="connsiteX36" fmla="*/ 9458 w 10000"/>
              <a:gd name="connsiteY36" fmla="*/ 5306 h 9927"/>
              <a:gd name="connsiteX37" fmla="*/ 9597 w 10000"/>
              <a:gd name="connsiteY37" fmla="*/ 5000 h 9927"/>
              <a:gd name="connsiteX38" fmla="*/ 9768 w 10000"/>
              <a:gd name="connsiteY38" fmla="*/ 4584 h 9927"/>
              <a:gd name="connsiteX39" fmla="*/ 9876 w 10000"/>
              <a:gd name="connsiteY39" fmla="*/ 4118 h 9927"/>
              <a:gd name="connsiteX40" fmla="*/ 9953 w 10000"/>
              <a:gd name="connsiteY40" fmla="*/ 3702 h 9927"/>
              <a:gd name="connsiteX41" fmla="*/ 10000 w 10000"/>
              <a:gd name="connsiteY41" fmla="*/ 3334 h 9927"/>
              <a:gd name="connsiteX42" fmla="*/ 10000 w 10000"/>
              <a:gd name="connsiteY42" fmla="*/ 2942 h 9927"/>
              <a:gd name="connsiteX43" fmla="*/ 9984 w 10000"/>
              <a:gd name="connsiteY43" fmla="*/ 2623 h 9927"/>
              <a:gd name="connsiteX44" fmla="*/ 9922 w 10000"/>
              <a:gd name="connsiteY44" fmla="*/ 2145 h 9927"/>
              <a:gd name="connsiteX45" fmla="*/ 9768 w 10000"/>
              <a:gd name="connsiteY45" fmla="*/ 1667 h 9927"/>
              <a:gd name="connsiteX46" fmla="*/ 9628 w 10000"/>
              <a:gd name="connsiteY46" fmla="*/ 1251 h 9927"/>
              <a:gd name="connsiteX47" fmla="*/ 9458 w 10000"/>
              <a:gd name="connsiteY47" fmla="*/ 907 h 9927"/>
              <a:gd name="connsiteX48" fmla="*/ 9304 w 10000"/>
              <a:gd name="connsiteY48" fmla="*/ 626 h 9927"/>
              <a:gd name="connsiteX49" fmla="*/ 9165 w 10000"/>
              <a:gd name="connsiteY49" fmla="*/ 405 h 9927"/>
              <a:gd name="connsiteX50" fmla="*/ 8994 w 10000"/>
              <a:gd name="connsiteY50" fmla="*/ 184 h 9927"/>
              <a:gd name="connsiteX0" fmla="*/ 8994 w 10000"/>
              <a:gd name="connsiteY0" fmla="*/ 185 h 10000"/>
              <a:gd name="connsiteX1" fmla="*/ 9412 w 10000"/>
              <a:gd name="connsiteY1" fmla="*/ 0 h 10000"/>
              <a:gd name="connsiteX2" fmla="*/ 4692 w 10000"/>
              <a:gd name="connsiteY2" fmla="*/ 145 h 10000"/>
              <a:gd name="connsiteX3" fmla="*/ 2081 w 10000"/>
              <a:gd name="connsiteY3" fmla="*/ 2132 h 10000"/>
              <a:gd name="connsiteX4" fmla="*/ 2504 w 10000"/>
              <a:gd name="connsiteY4" fmla="*/ 2197 h 10000"/>
              <a:gd name="connsiteX5" fmla="*/ 2916 w 10000"/>
              <a:gd name="connsiteY5" fmla="*/ 3321 h 10000"/>
              <a:gd name="connsiteX6" fmla="*/ 2535 w 10000"/>
              <a:gd name="connsiteY6" fmla="*/ 4192 h 10000"/>
              <a:gd name="connsiteX7" fmla="*/ 1747 w 10000"/>
              <a:gd name="connsiteY7" fmla="*/ 4833 h 10000"/>
              <a:gd name="connsiteX8" fmla="*/ 705 w 10000"/>
              <a:gd name="connsiteY8" fmla="*/ 5230 h 10000"/>
              <a:gd name="connsiteX9" fmla="*/ 2102 w 10000"/>
              <a:gd name="connsiteY9" fmla="*/ 7617 h 10000"/>
              <a:gd name="connsiteX10" fmla="*/ 0 w 10000"/>
              <a:gd name="connsiteY10" fmla="*/ 10000 h 10000"/>
              <a:gd name="connsiteX11" fmla="*/ 418 w 10000"/>
              <a:gd name="connsiteY11" fmla="*/ 9988 h 10000"/>
              <a:gd name="connsiteX12" fmla="*/ 850 w 10000"/>
              <a:gd name="connsiteY12" fmla="*/ 9975 h 10000"/>
              <a:gd name="connsiteX13" fmla="*/ 1329 w 10000"/>
              <a:gd name="connsiteY13" fmla="*/ 9925 h 10000"/>
              <a:gd name="connsiteX14" fmla="*/ 1824 w 10000"/>
              <a:gd name="connsiteY14" fmla="*/ 9876 h 10000"/>
              <a:gd name="connsiteX15" fmla="*/ 2302 w 10000"/>
              <a:gd name="connsiteY15" fmla="*/ 9790 h 10000"/>
              <a:gd name="connsiteX16" fmla="*/ 2782 w 10000"/>
              <a:gd name="connsiteY16" fmla="*/ 9704 h 10000"/>
              <a:gd name="connsiteX17" fmla="*/ 3153 w 10000"/>
              <a:gd name="connsiteY17" fmla="*/ 9617 h 10000"/>
              <a:gd name="connsiteX18" fmla="*/ 3554 w 10000"/>
              <a:gd name="connsiteY18" fmla="*/ 9517 h 10000"/>
              <a:gd name="connsiteX19" fmla="*/ 4049 w 10000"/>
              <a:gd name="connsiteY19" fmla="*/ 9382 h 10000"/>
              <a:gd name="connsiteX20" fmla="*/ 4467 w 10000"/>
              <a:gd name="connsiteY20" fmla="*/ 9234 h 10000"/>
              <a:gd name="connsiteX21" fmla="*/ 4868 w 10000"/>
              <a:gd name="connsiteY21" fmla="*/ 9098 h 10000"/>
              <a:gd name="connsiteX22" fmla="*/ 5301 w 10000"/>
              <a:gd name="connsiteY22" fmla="*/ 8914 h 10000"/>
              <a:gd name="connsiteX23" fmla="*/ 5734 w 10000"/>
              <a:gd name="connsiteY23" fmla="*/ 8728 h 10000"/>
              <a:gd name="connsiteX24" fmla="*/ 6089 w 10000"/>
              <a:gd name="connsiteY24" fmla="*/ 8555 h 10000"/>
              <a:gd name="connsiteX25" fmla="*/ 6491 w 10000"/>
              <a:gd name="connsiteY25" fmla="*/ 8321 h 10000"/>
              <a:gd name="connsiteX26" fmla="*/ 6893 w 10000"/>
              <a:gd name="connsiteY26" fmla="*/ 8087 h 10000"/>
              <a:gd name="connsiteX27" fmla="*/ 7249 w 10000"/>
              <a:gd name="connsiteY27" fmla="*/ 7827 h 10000"/>
              <a:gd name="connsiteX28" fmla="*/ 7542 w 10000"/>
              <a:gd name="connsiteY28" fmla="*/ 7617 h 10000"/>
              <a:gd name="connsiteX29" fmla="*/ 7867 w 10000"/>
              <a:gd name="connsiteY29" fmla="*/ 7358 h 10000"/>
              <a:gd name="connsiteX30" fmla="*/ 8114 w 10000"/>
              <a:gd name="connsiteY30" fmla="*/ 7136 h 10000"/>
              <a:gd name="connsiteX31" fmla="*/ 8393 w 10000"/>
              <a:gd name="connsiteY31" fmla="*/ 6864 h 10000"/>
              <a:gd name="connsiteX32" fmla="*/ 8670 w 10000"/>
              <a:gd name="connsiteY32" fmla="*/ 6580 h 10000"/>
              <a:gd name="connsiteX33" fmla="*/ 8871 w 10000"/>
              <a:gd name="connsiteY33" fmla="*/ 6272 h 10000"/>
              <a:gd name="connsiteX34" fmla="*/ 9088 w 10000"/>
              <a:gd name="connsiteY34" fmla="*/ 6000 h 10000"/>
              <a:gd name="connsiteX35" fmla="*/ 9242 w 10000"/>
              <a:gd name="connsiteY35" fmla="*/ 5741 h 10000"/>
              <a:gd name="connsiteX36" fmla="*/ 9458 w 10000"/>
              <a:gd name="connsiteY36" fmla="*/ 5345 h 10000"/>
              <a:gd name="connsiteX37" fmla="*/ 9597 w 10000"/>
              <a:gd name="connsiteY37" fmla="*/ 5037 h 10000"/>
              <a:gd name="connsiteX38" fmla="*/ 9768 w 10000"/>
              <a:gd name="connsiteY38" fmla="*/ 4618 h 10000"/>
              <a:gd name="connsiteX39" fmla="*/ 9876 w 10000"/>
              <a:gd name="connsiteY39" fmla="*/ 4148 h 10000"/>
              <a:gd name="connsiteX40" fmla="*/ 9953 w 10000"/>
              <a:gd name="connsiteY40" fmla="*/ 3729 h 10000"/>
              <a:gd name="connsiteX41" fmla="*/ 10000 w 10000"/>
              <a:gd name="connsiteY41" fmla="*/ 3359 h 10000"/>
              <a:gd name="connsiteX42" fmla="*/ 10000 w 10000"/>
              <a:gd name="connsiteY42" fmla="*/ 2964 h 10000"/>
              <a:gd name="connsiteX43" fmla="*/ 9984 w 10000"/>
              <a:gd name="connsiteY43" fmla="*/ 2642 h 10000"/>
              <a:gd name="connsiteX44" fmla="*/ 9922 w 10000"/>
              <a:gd name="connsiteY44" fmla="*/ 2161 h 10000"/>
              <a:gd name="connsiteX45" fmla="*/ 9768 w 10000"/>
              <a:gd name="connsiteY45" fmla="*/ 1679 h 10000"/>
              <a:gd name="connsiteX46" fmla="*/ 9628 w 10000"/>
              <a:gd name="connsiteY46" fmla="*/ 1260 h 10000"/>
              <a:gd name="connsiteX47" fmla="*/ 9458 w 10000"/>
              <a:gd name="connsiteY47" fmla="*/ 914 h 10000"/>
              <a:gd name="connsiteX48" fmla="*/ 9304 w 10000"/>
              <a:gd name="connsiteY48" fmla="*/ 631 h 10000"/>
              <a:gd name="connsiteX49" fmla="*/ 9165 w 10000"/>
              <a:gd name="connsiteY49" fmla="*/ 408 h 10000"/>
              <a:gd name="connsiteX50" fmla="*/ 8994 w 10000"/>
              <a:gd name="connsiteY50" fmla="*/ 185 h 10000"/>
              <a:gd name="connsiteX0" fmla="*/ 8994 w 10000"/>
              <a:gd name="connsiteY0" fmla="*/ 185 h 10000"/>
              <a:gd name="connsiteX1" fmla="*/ 9412 w 10000"/>
              <a:gd name="connsiteY1" fmla="*/ 0 h 10000"/>
              <a:gd name="connsiteX2" fmla="*/ 4692 w 10000"/>
              <a:gd name="connsiteY2" fmla="*/ 145 h 10000"/>
              <a:gd name="connsiteX3" fmla="*/ 2023 w 10000"/>
              <a:gd name="connsiteY3" fmla="*/ 2174 h 10000"/>
              <a:gd name="connsiteX4" fmla="*/ 2504 w 10000"/>
              <a:gd name="connsiteY4" fmla="*/ 2197 h 10000"/>
              <a:gd name="connsiteX5" fmla="*/ 2916 w 10000"/>
              <a:gd name="connsiteY5" fmla="*/ 3321 h 10000"/>
              <a:gd name="connsiteX6" fmla="*/ 2535 w 10000"/>
              <a:gd name="connsiteY6" fmla="*/ 4192 h 10000"/>
              <a:gd name="connsiteX7" fmla="*/ 1747 w 10000"/>
              <a:gd name="connsiteY7" fmla="*/ 4833 h 10000"/>
              <a:gd name="connsiteX8" fmla="*/ 705 w 10000"/>
              <a:gd name="connsiteY8" fmla="*/ 5230 h 10000"/>
              <a:gd name="connsiteX9" fmla="*/ 2102 w 10000"/>
              <a:gd name="connsiteY9" fmla="*/ 7617 h 10000"/>
              <a:gd name="connsiteX10" fmla="*/ 0 w 10000"/>
              <a:gd name="connsiteY10" fmla="*/ 10000 h 10000"/>
              <a:gd name="connsiteX11" fmla="*/ 418 w 10000"/>
              <a:gd name="connsiteY11" fmla="*/ 9988 h 10000"/>
              <a:gd name="connsiteX12" fmla="*/ 850 w 10000"/>
              <a:gd name="connsiteY12" fmla="*/ 9975 h 10000"/>
              <a:gd name="connsiteX13" fmla="*/ 1329 w 10000"/>
              <a:gd name="connsiteY13" fmla="*/ 9925 h 10000"/>
              <a:gd name="connsiteX14" fmla="*/ 1824 w 10000"/>
              <a:gd name="connsiteY14" fmla="*/ 9876 h 10000"/>
              <a:gd name="connsiteX15" fmla="*/ 2302 w 10000"/>
              <a:gd name="connsiteY15" fmla="*/ 9790 h 10000"/>
              <a:gd name="connsiteX16" fmla="*/ 2782 w 10000"/>
              <a:gd name="connsiteY16" fmla="*/ 9704 h 10000"/>
              <a:gd name="connsiteX17" fmla="*/ 3153 w 10000"/>
              <a:gd name="connsiteY17" fmla="*/ 9617 h 10000"/>
              <a:gd name="connsiteX18" fmla="*/ 3554 w 10000"/>
              <a:gd name="connsiteY18" fmla="*/ 9517 h 10000"/>
              <a:gd name="connsiteX19" fmla="*/ 4049 w 10000"/>
              <a:gd name="connsiteY19" fmla="*/ 9382 h 10000"/>
              <a:gd name="connsiteX20" fmla="*/ 4467 w 10000"/>
              <a:gd name="connsiteY20" fmla="*/ 9234 h 10000"/>
              <a:gd name="connsiteX21" fmla="*/ 4868 w 10000"/>
              <a:gd name="connsiteY21" fmla="*/ 9098 h 10000"/>
              <a:gd name="connsiteX22" fmla="*/ 5301 w 10000"/>
              <a:gd name="connsiteY22" fmla="*/ 8914 h 10000"/>
              <a:gd name="connsiteX23" fmla="*/ 5734 w 10000"/>
              <a:gd name="connsiteY23" fmla="*/ 8728 h 10000"/>
              <a:gd name="connsiteX24" fmla="*/ 6089 w 10000"/>
              <a:gd name="connsiteY24" fmla="*/ 8555 h 10000"/>
              <a:gd name="connsiteX25" fmla="*/ 6491 w 10000"/>
              <a:gd name="connsiteY25" fmla="*/ 8321 h 10000"/>
              <a:gd name="connsiteX26" fmla="*/ 6893 w 10000"/>
              <a:gd name="connsiteY26" fmla="*/ 8087 h 10000"/>
              <a:gd name="connsiteX27" fmla="*/ 7249 w 10000"/>
              <a:gd name="connsiteY27" fmla="*/ 7827 h 10000"/>
              <a:gd name="connsiteX28" fmla="*/ 7542 w 10000"/>
              <a:gd name="connsiteY28" fmla="*/ 7617 h 10000"/>
              <a:gd name="connsiteX29" fmla="*/ 7867 w 10000"/>
              <a:gd name="connsiteY29" fmla="*/ 7358 h 10000"/>
              <a:gd name="connsiteX30" fmla="*/ 8114 w 10000"/>
              <a:gd name="connsiteY30" fmla="*/ 7136 h 10000"/>
              <a:gd name="connsiteX31" fmla="*/ 8393 w 10000"/>
              <a:gd name="connsiteY31" fmla="*/ 6864 h 10000"/>
              <a:gd name="connsiteX32" fmla="*/ 8670 w 10000"/>
              <a:gd name="connsiteY32" fmla="*/ 6580 h 10000"/>
              <a:gd name="connsiteX33" fmla="*/ 8871 w 10000"/>
              <a:gd name="connsiteY33" fmla="*/ 6272 h 10000"/>
              <a:gd name="connsiteX34" fmla="*/ 9088 w 10000"/>
              <a:gd name="connsiteY34" fmla="*/ 6000 h 10000"/>
              <a:gd name="connsiteX35" fmla="*/ 9242 w 10000"/>
              <a:gd name="connsiteY35" fmla="*/ 5741 h 10000"/>
              <a:gd name="connsiteX36" fmla="*/ 9458 w 10000"/>
              <a:gd name="connsiteY36" fmla="*/ 5345 h 10000"/>
              <a:gd name="connsiteX37" fmla="*/ 9597 w 10000"/>
              <a:gd name="connsiteY37" fmla="*/ 5037 h 10000"/>
              <a:gd name="connsiteX38" fmla="*/ 9768 w 10000"/>
              <a:gd name="connsiteY38" fmla="*/ 4618 h 10000"/>
              <a:gd name="connsiteX39" fmla="*/ 9876 w 10000"/>
              <a:gd name="connsiteY39" fmla="*/ 4148 h 10000"/>
              <a:gd name="connsiteX40" fmla="*/ 9953 w 10000"/>
              <a:gd name="connsiteY40" fmla="*/ 3729 h 10000"/>
              <a:gd name="connsiteX41" fmla="*/ 10000 w 10000"/>
              <a:gd name="connsiteY41" fmla="*/ 3359 h 10000"/>
              <a:gd name="connsiteX42" fmla="*/ 10000 w 10000"/>
              <a:gd name="connsiteY42" fmla="*/ 2964 h 10000"/>
              <a:gd name="connsiteX43" fmla="*/ 9984 w 10000"/>
              <a:gd name="connsiteY43" fmla="*/ 2642 h 10000"/>
              <a:gd name="connsiteX44" fmla="*/ 9922 w 10000"/>
              <a:gd name="connsiteY44" fmla="*/ 2161 h 10000"/>
              <a:gd name="connsiteX45" fmla="*/ 9768 w 10000"/>
              <a:gd name="connsiteY45" fmla="*/ 1679 h 10000"/>
              <a:gd name="connsiteX46" fmla="*/ 9628 w 10000"/>
              <a:gd name="connsiteY46" fmla="*/ 1260 h 10000"/>
              <a:gd name="connsiteX47" fmla="*/ 9458 w 10000"/>
              <a:gd name="connsiteY47" fmla="*/ 914 h 10000"/>
              <a:gd name="connsiteX48" fmla="*/ 9304 w 10000"/>
              <a:gd name="connsiteY48" fmla="*/ 631 h 10000"/>
              <a:gd name="connsiteX49" fmla="*/ 9165 w 10000"/>
              <a:gd name="connsiteY49" fmla="*/ 408 h 10000"/>
              <a:gd name="connsiteX50" fmla="*/ 8994 w 10000"/>
              <a:gd name="connsiteY50" fmla="*/ 185 h 10000"/>
              <a:gd name="connsiteX0" fmla="*/ 8994 w 10000"/>
              <a:gd name="connsiteY0" fmla="*/ 185 h 10000"/>
              <a:gd name="connsiteX1" fmla="*/ 9412 w 10000"/>
              <a:gd name="connsiteY1" fmla="*/ 0 h 10000"/>
              <a:gd name="connsiteX2" fmla="*/ 4692 w 10000"/>
              <a:gd name="connsiteY2" fmla="*/ 145 h 10000"/>
              <a:gd name="connsiteX3" fmla="*/ 2023 w 10000"/>
              <a:gd name="connsiteY3" fmla="*/ 2174 h 10000"/>
              <a:gd name="connsiteX4" fmla="*/ 2441 w 10000"/>
              <a:gd name="connsiteY4" fmla="*/ 2098 h 10000"/>
              <a:gd name="connsiteX5" fmla="*/ 2916 w 10000"/>
              <a:gd name="connsiteY5" fmla="*/ 3321 h 10000"/>
              <a:gd name="connsiteX6" fmla="*/ 2535 w 10000"/>
              <a:gd name="connsiteY6" fmla="*/ 4192 h 10000"/>
              <a:gd name="connsiteX7" fmla="*/ 1747 w 10000"/>
              <a:gd name="connsiteY7" fmla="*/ 4833 h 10000"/>
              <a:gd name="connsiteX8" fmla="*/ 705 w 10000"/>
              <a:gd name="connsiteY8" fmla="*/ 5230 h 10000"/>
              <a:gd name="connsiteX9" fmla="*/ 2102 w 10000"/>
              <a:gd name="connsiteY9" fmla="*/ 7617 h 10000"/>
              <a:gd name="connsiteX10" fmla="*/ 0 w 10000"/>
              <a:gd name="connsiteY10" fmla="*/ 10000 h 10000"/>
              <a:gd name="connsiteX11" fmla="*/ 418 w 10000"/>
              <a:gd name="connsiteY11" fmla="*/ 9988 h 10000"/>
              <a:gd name="connsiteX12" fmla="*/ 850 w 10000"/>
              <a:gd name="connsiteY12" fmla="*/ 9975 h 10000"/>
              <a:gd name="connsiteX13" fmla="*/ 1329 w 10000"/>
              <a:gd name="connsiteY13" fmla="*/ 9925 h 10000"/>
              <a:gd name="connsiteX14" fmla="*/ 1824 w 10000"/>
              <a:gd name="connsiteY14" fmla="*/ 9876 h 10000"/>
              <a:gd name="connsiteX15" fmla="*/ 2302 w 10000"/>
              <a:gd name="connsiteY15" fmla="*/ 9790 h 10000"/>
              <a:gd name="connsiteX16" fmla="*/ 2782 w 10000"/>
              <a:gd name="connsiteY16" fmla="*/ 9704 h 10000"/>
              <a:gd name="connsiteX17" fmla="*/ 3153 w 10000"/>
              <a:gd name="connsiteY17" fmla="*/ 9617 h 10000"/>
              <a:gd name="connsiteX18" fmla="*/ 3554 w 10000"/>
              <a:gd name="connsiteY18" fmla="*/ 9517 h 10000"/>
              <a:gd name="connsiteX19" fmla="*/ 4049 w 10000"/>
              <a:gd name="connsiteY19" fmla="*/ 9382 h 10000"/>
              <a:gd name="connsiteX20" fmla="*/ 4467 w 10000"/>
              <a:gd name="connsiteY20" fmla="*/ 9234 h 10000"/>
              <a:gd name="connsiteX21" fmla="*/ 4868 w 10000"/>
              <a:gd name="connsiteY21" fmla="*/ 9098 h 10000"/>
              <a:gd name="connsiteX22" fmla="*/ 5301 w 10000"/>
              <a:gd name="connsiteY22" fmla="*/ 8914 h 10000"/>
              <a:gd name="connsiteX23" fmla="*/ 5734 w 10000"/>
              <a:gd name="connsiteY23" fmla="*/ 8728 h 10000"/>
              <a:gd name="connsiteX24" fmla="*/ 6089 w 10000"/>
              <a:gd name="connsiteY24" fmla="*/ 8555 h 10000"/>
              <a:gd name="connsiteX25" fmla="*/ 6491 w 10000"/>
              <a:gd name="connsiteY25" fmla="*/ 8321 h 10000"/>
              <a:gd name="connsiteX26" fmla="*/ 6893 w 10000"/>
              <a:gd name="connsiteY26" fmla="*/ 8087 h 10000"/>
              <a:gd name="connsiteX27" fmla="*/ 7249 w 10000"/>
              <a:gd name="connsiteY27" fmla="*/ 7827 h 10000"/>
              <a:gd name="connsiteX28" fmla="*/ 7542 w 10000"/>
              <a:gd name="connsiteY28" fmla="*/ 7617 h 10000"/>
              <a:gd name="connsiteX29" fmla="*/ 7867 w 10000"/>
              <a:gd name="connsiteY29" fmla="*/ 7358 h 10000"/>
              <a:gd name="connsiteX30" fmla="*/ 8114 w 10000"/>
              <a:gd name="connsiteY30" fmla="*/ 7136 h 10000"/>
              <a:gd name="connsiteX31" fmla="*/ 8393 w 10000"/>
              <a:gd name="connsiteY31" fmla="*/ 6864 h 10000"/>
              <a:gd name="connsiteX32" fmla="*/ 8670 w 10000"/>
              <a:gd name="connsiteY32" fmla="*/ 6580 h 10000"/>
              <a:gd name="connsiteX33" fmla="*/ 8871 w 10000"/>
              <a:gd name="connsiteY33" fmla="*/ 6272 h 10000"/>
              <a:gd name="connsiteX34" fmla="*/ 9088 w 10000"/>
              <a:gd name="connsiteY34" fmla="*/ 6000 h 10000"/>
              <a:gd name="connsiteX35" fmla="*/ 9242 w 10000"/>
              <a:gd name="connsiteY35" fmla="*/ 5741 h 10000"/>
              <a:gd name="connsiteX36" fmla="*/ 9458 w 10000"/>
              <a:gd name="connsiteY36" fmla="*/ 5345 h 10000"/>
              <a:gd name="connsiteX37" fmla="*/ 9597 w 10000"/>
              <a:gd name="connsiteY37" fmla="*/ 5037 h 10000"/>
              <a:gd name="connsiteX38" fmla="*/ 9768 w 10000"/>
              <a:gd name="connsiteY38" fmla="*/ 4618 h 10000"/>
              <a:gd name="connsiteX39" fmla="*/ 9876 w 10000"/>
              <a:gd name="connsiteY39" fmla="*/ 4148 h 10000"/>
              <a:gd name="connsiteX40" fmla="*/ 9953 w 10000"/>
              <a:gd name="connsiteY40" fmla="*/ 3729 h 10000"/>
              <a:gd name="connsiteX41" fmla="*/ 10000 w 10000"/>
              <a:gd name="connsiteY41" fmla="*/ 3359 h 10000"/>
              <a:gd name="connsiteX42" fmla="*/ 10000 w 10000"/>
              <a:gd name="connsiteY42" fmla="*/ 2964 h 10000"/>
              <a:gd name="connsiteX43" fmla="*/ 9984 w 10000"/>
              <a:gd name="connsiteY43" fmla="*/ 2642 h 10000"/>
              <a:gd name="connsiteX44" fmla="*/ 9922 w 10000"/>
              <a:gd name="connsiteY44" fmla="*/ 2161 h 10000"/>
              <a:gd name="connsiteX45" fmla="*/ 9768 w 10000"/>
              <a:gd name="connsiteY45" fmla="*/ 1679 h 10000"/>
              <a:gd name="connsiteX46" fmla="*/ 9628 w 10000"/>
              <a:gd name="connsiteY46" fmla="*/ 1260 h 10000"/>
              <a:gd name="connsiteX47" fmla="*/ 9458 w 10000"/>
              <a:gd name="connsiteY47" fmla="*/ 914 h 10000"/>
              <a:gd name="connsiteX48" fmla="*/ 9304 w 10000"/>
              <a:gd name="connsiteY48" fmla="*/ 631 h 10000"/>
              <a:gd name="connsiteX49" fmla="*/ 9165 w 10000"/>
              <a:gd name="connsiteY49" fmla="*/ 408 h 10000"/>
              <a:gd name="connsiteX50" fmla="*/ 8994 w 10000"/>
              <a:gd name="connsiteY50" fmla="*/ 185 h 10000"/>
              <a:gd name="connsiteX0" fmla="*/ 8994 w 10000"/>
              <a:gd name="connsiteY0" fmla="*/ 185 h 10000"/>
              <a:gd name="connsiteX1" fmla="*/ 9412 w 10000"/>
              <a:gd name="connsiteY1" fmla="*/ 0 h 10000"/>
              <a:gd name="connsiteX2" fmla="*/ 4692 w 10000"/>
              <a:gd name="connsiteY2" fmla="*/ 145 h 10000"/>
              <a:gd name="connsiteX3" fmla="*/ 1955 w 10000"/>
              <a:gd name="connsiteY3" fmla="*/ 2258 h 10000"/>
              <a:gd name="connsiteX4" fmla="*/ 2441 w 10000"/>
              <a:gd name="connsiteY4" fmla="*/ 2098 h 10000"/>
              <a:gd name="connsiteX5" fmla="*/ 2916 w 10000"/>
              <a:gd name="connsiteY5" fmla="*/ 3321 h 10000"/>
              <a:gd name="connsiteX6" fmla="*/ 2535 w 10000"/>
              <a:gd name="connsiteY6" fmla="*/ 4192 h 10000"/>
              <a:gd name="connsiteX7" fmla="*/ 1747 w 10000"/>
              <a:gd name="connsiteY7" fmla="*/ 4833 h 10000"/>
              <a:gd name="connsiteX8" fmla="*/ 705 w 10000"/>
              <a:gd name="connsiteY8" fmla="*/ 5230 h 10000"/>
              <a:gd name="connsiteX9" fmla="*/ 2102 w 10000"/>
              <a:gd name="connsiteY9" fmla="*/ 7617 h 10000"/>
              <a:gd name="connsiteX10" fmla="*/ 0 w 10000"/>
              <a:gd name="connsiteY10" fmla="*/ 10000 h 10000"/>
              <a:gd name="connsiteX11" fmla="*/ 418 w 10000"/>
              <a:gd name="connsiteY11" fmla="*/ 9988 h 10000"/>
              <a:gd name="connsiteX12" fmla="*/ 850 w 10000"/>
              <a:gd name="connsiteY12" fmla="*/ 9975 h 10000"/>
              <a:gd name="connsiteX13" fmla="*/ 1329 w 10000"/>
              <a:gd name="connsiteY13" fmla="*/ 9925 h 10000"/>
              <a:gd name="connsiteX14" fmla="*/ 1824 w 10000"/>
              <a:gd name="connsiteY14" fmla="*/ 9876 h 10000"/>
              <a:gd name="connsiteX15" fmla="*/ 2302 w 10000"/>
              <a:gd name="connsiteY15" fmla="*/ 9790 h 10000"/>
              <a:gd name="connsiteX16" fmla="*/ 2782 w 10000"/>
              <a:gd name="connsiteY16" fmla="*/ 9704 h 10000"/>
              <a:gd name="connsiteX17" fmla="*/ 3153 w 10000"/>
              <a:gd name="connsiteY17" fmla="*/ 9617 h 10000"/>
              <a:gd name="connsiteX18" fmla="*/ 3554 w 10000"/>
              <a:gd name="connsiteY18" fmla="*/ 9517 h 10000"/>
              <a:gd name="connsiteX19" fmla="*/ 4049 w 10000"/>
              <a:gd name="connsiteY19" fmla="*/ 9382 h 10000"/>
              <a:gd name="connsiteX20" fmla="*/ 4467 w 10000"/>
              <a:gd name="connsiteY20" fmla="*/ 9234 h 10000"/>
              <a:gd name="connsiteX21" fmla="*/ 4868 w 10000"/>
              <a:gd name="connsiteY21" fmla="*/ 9098 h 10000"/>
              <a:gd name="connsiteX22" fmla="*/ 5301 w 10000"/>
              <a:gd name="connsiteY22" fmla="*/ 8914 h 10000"/>
              <a:gd name="connsiteX23" fmla="*/ 5734 w 10000"/>
              <a:gd name="connsiteY23" fmla="*/ 8728 h 10000"/>
              <a:gd name="connsiteX24" fmla="*/ 6089 w 10000"/>
              <a:gd name="connsiteY24" fmla="*/ 8555 h 10000"/>
              <a:gd name="connsiteX25" fmla="*/ 6491 w 10000"/>
              <a:gd name="connsiteY25" fmla="*/ 8321 h 10000"/>
              <a:gd name="connsiteX26" fmla="*/ 6893 w 10000"/>
              <a:gd name="connsiteY26" fmla="*/ 8087 h 10000"/>
              <a:gd name="connsiteX27" fmla="*/ 7249 w 10000"/>
              <a:gd name="connsiteY27" fmla="*/ 7827 h 10000"/>
              <a:gd name="connsiteX28" fmla="*/ 7542 w 10000"/>
              <a:gd name="connsiteY28" fmla="*/ 7617 h 10000"/>
              <a:gd name="connsiteX29" fmla="*/ 7867 w 10000"/>
              <a:gd name="connsiteY29" fmla="*/ 7358 h 10000"/>
              <a:gd name="connsiteX30" fmla="*/ 8114 w 10000"/>
              <a:gd name="connsiteY30" fmla="*/ 7136 h 10000"/>
              <a:gd name="connsiteX31" fmla="*/ 8393 w 10000"/>
              <a:gd name="connsiteY31" fmla="*/ 6864 h 10000"/>
              <a:gd name="connsiteX32" fmla="*/ 8670 w 10000"/>
              <a:gd name="connsiteY32" fmla="*/ 6580 h 10000"/>
              <a:gd name="connsiteX33" fmla="*/ 8871 w 10000"/>
              <a:gd name="connsiteY33" fmla="*/ 6272 h 10000"/>
              <a:gd name="connsiteX34" fmla="*/ 9088 w 10000"/>
              <a:gd name="connsiteY34" fmla="*/ 6000 h 10000"/>
              <a:gd name="connsiteX35" fmla="*/ 9242 w 10000"/>
              <a:gd name="connsiteY35" fmla="*/ 5741 h 10000"/>
              <a:gd name="connsiteX36" fmla="*/ 9458 w 10000"/>
              <a:gd name="connsiteY36" fmla="*/ 5345 h 10000"/>
              <a:gd name="connsiteX37" fmla="*/ 9597 w 10000"/>
              <a:gd name="connsiteY37" fmla="*/ 5037 h 10000"/>
              <a:gd name="connsiteX38" fmla="*/ 9768 w 10000"/>
              <a:gd name="connsiteY38" fmla="*/ 4618 h 10000"/>
              <a:gd name="connsiteX39" fmla="*/ 9876 w 10000"/>
              <a:gd name="connsiteY39" fmla="*/ 4148 h 10000"/>
              <a:gd name="connsiteX40" fmla="*/ 9953 w 10000"/>
              <a:gd name="connsiteY40" fmla="*/ 3729 h 10000"/>
              <a:gd name="connsiteX41" fmla="*/ 10000 w 10000"/>
              <a:gd name="connsiteY41" fmla="*/ 3359 h 10000"/>
              <a:gd name="connsiteX42" fmla="*/ 10000 w 10000"/>
              <a:gd name="connsiteY42" fmla="*/ 2964 h 10000"/>
              <a:gd name="connsiteX43" fmla="*/ 9984 w 10000"/>
              <a:gd name="connsiteY43" fmla="*/ 2642 h 10000"/>
              <a:gd name="connsiteX44" fmla="*/ 9922 w 10000"/>
              <a:gd name="connsiteY44" fmla="*/ 2161 h 10000"/>
              <a:gd name="connsiteX45" fmla="*/ 9768 w 10000"/>
              <a:gd name="connsiteY45" fmla="*/ 1679 h 10000"/>
              <a:gd name="connsiteX46" fmla="*/ 9628 w 10000"/>
              <a:gd name="connsiteY46" fmla="*/ 1260 h 10000"/>
              <a:gd name="connsiteX47" fmla="*/ 9458 w 10000"/>
              <a:gd name="connsiteY47" fmla="*/ 914 h 10000"/>
              <a:gd name="connsiteX48" fmla="*/ 9304 w 10000"/>
              <a:gd name="connsiteY48" fmla="*/ 631 h 10000"/>
              <a:gd name="connsiteX49" fmla="*/ 9165 w 10000"/>
              <a:gd name="connsiteY49" fmla="*/ 408 h 10000"/>
              <a:gd name="connsiteX50" fmla="*/ 8994 w 10000"/>
              <a:gd name="connsiteY50" fmla="*/ 185 h 10000"/>
              <a:gd name="connsiteX0" fmla="*/ 8994 w 10000"/>
              <a:gd name="connsiteY0" fmla="*/ 185 h 10000"/>
              <a:gd name="connsiteX1" fmla="*/ 9412 w 10000"/>
              <a:gd name="connsiteY1" fmla="*/ 0 h 10000"/>
              <a:gd name="connsiteX2" fmla="*/ 4692 w 10000"/>
              <a:gd name="connsiteY2" fmla="*/ 145 h 10000"/>
              <a:gd name="connsiteX3" fmla="*/ 1955 w 10000"/>
              <a:gd name="connsiteY3" fmla="*/ 2258 h 10000"/>
              <a:gd name="connsiteX4" fmla="*/ 2441 w 10000"/>
              <a:gd name="connsiteY4" fmla="*/ 2098 h 10000"/>
              <a:gd name="connsiteX5" fmla="*/ 2916 w 10000"/>
              <a:gd name="connsiteY5" fmla="*/ 3321 h 10000"/>
              <a:gd name="connsiteX6" fmla="*/ 2535 w 10000"/>
              <a:gd name="connsiteY6" fmla="*/ 4192 h 10000"/>
              <a:gd name="connsiteX7" fmla="*/ 1747 w 10000"/>
              <a:gd name="connsiteY7" fmla="*/ 4833 h 10000"/>
              <a:gd name="connsiteX8" fmla="*/ 599 w 10000"/>
              <a:gd name="connsiteY8" fmla="*/ 5242 h 10000"/>
              <a:gd name="connsiteX9" fmla="*/ 2102 w 10000"/>
              <a:gd name="connsiteY9" fmla="*/ 7617 h 10000"/>
              <a:gd name="connsiteX10" fmla="*/ 0 w 10000"/>
              <a:gd name="connsiteY10" fmla="*/ 10000 h 10000"/>
              <a:gd name="connsiteX11" fmla="*/ 418 w 10000"/>
              <a:gd name="connsiteY11" fmla="*/ 9988 h 10000"/>
              <a:gd name="connsiteX12" fmla="*/ 850 w 10000"/>
              <a:gd name="connsiteY12" fmla="*/ 9975 h 10000"/>
              <a:gd name="connsiteX13" fmla="*/ 1329 w 10000"/>
              <a:gd name="connsiteY13" fmla="*/ 9925 h 10000"/>
              <a:gd name="connsiteX14" fmla="*/ 1824 w 10000"/>
              <a:gd name="connsiteY14" fmla="*/ 9876 h 10000"/>
              <a:gd name="connsiteX15" fmla="*/ 2302 w 10000"/>
              <a:gd name="connsiteY15" fmla="*/ 9790 h 10000"/>
              <a:gd name="connsiteX16" fmla="*/ 2782 w 10000"/>
              <a:gd name="connsiteY16" fmla="*/ 9704 h 10000"/>
              <a:gd name="connsiteX17" fmla="*/ 3153 w 10000"/>
              <a:gd name="connsiteY17" fmla="*/ 9617 h 10000"/>
              <a:gd name="connsiteX18" fmla="*/ 3554 w 10000"/>
              <a:gd name="connsiteY18" fmla="*/ 9517 h 10000"/>
              <a:gd name="connsiteX19" fmla="*/ 4049 w 10000"/>
              <a:gd name="connsiteY19" fmla="*/ 9382 h 10000"/>
              <a:gd name="connsiteX20" fmla="*/ 4467 w 10000"/>
              <a:gd name="connsiteY20" fmla="*/ 9234 h 10000"/>
              <a:gd name="connsiteX21" fmla="*/ 4868 w 10000"/>
              <a:gd name="connsiteY21" fmla="*/ 9098 h 10000"/>
              <a:gd name="connsiteX22" fmla="*/ 5301 w 10000"/>
              <a:gd name="connsiteY22" fmla="*/ 8914 h 10000"/>
              <a:gd name="connsiteX23" fmla="*/ 5734 w 10000"/>
              <a:gd name="connsiteY23" fmla="*/ 8728 h 10000"/>
              <a:gd name="connsiteX24" fmla="*/ 6089 w 10000"/>
              <a:gd name="connsiteY24" fmla="*/ 8555 h 10000"/>
              <a:gd name="connsiteX25" fmla="*/ 6491 w 10000"/>
              <a:gd name="connsiteY25" fmla="*/ 8321 h 10000"/>
              <a:gd name="connsiteX26" fmla="*/ 6893 w 10000"/>
              <a:gd name="connsiteY26" fmla="*/ 8087 h 10000"/>
              <a:gd name="connsiteX27" fmla="*/ 7249 w 10000"/>
              <a:gd name="connsiteY27" fmla="*/ 7827 h 10000"/>
              <a:gd name="connsiteX28" fmla="*/ 7542 w 10000"/>
              <a:gd name="connsiteY28" fmla="*/ 7617 h 10000"/>
              <a:gd name="connsiteX29" fmla="*/ 7867 w 10000"/>
              <a:gd name="connsiteY29" fmla="*/ 7358 h 10000"/>
              <a:gd name="connsiteX30" fmla="*/ 8114 w 10000"/>
              <a:gd name="connsiteY30" fmla="*/ 7136 h 10000"/>
              <a:gd name="connsiteX31" fmla="*/ 8393 w 10000"/>
              <a:gd name="connsiteY31" fmla="*/ 6864 h 10000"/>
              <a:gd name="connsiteX32" fmla="*/ 8670 w 10000"/>
              <a:gd name="connsiteY32" fmla="*/ 6580 h 10000"/>
              <a:gd name="connsiteX33" fmla="*/ 8871 w 10000"/>
              <a:gd name="connsiteY33" fmla="*/ 6272 h 10000"/>
              <a:gd name="connsiteX34" fmla="*/ 9088 w 10000"/>
              <a:gd name="connsiteY34" fmla="*/ 6000 h 10000"/>
              <a:gd name="connsiteX35" fmla="*/ 9242 w 10000"/>
              <a:gd name="connsiteY35" fmla="*/ 5741 h 10000"/>
              <a:gd name="connsiteX36" fmla="*/ 9458 w 10000"/>
              <a:gd name="connsiteY36" fmla="*/ 5345 h 10000"/>
              <a:gd name="connsiteX37" fmla="*/ 9597 w 10000"/>
              <a:gd name="connsiteY37" fmla="*/ 5037 h 10000"/>
              <a:gd name="connsiteX38" fmla="*/ 9768 w 10000"/>
              <a:gd name="connsiteY38" fmla="*/ 4618 h 10000"/>
              <a:gd name="connsiteX39" fmla="*/ 9876 w 10000"/>
              <a:gd name="connsiteY39" fmla="*/ 4148 h 10000"/>
              <a:gd name="connsiteX40" fmla="*/ 9953 w 10000"/>
              <a:gd name="connsiteY40" fmla="*/ 3729 h 10000"/>
              <a:gd name="connsiteX41" fmla="*/ 10000 w 10000"/>
              <a:gd name="connsiteY41" fmla="*/ 3359 h 10000"/>
              <a:gd name="connsiteX42" fmla="*/ 10000 w 10000"/>
              <a:gd name="connsiteY42" fmla="*/ 2964 h 10000"/>
              <a:gd name="connsiteX43" fmla="*/ 9984 w 10000"/>
              <a:gd name="connsiteY43" fmla="*/ 2642 h 10000"/>
              <a:gd name="connsiteX44" fmla="*/ 9922 w 10000"/>
              <a:gd name="connsiteY44" fmla="*/ 2161 h 10000"/>
              <a:gd name="connsiteX45" fmla="*/ 9768 w 10000"/>
              <a:gd name="connsiteY45" fmla="*/ 1679 h 10000"/>
              <a:gd name="connsiteX46" fmla="*/ 9628 w 10000"/>
              <a:gd name="connsiteY46" fmla="*/ 1260 h 10000"/>
              <a:gd name="connsiteX47" fmla="*/ 9458 w 10000"/>
              <a:gd name="connsiteY47" fmla="*/ 914 h 10000"/>
              <a:gd name="connsiteX48" fmla="*/ 9304 w 10000"/>
              <a:gd name="connsiteY48" fmla="*/ 631 h 10000"/>
              <a:gd name="connsiteX49" fmla="*/ 9165 w 10000"/>
              <a:gd name="connsiteY49" fmla="*/ 408 h 10000"/>
              <a:gd name="connsiteX50" fmla="*/ 8994 w 10000"/>
              <a:gd name="connsiteY50" fmla="*/ 185 h 10000"/>
              <a:gd name="connsiteX0" fmla="*/ 8994 w 10000"/>
              <a:gd name="connsiteY0" fmla="*/ 185 h 10000"/>
              <a:gd name="connsiteX1" fmla="*/ 9412 w 10000"/>
              <a:gd name="connsiteY1" fmla="*/ 0 h 10000"/>
              <a:gd name="connsiteX2" fmla="*/ 4692 w 10000"/>
              <a:gd name="connsiteY2" fmla="*/ 145 h 10000"/>
              <a:gd name="connsiteX3" fmla="*/ 1955 w 10000"/>
              <a:gd name="connsiteY3" fmla="*/ 2258 h 10000"/>
              <a:gd name="connsiteX4" fmla="*/ 2441 w 10000"/>
              <a:gd name="connsiteY4" fmla="*/ 2098 h 10000"/>
              <a:gd name="connsiteX5" fmla="*/ 2916 w 10000"/>
              <a:gd name="connsiteY5" fmla="*/ 3321 h 10000"/>
              <a:gd name="connsiteX6" fmla="*/ 2535 w 10000"/>
              <a:gd name="connsiteY6" fmla="*/ 4192 h 10000"/>
              <a:gd name="connsiteX7" fmla="*/ 1747 w 10000"/>
              <a:gd name="connsiteY7" fmla="*/ 4833 h 10000"/>
              <a:gd name="connsiteX8" fmla="*/ 599 w 10000"/>
              <a:gd name="connsiteY8" fmla="*/ 5242 h 10000"/>
              <a:gd name="connsiteX9" fmla="*/ 2102 w 10000"/>
              <a:gd name="connsiteY9" fmla="*/ 7617 h 10000"/>
              <a:gd name="connsiteX10" fmla="*/ 0 w 10000"/>
              <a:gd name="connsiteY10" fmla="*/ 10000 h 10000"/>
              <a:gd name="connsiteX11" fmla="*/ 418 w 10000"/>
              <a:gd name="connsiteY11" fmla="*/ 9988 h 10000"/>
              <a:gd name="connsiteX12" fmla="*/ 850 w 10000"/>
              <a:gd name="connsiteY12" fmla="*/ 9975 h 10000"/>
              <a:gd name="connsiteX13" fmla="*/ 1329 w 10000"/>
              <a:gd name="connsiteY13" fmla="*/ 9925 h 10000"/>
              <a:gd name="connsiteX14" fmla="*/ 1824 w 10000"/>
              <a:gd name="connsiteY14" fmla="*/ 9876 h 10000"/>
              <a:gd name="connsiteX15" fmla="*/ 2302 w 10000"/>
              <a:gd name="connsiteY15" fmla="*/ 9790 h 10000"/>
              <a:gd name="connsiteX16" fmla="*/ 2782 w 10000"/>
              <a:gd name="connsiteY16" fmla="*/ 9704 h 10000"/>
              <a:gd name="connsiteX17" fmla="*/ 3153 w 10000"/>
              <a:gd name="connsiteY17" fmla="*/ 9617 h 10000"/>
              <a:gd name="connsiteX18" fmla="*/ 3554 w 10000"/>
              <a:gd name="connsiteY18" fmla="*/ 9517 h 10000"/>
              <a:gd name="connsiteX19" fmla="*/ 4049 w 10000"/>
              <a:gd name="connsiteY19" fmla="*/ 9382 h 10000"/>
              <a:gd name="connsiteX20" fmla="*/ 4467 w 10000"/>
              <a:gd name="connsiteY20" fmla="*/ 9234 h 10000"/>
              <a:gd name="connsiteX21" fmla="*/ 4868 w 10000"/>
              <a:gd name="connsiteY21" fmla="*/ 9098 h 10000"/>
              <a:gd name="connsiteX22" fmla="*/ 5301 w 10000"/>
              <a:gd name="connsiteY22" fmla="*/ 8914 h 10000"/>
              <a:gd name="connsiteX23" fmla="*/ 5734 w 10000"/>
              <a:gd name="connsiteY23" fmla="*/ 8728 h 10000"/>
              <a:gd name="connsiteX24" fmla="*/ 6089 w 10000"/>
              <a:gd name="connsiteY24" fmla="*/ 8555 h 10000"/>
              <a:gd name="connsiteX25" fmla="*/ 6491 w 10000"/>
              <a:gd name="connsiteY25" fmla="*/ 8321 h 10000"/>
              <a:gd name="connsiteX26" fmla="*/ 6893 w 10000"/>
              <a:gd name="connsiteY26" fmla="*/ 8087 h 10000"/>
              <a:gd name="connsiteX27" fmla="*/ 7249 w 10000"/>
              <a:gd name="connsiteY27" fmla="*/ 7827 h 10000"/>
              <a:gd name="connsiteX28" fmla="*/ 7542 w 10000"/>
              <a:gd name="connsiteY28" fmla="*/ 7617 h 10000"/>
              <a:gd name="connsiteX29" fmla="*/ 7867 w 10000"/>
              <a:gd name="connsiteY29" fmla="*/ 7358 h 10000"/>
              <a:gd name="connsiteX30" fmla="*/ 8114 w 10000"/>
              <a:gd name="connsiteY30" fmla="*/ 7136 h 10000"/>
              <a:gd name="connsiteX31" fmla="*/ 8393 w 10000"/>
              <a:gd name="connsiteY31" fmla="*/ 6864 h 10000"/>
              <a:gd name="connsiteX32" fmla="*/ 8670 w 10000"/>
              <a:gd name="connsiteY32" fmla="*/ 6580 h 10000"/>
              <a:gd name="connsiteX33" fmla="*/ 8871 w 10000"/>
              <a:gd name="connsiteY33" fmla="*/ 6272 h 10000"/>
              <a:gd name="connsiteX34" fmla="*/ 9088 w 10000"/>
              <a:gd name="connsiteY34" fmla="*/ 6000 h 10000"/>
              <a:gd name="connsiteX35" fmla="*/ 9242 w 10000"/>
              <a:gd name="connsiteY35" fmla="*/ 5741 h 10000"/>
              <a:gd name="connsiteX36" fmla="*/ 9458 w 10000"/>
              <a:gd name="connsiteY36" fmla="*/ 5345 h 10000"/>
              <a:gd name="connsiteX37" fmla="*/ 9597 w 10000"/>
              <a:gd name="connsiteY37" fmla="*/ 5037 h 10000"/>
              <a:gd name="connsiteX38" fmla="*/ 9768 w 10000"/>
              <a:gd name="connsiteY38" fmla="*/ 4618 h 10000"/>
              <a:gd name="connsiteX39" fmla="*/ 9876 w 10000"/>
              <a:gd name="connsiteY39" fmla="*/ 4148 h 10000"/>
              <a:gd name="connsiteX40" fmla="*/ 9953 w 10000"/>
              <a:gd name="connsiteY40" fmla="*/ 3729 h 10000"/>
              <a:gd name="connsiteX41" fmla="*/ 10000 w 10000"/>
              <a:gd name="connsiteY41" fmla="*/ 3359 h 10000"/>
              <a:gd name="connsiteX42" fmla="*/ 10000 w 10000"/>
              <a:gd name="connsiteY42" fmla="*/ 2964 h 10000"/>
              <a:gd name="connsiteX43" fmla="*/ 9984 w 10000"/>
              <a:gd name="connsiteY43" fmla="*/ 2642 h 10000"/>
              <a:gd name="connsiteX44" fmla="*/ 9922 w 10000"/>
              <a:gd name="connsiteY44" fmla="*/ 2161 h 10000"/>
              <a:gd name="connsiteX45" fmla="*/ 9768 w 10000"/>
              <a:gd name="connsiteY45" fmla="*/ 1679 h 10000"/>
              <a:gd name="connsiteX46" fmla="*/ 9628 w 10000"/>
              <a:gd name="connsiteY46" fmla="*/ 1260 h 10000"/>
              <a:gd name="connsiteX47" fmla="*/ 9458 w 10000"/>
              <a:gd name="connsiteY47" fmla="*/ 914 h 10000"/>
              <a:gd name="connsiteX48" fmla="*/ 9304 w 10000"/>
              <a:gd name="connsiteY48" fmla="*/ 631 h 10000"/>
              <a:gd name="connsiteX49" fmla="*/ 9165 w 10000"/>
              <a:gd name="connsiteY49" fmla="*/ 408 h 10000"/>
              <a:gd name="connsiteX50" fmla="*/ 8994 w 10000"/>
              <a:gd name="connsiteY50" fmla="*/ 185 h 10000"/>
              <a:gd name="connsiteX0" fmla="*/ 8994 w 10000"/>
              <a:gd name="connsiteY0" fmla="*/ 185 h 10000"/>
              <a:gd name="connsiteX1" fmla="*/ 9412 w 10000"/>
              <a:gd name="connsiteY1" fmla="*/ 0 h 10000"/>
              <a:gd name="connsiteX2" fmla="*/ 4692 w 10000"/>
              <a:gd name="connsiteY2" fmla="*/ 145 h 10000"/>
              <a:gd name="connsiteX3" fmla="*/ 2059 w 10000"/>
              <a:gd name="connsiteY3" fmla="*/ 2278 h 10000"/>
              <a:gd name="connsiteX4" fmla="*/ 2441 w 10000"/>
              <a:gd name="connsiteY4" fmla="*/ 2098 h 10000"/>
              <a:gd name="connsiteX5" fmla="*/ 2916 w 10000"/>
              <a:gd name="connsiteY5" fmla="*/ 3321 h 10000"/>
              <a:gd name="connsiteX6" fmla="*/ 2535 w 10000"/>
              <a:gd name="connsiteY6" fmla="*/ 4192 h 10000"/>
              <a:gd name="connsiteX7" fmla="*/ 1747 w 10000"/>
              <a:gd name="connsiteY7" fmla="*/ 4833 h 10000"/>
              <a:gd name="connsiteX8" fmla="*/ 599 w 10000"/>
              <a:gd name="connsiteY8" fmla="*/ 5242 h 10000"/>
              <a:gd name="connsiteX9" fmla="*/ 2102 w 10000"/>
              <a:gd name="connsiteY9" fmla="*/ 7617 h 10000"/>
              <a:gd name="connsiteX10" fmla="*/ 0 w 10000"/>
              <a:gd name="connsiteY10" fmla="*/ 10000 h 10000"/>
              <a:gd name="connsiteX11" fmla="*/ 418 w 10000"/>
              <a:gd name="connsiteY11" fmla="*/ 9988 h 10000"/>
              <a:gd name="connsiteX12" fmla="*/ 850 w 10000"/>
              <a:gd name="connsiteY12" fmla="*/ 9975 h 10000"/>
              <a:gd name="connsiteX13" fmla="*/ 1329 w 10000"/>
              <a:gd name="connsiteY13" fmla="*/ 9925 h 10000"/>
              <a:gd name="connsiteX14" fmla="*/ 1824 w 10000"/>
              <a:gd name="connsiteY14" fmla="*/ 9876 h 10000"/>
              <a:gd name="connsiteX15" fmla="*/ 2302 w 10000"/>
              <a:gd name="connsiteY15" fmla="*/ 9790 h 10000"/>
              <a:gd name="connsiteX16" fmla="*/ 2782 w 10000"/>
              <a:gd name="connsiteY16" fmla="*/ 9704 h 10000"/>
              <a:gd name="connsiteX17" fmla="*/ 3153 w 10000"/>
              <a:gd name="connsiteY17" fmla="*/ 9617 h 10000"/>
              <a:gd name="connsiteX18" fmla="*/ 3554 w 10000"/>
              <a:gd name="connsiteY18" fmla="*/ 9517 h 10000"/>
              <a:gd name="connsiteX19" fmla="*/ 4049 w 10000"/>
              <a:gd name="connsiteY19" fmla="*/ 9382 h 10000"/>
              <a:gd name="connsiteX20" fmla="*/ 4467 w 10000"/>
              <a:gd name="connsiteY20" fmla="*/ 9234 h 10000"/>
              <a:gd name="connsiteX21" fmla="*/ 4868 w 10000"/>
              <a:gd name="connsiteY21" fmla="*/ 9098 h 10000"/>
              <a:gd name="connsiteX22" fmla="*/ 5301 w 10000"/>
              <a:gd name="connsiteY22" fmla="*/ 8914 h 10000"/>
              <a:gd name="connsiteX23" fmla="*/ 5734 w 10000"/>
              <a:gd name="connsiteY23" fmla="*/ 8728 h 10000"/>
              <a:gd name="connsiteX24" fmla="*/ 6089 w 10000"/>
              <a:gd name="connsiteY24" fmla="*/ 8555 h 10000"/>
              <a:gd name="connsiteX25" fmla="*/ 6491 w 10000"/>
              <a:gd name="connsiteY25" fmla="*/ 8321 h 10000"/>
              <a:gd name="connsiteX26" fmla="*/ 6893 w 10000"/>
              <a:gd name="connsiteY26" fmla="*/ 8087 h 10000"/>
              <a:gd name="connsiteX27" fmla="*/ 7249 w 10000"/>
              <a:gd name="connsiteY27" fmla="*/ 7827 h 10000"/>
              <a:gd name="connsiteX28" fmla="*/ 7542 w 10000"/>
              <a:gd name="connsiteY28" fmla="*/ 7617 h 10000"/>
              <a:gd name="connsiteX29" fmla="*/ 7867 w 10000"/>
              <a:gd name="connsiteY29" fmla="*/ 7358 h 10000"/>
              <a:gd name="connsiteX30" fmla="*/ 8114 w 10000"/>
              <a:gd name="connsiteY30" fmla="*/ 7136 h 10000"/>
              <a:gd name="connsiteX31" fmla="*/ 8393 w 10000"/>
              <a:gd name="connsiteY31" fmla="*/ 6864 h 10000"/>
              <a:gd name="connsiteX32" fmla="*/ 8670 w 10000"/>
              <a:gd name="connsiteY32" fmla="*/ 6580 h 10000"/>
              <a:gd name="connsiteX33" fmla="*/ 8871 w 10000"/>
              <a:gd name="connsiteY33" fmla="*/ 6272 h 10000"/>
              <a:gd name="connsiteX34" fmla="*/ 9088 w 10000"/>
              <a:gd name="connsiteY34" fmla="*/ 6000 h 10000"/>
              <a:gd name="connsiteX35" fmla="*/ 9242 w 10000"/>
              <a:gd name="connsiteY35" fmla="*/ 5741 h 10000"/>
              <a:gd name="connsiteX36" fmla="*/ 9458 w 10000"/>
              <a:gd name="connsiteY36" fmla="*/ 5345 h 10000"/>
              <a:gd name="connsiteX37" fmla="*/ 9597 w 10000"/>
              <a:gd name="connsiteY37" fmla="*/ 5037 h 10000"/>
              <a:gd name="connsiteX38" fmla="*/ 9768 w 10000"/>
              <a:gd name="connsiteY38" fmla="*/ 4618 h 10000"/>
              <a:gd name="connsiteX39" fmla="*/ 9876 w 10000"/>
              <a:gd name="connsiteY39" fmla="*/ 4148 h 10000"/>
              <a:gd name="connsiteX40" fmla="*/ 9953 w 10000"/>
              <a:gd name="connsiteY40" fmla="*/ 3729 h 10000"/>
              <a:gd name="connsiteX41" fmla="*/ 10000 w 10000"/>
              <a:gd name="connsiteY41" fmla="*/ 3359 h 10000"/>
              <a:gd name="connsiteX42" fmla="*/ 10000 w 10000"/>
              <a:gd name="connsiteY42" fmla="*/ 2964 h 10000"/>
              <a:gd name="connsiteX43" fmla="*/ 9984 w 10000"/>
              <a:gd name="connsiteY43" fmla="*/ 2642 h 10000"/>
              <a:gd name="connsiteX44" fmla="*/ 9922 w 10000"/>
              <a:gd name="connsiteY44" fmla="*/ 2161 h 10000"/>
              <a:gd name="connsiteX45" fmla="*/ 9768 w 10000"/>
              <a:gd name="connsiteY45" fmla="*/ 1679 h 10000"/>
              <a:gd name="connsiteX46" fmla="*/ 9628 w 10000"/>
              <a:gd name="connsiteY46" fmla="*/ 1260 h 10000"/>
              <a:gd name="connsiteX47" fmla="*/ 9458 w 10000"/>
              <a:gd name="connsiteY47" fmla="*/ 914 h 10000"/>
              <a:gd name="connsiteX48" fmla="*/ 9304 w 10000"/>
              <a:gd name="connsiteY48" fmla="*/ 631 h 10000"/>
              <a:gd name="connsiteX49" fmla="*/ 9165 w 10000"/>
              <a:gd name="connsiteY49" fmla="*/ 408 h 10000"/>
              <a:gd name="connsiteX50" fmla="*/ 8994 w 10000"/>
              <a:gd name="connsiteY50" fmla="*/ 185 h 10000"/>
              <a:gd name="connsiteX0" fmla="*/ 8994 w 10000"/>
              <a:gd name="connsiteY0" fmla="*/ 185 h 10000"/>
              <a:gd name="connsiteX1" fmla="*/ 9412 w 10000"/>
              <a:gd name="connsiteY1" fmla="*/ 0 h 10000"/>
              <a:gd name="connsiteX2" fmla="*/ 4692 w 10000"/>
              <a:gd name="connsiteY2" fmla="*/ 145 h 10000"/>
              <a:gd name="connsiteX3" fmla="*/ 2059 w 10000"/>
              <a:gd name="connsiteY3" fmla="*/ 2278 h 10000"/>
              <a:gd name="connsiteX4" fmla="*/ 2441 w 10000"/>
              <a:gd name="connsiteY4" fmla="*/ 2098 h 10000"/>
              <a:gd name="connsiteX5" fmla="*/ 2916 w 10000"/>
              <a:gd name="connsiteY5" fmla="*/ 3321 h 10000"/>
              <a:gd name="connsiteX6" fmla="*/ 2535 w 10000"/>
              <a:gd name="connsiteY6" fmla="*/ 4192 h 10000"/>
              <a:gd name="connsiteX7" fmla="*/ 599 w 10000"/>
              <a:gd name="connsiteY7" fmla="*/ 5242 h 10000"/>
              <a:gd name="connsiteX8" fmla="*/ 2102 w 10000"/>
              <a:gd name="connsiteY8" fmla="*/ 7617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5 h 10000"/>
              <a:gd name="connsiteX13" fmla="*/ 1824 w 10000"/>
              <a:gd name="connsiteY13" fmla="*/ 9876 h 10000"/>
              <a:gd name="connsiteX14" fmla="*/ 2302 w 10000"/>
              <a:gd name="connsiteY14" fmla="*/ 9790 h 10000"/>
              <a:gd name="connsiteX15" fmla="*/ 2782 w 10000"/>
              <a:gd name="connsiteY15" fmla="*/ 9704 h 10000"/>
              <a:gd name="connsiteX16" fmla="*/ 3153 w 10000"/>
              <a:gd name="connsiteY16" fmla="*/ 9617 h 10000"/>
              <a:gd name="connsiteX17" fmla="*/ 3554 w 10000"/>
              <a:gd name="connsiteY17" fmla="*/ 9517 h 10000"/>
              <a:gd name="connsiteX18" fmla="*/ 4049 w 10000"/>
              <a:gd name="connsiteY18" fmla="*/ 9382 h 10000"/>
              <a:gd name="connsiteX19" fmla="*/ 4467 w 10000"/>
              <a:gd name="connsiteY19" fmla="*/ 9234 h 10000"/>
              <a:gd name="connsiteX20" fmla="*/ 4868 w 10000"/>
              <a:gd name="connsiteY20" fmla="*/ 9098 h 10000"/>
              <a:gd name="connsiteX21" fmla="*/ 5301 w 10000"/>
              <a:gd name="connsiteY21" fmla="*/ 8914 h 10000"/>
              <a:gd name="connsiteX22" fmla="*/ 5734 w 10000"/>
              <a:gd name="connsiteY22" fmla="*/ 8728 h 10000"/>
              <a:gd name="connsiteX23" fmla="*/ 6089 w 10000"/>
              <a:gd name="connsiteY23" fmla="*/ 8555 h 10000"/>
              <a:gd name="connsiteX24" fmla="*/ 6491 w 10000"/>
              <a:gd name="connsiteY24" fmla="*/ 8321 h 10000"/>
              <a:gd name="connsiteX25" fmla="*/ 6893 w 10000"/>
              <a:gd name="connsiteY25" fmla="*/ 8087 h 10000"/>
              <a:gd name="connsiteX26" fmla="*/ 7249 w 10000"/>
              <a:gd name="connsiteY26" fmla="*/ 7827 h 10000"/>
              <a:gd name="connsiteX27" fmla="*/ 7542 w 10000"/>
              <a:gd name="connsiteY27" fmla="*/ 7617 h 10000"/>
              <a:gd name="connsiteX28" fmla="*/ 7867 w 10000"/>
              <a:gd name="connsiteY28" fmla="*/ 7358 h 10000"/>
              <a:gd name="connsiteX29" fmla="*/ 8114 w 10000"/>
              <a:gd name="connsiteY29" fmla="*/ 7136 h 10000"/>
              <a:gd name="connsiteX30" fmla="*/ 8393 w 10000"/>
              <a:gd name="connsiteY30" fmla="*/ 6864 h 10000"/>
              <a:gd name="connsiteX31" fmla="*/ 8670 w 10000"/>
              <a:gd name="connsiteY31" fmla="*/ 6580 h 10000"/>
              <a:gd name="connsiteX32" fmla="*/ 8871 w 10000"/>
              <a:gd name="connsiteY32" fmla="*/ 6272 h 10000"/>
              <a:gd name="connsiteX33" fmla="*/ 9088 w 10000"/>
              <a:gd name="connsiteY33" fmla="*/ 6000 h 10000"/>
              <a:gd name="connsiteX34" fmla="*/ 9242 w 10000"/>
              <a:gd name="connsiteY34" fmla="*/ 5741 h 10000"/>
              <a:gd name="connsiteX35" fmla="*/ 9458 w 10000"/>
              <a:gd name="connsiteY35" fmla="*/ 5345 h 10000"/>
              <a:gd name="connsiteX36" fmla="*/ 9597 w 10000"/>
              <a:gd name="connsiteY36" fmla="*/ 5037 h 10000"/>
              <a:gd name="connsiteX37" fmla="*/ 9768 w 10000"/>
              <a:gd name="connsiteY37" fmla="*/ 4618 h 10000"/>
              <a:gd name="connsiteX38" fmla="*/ 9876 w 10000"/>
              <a:gd name="connsiteY38" fmla="*/ 4148 h 10000"/>
              <a:gd name="connsiteX39" fmla="*/ 9953 w 10000"/>
              <a:gd name="connsiteY39" fmla="*/ 3729 h 10000"/>
              <a:gd name="connsiteX40" fmla="*/ 10000 w 10000"/>
              <a:gd name="connsiteY40" fmla="*/ 3359 h 10000"/>
              <a:gd name="connsiteX41" fmla="*/ 10000 w 10000"/>
              <a:gd name="connsiteY41" fmla="*/ 2964 h 10000"/>
              <a:gd name="connsiteX42" fmla="*/ 9984 w 10000"/>
              <a:gd name="connsiteY42" fmla="*/ 2642 h 10000"/>
              <a:gd name="connsiteX43" fmla="*/ 9922 w 10000"/>
              <a:gd name="connsiteY43" fmla="*/ 2161 h 10000"/>
              <a:gd name="connsiteX44" fmla="*/ 9768 w 10000"/>
              <a:gd name="connsiteY44" fmla="*/ 1679 h 10000"/>
              <a:gd name="connsiteX45" fmla="*/ 9628 w 10000"/>
              <a:gd name="connsiteY45" fmla="*/ 1260 h 10000"/>
              <a:gd name="connsiteX46" fmla="*/ 9458 w 10000"/>
              <a:gd name="connsiteY46" fmla="*/ 914 h 10000"/>
              <a:gd name="connsiteX47" fmla="*/ 9304 w 10000"/>
              <a:gd name="connsiteY47" fmla="*/ 631 h 10000"/>
              <a:gd name="connsiteX48" fmla="*/ 9165 w 10000"/>
              <a:gd name="connsiteY48" fmla="*/ 408 h 10000"/>
              <a:gd name="connsiteX49" fmla="*/ 8994 w 10000"/>
              <a:gd name="connsiteY49" fmla="*/ 185 h 10000"/>
              <a:gd name="connsiteX0" fmla="*/ 8994 w 10000"/>
              <a:gd name="connsiteY0" fmla="*/ 185 h 10000"/>
              <a:gd name="connsiteX1" fmla="*/ 9412 w 10000"/>
              <a:gd name="connsiteY1" fmla="*/ 0 h 10000"/>
              <a:gd name="connsiteX2" fmla="*/ 4692 w 10000"/>
              <a:gd name="connsiteY2" fmla="*/ 145 h 10000"/>
              <a:gd name="connsiteX3" fmla="*/ 2059 w 10000"/>
              <a:gd name="connsiteY3" fmla="*/ 2278 h 10000"/>
              <a:gd name="connsiteX4" fmla="*/ 2441 w 10000"/>
              <a:gd name="connsiteY4" fmla="*/ 2098 h 10000"/>
              <a:gd name="connsiteX5" fmla="*/ 2916 w 10000"/>
              <a:gd name="connsiteY5" fmla="*/ 3321 h 10000"/>
              <a:gd name="connsiteX6" fmla="*/ 2535 w 10000"/>
              <a:gd name="connsiteY6" fmla="*/ 4192 h 10000"/>
              <a:gd name="connsiteX7" fmla="*/ 599 w 10000"/>
              <a:gd name="connsiteY7" fmla="*/ 5242 h 10000"/>
              <a:gd name="connsiteX8" fmla="*/ 2102 w 10000"/>
              <a:gd name="connsiteY8" fmla="*/ 7617 h 10000"/>
              <a:gd name="connsiteX9" fmla="*/ 0 w 10000"/>
              <a:gd name="connsiteY9" fmla="*/ 10000 h 10000"/>
              <a:gd name="connsiteX10" fmla="*/ 418 w 10000"/>
              <a:gd name="connsiteY10" fmla="*/ 9988 h 10000"/>
              <a:gd name="connsiteX11" fmla="*/ 850 w 10000"/>
              <a:gd name="connsiteY11" fmla="*/ 9975 h 10000"/>
              <a:gd name="connsiteX12" fmla="*/ 1329 w 10000"/>
              <a:gd name="connsiteY12" fmla="*/ 9925 h 10000"/>
              <a:gd name="connsiteX13" fmla="*/ 1824 w 10000"/>
              <a:gd name="connsiteY13" fmla="*/ 9876 h 10000"/>
              <a:gd name="connsiteX14" fmla="*/ 2302 w 10000"/>
              <a:gd name="connsiteY14" fmla="*/ 9790 h 10000"/>
              <a:gd name="connsiteX15" fmla="*/ 2782 w 10000"/>
              <a:gd name="connsiteY15" fmla="*/ 9704 h 10000"/>
              <a:gd name="connsiteX16" fmla="*/ 3153 w 10000"/>
              <a:gd name="connsiteY16" fmla="*/ 9617 h 10000"/>
              <a:gd name="connsiteX17" fmla="*/ 3554 w 10000"/>
              <a:gd name="connsiteY17" fmla="*/ 9517 h 10000"/>
              <a:gd name="connsiteX18" fmla="*/ 4049 w 10000"/>
              <a:gd name="connsiteY18" fmla="*/ 9382 h 10000"/>
              <a:gd name="connsiteX19" fmla="*/ 4467 w 10000"/>
              <a:gd name="connsiteY19" fmla="*/ 9234 h 10000"/>
              <a:gd name="connsiteX20" fmla="*/ 4868 w 10000"/>
              <a:gd name="connsiteY20" fmla="*/ 9098 h 10000"/>
              <a:gd name="connsiteX21" fmla="*/ 5301 w 10000"/>
              <a:gd name="connsiteY21" fmla="*/ 8914 h 10000"/>
              <a:gd name="connsiteX22" fmla="*/ 5734 w 10000"/>
              <a:gd name="connsiteY22" fmla="*/ 8728 h 10000"/>
              <a:gd name="connsiteX23" fmla="*/ 6089 w 10000"/>
              <a:gd name="connsiteY23" fmla="*/ 8555 h 10000"/>
              <a:gd name="connsiteX24" fmla="*/ 6491 w 10000"/>
              <a:gd name="connsiteY24" fmla="*/ 8321 h 10000"/>
              <a:gd name="connsiteX25" fmla="*/ 6893 w 10000"/>
              <a:gd name="connsiteY25" fmla="*/ 8087 h 10000"/>
              <a:gd name="connsiteX26" fmla="*/ 7249 w 10000"/>
              <a:gd name="connsiteY26" fmla="*/ 7827 h 10000"/>
              <a:gd name="connsiteX27" fmla="*/ 7542 w 10000"/>
              <a:gd name="connsiteY27" fmla="*/ 7617 h 10000"/>
              <a:gd name="connsiteX28" fmla="*/ 7867 w 10000"/>
              <a:gd name="connsiteY28" fmla="*/ 7358 h 10000"/>
              <a:gd name="connsiteX29" fmla="*/ 8114 w 10000"/>
              <a:gd name="connsiteY29" fmla="*/ 7136 h 10000"/>
              <a:gd name="connsiteX30" fmla="*/ 8393 w 10000"/>
              <a:gd name="connsiteY30" fmla="*/ 6864 h 10000"/>
              <a:gd name="connsiteX31" fmla="*/ 8670 w 10000"/>
              <a:gd name="connsiteY31" fmla="*/ 6580 h 10000"/>
              <a:gd name="connsiteX32" fmla="*/ 8871 w 10000"/>
              <a:gd name="connsiteY32" fmla="*/ 6272 h 10000"/>
              <a:gd name="connsiteX33" fmla="*/ 9088 w 10000"/>
              <a:gd name="connsiteY33" fmla="*/ 6000 h 10000"/>
              <a:gd name="connsiteX34" fmla="*/ 9242 w 10000"/>
              <a:gd name="connsiteY34" fmla="*/ 5741 h 10000"/>
              <a:gd name="connsiteX35" fmla="*/ 9458 w 10000"/>
              <a:gd name="connsiteY35" fmla="*/ 5345 h 10000"/>
              <a:gd name="connsiteX36" fmla="*/ 9597 w 10000"/>
              <a:gd name="connsiteY36" fmla="*/ 5037 h 10000"/>
              <a:gd name="connsiteX37" fmla="*/ 9768 w 10000"/>
              <a:gd name="connsiteY37" fmla="*/ 4618 h 10000"/>
              <a:gd name="connsiteX38" fmla="*/ 9876 w 10000"/>
              <a:gd name="connsiteY38" fmla="*/ 4148 h 10000"/>
              <a:gd name="connsiteX39" fmla="*/ 9953 w 10000"/>
              <a:gd name="connsiteY39" fmla="*/ 3729 h 10000"/>
              <a:gd name="connsiteX40" fmla="*/ 10000 w 10000"/>
              <a:gd name="connsiteY40" fmla="*/ 3359 h 10000"/>
              <a:gd name="connsiteX41" fmla="*/ 10000 w 10000"/>
              <a:gd name="connsiteY41" fmla="*/ 2964 h 10000"/>
              <a:gd name="connsiteX42" fmla="*/ 9984 w 10000"/>
              <a:gd name="connsiteY42" fmla="*/ 2642 h 10000"/>
              <a:gd name="connsiteX43" fmla="*/ 9922 w 10000"/>
              <a:gd name="connsiteY43" fmla="*/ 2161 h 10000"/>
              <a:gd name="connsiteX44" fmla="*/ 9768 w 10000"/>
              <a:gd name="connsiteY44" fmla="*/ 1679 h 10000"/>
              <a:gd name="connsiteX45" fmla="*/ 9628 w 10000"/>
              <a:gd name="connsiteY45" fmla="*/ 1260 h 10000"/>
              <a:gd name="connsiteX46" fmla="*/ 9458 w 10000"/>
              <a:gd name="connsiteY46" fmla="*/ 914 h 10000"/>
              <a:gd name="connsiteX47" fmla="*/ 9304 w 10000"/>
              <a:gd name="connsiteY47" fmla="*/ 631 h 10000"/>
              <a:gd name="connsiteX48" fmla="*/ 9165 w 10000"/>
              <a:gd name="connsiteY48" fmla="*/ 408 h 10000"/>
              <a:gd name="connsiteX49" fmla="*/ 8994 w 10000"/>
              <a:gd name="connsiteY49" fmla="*/ 185 h 10000"/>
              <a:gd name="connsiteX0" fmla="*/ 8994 w 10000"/>
              <a:gd name="connsiteY0" fmla="*/ 185 h 10000"/>
              <a:gd name="connsiteX1" fmla="*/ 9412 w 10000"/>
              <a:gd name="connsiteY1" fmla="*/ 0 h 10000"/>
              <a:gd name="connsiteX2" fmla="*/ 4692 w 10000"/>
              <a:gd name="connsiteY2" fmla="*/ 145 h 10000"/>
              <a:gd name="connsiteX3" fmla="*/ 2059 w 10000"/>
              <a:gd name="connsiteY3" fmla="*/ 2278 h 10000"/>
              <a:gd name="connsiteX4" fmla="*/ 2441 w 10000"/>
              <a:gd name="connsiteY4" fmla="*/ 2098 h 10000"/>
              <a:gd name="connsiteX5" fmla="*/ 2916 w 10000"/>
              <a:gd name="connsiteY5" fmla="*/ 3321 h 10000"/>
              <a:gd name="connsiteX6" fmla="*/ 599 w 10000"/>
              <a:gd name="connsiteY6" fmla="*/ 5242 h 10000"/>
              <a:gd name="connsiteX7" fmla="*/ 2102 w 10000"/>
              <a:gd name="connsiteY7" fmla="*/ 7617 h 10000"/>
              <a:gd name="connsiteX8" fmla="*/ 0 w 10000"/>
              <a:gd name="connsiteY8" fmla="*/ 10000 h 10000"/>
              <a:gd name="connsiteX9" fmla="*/ 418 w 10000"/>
              <a:gd name="connsiteY9" fmla="*/ 9988 h 10000"/>
              <a:gd name="connsiteX10" fmla="*/ 850 w 10000"/>
              <a:gd name="connsiteY10" fmla="*/ 9975 h 10000"/>
              <a:gd name="connsiteX11" fmla="*/ 1329 w 10000"/>
              <a:gd name="connsiteY11" fmla="*/ 9925 h 10000"/>
              <a:gd name="connsiteX12" fmla="*/ 1824 w 10000"/>
              <a:gd name="connsiteY12" fmla="*/ 9876 h 10000"/>
              <a:gd name="connsiteX13" fmla="*/ 2302 w 10000"/>
              <a:gd name="connsiteY13" fmla="*/ 9790 h 10000"/>
              <a:gd name="connsiteX14" fmla="*/ 2782 w 10000"/>
              <a:gd name="connsiteY14" fmla="*/ 9704 h 10000"/>
              <a:gd name="connsiteX15" fmla="*/ 3153 w 10000"/>
              <a:gd name="connsiteY15" fmla="*/ 9617 h 10000"/>
              <a:gd name="connsiteX16" fmla="*/ 3554 w 10000"/>
              <a:gd name="connsiteY16" fmla="*/ 9517 h 10000"/>
              <a:gd name="connsiteX17" fmla="*/ 4049 w 10000"/>
              <a:gd name="connsiteY17" fmla="*/ 9382 h 10000"/>
              <a:gd name="connsiteX18" fmla="*/ 4467 w 10000"/>
              <a:gd name="connsiteY18" fmla="*/ 9234 h 10000"/>
              <a:gd name="connsiteX19" fmla="*/ 4868 w 10000"/>
              <a:gd name="connsiteY19" fmla="*/ 9098 h 10000"/>
              <a:gd name="connsiteX20" fmla="*/ 5301 w 10000"/>
              <a:gd name="connsiteY20" fmla="*/ 8914 h 10000"/>
              <a:gd name="connsiteX21" fmla="*/ 5734 w 10000"/>
              <a:gd name="connsiteY21" fmla="*/ 8728 h 10000"/>
              <a:gd name="connsiteX22" fmla="*/ 6089 w 10000"/>
              <a:gd name="connsiteY22" fmla="*/ 8555 h 10000"/>
              <a:gd name="connsiteX23" fmla="*/ 6491 w 10000"/>
              <a:gd name="connsiteY23" fmla="*/ 8321 h 10000"/>
              <a:gd name="connsiteX24" fmla="*/ 6893 w 10000"/>
              <a:gd name="connsiteY24" fmla="*/ 8087 h 10000"/>
              <a:gd name="connsiteX25" fmla="*/ 7249 w 10000"/>
              <a:gd name="connsiteY25" fmla="*/ 7827 h 10000"/>
              <a:gd name="connsiteX26" fmla="*/ 7542 w 10000"/>
              <a:gd name="connsiteY26" fmla="*/ 7617 h 10000"/>
              <a:gd name="connsiteX27" fmla="*/ 7867 w 10000"/>
              <a:gd name="connsiteY27" fmla="*/ 7358 h 10000"/>
              <a:gd name="connsiteX28" fmla="*/ 8114 w 10000"/>
              <a:gd name="connsiteY28" fmla="*/ 7136 h 10000"/>
              <a:gd name="connsiteX29" fmla="*/ 8393 w 10000"/>
              <a:gd name="connsiteY29" fmla="*/ 6864 h 10000"/>
              <a:gd name="connsiteX30" fmla="*/ 8670 w 10000"/>
              <a:gd name="connsiteY30" fmla="*/ 6580 h 10000"/>
              <a:gd name="connsiteX31" fmla="*/ 8871 w 10000"/>
              <a:gd name="connsiteY31" fmla="*/ 6272 h 10000"/>
              <a:gd name="connsiteX32" fmla="*/ 9088 w 10000"/>
              <a:gd name="connsiteY32" fmla="*/ 6000 h 10000"/>
              <a:gd name="connsiteX33" fmla="*/ 9242 w 10000"/>
              <a:gd name="connsiteY33" fmla="*/ 5741 h 10000"/>
              <a:gd name="connsiteX34" fmla="*/ 9458 w 10000"/>
              <a:gd name="connsiteY34" fmla="*/ 5345 h 10000"/>
              <a:gd name="connsiteX35" fmla="*/ 9597 w 10000"/>
              <a:gd name="connsiteY35" fmla="*/ 5037 h 10000"/>
              <a:gd name="connsiteX36" fmla="*/ 9768 w 10000"/>
              <a:gd name="connsiteY36" fmla="*/ 4618 h 10000"/>
              <a:gd name="connsiteX37" fmla="*/ 9876 w 10000"/>
              <a:gd name="connsiteY37" fmla="*/ 4148 h 10000"/>
              <a:gd name="connsiteX38" fmla="*/ 9953 w 10000"/>
              <a:gd name="connsiteY38" fmla="*/ 3729 h 10000"/>
              <a:gd name="connsiteX39" fmla="*/ 10000 w 10000"/>
              <a:gd name="connsiteY39" fmla="*/ 3359 h 10000"/>
              <a:gd name="connsiteX40" fmla="*/ 10000 w 10000"/>
              <a:gd name="connsiteY40" fmla="*/ 2964 h 10000"/>
              <a:gd name="connsiteX41" fmla="*/ 9984 w 10000"/>
              <a:gd name="connsiteY41" fmla="*/ 2642 h 10000"/>
              <a:gd name="connsiteX42" fmla="*/ 9922 w 10000"/>
              <a:gd name="connsiteY42" fmla="*/ 2161 h 10000"/>
              <a:gd name="connsiteX43" fmla="*/ 9768 w 10000"/>
              <a:gd name="connsiteY43" fmla="*/ 1679 h 10000"/>
              <a:gd name="connsiteX44" fmla="*/ 9628 w 10000"/>
              <a:gd name="connsiteY44" fmla="*/ 1260 h 10000"/>
              <a:gd name="connsiteX45" fmla="*/ 9458 w 10000"/>
              <a:gd name="connsiteY45" fmla="*/ 914 h 10000"/>
              <a:gd name="connsiteX46" fmla="*/ 9304 w 10000"/>
              <a:gd name="connsiteY46" fmla="*/ 631 h 10000"/>
              <a:gd name="connsiteX47" fmla="*/ 9165 w 10000"/>
              <a:gd name="connsiteY47" fmla="*/ 408 h 10000"/>
              <a:gd name="connsiteX48" fmla="*/ 8994 w 10000"/>
              <a:gd name="connsiteY48" fmla="*/ 185 h 10000"/>
              <a:gd name="connsiteX0" fmla="*/ 8994 w 10000"/>
              <a:gd name="connsiteY0" fmla="*/ 185 h 10000"/>
              <a:gd name="connsiteX1" fmla="*/ 9412 w 10000"/>
              <a:gd name="connsiteY1" fmla="*/ 0 h 10000"/>
              <a:gd name="connsiteX2" fmla="*/ 4692 w 10000"/>
              <a:gd name="connsiteY2" fmla="*/ 145 h 10000"/>
              <a:gd name="connsiteX3" fmla="*/ 2059 w 10000"/>
              <a:gd name="connsiteY3" fmla="*/ 2278 h 10000"/>
              <a:gd name="connsiteX4" fmla="*/ 2441 w 10000"/>
              <a:gd name="connsiteY4" fmla="*/ 2098 h 10000"/>
              <a:gd name="connsiteX5" fmla="*/ 599 w 10000"/>
              <a:gd name="connsiteY5" fmla="*/ 5242 h 10000"/>
              <a:gd name="connsiteX6" fmla="*/ 2102 w 10000"/>
              <a:gd name="connsiteY6" fmla="*/ 7617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5 h 10000"/>
              <a:gd name="connsiteX10" fmla="*/ 1329 w 10000"/>
              <a:gd name="connsiteY10" fmla="*/ 9925 h 10000"/>
              <a:gd name="connsiteX11" fmla="*/ 1824 w 10000"/>
              <a:gd name="connsiteY11" fmla="*/ 9876 h 10000"/>
              <a:gd name="connsiteX12" fmla="*/ 2302 w 10000"/>
              <a:gd name="connsiteY12" fmla="*/ 9790 h 10000"/>
              <a:gd name="connsiteX13" fmla="*/ 2782 w 10000"/>
              <a:gd name="connsiteY13" fmla="*/ 9704 h 10000"/>
              <a:gd name="connsiteX14" fmla="*/ 3153 w 10000"/>
              <a:gd name="connsiteY14" fmla="*/ 9617 h 10000"/>
              <a:gd name="connsiteX15" fmla="*/ 3554 w 10000"/>
              <a:gd name="connsiteY15" fmla="*/ 9517 h 10000"/>
              <a:gd name="connsiteX16" fmla="*/ 4049 w 10000"/>
              <a:gd name="connsiteY16" fmla="*/ 9382 h 10000"/>
              <a:gd name="connsiteX17" fmla="*/ 4467 w 10000"/>
              <a:gd name="connsiteY17" fmla="*/ 9234 h 10000"/>
              <a:gd name="connsiteX18" fmla="*/ 4868 w 10000"/>
              <a:gd name="connsiteY18" fmla="*/ 9098 h 10000"/>
              <a:gd name="connsiteX19" fmla="*/ 5301 w 10000"/>
              <a:gd name="connsiteY19" fmla="*/ 8914 h 10000"/>
              <a:gd name="connsiteX20" fmla="*/ 5734 w 10000"/>
              <a:gd name="connsiteY20" fmla="*/ 8728 h 10000"/>
              <a:gd name="connsiteX21" fmla="*/ 6089 w 10000"/>
              <a:gd name="connsiteY21" fmla="*/ 8555 h 10000"/>
              <a:gd name="connsiteX22" fmla="*/ 6491 w 10000"/>
              <a:gd name="connsiteY22" fmla="*/ 8321 h 10000"/>
              <a:gd name="connsiteX23" fmla="*/ 6893 w 10000"/>
              <a:gd name="connsiteY23" fmla="*/ 8087 h 10000"/>
              <a:gd name="connsiteX24" fmla="*/ 7249 w 10000"/>
              <a:gd name="connsiteY24" fmla="*/ 7827 h 10000"/>
              <a:gd name="connsiteX25" fmla="*/ 7542 w 10000"/>
              <a:gd name="connsiteY25" fmla="*/ 7617 h 10000"/>
              <a:gd name="connsiteX26" fmla="*/ 7867 w 10000"/>
              <a:gd name="connsiteY26" fmla="*/ 7358 h 10000"/>
              <a:gd name="connsiteX27" fmla="*/ 8114 w 10000"/>
              <a:gd name="connsiteY27" fmla="*/ 7136 h 10000"/>
              <a:gd name="connsiteX28" fmla="*/ 8393 w 10000"/>
              <a:gd name="connsiteY28" fmla="*/ 6864 h 10000"/>
              <a:gd name="connsiteX29" fmla="*/ 8670 w 10000"/>
              <a:gd name="connsiteY29" fmla="*/ 6580 h 10000"/>
              <a:gd name="connsiteX30" fmla="*/ 8871 w 10000"/>
              <a:gd name="connsiteY30" fmla="*/ 6272 h 10000"/>
              <a:gd name="connsiteX31" fmla="*/ 9088 w 10000"/>
              <a:gd name="connsiteY31" fmla="*/ 6000 h 10000"/>
              <a:gd name="connsiteX32" fmla="*/ 9242 w 10000"/>
              <a:gd name="connsiteY32" fmla="*/ 5741 h 10000"/>
              <a:gd name="connsiteX33" fmla="*/ 9458 w 10000"/>
              <a:gd name="connsiteY33" fmla="*/ 5345 h 10000"/>
              <a:gd name="connsiteX34" fmla="*/ 9597 w 10000"/>
              <a:gd name="connsiteY34" fmla="*/ 5037 h 10000"/>
              <a:gd name="connsiteX35" fmla="*/ 9768 w 10000"/>
              <a:gd name="connsiteY35" fmla="*/ 4618 h 10000"/>
              <a:gd name="connsiteX36" fmla="*/ 9876 w 10000"/>
              <a:gd name="connsiteY36" fmla="*/ 4148 h 10000"/>
              <a:gd name="connsiteX37" fmla="*/ 9953 w 10000"/>
              <a:gd name="connsiteY37" fmla="*/ 3729 h 10000"/>
              <a:gd name="connsiteX38" fmla="*/ 10000 w 10000"/>
              <a:gd name="connsiteY38" fmla="*/ 3359 h 10000"/>
              <a:gd name="connsiteX39" fmla="*/ 10000 w 10000"/>
              <a:gd name="connsiteY39" fmla="*/ 2964 h 10000"/>
              <a:gd name="connsiteX40" fmla="*/ 9984 w 10000"/>
              <a:gd name="connsiteY40" fmla="*/ 2642 h 10000"/>
              <a:gd name="connsiteX41" fmla="*/ 9922 w 10000"/>
              <a:gd name="connsiteY41" fmla="*/ 2161 h 10000"/>
              <a:gd name="connsiteX42" fmla="*/ 9768 w 10000"/>
              <a:gd name="connsiteY42" fmla="*/ 1679 h 10000"/>
              <a:gd name="connsiteX43" fmla="*/ 9628 w 10000"/>
              <a:gd name="connsiteY43" fmla="*/ 1260 h 10000"/>
              <a:gd name="connsiteX44" fmla="*/ 9458 w 10000"/>
              <a:gd name="connsiteY44" fmla="*/ 914 h 10000"/>
              <a:gd name="connsiteX45" fmla="*/ 9304 w 10000"/>
              <a:gd name="connsiteY45" fmla="*/ 631 h 10000"/>
              <a:gd name="connsiteX46" fmla="*/ 9165 w 10000"/>
              <a:gd name="connsiteY46" fmla="*/ 408 h 10000"/>
              <a:gd name="connsiteX47" fmla="*/ 8994 w 10000"/>
              <a:gd name="connsiteY47" fmla="*/ 185 h 10000"/>
              <a:gd name="connsiteX0" fmla="*/ 8994 w 10000"/>
              <a:gd name="connsiteY0" fmla="*/ 185 h 10000"/>
              <a:gd name="connsiteX1" fmla="*/ 9412 w 10000"/>
              <a:gd name="connsiteY1" fmla="*/ 0 h 10000"/>
              <a:gd name="connsiteX2" fmla="*/ 4692 w 10000"/>
              <a:gd name="connsiteY2" fmla="*/ 145 h 10000"/>
              <a:gd name="connsiteX3" fmla="*/ 2059 w 10000"/>
              <a:gd name="connsiteY3" fmla="*/ 2278 h 10000"/>
              <a:gd name="connsiteX4" fmla="*/ 2441 w 10000"/>
              <a:gd name="connsiteY4" fmla="*/ 2098 h 10000"/>
              <a:gd name="connsiteX5" fmla="*/ 599 w 10000"/>
              <a:gd name="connsiteY5" fmla="*/ 5242 h 10000"/>
              <a:gd name="connsiteX6" fmla="*/ 2102 w 10000"/>
              <a:gd name="connsiteY6" fmla="*/ 7617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5 h 10000"/>
              <a:gd name="connsiteX10" fmla="*/ 1329 w 10000"/>
              <a:gd name="connsiteY10" fmla="*/ 9925 h 10000"/>
              <a:gd name="connsiteX11" fmla="*/ 1824 w 10000"/>
              <a:gd name="connsiteY11" fmla="*/ 9876 h 10000"/>
              <a:gd name="connsiteX12" fmla="*/ 2302 w 10000"/>
              <a:gd name="connsiteY12" fmla="*/ 9790 h 10000"/>
              <a:gd name="connsiteX13" fmla="*/ 2782 w 10000"/>
              <a:gd name="connsiteY13" fmla="*/ 9704 h 10000"/>
              <a:gd name="connsiteX14" fmla="*/ 3153 w 10000"/>
              <a:gd name="connsiteY14" fmla="*/ 9617 h 10000"/>
              <a:gd name="connsiteX15" fmla="*/ 3554 w 10000"/>
              <a:gd name="connsiteY15" fmla="*/ 9517 h 10000"/>
              <a:gd name="connsiteX16" fmla="*/ 4049 w 10000"/>
              <a:gd name="connsiteY16" fmla="*/ 9382 h 10000"/>
              <a:gd name="connsiteX17" fmla="*/ 4467 w 10000"/>
              <a:gd name="connsiteY17" fmla="*/ 9234 h 10000"/>
              <a:gd name="connsiteX18" fmla="*/ 4868 w 10000"/>
              <a:gd name="connsiteY18" fmla="*/ 9098 h 10000"/>
              <a:gd name="connsiteX19" fmla="*/ 5301 w 10000"/>
              <a:gd name="connsiteY19" fmla="*/ 8914 h 10000"/>
              <a:gd name="connsiteX20" fmla="*/ 5734 w 10000"/>
              <a:gd name="connsiteY20" fmla="*/ 8728 h 10000"/>
              <a:gd name="connsiteX21" fmla="*/ 6089 w 10000"/>
              <a:gd name="connsiteY21" fmla="*/ 8555 h 10000"/>
              <a:gd name="connsiteX22" fmla="*/ 6491 w 10000"/>
              <a:gd name="connsiteY22" fmla="*/ 8321 h 10000"/>
              <a:gd name="connsiteX23" fmla="*/ 6893 w 10000"/>
              <a:gd name="connsiteY23" fmla="*/ 8087 h 10000"/>
              <a:gd name="connsiteX24" fmla="*/ 7249 w 10000"/>
              <a:gd name="connsiteY24" fmla="*/ 7827 h 10000"/>
              <a:gd name="connsiteX25" fmla="*/ 7542 w 10000"/>
              <a:gd name="connsiteY25" fmla="*/ 7617 h 10000"/>
              <a:gd name="connsiteX26" fmla="*/ 7867 w 10000"/>
              <a:gd name="connsiteY26" fmla="*/ 7358 h 10000"/>
              <a:gd name="connsiteX27" fmla="*/ 8114 w 10000"/>
              <a:gd name="connsiteY27" fmla="*/ 7136 h 10000"/>
              <a:gd name="connsiteX28" fmla="*/ 8393 w 10000"/>
              <a:gd name="connsiteY28" fmla="*/ 6864 h 10000"/>
              <a:gd name="connsiteX29" fmla="*/ 8670 w 10000"/>
              <a:gd name="connsiteY29" fmla="*/ 6580 h 10000"/>
              <a:gd name="connsiteX30" fmla="*/ 8871 w 10000"/>
              <a:gd name="connsiteY30" fmla="*/ 6272 h 10000"/>
              <a:gd name="connsiteX31" fmla="*/ 9088 w 10000"/>
              <a:gd name="connsiteY31" fmla="*/ 6000 h 10000"/>
              <a:gd name="connsiteX32" fmla="*/ 9242 w 10000"/>
              <a:gd name="connsiteY32" fmla="*/ 5741 h 10000"/>
              <a:gd name="connsiteX33" fmla="*/ 9458 w 10000"/>
              <a:gd name="connsiteY33" fmla="*/ 5345 h 10000"/>
              <a:gd name="connsiteX34" fmla="*/ 9597 w 10000"/>
              <a:gd name="connsiteY34" fmla="*/ 5037 h 10000"/>
              <a:gd name="connsiteX35" fmla="*/ 9768 w 10000"/>
              <a:gd name="connsiteY35" fmla="*/ 4618 h 10000"/>
              <a:gd name="connsiteX36" fmla="*/ 9876 w 10000"/>
              <a:gd name="connsiteY36" fmla="*/ 4148 h 10000"/>
              <a:gd name="connsiteX37" fmla="*/ 9953 w 10000"/>
              <a:gd name="connsiteY37" fmla="*/ 3729 h 10000"/>
              <a:gd name="connsiteX38" fmla="*/ 10000 w 10000"/>
              <a:gd name="connsiteY38" fmla="*/ 3359 h 10000"/>
              <a:gd name="connsiteX39" fmla="*/ 10000 w 10000"/>
              <a:gd name="connsiteY39" fmla="*/ 2964 h 10000"/>
              <a:gd name="connsiteX40" fmla="*/ 9984 w 10000"/>
              <a:gd name="connsiteY40" fmla="*/ 2642 h 10000"/>
              <a:gd name="connsiteX41" fmla="*/ 9922 w 10000"/>
              <a:gd name="connsiteY41" fmla="*/ 2161 h 10000"/>
              <a:gd name="connsiteX42" fmla="*/ 9768 w 10000"/>
              <a:gd name="connsiteY42" fmla="*/ 1679 h 10000"/>
              <a:gd name="connsiteX43" fmla="*/ 9628 w 10000"/>
              <a:gd name="connsiteY43" fmla="*/ 1260 h 10000"/>
              <a:gd name="connsiteX44" fmla="*/ 9458 w 10000"/>
              <a:gd name="connsiteY44" fmla="*/ 914 h 10000"/>
              <a:gd name="connsiteX45" fmla="*/ 9304 w 10000"/>
              <a:gd name="connsiteY45" fmla="*/ 631 h 10000"/>
              <a:gd name="connsiteX46" fmla="*/ 9165 w 10000"/>
              <a:gd name="connsiteY46" fmla="*/ 408 h 10000"/>
              <a:gd name="connsiteX47" fmla="*/ 8994 w 10000"/>
              <a:gd name="connsiteY47" fmla="*/ 185 h 10000"/>
              <a:gd name="connsiteX0" fmla="*/ 8994 w 10000"/>
              <a:gd name="connsiteY0" fmla="*/ 185 h 10000"/>
              <a:gd name="connsiteX1" fmla="*/ 9412 w 10000"/>
              <a:gd name="connsiteY1" fmla="*/ 0 h 10000"/>
              <a:gd name="connsiteX2" fmla="*/ 4692 w 10000"/>
              <a:gd name="connsiteY2" fmla="*/ 145 h 10000"/>
              <a:gd name="connsiteX3" fmla="*/ 2059 w 10000"/>
              <a:gd name="connsiteY3" fmla="*/ 2278 h 10000"/>
              <a:gd name="connsiteX4" fmla="*/ 2441 w 10000"/>
              <a:gd name="connsiteY4" fmla="*/ 2098 h 10000"/>
              <a:gd name="connsiteX5" fmla="*/ 599 w 10000"/>
              <a:gd name="connsiteY5" fmla="*/ 5242 h 10000"/>
              <a:gd name="connsiteX6" fmla="*/ 2102 w 10000"/>
              <a:gd name="connsiteY6" fmla="*/ 7617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5 h 10000"/>
              <a:gd name="connsiteX10" fmla="*/ 1329 w 10000"/>
              <a:gd name="connsiteY10" fmla="*/ 9925 h 10000"/>
              <a:gd name="connsiteX11" fmla="*/ 1824 w 10000"/>
              <a:gd name="connsiteY11" fmla="*/ 9876 h 10000"/>
              <a:gd name="connsiteX12" fmla="*/ 2302 w 10000"/>
              <a:gd name="connsiteY12" fmla="*/ 9790 h 10000"/>
              <a:gd name="connsiteX13" fmla="*/ 2782 w 10000"/>
              <a:gd name="connsiteY13" fmla="*/ 9704 h 10000"/>
              <a:gd name="connsiteX14" fmla="*/ 3153 w 10000"/>
              <a:gd name="connsiteY14" fmla="*/ 9617 h 10000"/>
              <a:gd name="connsiteX15" fmla="*/ 3554 w 10000"/>
              <a:gd name="connsiteY15" fmla="*/ 9517 h 10000"/>
              <a:gd name="connsiteX16" fmla="*/ 4049 w 10000"/>
              <a:gd name="connsiteY16" fmla="*/ 9382 h 10000"/>
              <a:gd name="connsiteX17" fmla="*/ 4467 w 10000"/>
              <a:gd name="connsiteY17" fmla="*/ 9234 h 10000"/>
              <a:gd name="connsiteX18" fmla="*/ 4868 w 10000"/>
              <a:gd name="connsiteY18" fmla="*/ 9098 h 10000"/>
              <a:gd name="connsiteX19" fmla="*/ 5301 w 10000"/>
              <a:gd name="connsiteY19" fmla="*/ 8914 h 10000"/>
              <a:gd name="connsiteX20" fmla="*/ 5734 w 10000"/>
              <a:gd name="connsiteY20" fmla="*/ 8728 h 10000"/>
              <a:gd name="connsiteX21" fmla="*/ 6089 w 10000"/>
              <a:gd name="connsiteY21" fmla="*/ 8555 h 10000"/>
              <a:gd name="connsiteX22" fmla="*/ 6491 w 10000"/>
              <a:gd name="connsiteY22" fmla="*/ 8321 h 10000"/>
              <a:gd name="connsiteX23" fmla="*/ 6893 w 10000"/>
              <a:gd name="connsiteY23" fmla="*/ 8087 h 10000"/>
              <a:gd name="connsiteX24" fmla="*/ 7249 w 10000"/>
              <a:gd name="connsiteY24" fmla="*/ 7827 h 10000"/>
              <a:gd name="connsiteX25" fmla="*/ 7542 w 10000"/>
              <a:gd name="connsiteY25" fmla="*/ 7617 h 10000"/>
              <a:gd name="connsiteX26" fmla="*/ 7867 w 10000"/>
              <a:gd name="connsiteY26" fmla="*/ 7358 h 10000"/>
              <a:gd name="connsiteX27" fmla="*/ 8114 w 10000"/>
              <a:gd name="connsiteY27" fmla="*/ 7136 h 10000"/>
              <a:gd name="connsiteX28" fmla="*/ 8393 w 10000"/>
              <a:gd name="connsiteY28" fmla="*/ 6864 h 10000"/>
              <a:gd name="connsiteX29" fmla="*/ 8670 w 10000"/>
              <a:gd name="connsiteY29" fmla="*/ 6580 h 10000"/>
              <a:gd name="connsiteX30" fmla="*/ 8871 w 10000"/>
              <a:gd name="connsiteY30" fmla="*/ 6272 h 10000"/>
              <a:gd name="connsiteX31" fmla="*/ 9088 w 10000"/>
              <a:gd name="connsiteY31" fmla="*/ 6000 h 10000"/>
              <a:gd name="connsiteX32" fmla="*/ 9242 w 10000"/>
              <a:gd name="connsiteY32" fmla="*/ 5741 h 10000"/>
              <a:gd name="connsiteX33" fmla="*/ 9458 w 10000"/>
              <a:gd name="connsiteY33" fmla="*/ 5345 h 10000"/>
              <a:gd name="connsiteX34" fmla="*/ 9597 w 10000"/>
              <a:gd name="connsiteY34" fmla="*/ 5037 h 10000"/>
              <a:gd name="connsiteX35" fmla="*/ 9768 w 10000"/>
              <a:gd name="connsiteY35" fmla="*/ 4618 h 10000"/>
              <a:gd name="connsiteX36" fmla="*/ 9876 w 10000"/>
              <a:gd name="connsiteY36" fmla="*/ 4148 h 10000"/>
              <a:gd name="connsiteX37" fmla="*/ 9953 w 10000"/>
              <a:gd name="connsiteY37" fmla="*/ 3729 h 10000"/>
              <a:gd name="connsiteX38" fmla="*/ 10000 w 10000"/>
              <a:gd name="connsiteY38" fmla="*/ 3359 h 10000"/>
              <a:gd name="connsiteX39" fmla="*/ 10000 w 10000"/>
              <a:gd name="connsiteY39" fmla="*/ 2964 h 10000"/>
              <a:gd name="connsiteX40" fmla="*/ 9984 w 10000"/>
              <a:gd name="connsiteY40" fmla="*/ 2642 h 10000"/>
              <a:gd name="connsiteX41" fmla="*/ 9922 w 10000"/>
              <a:gd name="connsiteY41" fmla="*/ 2161 h 10000"/>
              <a:gd name="connsiteX42" fmla="*/ 9768 w 10000"/>
              <a:gd name="connsiteY42" fmla="*/ 1679 h 10000"/>
              <a:gd name="connsiteX43" fmla="*/ 9628 w 10000"/>
              <a:gd name="connsiteY43" fmla="*/ 1260 h 10000"/>
              <a:gd name="connsiteX44" fmla="*/ 9458 w 10000"/>
              <a:gd name="connsiteY44" fmla="*/ 914 h 10000"/>
              <a:gd name="connsiteX45" fmla="*/ 9304 w 10000"/>
              <a:gd name="connsiteY45" fmla="*/ 631 h 10000"/>
              <a:gd name="connsiteX46" fmla="*/ 9165 w 10000"/>
              <a:gd name="connsiteY46" fmla="*/ 408 h 10000"/>
              <a:gd name="connsiteX47" fmla="*/ 8994 w 10000"/>
              <a:gd name="connsiteY47" fmla="*/ 185 h 10000"/>
              <a:gd name="connsiteX0" fmla="*/ 8994 w 10000"/>
              <a:gd name="connsiteY0" fmla="*/ 185 h 10000"/>
              <a:gd name="connsiteX1" fmla="*/ 9412 w 10000"/>
              <a:gd name="connsiteY1" fmla="*/ 0 h 10000"/>
              <a:gd name="connsiteX2" fmla="*/ 4692 w 10000"/>
              <a:gd name="connsiteY2" fmla="*/ 145 h 10000"/>
              <a:gd name="connsiteX3" fmla="*/ 2059 w 10000"/>
              <a:gd name="connsiteY3" fmla="*/ 2278 h 10000"/>
              <a:gd name="connsiteX4" fmla="*/ 2441 w 10000"/>
              <a:gd name="connsiteY4" fmla="*/ 2098 h 10000"/>
              <a:gd name="connsiteX5" fmla="*/ 599 w 10000"/>
              <a:gd name="connsiteY5" fmla="*/ 5242 h 10000"/>
              <a:gd name="connsiteX6" fmla="*/ 2102 w 10000"/>
              <a:gd name="connsiteY6" fmla="*/ 7617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5 h 10000"/>
              <a:gd name="connsiteX10" fmla="*/ 1329 w 10000"/>
              <a:gd name="connsiteY10" fmla="*/ 9925 h 10000"/>
              <a:gd name="connsiteX11" fmla="*/ 1824 w 10000"/>
              <a:gd name="connsiteY11" fmla="*/ 9876 h 10000"/>
              <a:gd name="connsiteX12" fmla="*/ 2302 w 10000"/>
              <a:gd name="connsiteY12" fmla="*/ 9790 h 10000"/>
              <a:gd name="connsiteX13" fmla="*/ 2782 w 10000"/>
              <a:gd name="connsiteY13" fmla="*/ 9704 h 10000"/>
              <a:gd name="connsiteX14" fmla="*/ 3153 w 10000"/>
              <a:gd name="connsiteY14" fmla="*/ 9617 h 10000"/>
              <a:gd name="connsiteX15" fmla="*/ 3554 w 10000"/>
              <a:gd name="connsiteY15" fmla="*/ 9517 h 10000"/>
              <a:gd name="connsiteX16" fmla="*/ 4049 w 10000"/>
              <a:gd name="connsiteY16" fmla="*/ 9382 h 10000"/>
              <a:gd name="connsiteX17" fmla="*/ 4467 w 10000"/>
              <a:gd name="connsiteY17" fmla="*/ 9234 h 10000"/>
              <a:gd name="connsiteX18" fmla="*/ 4868 w 10000"/>
              <a:gd name="connsiteY18" fmla="*/ 9098 h 10000"/>
              <a:gd name="connsiteX19" fmla="*/ 5301 w 10000"/>
              <a:gd name="connsiteY19" fmla="*/ 8914 h 10000"/>
              <a:gd name="connsiteX20" fmla="*/ 5734 w 10000"/>
              <a:gd name="connsiteY20" fmla="*/ 8728 h 10000"/>
              <a:gd name="connsiteX21" fmla="*/ 6089 w 10000"/>
              <a:gd name="connsiteY21" fmla="*/ 8555 h 10000"/>
              <a:gd name="connsiteX22" fmla="*/ 6491 w 10000"/>
              <a:gd name="connsiteY22" fmla="*/ 8321 h 10000"/>
              <a:gd name="connsiteX23" fmla="*/ 6893 w 10000"/>
              <a:gd name="connsiteY23" fmla="*/ 8087 h 10000"/>
              <a:gd name="connsiteX24" fmla="*/ 7249 w 10000"/>
              <a:gd name="connsiteY24" fmla="*/ 7827 h 10000"/>
              <a:gd name="connsiteX25" fmla="*/ 7542 w 10000"/>
              <a:gd name="connsiteY25" fmla="*/ 7617 h 10000"/>
              <a:gd name="connsiteX26" fmla="*/ 7867 w 10000"/>
              <a:gd name="connsiteY26" fmla="*/ 7358 h 10000"/>
              <a:gd name="connsiteX27" fmla="*/ 8114 w 10000"/>
              <a:gd name="connsiteY27" fmla="*/ 7136 h 10000"/>
              <a:gd name="connsiteX28" fmla="*/ 8393 w 10000"/>
              <a:gd name="connsiteY28" fmla="*/ 6864 h 10000"/>
              <a:gd name="connsiteX29" fmla="*/ 8670 w 10000"/>
              <a:gd name="connsiteY29" fmla="*/ 6580 h 10000"/>
              <a:gd name="connsiteX30" fmla="*/ 8871 w 10000"/>
              <a:gd name="connsiteY30" fmla="*/ 6272 h 10000"/>
              <a:gd name="connsiteX31" fmla="*/ 9088 w 10000"/>
              <a:gd name="connsiteY31" fmla="*/ 6000 h 10000"/>
              <a:gd name="connsiteX32" fmla="*/ 9242 w 10000"/>
              <a:gd name="connsiteY32" fmla="*/ 5741 h 10000"/>
              <a:gd name="connsiteX33" fmla="*/ 9458 w 10000"/>
              <a:gd name="connsiteY33" fmla="*/ 5345 h 10000"/>
              <a:gd name="connsiteX34" fmla="*/ 9597 w 10000"/>
              <a:gd name="connsiteY34" fmla="*/ 5037 h 10000"/>
              <a:gd name="connsiteX35" fmla="*/ 9768 w 10000"/>
              <a:gd name="connsiteY35" fmla="*/ 4618 h 10000"/>
              <a:gd name="connsiteX36" fmla="*/ 9876 w 10000"/>
              <a:gd name="connsiteY36" fmla="*/ 4148 h 10000"/>
              <a:gd name="connsiteX37" fmla="*/ 9953 w 10000"/>
              <a:gd name="connsiteY37" fmla="*/ 3729 h 10000"/>
              <a:gd name="connsiteX38" fmla="*/ 10000 w 10000"/>
              <a:gd name="connsiteY38" fmla="*/ 3359 h 10000"/>
              <a:gd name="connsiteX39" fmla="*/ 10000 w 10000"/>
              <a:gd name="connsiteY39" fmla="*/ 2964 h 10000"/>
              <a:gd name="connsiteX40" fmla="*/ 9984 w 10000"/>
              <a:gd name="connsiteY40" fmla="*/ 2642 h 10000"/>
              <a:gd name="connsiteX41" fmla="*/ 9922 w 10000"/>
              <a:gd name="connsiteY41" fmla="*/ 2161 h 10000"/>
              <a:gd name="connsiteX42" fmla="*/ 9768 w 10000"/>
              <a:gd name="connsiteY42" fmla="*/ 1679 h 10000"/>
              <a:gd name="connsiteX43" fmla="*/ 9628 w 10000"/>
              <a:gd name="connsiteY43" fmla="*/ 1260 h 10000"/>
              <a:gd name="connsiteX44" fmla="*/ 9458 w 10000"/>
              <a:gd name="connsiteY44" fmla="*/ 914 h 10000"/>
              <a:gd name="connsiteX45" fmla="*/ 9304 w 10000"/>
              <a:gd name="connsiteY45" fmla="*/ 631 h 10000"/>
              <a:gd name="connsiteX46" fmla="*/ 9165 w 10000"/>
              <a:gd name="connsiteY46" fmla="*/ 408 h 10000"/>
              <a:gd name="connsiteX47" fmla="*/ 8994 w 10000"/>
              <a:gd name="connsiteY47" fmla="*/ 185 h 10000"/>
              <a:gd name="connsiteX0" fmla="*/ 8994 w 10000"/>
              <a:gd name="connsiteY0" fmla="*/ 185 h 10000"/>
              <a:gd name="connsiteX1" fmla="*/ 9412 w 10000"/>
              <a:gd name="connsiteY1" fmla="*/ 0 h 10000"/>
              <a:gd name="connsiteX2" fmla="*/ 4692 w 10000"/>
              <a:gd name="connsiteY2" fmla="*/ 145 h 10000"/>
              <a:gd name="connsiteX3" fmla="*/ 2059 w 10000"/>
              <a:gd name="connsiteY3" fmla="*/ 2278 h 10000"/>
              <a:gd name="connsiteX4" fmla="*/ 2441 w 10000"/>
              <a:gd name="connsiteY4" fmla="*/ 2098 h 10000"/>
              <a:gd name="connsiteX5" fmla="*/ 599 w 10000"/>
              <a:gd name="connsiteY5" fmla="*/ 5242 h 10000"/>
              <a:gd name="connsiteX6" fmla="*/ 2102 w 10000"/>
              <a:gd name="connsiteY6" fmla="*/ 7617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5 h 10000"/>
              <a:gd name="connsiteX10" fmla="*/ 1329 w 10000"/>
              <a:gd name="connsiteY10" fmla="*/ 9925 h 10000"/>
              <a:gd name="connsiteX11" fmla="*/ 1824 w 10000"/>
              <a:gd name="connsiteY11" fmla="*/ 9876 h 10000"/>
              <a:gd name="connsiteX12" fmla="*/ 2302 w 10000"/>
              <a:gd name="connsiteY12" fmla="*/ 9790 h 10000"/>
              <a:gd name="connsiteX13" fmla="*/ 2782 w 10000"/>
              <a:gd name="connsiteY13" fmla="*/ 9704 h 10000"/>
              <a:gd name="connsiteX14" fmla="*/ 3153 w 10000"/>
              <a:gd name="connsiteY14" fmla="*/ 9617 h 10000"/>
              <a:gd name="connsiteX15" fmla="*/ 3554 w 10000"/>
              <a:gd name="connsiteY15" fmla="*/ 9517 h 10000"/>
              <a:gd name="connsiteX16" fmla="*/ 4049 w 10000"/>
              <a:gd name="connsiteY16" fmla="*/ 9382 h 10000"/>
              <a:gd name="connsiteX17" fmla="*/ 4467 w 10000"/>
              <a:gd name="connsiteY17" fmla="*/ 9234 h 10000"/>
              <a:gd name="connsiteX18" fmla="*/ 4868 w 10000"/>
              <a:gd name="connsiteY18" fmla="*/ 9098 h 10000"/>
              <a:gd name="connsiteX19" fmla="*/ 5301 w 10000"/>
              <a:gd name="connsiteY19" fmla="*/ 8914 h 10000"/>
              <a:gd name="connsiteX20" fmla="*/ 5734 w 10000"/>
              <a:gd name="connsiteY20" fmla="*/ 8728 h 10000"/>
              <a:gd name="connsiteX21" fmla="*/ 6089 w 10000"/>
              <a:gd name="connsiteY21" fmla="*/ 8555 h 10000"/>
              <a:gd name="connsiteX22" fmla="*/ 6491 w 10000"/>
              <a:gd name="connsiteY22" fmla="*/ 8321 h 10000"/>
              <a:gd name="connsiteX23" fmla="*/ 6893 w 10000"/>
              <a:gd name="connsiteY23" fmla="*/ 8087 h 10000"/>
              <a:gd name="connsiteX24" fmla="*/ 7249 w 10000"/>
              <a:gd name="connsiteY24" fmla="*/ 7827 h 10000"/>
              <a:gd name="connsiteX25" fmla="*/ 7542 w 10000"/>
              <a:gd name="connsiteY25" fmla="*/ 7617 h 10000"/>
              <a:gd name="connsiteX26" fmla="*/ 7867 w 10000"/>
              <a:gd name="connsiteY26" fmla="*/ 7358 h 10000"/>
              <a:gd name="connsiteX27" fmla="*/ 8114 w 10000"/>
              <a:gd name="connsiteY27" fmla="*/ 7136 h 10000"/>
              <a:gd name="connsiteX28" fmla="*/ 8393 w 10000"/>
              <a:gd name="connsiteY28" fmla="*/ 6864 h 10000"/>
              <a:gd name="connsiteX29" fmla="*/ 8670 w 10000"/>
              <a:gd name="connsiteY29" fmla="*/ 6580 h 10000"/>
              <a:gd name="connsiteX30" fmla="*/ 8871 w 10000"/>
              <a:gd name="connsiteY30" fmla="*/ 6272 h 10000"/>
              <a:gd name="connsiteX31" fmla="*/ 9088 w 10000"/>
              <a:gd name="connsiteY31" fmla="*/ 6000 h 10000"/>
              <a:gd name="connsiteX32" fmla="*/ 9242 w 10000"/>
              <a:gd name="connsiteY32" fmla="*/ 5741 h 10000"/>
              <a:gd name="connsiteX33" fmla="*/ 9458 w 10000"/>
              <a:gd name="connsiteY33" fmla="*/ 5345 h 10000"/>
              <a:gd name="connsiteX34" fmla="*/ 9597 w 10000"/>
              <a:gd name="connsiteY34" fmla="*/ 5037 h 10000"/>
              <a:gd name="connsiteX35" fmla="*/ 9768 w 10000"/>
              <a:gd name="connsiteY35" fmla="*/ 4618 h 10000"/>
              <a:gd name="connsiteX36" fmla="*/ 9876 w 10000"/>
              <a:gd name="connsiteY36" fmla="*/ 4148 h 10000"/>
              <a:gd name="connsiteX37" fmla="*/ 9953 w 10000"/>
              <a:gd name="connsiteY37" fmla="*/ 3729 h 10000"/>
              <a:gd name="connsiteX38" fmla="*/ 10000 w 10000"/>
              <a:gd name="connsiteY38" fmla="*/ 3359 h 10000"/>
              <a:gd name="connsiteX39" fmla="*/ 10000 w 10000"/>
              <a:gd name="connsiteY39" fmla="*/ 2964 h 10000"/>
              <a:gd name="connsiteX40" fmla="*/ 9984 w 10000"/>
              <a:gd name="connsiteY40" fmla="*/ 2642 h 10000"/>
              <a:gd name="connsiteX41" fmla="*/ 9922 w 10000"/>
              <a:gd name="connsiteY41" fmla="*/ 2161 h 10000"/>
              <a:gd name="connsiteX42" fmla="*/ 9768 w 10000"/>
              <a:gd name="connsiteY42" fmla="*/ 1679 h 10000"/>
              <a:gd name="connsiteX43" fmla="*/ 9628 w 10000"/>
              <a:gd name="connsiteY43" fmla="*/ 1260 h 10000"/>
              <a:gd name="connsiteX44" fmla="*/ 9458 w 10000"/>
              <a:gd name="connsiteY44" fmla="*/ 914 h 10000"/>
              <a:gd name="connsiteX45" fmla="*/ 9304 w 10000"/>
              <a:gd name="connsiteY45" fmla="*/ 631 h 10000"/>
              <a:gd name="connsiteX46" fmla="*/ 9165 w 10000"/>
              <a:gd name="connsiteY46" fmla="*/ 408 h 10000"/>
              <a:gd name="connsiteX47" fmla="*/ 8994 w 10000"/>
              <a:gd name="connsiteY47" fmla="*/ 185 h 10000"/>
              <a:gd name="connsiteX0" fmla="*/ 8994 w 10000"/>
              <a:gd name="connsiteY0" fmla="*/ 185 h 10000"/>
              <a:gd name="connsiteX1" fmla="*/ 9412 w 10000"/>
              <a:gd name="connsiteY1" fmla="*/ 0 h 10000"/>
              <a:gd name="connsiteX2" fmla="*/ 4692 w 10000"/>
              <a:gd name="connsiteY2" fmla="*/ 145 h 10000"/>
              <a:gd name="connsiteX3" fmla="*/ 2059 w 10000"/>
              <a:gd name="connsiteY3" fmla="*/ 2278 h 10000"/>
              <a:gd name="connsiteX4" fmla="*/ 2441 w 10000"/>
              <a:gd name="connsiteY4" fmla="*/ 2098 h 10000"/>
              <a:gd name="connsiteX5" fmla="*/ 599 w 10000"/>
              <a:gd name="connsiteY5" fmla="*/ 5242 h 10000"/>
              <a:gd name="connsiteX6" fmla="*/ 2102 w 10000"/>
              <a:gd name="connsiteY6" fmla="*/ 7617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5 h 10000"/>
              <a:gd name="connsiteX10" fmla="*/ 1329 w 10000"/>
              <a:gd name="connsiteY10" fmla="*/ 9925 h 10000"/>
              <a:gd name="connsiteX11" fmla="*/ 1824 w 10000"/>
              <a:gd name="connsiteY11" fmla="*/ 9876 h 10000"/>
              <a:gd name="connsiteX12" fmla="*/ 2302 w 10000"/>
              <a:gd name="connsiteY12" fmla="*/ 9790 h 10000"/>
              <a:gd name="connsiteX13" fmla="*/ 2782 w 10000"/>
              <a:gd name="connsiteY13" fmla="*/ 9704 h 10000"/>
              <a:gd name="connsiteX14" fmla="*/ 3153 w 10000"/>
              <a:gd name="connsiteY14" fmla="*/ 9617 h 10000"/>
              <a:gd name="connsiteX15" fmla="*/ 3554 w 10000"/>
              <a:gd name="connsiteY15" fmla="*/ 9517 h 10000"/>
              <a:gd name="connsiteX16" fmla="*/ 4049 w 10000"/>
              <a:gd name="connsiteY16" fmla="*/ 9382 h 10000"/>
              <a:gd name="connsiteX17" fmla="*/ 4467 w 10000"/>
              <a:gd name="connsiteY17" fmla="*/ 9234 h 10000"/>
              <a:gd name="connsiteX18" fmla="*/ 4868 w 10000"/>
              <a:gd name="connsiteY18" fmla="*/ 9098 h 10000"/>
              <a:gd name="connsiteX19" fmla="*/ 5301 w 10000"/>
              <a:gd name="connsiteY19" fmla="*/ 8914 h 10000"/>
              <a:gd name="connsiteX20" fmla="*/ 5734 w 10000"/>
              <a:gd name="connsiteY20" fmla="*/ 8728 h 10000"/>
              <a:gd name="connsiteX21" fmla="*/ 6089 w 10000"/>
              <a:gd name="connsiteY21" fmla="*/ 8555 h 10000"/>
              <a:gd name="connsiteX22" fmla="*/ 6491 w 10000"/>
              <a:gd name="connsiteY22" fmla="*/ 8321 h 10000"/>
              <a:gd name="connsiteX23" fmla="*/ 6893 w 10000"/>
              <a:gd name="connsiteY23" fmla="*/ 8087 h 10000"/>
              <a:gd name="connsiteX24" fmla="*/ 7249 w 10000"/>
              <a:gd name="connsiteY24" fmla="*/ 7827 h 10000"/>
              <a:gd name="connsiteX25" fmla="*/ 7542 w 10000"/>
              <a:gd name="connsiteY25" fmla="*/ 7617 h 10000"/>
              <a:gd name="connsiteX26" fmla="*/ 7867 w 10000"/>
              <a:gd name="connsiteY26" fmla="*/ 7358 h 10000"/>
              <a:gd name="connsiteX27" fmla="*/ 8114 w 10000"/>
              <a:gd name="connsiteY27" fmla="*/ 7136 h 10000"/>
              <a:gd name="connsiteX28" fmla="*/ 8393 w 10000"/>
              <a:gd name="connsiteY28" fmla="*/ 6864 h 10000"/>
              <a:gd name="connsiteX29" fmla="*/ 8670 w 10000"/>
              <a:gd name="connsiteY29" fmla="*/ 6580 h 10000"/>
              <a:gd name="connsiteX30" fmla="*/ 8871 w 10000"/>
              <a:gd name="connsiteY30" fmla="*/ 6272 h 10000"/>
              <a:gd name="connsiteX31" fmla="*/ 9088 w 10000"/>
              <a:gd name="connsiteY31" fmla="*/ 6000 h 10000"/>
              <a:gd name="connsiteX32" fmla="*/ 9242 w 10000"/>
              <a:gd name="connsiteY32" fmla="*/ 5741 h 10000"/>
              <a:gd name="connsiteX33" fmla="*/ 9458 w 10000"/>
              <a:gd name="connsiteY33" fmla="*/ 5345 h 10000"/>
              <a:gd name="connsiteX34" fmla="*/ 9597 w 10000"/>
              <a:gd name="connsiteY34" fmla="*/ 5037 h 10000"/>
              <a:gd name="connsiteX35" fmla="*/ 9768 w 10000"/>
              <a:gd name="connsiteY35" fmla="*/ 4618 h 10000"/>
              <a:gd name="connsiteX36" fmla="*/ 9876 w 10000"/>
              <a:gd name="connsiteY36" fmla="*/ 4148 h 10000"/>
              <a:gd name="connsiteX37" fmla="*/ 9953 w 10000"/>
              <a:gd name="connsiteY37" fmla="*/ 3729 h 10000"/>
              <a:gd name="connsiteX38" fmla="*/ 10000 w 10000"/>
              <a:gd name="connsiteY38" fmla="*/ 3359 h 10000"/>
              <a:gd name="connsiteX39" fmla="*/ 10000 w 10000"/>
              <a:gd name="connsiteY39" fmla="*/ 2964 h 10000"/>
              <a:gd name="connsiteX40" fmla="*/ 9984 w 10000"/>
              <a:gd name="connsiteY40" fmla="*/ 2642 h 10000"/>
              <a:gd name="connsiteX41" fmla="*/ 9922 w 10000"/>
              <a:gd name="connsiteY41" fmla="*/ 2161 h 10000"/>
              <a:gd name="connsiteX42" fmla="*/ 9768 w 10000"/>
              <a:gd name="connsiteY42" fmla="*/ 1679 h 10000"/>
              <a:gd name="connsiteX43" fmla="*/ 9628 w 10000"/>
              <a:gd name="connsiteY43" fmla="*/ 1260 h 10000"/>
              <a:gd name="connsiteX44" fmla="*/ 9458 w 10000"/>
              <a:gd name="connsiteY44" fmla="*/ 914 h 10000"/>
              <a:gd name="connsiteX45" fmla="*/ 9304 w 10000"/>
              <a:gd name="connsiteY45" fmla="*/ 631 h 10000"/>
              <a:gd name="connsiteX46" fmla="*/ 9165 w 10000"/>
              <a:gd name="connsiteY46" fmla="*/ 408 h 10000"/>
              <a:gd name="connsiteX47" fmla="*/ 8994 w 10000"/>
              <a:gd name="connsiteY47" fmla="*/ 185 h 10000"/>
              <a:gd name="connsiteX0" fmla="*/ 8994 w 10000"/>
              <a:gd name="connsiteY0" fmla="*/ 185 h 10000"/>
              <a:gd name="connsiteX1" fmla="*/ 9412 w 10000"/>
              <a:gd name="connsiteY1" fmla="*/ 0 h 10000"/>
              <a:gd name="connsiteX2" fmla="*/ 4692 w 10000"/>
              <a:gd name="connsiteY2" fmla="*/ 145 h 10000"/>
              <a:gd name="connsiteX3" fmla="*/ 2059 w 10000"/>
              <a:gd name="connsiteY3" fmla="*/ 2278 h 10000"/>
              <a:gd name="connsiteX4" fmla="*/ 2441 w 10000"/>
              <a:gd name="connsiteY4" fmla="*/ 2098 h 10000"/>
              <a:gd name="connsiteX5" fmla="*/ 599 w 10000"/>
              <a:gd name="connsiteY5" fmla="*/ 5242 h 10000"/>
              <a:gd name="connsiteX6" fmla="*/ 2102 w 10000"/>
              <a:gd name="connsiteY6" fmla="*/ 7617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5 h 10000"/>
              <a:gd name="connsiteX10" fmla="*/ 1329 w 10000"/>
              <a:gd name="connsiteY10" fmla="*/ 9925 h 10000"/>
              <a:gd name="connsiteX11" fmla="*/ 1824 w 10000"/>
              <a:gd name="connsiteY11" fmla="*/ 9876 h 10000"/>
              <a:gd name="connsiteX12" fmla="*/ 2302 w 10000"/>
              <a:gd name="connsiteY12" fmla="*/ 9790 h 10000"/>
              <a:gd name="connsiteX13" fmla="*/ 2782 w 10000"/>
              <a:gd name="connsiteY13" fmla="*/ 9704 h 10000"/>
              <a:gd name="connsiteX14" fmla="*/ 3153 w 10000"/>
              <a:gd name="connsiteY14" fmla="*/ 9617 h 10000"/>
              <a:gd name="connsiteX15" fmla="*/ 3554 w 10000"/>
              <a:gd name="connsiteY15" fmla="*/ 9517 h 10000"/>
              <a:gd name="connsiteX16" fmla="*/ 4049 w 10000"/>
              <a:gd name="connsiteY16" fmla="*/ 9382 h 10000"/>
              <a:gd name="connsiteX17" fmla="*/ 4467 w 10000"/>
              <a:gd name="connsiteY17" fmla="*/ 9234 h 10000"/>
              <a:gd name="connsiteX18" fmla="*/ 4868 w 10000"/>
              <a:gd name="connsiteY18" fmla="*/ 9098 h 10000"/>
              <a:gd name="connsiteX19" fmla="*/ 5301 w 10000"/>
              <a:gd name="connsiteY19" fmla="*/ 8914 h 10000"/>
              <a:gd name="connsiteX20" fmla="*/ 5734 w 10000"/>
              <a:gd name="connsiteY20" fmla="*/ 8728 h 10000"/>
              <a:gd name="connsiteX21" fmla="*/ 6089 w 10000"/>
              <a:gd name="connsiteY21" fmla="*/ 8555 h 10000"/>
              <a:gd name="connsiteX22" fmla="*/ 6491 w 10000"/>
              <a:gd name="connsiteY22" fmla="*/ 8321 h 10000"/>
              <a:gd name="connsiteX23" fmla="*/ 6893 w 10000"/>
              <a:gd name="connsiteY23" fmla="*/ 8087 h 10000"/>
              <a:gd name="connsiteX24" fmla="*/ 7249 w 10000"/>
              <a:gd name="connsiteY24" fmla="*/ 7827 h 10000"/>
              <a:gd name="connsiteX25" fmla="*/ 7542 w 10000"/>
              <a:gd name="connsiteY25" fmla="*/ 7617 h 10000"/>
              <a:gd name="connsiteX26" fmla="*/ 7867 w 10000"/>
              <a:gd name="connsiteY26" fmla="*/ 7358 h 10000"/>
              <a:gd name="connsiteX27" fmla="*/ 8114 w 10000"/>
              <a:gd name="connsiteY27" fmla="*/ 7136 h 10000"/>
              <a:gd name="connsiteX28" fmla="*/ 8393 w 10000"/>
              <a:gd name="connsiteY28" fmla="*/ 6864 h 10000"/>
              <a:gd name="connsiteX29" fmla="*/ 8670 w 10000"/>
              <a:gd name="connsiteY29" fmla="*/ 6580 h 10000"/>
              <a:gd name="connsiteX30" fmla="*/ 8871 w 10000"/>
              <a:gd name="connsiteY30" fmla="*/ 6272 h 10000"/>
              <a:gd name="connsiteX31" fmla="*/ 9088 w 10000"/>
              <a:gd name="connsiteY31" fmla="*/ 6000 h 10000"/>
              <a:gd name="connsiteX32" fmla="*/ 9242 w 10000"/>
              <a:gd name="connsiteY32" fmla="*/ 5741 h 10000"/>
              <a:gd name="connsiteX33" fmla="*/ 9458 w 10000"/>
              <a:gd name="connsiteY33" fmla="*/ 5345 h 10000"/>
              <a:gd name="connsiteX34" fmla="*/ 9597 w 10000"/>
              <a:gd name="connsiteY34" fmla="*/ 5037 h 10000"/>
              <a:gd name="connsiteX35" fmla="*/ 9768 w 10000"/>
              <a:gd name="connsiteY35" fmla="*/ 4618 h 10000"/>
              <a:gd name="connsiteX36" fmla="*/ 9876 w 10000"/>
              <a:gd name="connsiteY36" fmla="*/ 4148 h 10000"/>
              <a:gd name="connsiteX37" fmla="*/ 9953 w 10000"/>
              <a:gd name="connsiteY37" fmla="*/ 3729 h 10000"/>
              <a:gd name="connsiteX38" fmla="*/ 10000 w 10000"/>
              <a:gd name="connsiteY38" fmla="*/ 3359 h 10000"/>
              <a:gd name="connsiteX39" fmla="*/ 10000 w 10000"/>
              <a:gd name="connsiteY39" fmla="*/ 2964 h 10000"/>
              <a:gd name="connsiteX40" fmla="*/ 9984 w 10000"/>
              <a:gd name="connsiteY40" fmla="*/ 2642 h 10000"/>
              <a:gd name="connsiteX41" fmla="*/ 9922 w 10000"/>
              <a:gd name="connsiteY41" fmla="*/ 2161 h 10000"/>
              <a:gd name="connsiteX42" fmla="*/ 9768 w 10000"/>
              <a:gd name="connsiteY42" fmla="*/ 1679 h 10000"/>
              <a:gd name="connsiteX43" fmla="*/ 9628 w 10000"/>
              <a:gd name="connsiteY43" fmla="*/ 1260 h 10000"/>
              <a:gd name="connsiteX44" fmla="*/ 9458 w 10000"/>
              <a:gd name="connsiteY44" fmla="*/ 914 h 10000"/>
              <a:gd name="connsiteX45" fmla="*/ 9304 w 10000"/>
              <a:gd name="connsiteY45" fmla="*/ 631 h 10000"/>
              <a:gd name="connsiteX46" fmla="*/ 9165 w 10000"/>
              <a:gd name="connsiteY46" fmla="*/ 408 h 10000"/>
              <a:gd name="connsiteX47" fmla="*/ 8994 w 10000"/>
              <a:gd name="connsiteY47" fmla="*/ 185 h 10000"/>
              <a:gd name="connsiteX0" fmla="*/ 8994 w 10000"/>
              <a:gd name="connsiteY0" fmla="*/ 185 h 10000"/>
              <a:gd name="connsiteX1" fmla="*/ 9412 w 10000"/>
              <a:gd name="connsiteY1" fmla="*/ 0 h 10000"/>
              <a:gd name="connsiteX2" fmla="*/ 4692 w 10000"/>
              <a:gd name="connsiteY2" fmla="*/ 145 h 10000"/>
              <a:gd name="connsiteX3" fmla="*/ 2059 w 10000"/>
              <a:gd name="connsiteY3" fmla="*/ 2278 h 10000"/>
              <a:gd name="connsiteX4" fmla="*/ 2441 w 10000"/>
              <a:gd name="connsiteY4" fmla="*/ 2098 h 10000"/>
              <a:gd name="connsiteX5" fmla="*/ 599 w 10000"/>
              <a:gd name="connsiteY5" fmla="*/ 5242 h 10000"/>
              <a:gd name="connsiteX6" fmla="*/ 2102 w 10000"/>
              <a:gd name="connsiteY6" fmla="*/ 7617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5 h 10000"/>
              <a:gd name="connsiteX10" fmla="*/ 1329 w 10000"/>
              <a:gd name="connsiteY10" fmla="*/ 9925 h 10000"/>
              <a:gd name="connsiteX11" fmla="*/ 1824 w 10000"/>
              <a:gd name="connsiteY11" fmla="*/ 9876 h 10000"/>
              <a:gd name="connsiteX12" fmla="*/ 2302 w 10000"/>
              <a:gd name="connsiteY12" fmla="*/ 9790 h 10000"/>
              <a:gd name="connsiteX13" fmla="*/ 2782 w 10000"/>
              <a:gd name="connsiteY13" fmla="*/ 9704 h 10000"/>
              <a:gd name="connsiteX14" fmla="*/ 3153 w 10000"/>
              <a:gd name="connsiteY14" fmla="*/ 9617 h 10000"/>
              <a:gd name="connsiteX15" fmla="*/ 3554 w 10000"/>
              <a:gd name="connsiteY15" fmla="*/ 9517 h 10000"/>
              <a:gd name="connsiteX16" fmla="*/ 4049 w 10000"/>
              <a:gd name="connsiteY16" fmla="*/ 9382 h 10000"/>
              <a:gd name="connsiteX17" fmla="*/ 4467 w 10000"/>
              <a:gd name="connsiteY17" fmla="*/ 9234 h 10000"/>
              <a:gd name="connsiteX18" fmla="*/ 4868 w 10000"/>
              <a:gd name="connsiteY18" fmla="*/ 9098 h 10000"/>
              <a:gd name="connsiteX19" fmla="*/ 5301 w 10000"/>
              <a:gd name="connsiteY19" fmla="*/ 8914 h 10000"/>
              <a:gd name="connsiteX20" fmla="*/ 5734 w 10000"/>
              <a:gd name="connsiteY20" fmla="*/ 8728 h 10000"/>
              <a:gd name="connsiteX21" fmla="*/ 6089 w 10000"/>
              <a:gd name="connsiteY21" fmla="*/ 8555 h 10000"/>
              <a:gd name="connsiteX22" fmla="*/ 6491 w 10000"/>
              <a:gd name="connsiteY22" fmla="*/ 8321 h 10000"/>
              <a:gd name="connsiteX23" fmla="*/ 6893 w 10000"/>
              <a:gd name="connsiteY23" fmla="*/ 8087 h 10000"/>
              <a:gd name="connsiteX24" fmla="*/ 7249 w 10000"/>
              <a:gd name="connsiteY24" fmla="*/ 7827 h 10000"/>
              <a:gd name="connsiteX25" fmla="*/ 7542 w 10000"/>
              <a:gd name="connsiteY25" fmla="*/ 7617 h 10000"/>
              <a:gd name="connsiteX26" fmla="*/ 7867 w 10000"/>
              <a:gd name="connsiteY26" fmla="*/ 7358 h 10000"/>
              <a:gd name="connsiteX27" fmla="*/ 8114 w 10000"/>
              <a:gd name="connsiteY27" fmla="*/ 7136 h 10000"/>
              <a:gd name="connsiteX28" fmla="*/ 8393 w 10000"/>
              <a:gd name="connsiteY28" fmla="*/ 6864 h 10000"/>
              <a:gd name="connsiteX29" fmla="*/ 8670 w 10000"/>
              <a:gd name="connsiteY29" fmla="*/ 6580 h 10000"/>
              <a:gd name="connsiteX30" fmla="*/ 8871 w 10000"/>
              <a:gd name="connsiteY30" fmla="*/ 6272 h 10000"/>
              <a:gd name="connsiteX31" fmla="*/ 9088 w 10000"/>
              <a:gd name="connsiteY31" fmla="*/ 6000 h 10000"/>
              <a:gd name="connsiteX32" fmla="*/ 9242 w 10000"/>
              <a:gd name="connsiteY32" fmla="*/ 5741 h 10000"/>
              <a:gd name="connsiteX33" fmla="*/ 9458 w 10000"/>
              <a:gd name="connsiteY33" fmla="*/ 5345 h 10000"/>
              <a:gd name="connsiteX34" fmla="*/ 9597 w 10000"/>
              <a:gd name="connsiteY34" fmla="*/ 5037 h 10000"/>
              <a:gd name="connsiteX35" fmla="*/ 9768 w 10000"/>
              <a:gd name="connsiteY35" fmla="*/ 4618 h 10000"/>
              <a:gd name="connsiteX36" fmla="*/ 9876 w 10000"/>
              <a:gd name="connsiteY36" fmla="*/ 4148 h 10000"/>
              <a:gd name="connsiteX37" fmla="*/ 9953 w 10000"/>
              <a:gd name="connsiteY37" fmla="*/ 3729 h 10000"/>
              <a:gd name="connsiteX38" fmla="*/ 10000 w 10000"/>
              <a:gd name="connsiteY38" fmla="*/ 3359 h 10000"/>
              <a:gd name="connsiteX39" fmla="*/ 10000 w 10000"/>
              <a:gd name="connsiteY39" fmla="*/ 2964 h 10000"/>
              <a:gd name="connsiteX40" fmla="*/ 9984 w 10000"/>
              <a:gd name="connsiteY40" fmla="*/ 2642 h 10000"/>
              <a:gd name="connsiteX41" fmla="*/ 9922 w 10000"/>
              <a:gd name="connsiteY41" fmla="*/ 2161 h 10000"/>
              <a:gd name="connsiteX42" fmla="*/ 9768 w 10000"/>
              <a:gd name="connsiteY42" fmla="*/ 1679 h 10000"/>
              <a:gd name="connsiteX43" fmla="*/ 9628 w 10000"/>
              <a:gd name="connsiteY43" fmla="*/ 1260 h 10000"/>
              <a:gd name="connsiteX44" fmla="*/ 9458 w 10000"/>
              <a:gd name="connsiteY44" fmla="*/ 914 h 10000"/>
              <a:gd name="connsiteX45" fmla="*/ 9304 w 10000"/>
              <a:gd name="connsiteY45" fmla="*/ 631 h 10000"/>
              <a:gd name="connsiteX46" fmla="*/ 9165 w 10000"/>
              <a:gd name="connsiteY46" fmla="*/ 408 h 10000"/>
              <a:gd name="connsiteX47" fmla="*/ 8994 w 10000"/>
              <a:gd name="connsiteY47" fmla="*/ 185 h 10000"/>
              <a:gd name="connsiteX0" fmla="*/ 8994 w 10000"/>
              <a:gd name="connsiteY0" fmla="*/ 185 h 10000"/>
              <a:gd name="connsiteX1" fmla="*/ 9412 w 10000"/>
              <a:gd name="connsiteY1" fmla="*/ 0 h 10000"/>
              <a:gd name="connsiteX2" fmla="*/ 4692 w 10000"/>
              <a:gd name="connsiteY2" fmla="*/ 145 h 10000"/>
              <a:gd name="connsiteX3" fmla="*/ 2059 w 10000"/>
              <a:gd name="connsiteY3" fmla="*/ 2278 h 10000"/>
              <a:gd name="connsiteX4" fmla="*/ 2441 w 10000"/>
              <a:gd name="connsiteY4" fmla="*/ 2098 h 10000"/>
              <a:gd name="connsiteX5" fmla="*/ 599 w 10000"/>
              <a:gd name="connsiteY5" fmla="*/ 5242 h 10000"/>
              <a:gd name="connsiteX6" fmla="*/ 2102 w 10000"/>
              <a:gd name="connsiteY6" fmla="*/ 7617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5 h 10000"/>
              <a:gd name="connsiteX10" fmla="*/ 1329 w 10000"/>
              <a:gd name="connsiteY10" fmla="*/ 9925 h 10000"/>
              <a:gd name="connsiteX11" fmla="*/ 1824 w 10000"/>
              <a:gd name="connsiteY11" fmla="*/ 9876 h 10000"/>
              <a:gd name="connsiteX12" fmla="*/ 2302 w 10000"/>
              <a:gd name="connsiteY12" fmla="*/ 9790 h 10000"/>
              <a:gd name="connsiteX13" fmla="*/ 2782 w 10000"/>
              <a:gd name="connsiteY13" fmla="*/ 9704 h 10000"/>
              <a:gd name="connsiteX14" fmla="*/ 3153 w 10000"/>
              <a:gd name="connsiteY14" fmla="*/ 9617 h 10000"/>
              <a:gd name="connsiteX15" fmla="*/ 3554 w 10000"/>
              <a:gd name="connsiteY15" fmla="*/ 9517 h 10000"/>
              <a:gd name="connsiteX16" fmla="*/ 4049 w 10000"/>
              <a:gd name="connsiteY16" fmla="*/ 9382 h 10000"/>
              <a:gd name="connsiteX17" fmla="*/ 4467 w 10000"/>
              <a:gd name="connsiteY17" fmla="*/ 9234 h 10000"/>
              <a:gd name="connsiteX18" fmla="*/ 4868 w 10000"/>
              <a:gd name="connsiteY18" fmla="*/ 9098 h 10000"/>
              <a:gd name="connsiteX19" fmla="*/ 5301 w 10000"/>
              <a:gd name="connsiteY19" fmla="*/ 8914 h 10000"/>
              <a:gd name="connsiteX20" fmla="*/ 5734 w 10000"/>
              <a:gd name="connsiteY20" fmla="*/ 8728 h 10000"/>
              <a:gd name="connsiteX21" fmla="*/ 6089 w 10000"/>
              <a:gd name="connsiteY21" fmla="*/ 8555 h 10000"/>
              <a:gd name="connsiteX22" fmla="*/ 6491 w 10000"/>
              <a:gd name="connsiteY22" fmla="*/ 8321 h 10000"/>
              <a:gd name="connsiteX23" fmla="*/ 6893 w 10000"/>
              <a:gd name="connsiteY23" fmla="*/ 8087 h 10000"/>
              <a:gd name="connsiteX24" fmla="*/ 7249 w 10000"/>
              <a:gd name="connsiteY24" fmla="*/ 7827 h 10000"/>
              <a:gd name="connsiteX25" fmla="*/ 7542 w 10000"/>
              <a:gd name="connsiteY25" fmla="*/ 7617 h 10000"/>
              <a:gd name="connsiteX26" fmla="*/ 7867 w 10000"/>
              <a:gd name="connsiteY26" fmla="*/ 7358 h 10000"/>
              <a:gd name="connsiteX27" fmla="*/ 8114 w 10000"/>
              <a:gd name="connsiteY27" fmla="*/ 7136 h 10000"/>
              <a:gd name="connsiteX28" fmla="*/ 8393 w 10000"/>
              <a:gd name="connsiteY28" fmla="*/ 6864 h 10000"/>
              <a:gd name="connsiteX29" fmla="*/ 8670 w 10000"/>
              <a:gd name="connsiteY29" fmla="*/ 6580 h 10000"/>
              <a:gd name="connsiteX30" fmla="*/ 8871 w 10000"/>
              <a:gd name="connsiteY30" fmla="*/ 6272 h 10000"/>
              <a:gd name="connsiteX31" fmla="*/ 9088 w 10000"/>
              <a:gd name="connsiteY31" fmla="*/ 6000 h 10000"/>
              <a:gd name="connsiteX32" fmla="*/ 9242 w 10000"/>
              <a:gd name="connsiteY32" fmla="*/ 5741 h 10000"/>
              <a:gd name="connsiteX33" fmla="*/ 9458 w 10000"/>
              <a:gd name="connsiteY33" fmla="*/ 5345 h 10000"/>
              <a:gd name="connsiteX34" fmla="*/ 9597 w 10000"/>
              <a:gd name="connsiteY34" fmla="*/ 5037 h 10000"/>
              <a:gd name="connsiteX35" fmla="*/ 9768 w 10000"/>
              <a:gd name="connsiteY35" fmla="*/ 4618 h 10000"/>
              <a:gd name="connsiteX36" fmla="*/ 9876 w 10000"/>
              <a:gd name="connsiteY36" fmla="*/ 4148 h 10000"/>
              <a:gd name="connsiteX37" fmla="*/ 9953 w 10000"/>
              <a:gd name="connsiteY37" fmla="*/ 3729 h 10000"/>
              <a:gd name="connsiteX38" fmla="*/ 10000 w 10000"/>
              <a:gd name="connsiteY38" fmla="*/ 3359 h 10000"/>
              <a:gd name="connsiteX39" fmla="*/ 10000 w 10000"/>
              <a:gd name="connsiteY39" fmla="*/ 2964 h 10000"/>
              <a:gd name="connsiteX40" fmla="*/ 9984 w 10000"/>
              <a:gd name="connsiteY40" fmla="*/ 2642 h 10000"/>
              <a:gd name="connsiteX41" fmla="*/ 9922 w 10000"/>
              <a:gd name="connsiteY41" fmla="*/ 2161 h 10000"/>
              <a:gd name="connsiteX42" fmla="*/ 9768 w 10000"/>
              <a:gd name="connsiteY42" fmla="*/ 1679 h 10000"/>
              <a:gd name="connsiteX43" fmla="*/ 9628 w 10000"/>
              <a:gd name="connsiteY43" fmla="*/ 1260 h 10000"/>
              <a:gd name="connsiteX44" fmla="*/ 9458 w 10000"/>
              <a:gd name="connsiteY44" fmla="*/ 914 h 10000"/>
              <a:gd name="connsiteX45" fmla="*/ 9304 w 10000"/>
              <a:gd name="connsiteY45" fmla="*/ 631 h 10000"/>
              <a:gd name="connsiteX46" fmla="*/ 9165 w 10000"/>
              <a:gd name="connsiteY46" fmla="*/ 408 h 10000"/>
              <a:gd name="connsiteX47" fmla="*/ 8994 w 10000"/>
              <a:gd name="connsiteY47" fmla="*/ 185 h 10000"/>
              <a:gd name="connsiteX0" fmla="*/ 8994 w 10000"/>
              <a:gd name="connsiteY0" fmla="*/ 185 h 10000"/>
              <a:gd name="connsiteX1" fmla="*/ 9412 w 10000"/>
              <a:gd name="connsiteY1" fmla="*/ 0 h 10000"/>
              <a:gd name="connsiteX2" fmla="*/ 4692 w 10000"/>
              <a:gd name="connsiteY2" fmla="*/ 145 h 10000"/>
              <a:gd name="connsiteX3" fmla="*/ 2059 w 10000"/>
              <a:gd name="connsiteY3" fmla="*/ 2278 h 10000"/>
              <a:gd name="connsiteX4" fmla="*/ 2441 w 10000"/>
              <a:gd name="connsiteY4" fmla="*/ 2098 h 10000"/>
              <a:gd name="connsiteX5" fmla="*/ 599 w 10000"/>
              <a:gd name="connsiteY5" fmla="*/ 5242 h 10000"/>
              <a:gd name="connsiteX6" fmla="*/ 2102 w 10000"/>
              <a:gd name="connsiteY6" fmla="*/ 7617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5 h 10000"/>
              <a:gd name="connsiteX10" fmla="*/ 1329 w 10000"/>
              <a:gd name="connsiteY10" fmla="*/ 9925 h 10000"/>
              <a:gd name="connsiteX11" fmla="*/ 1824 w 10000"/>
              <a:gd name="connsiteY11" fmla="*/ 9876 h 10000"/>
              <a:gd name="connsiteX12" fmla="*/ 2302 w 10000"/>
              <a:gd name="connsiteY12" fmla="*/ 9790 h 10000"/>
              <a:gd name="connsiteX13" fmla="*/ 2782 w 10000"/>
              <a:gd name="connsiteY13" fmla="*/ 9704 h 10000"/>
              <a:gd name="connsiteX14" fmla="*/ 3153 w 10000"/>
              <a:gd name="connsiteY14" fmla="*/ 9617 h 10000"/>
              <a:gd name="connsiteX15" fmla="*/ 3554 w 10000"/>
              <a:gd name="connsiteY15" fmla="*/ 9517 h 10000"/>
              <a:gd name="connsiteX16" fmla="*/ 4049 w 10000"/>
              <a:gd name="connsiteY16" fmla="*/ 9382 h 10000"/>
              <a:gd name="connsiteX17" fmla="*/ 4467 w 10000"/>
              <a:gd name="connsiteY17" fmla="*/ 9234 h 10000"/>
              <a:gd name="connsiteX18" fmla="*/ 4868 w 10000"/>
              <a:gd name="connsiteY18" fmla="*/ 9098 h 10000"/>
              <a:gd name="connsiteX19" fmla="*/ 5301 w 10000"/>
              <a:gd name="connsiteY19" fmla="*/ 8914 h 10000"/>
              <a:gd name="connsiteX20" fmla="*/ 5734 w 10000"/>
              <a:gd name="connsiteY20" fmla="*/ 8728 h 10000"/>
              <a:gd name="connsiteX21" fmla="*/ 6089 w 10000"/>
              <a:gd name="connsiteY21" fmla="*/ 8555 h 10000"/>
              <a:gd name="connsiteX22" fmla="*/ 6491 w 10000"/>
              <a:gd name="connsiteY22" fmla="*/ 8321 h 10000"/>
              <a:gd name="connsiteX23" fmla="*/ 6893 w 10000"/>
              <a:gd name="connsiteY23" fmla="*/ 8087 h 10000"/>
              <a:gd name="connsiteX24" fmla="*/ 7249 w 10000"/>
              <a:gd name="connsiteY24" fmla="*/ 7827 h 10000"/>
              <a:gd name="connsiteX25" fmla="*/ 7542 w 10000"/>
              <a:gd name="connsiteY25" fmla="*/ 7617 h 10000"/>
              <a:gd name="connsiteX26" fmla="*/ 7867 w 10000"/>
              <a:gd name="connsiteY26" fmla="*/ 7358 h 10000"/>
              <a:gd name="connsiteX27" fmla="*/ 8114 w 10000"/>
              <a:gd name="connsiteY27" fmla="*/ 7136 h 10000"/>
              <a:gd name="connsiteX28" fmla="*/ 8393 w 10000"/>
              <a:gd name="connsiteY28" fmla="*/ 6864 h 10000"/>
              <a:gd name="connsiteX29" fmla="*/ 8670 w 10000"/>
              <a:gd name="connsiteY29" fmla="*/ 6580 h 10000"/>
              <a:gd name="connsiteX30" fmla="*/ 8871 w 10000"/>
              <a:gd name="connsiteY30" fmla="*/ 6272 h 10000"/>
              <a:gd name="connsiteX31" fmla="*/ 9088 w 10000"/>
              <a:gd name="connsiteY31" fmla="*/ 6000 h 10000"/>
              <a:gd name="connsiteX32" fmla="*/ 9242 w 10000"/>
              <a:gd name="connsiteY32" fmla="*/ 5741 h 10000"/>
              <a:gd name="connsiteX33" fmla="*/ 9458 w 10000"/>
              <a:gd name="connsiteY33" fmla="*/ 5345 h 10000"/>
              <a:gd name="connsiteX34" fmla="*/ 9597 w 10000"/>
              <a:gd name="connsiteY34" fmla="*/ 5037 h 10000"/>
              <a:gd name="connsiteX35" fmla="*/ 9768 w 10000"/>
              <a:gd name="connsiteY35" fmla="*/ 4618 h 10000"/>
              <a:gd name="connsiteX36" fmla="*/ 9876 w 10000"/>
              <a:gd name="connsiteY36" fmla="*/ 4148 h 10000"/>
              <a:gd name="connsiteX37" fmla="*/ 9953 w 10000"/>
              <a:gd name="connsiteY37" fmla="*/ 3729 h 10000"/>
              <a:gd name="connsiteX38" fmla="*/ 10000 w 10000"/>
              <a:gd name="connsiteY38" fmla="*/ 3359 h 10000"/>
              <a:gd name="connsiteX39" fmla="*/ 10000 w 10000"/>
              <a:gd name="connsiteY39" fmla="*/ 2964 h 10000"/>
              <a:gd name="connsiteX40" fmla="*/ 9984 w 10000"/>
              <a:gd name="connsiteY40" fmla="*/ 2642 h 10000"/>
              <a:gd name="connsiteX41" fmla="*/ 9922 w 10000"/>
              <a:gd name="connsiteY41" fmla="*/ 2161 h 10000"/>
              <a:gd name="connsiteX42" fmla="*/ 9768 w 10000"/>
              <a:gd name="connsiteY42" fmla="*/ 1679 h 10000"/>
              <a:gd name="connsiteX43" fmla="*/ 9628 w 10000"/>
              <a:gd name="connsiteY43" fmla="*/ 1260 h 10000"/>
              <a:gd name="connsiteX44" fmla="*/ 9458 w 10000"/>
              <a:gd name="connsiteY44" fmla="*/ 914 h 10000"/>
              <a:gd name="connsiteX45" fmla="*/ 9304 w 10000"/>
              <a:gd name="connsiteY45" fmla="*/ 631 h 10000"/>
              <a:gd name="connsiteX46" fmla="*/ 9165 w 10000"/>
              <a:gd name="connsiteY46" fmla="*/ 408 h 10000"/>
              <a:gd name="connsiteX47" fmla="*/ 8994 w 10000"/>
              <a:gd name="connsiteY47" fmla="*/ 185 h 10000"/>
              <a:gd name="connsiteX0" fmla="*/ 8994 w 10000"/>
              <a:gd name="connsiteY0" fmla="*/ 185 h 10000"/>
              <a:gd name="connsiteX1" fmla="*/ 9412 w 10000"/>
              <a:gd name="connsiteY1" fmla="*/ 0 h 10000"/>
              <a:gd name="connsiteX2" fmla="*/ 4692 w 10000"/>
              <a:gd name="connsiteY2" fmla="*/ 145 h 10000"/>
              <a:gd name="connsiteX3" fmla="*/ 2059 w 10000"/>
              <a:gd name="connsiteY3" fmla="*/ 2278 h 10000"/>
              <a:gd name="connsiteX4" fmla="*/ 2441 w 10000"/>
              <a:gd name="connsiteY4" fmla="*/ 2098 h 10000"/>
              <a:gd name="connsiteX5" fmla="*/ 599 w 10000"/>
              <a:gd name="connsiteY5" fmla="*/ 5242 h 10000"/>
              <a:gd name="connsiteX6" fmla="*/ 2102 w 10000"/>
              <a:gd name="connsiteY6" fmla="*/ 7617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5 h 10000"/>
              <a:gd name="connsiteX10" fmla="*/ 1329 w 10000"/>
              <a:gd name="connsiteY10" fmla="*/ 9925 h 10000"/>
              <a:gd name="connsiteX11" fmla="*/ 1824 w 10000"/>
              <a:gd name="connsiteY11" fmla="*/ 9876 h 10000"/>
              <a:gd name="connsiteX12" fmla="*/ 2302 w 10000"/>
              <a:gd name="connsiteY12" fmla="*/ 9790 h 10000"/>
              <a:gd name="connsiteX13" fmla="*/ 2782 w 10000"/>
              <a:gd name="connsiteY13" fmla="*/ 9704 h 10000"/>
              <a:gd name="connsiteX14" fmla="*/ 3153 w 10000"/>
              <a:gd name="connsiteY14" fmla="*/ 9617 h 10000"/>
              <a:gd name="connsiteX15" fmla="*/ 3554 w 10000"/>
              <a:gd name="connsiteY15" fmla="*/ 9517 h 10000"/>
              <a:gd name="connsiteX16" fmla="*/ 4049 w 10000"/>
              <a:gd name="connsiteY16" fmla="*/ 9382 h 10000"/>
              <a:gd name="connsiteX17" fmla="*/ 4467 w 10000"/>
              <a:gd name="connsiteY17" fmla="*/ 9234 h 10000"/>
              <a:gd name="connsiteX18" fmla="*/ 4868 w 10000"/>
              <a:gd name="connsiteY18" fmla="*/ 9098 h 10000"/>
              <a:gd name="connsiteX19" fmla="*/ 5301 w 10000"/>
              <a:gd name="connsiteY19" fmla="*/ 8914 h 10000"/>
              <a:gd name="connsiteX20" fmla="*/ 5734 w 10000"/>
              <a:gd name="connsiteY20" fmla="*/ 8728 h 10000"/>
              <a:gd name="connsiteX21" fmla="*/ 6089 w 10000"/>
              <a:gd name="connsiteY21" fmla="*/ 8555 h 10000"/>
              <a:gd name="connsiteX22" fmla="*/ 6491 w 10000"/>
              <a:gd name="connsiteY22" fmla="*/ 8321 h 10000"/>
              <a:gd name="connsiteX23" fmla="*/ 6893 w 10000"/>
              <a:gd name="connsiteY23" fmla="*/ 8087 h 10000"/>
              <a:gd name="connsiteX24" fmla="*/ 7249 w 10000"/>
              <a:gd name="connsiteY24" fmla="*/ 7827 h 10000"/>
              <a:gd name="connsiteX25" fmla="*/ 7542 w 10000"/>
              <a:gd name="connsiteY25" fmla="*/ 7617 h 10000"/>
              <a:gd name="connsiteX26" fmla="*/ 7867 w 10000"/>
              <a:gd name="connsiteY26" fmla="*/ 7358 h 10000"/>
              <a:gd name="connsiteX27" fmla="*/ 8114 w 10000"/>
              <a:gd name="connsiteY27" fmla="*/ 7136 h 10000"/>
              <a:gd name="connsiteX28" fmla="*/ 8393 w 10000"/>
              <a:gd name="connsiteY28" fmla="*/ 6864 h 10000"/>
              <a:gd name="connsiteX29" fmla="*/ 8670 w 10000"/>
              <a:gd name="connsiteY29" fmla="*/ 6580 h 10000"/>
              <a:gd name="connsiteX30" fmla="*/ 8871 w 10000"/>
              <a:gd name="connsiteY30" fmla="*/ 6272 h 10000"/>
              <a:gd name="connsiteX31" fmla="*/ 9088 w 10000"/>
              <a:gd name="connsiteY31" fmla="*/ 6000 h 10000"/>
              <a:gd name="connsiteX32" fmla="*/ 9242 w 10000"/>
              <a:gd name="connsiteY32" fmla="*/ 5741 h 10000"/>
              <a:gd name="connsiteX33" fmla="*/ 9458 w 10000"/>
              <a:gd name="connsiteY33" fmla="*/ 5345 h 10000"/>
              <a:gd name="connsiteX34" fmla="*/ 9597 w 10000"/>
              <a:gd name="connsiteY34" fmla="*/ 5037 h 10000"/>
              <a:gd name="connsiteX35" fmla="*/ 9768 w 10000"/>
              <a:gd name="connsiteY35" fmla="*/ 4618 h 10000"/>
              <a:gd name="connsiteX36" fmla="*/ 9876 w 10000"/>
              <a:gd name="connsiteY36" fmla="*/ 4148 h 10000"/>
              <a:gd name="connsiteX37" fmla="*/ 9953 w 10000"/>
              <a:gd name="connsiteY37" fmla="*/ 3729 h 10000"/>
              <a:gd name="connsiteX38" fmla="*/ 10000 w 10000"/>
              <a:gd name="connsiteY38" fmla="*/ 3359 h 10000"/>
              <a:gd name="connsiteX39" fmla="*/ 10000 w 10000"/>
              <a:gd name="connsiteY39" fmla="*/ 2964 h 10000"/>
              <a:gd name="connsiteX40" fmla="*/ 9984 w 10000"/>
              <a:gd name="connsiteY40" fmla="*/ 2642 h 10000"/>
              <a:gd name="connsiteX41" fmla="*/ 9922 w 10000"/>
              <a:gd name="connsiteY41" fmla="*/ 2161 h 10000"/>
              <a:gd name="connsiteX42" fmla="*/ 9768 w 10000"/>
              <a:gd name="connsiteY42" fmla="*/ 1679 h 10000"/>
              <a:gd name="connsiteX43" fmla="*/ 9628 w 10000"/>
              <a:gd name="connsiteY43" fmla="*/ 1260 h 10000"/>
              <a:gd name="connsiteX44" fmla="*/ 9458 w 10000"/>
              <a:gd name="connsiteY44" fmla="*/ 914 h 10000"/>
              <a:gd name="connsiteX45" fmla="*/ 9304 w 10000"/>
              <a:gd name="connsiteY45" fmla="*/ 631 h 10000"/>
              <a:gd name="connsiteX46" fmla="*/ 9165 w 10000"/>
              <a:gd name="connsiteY46" fmla="*/ 408 h 10000"/>
              <a:gd name="connsiteX47" fmla="*/ 8994 w 10000"/>
              <a:gd name="connsiteY47" fmla="*/ 185 h 10000"/>
              <a:gd name="connsiteX0" fmla="*/ 8994 w 10000"/>
              <a:gd name="connsiteY0" fmla="*/ 185 h 10000"/>
              <a:gd name="connsiteX1" fmla="*/ 9412 w 10000"/>
              <a:gd name="connsiteY1" fmla="*/ 0 h 10000"/>
              <a:gd name="connsiteX2" fmla="*/ 4692 w 10000"/>
              <a:gd name="connsiteY2" fmla="*/ 145 h 10000"/>
              <a:gd name="connsiteX3" fmla="*/ 2059 w 10000"/>
              <a:gd name="connsiteY3" fmla="*/ 2278 h 10000"/>
              <a:gd name="connsiteX4" fmla="*/ 2441 w 10000"/>
              <a:gd name="connsiteY4" fmla="*/ 2098 h 10000"/>
              <a:gd name="connsiteX5" fmla="*/ 599 w 10000"/>
              <a:gd name="connsiteY5" fmla="*/ 5242 h 10000"/>
              <a:gd name="connsiteX6" fmla="*/ 2102 w 10000"/>
              <a:gd name="connsiteY6" fmla="*/ 7617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5 h 10000"/>
              <a:gd name="connsiteX10" fmla="*/ 1329 w 10000"/>
              <a:gd name="connsiteY10" fmla="*/ 9925 h 10000"/>
              <a:gd name="connsiteX11" fmla="*/ 1824 w 10000"/>
              <a:gd name="connsiteY11" fmla="*/ 9876 h 10000"/>
              <a:gd name="connsiteX12" fmla="*/ 2302 w 10000"/>
              <a:gd name="connsiteY12" fmla="*/ 9790 h 10000"/>
              <a:gd name="connsiteX13" fmla="*/ 2782 w 10000"/>
              <a:gd name="connsiteY13" fmla="*/ 9704 h 10000"/>
              <a:gd name="connsiteX14" fmla="*/ 3153 w 10000"/>
              <a:gd name="connsiteY14" fmla="*/ 9617 h 10000"/>
              <a:gd name="connsiteX15" fmla="*/ 3554 w 10000"/>
              <a:gd name="connsiteY15" fmla="*/ 9517 h 10000"/>
              <a:gd name="connsiteX16" fmla="*/ 4049 w 10000"/>
              <a:gd name="connsiteY16" fmla="*/ 9382 h 10000"/>
              <a:gd name="connsiteX17" fmla="*/ 4467 w 10000"/>
              <a:gd name="connsiteY17" fmla="*/ 9234 h 10000"/>
              <a:gd name="connsiteX18" fmla="*/ 4868 w 10000"/>
              <a:gd name="connsiteY18" fmla="*/ 9098 h 10000"/>
              <a:gd name="connsiteX19" fmla="*/ 5301 w 10000"/>
              <a:gd name="connsiteY19" fmla="*/ 8914 h 10000"/>
              <a:gd name="connsiteX20" fmla="*/ 5734 w 10000"/>
              <a:gd name="connsiteY20" fmla="*/ 8728 h 10000"/>
              <a:gd name="connsiteX21" fmla="*/ 6089 w 10000"/>
              <a:gd name="connsiteY21" fmla="*/ 8555 h 10000"/>
              <a:gd name="connsiteX22" fmla="*/ 6491 w 10000"/>
              <a:gd name="connsiteY22" fmla="*/ 8321 h 10000"/>
              <a:gd name="connsiteX23" fmla="*/ 6893 w 10000"/>
              <a:gd name="connsiteY23" fmla="*/ 8087 h 10000"/>
              <a:gd name="connsiteX24" fmla="*/ 7249 w 10000"/>
              <a:gd name="connsiteY24" fmla="*/ 7827 h 10000"/>
              <a:gd name="connsiteX25" fmla="*/ 7542 w 10000"/>
              <a:gd name="connsiteY25" fmla="*/ 7617 h 10000"/>
              <a:gd name="connsiteX26" fmla="*/ 7867 w 10000"/>
              <a:gd name="connsiteY26" fmla="*/ 7358 h 10000"/>
              <a:gd name="connsiteX27" fmla="*/ 8114 w 10000"/>
              <a:gd name="connsiteY27" fmla="*/ 7136 h 10000"/>
              <a:gd name="connsiteX28" fmla="*/ 8393 w 10000"/>
              <a:gd name="connsiteY28" fmla="*/ 6864 h 10000"/>
              <a:gd name="connsiteX29" fmla="*/ 8670 w 10000"/>
              <a:gd name="connsiteY29" fmla="*/ 6580 h 10000"/>
              <a:gd name="connsiteX30" fmla="*/ 8871 w 10000"/>
              <a:gd name="connsiteY30" fmla="*/ 6272 h 10000"/>
              <a:gd name="connsiteX31" fmla="*/ 9088 w 10000"/>
              <a:gd name="connsiteY31" fmla="*/ 6000 h 10000"/>
              <a:gd name="connsiteX32" fmla="*/ 9242 w 10000"/>
              <a:gd name="connsiteY32" fmla="*/ 5741 h 10000"/>
              <a:gd name="connsiteX33" fmla="*/ 9458 w 10000"/>
              <a:gd name="connsiteY33" fmla="*/ 5345 h 10000"/>
              <a:gd name="connsiteX34" fmla="*/ 9597 w 10000"/>
              <a:gd name="connsiteY34" fmla="*/ 5037 h 10000"/>
              <a:gd name="connsiteX35" fmla="*/ 9768 w 10000"/>
              <a:gd name="connsiteY35" fmla="*/ 4618 h 10000"/>
              <a:gd name="connsiteX36" fmla="*/ 9876 w 10000"/>
              <a:gd name="connsiteY36" fmla="*/ 4148 h 10000"/>
              <a:gd name="connsiteX37" fmla="*/ 9953 w 10000"/>
              <a:gd name="connsiteY37" fmla="*/ 3729 h 10000"/>
              <a:gd name="connsiteX38" fmla="*/ 10000 w 10000"/>
              <a:gd name="connsiteY38" fmla="*/ 3359 h 10000"/>
              <a:gd name="connsiteX39" fmla="*/ 10000 w 10000"/>
              <a:gd name="connsiteY39" fmla="*/ 2964 h 10000"/>
              <a:gd name="connsiteX40" fmla="*/ 9984 w 10000"/>
              <a:gd name="connsiteY40" fmla="*/ 2642 h 10000"/>
              <a:gd name="connsiteX41" fmla="*/ 9922 w 10000"/>
              <a:gd name="connsiteY41" fmla="*/ 2161 h 10000"/>
              <a:gd name="connsiteX42" fmla="*/ 9768 w 10000"/>
              <a:gd name="connsiteY42" fmla="*/ 1679 h 10000"/>
              <a:gd name="connsiteX43" fmla="*/ 9628 w 10000"/>
              <a:gd name="connsiteY43" fmla="*/ 1260 h 10000"/>
              <a:gd name="connsiteX44" fmla="*/ 9458 w 10000"/>
              <a:gd name="connsiteY44" fmla="*/ 914 h 10000"/>
              <a:gd name="connsiteX45" fmla="*/ 9304 w 10000"/>
              <a:gd name="connsiteY45" fmla="*/ 631 h 10000"/>
              <a:gd name="connsiteX46" fmla="*/ 9165 w 10000"/>
              <a:gd name="connsiteY46" fmla="*/ 408 h 10000"/>
              <a:gd name="connsiteX47" fmla="*/ 8994 w 10000"/>
              <a:gd name="connsiteY47" fmla="*/ 185 h 10000"/>
              <a:gd name="connsiteX0" fmla="*/ 8994 w 10000"/>
              <a:gd name="connsiteY0" fmla="*/ 185 h 10000"/>
              <a:gd name="connsiteX1" fmla="*/ 9412 w 10000"/>
              <a:gd name="connsiteY1" fmla="*/ 0 h 10000"/>
              <a:gd name="connsiteX2" fmla="*/ 4692 w 10000"/>
              <a:gd name="connsiteY2" fmla="*/ 145 h 10000"/>
              <a:gd name="connsiteX3" fmla="*/ 2059 w 10000"/>
              <a:gd name="connsiteY3" fmla="*/ 2278 h 10000"/>
              <a:gd name="connsiteX4" fmla="*/ 2441 w 10000"/>
              <a:gd name="connsiteY4" fmla="*/ 2098 h 10000"/>
              <a:gd name="connsiteX5" fmla="*/ 599 w 10000"/>
              <a:gd name="connsiteY5" fmla="*/ 5242 h 10000"/>
              <a:gd name="connsiteX6" fmla="*/ 2102 w 10000"/>
              <a:gd name="connsiteY6" fmla="*/ 7617 h 10000"/>
              <a:gd name="connsiteX7" fmla="*/ 0 w 10000"/>
              <a:gd name="connsiteY7" fmla="*/ 10000 h 10000"/>
              <a:gd name="connsiteX8" fmla="*/ 418 w 10000"/>
              <a:gd name="connsiteY8" fmla="*/ 9988 h 10000"/>
              <a:gd name="connsiteX9" fmla="*/ 850 w 10000"/>
              <a:gd name="connsiteY9" fmla="*/ 9975 h 10000"/>
              <a:gd name="connsiteX10" fmla="*/ 1329 w 10000"/>
              <a:gd name="connsiteY10" fmla="*/ 9925 h 10000"/>
              <a:gd name="connsiteX11" fmla="*/ 1824 w 10000"/>
              <a:gd name="connsiteY11" fmla="*/ 9876 h 10000"/>
              <a:gd name="connsiteX12" fmla="*/ 2302 w 10000"/>
              <a:gd name="connsiteY12" fmla="*/ 9790 h 10000"/>
              <a:gd name="connsiteX13" fmla="*/ 2782 w 10000"/>
              <a:gd name="connsiteY13" fmla="*/ 9704 h 10000"/>
              <a:gd name="connsiteX14" fmla="*/ 3153 w 10000"/>
              <a:gd name="connsiteY14" fmla="*/ 9617 h 10000"/>
              <a:gd name="connsiteX15" fmla="*/ 3554 w 10000"/>
              <a:gd name="connsiteY15" fmla="*/ 9517 h 10000"/>
              <a:gd name="connsiteX16" fmla="*/ 4049 w 10000"/>
              <a:gd name="connsiteY16" fmla="*/ 9382 h 10000"/>
              <a:gd name="connsiteX17" fmla="*/ 4467 w 10000"/>
              <a:gd name="connsiteY17" fmla="*/ 9234 h 10000"/>
              <a:gd name="connsiteX18" fmla="*/ 4868 w 10000"/>
              <a:gd name="connsiteY18" fmla="*/ 9098 h 10000"/>
              <a:gd name="connsiteX19" fmla="*/ 5301 w 10000"/>
              <a:gd name="connsiteY19" fmla="*/ 8914 h 10000"/>
              <a:gd name="connsiteX20" fmla="*/ 5734 w 10000"/>
              <a:gd name="connsiteY20" fmla="*/ 8728 h 10000"/>
              <a:gd name="connsiteX21" fmla="*/ 6089 w 10000"/>
              <a:gd name="connsiteY21" fmla="*/ 8555 h 10000"/>
              <a:gd name="connsiteX22" fmla="*/ 6491 w 10000"/>
              <a:gd name="connsiteY22" fmla="*/ 8321 h 10000"/>
              <a:gd name="connsiteX23" fmla="*/ 6893 w 10000"/>
              <a:gd name="connsiteY23" fmla="*/ 8087 h 10000"/>
              <a:gd name="connsiteX24" fmla="*/ 7249 w 10000"/>
              <a:gd name="connsiteY24" fmla="*/ 7827 h 10000"/>
              <a:gd name="connsiteX25" fmla="*/ 7542 w 10000"/>
              <a:gd name="connsiteY25" fmla="*/ 7617 h 10000"/>
              <a:gd name="connsiteX26" fmla="*/ 7867 w 10000"/>
              <a:gd name="connsiteY26" fmla="*/ 7358 h 10000"/>
              <a:gd name="connsiteX27" fmla="*/ 8114 w 10000"/>
              <a:gd name="connsiteY27" fmla="*/ 7136 h 10000"/>
              <a:gd name="connsiteX28" fmla="*/ 8393 w 10000"/>
              <a:gd name="connsiteY28" fmla="*/ 6864 h 10000"/>
              <a:gd name="connsiteX29" fmla="*/ 8670 w 10000"/>
              <a:gd name="connsiteY29" fmla="*/ 6580 h 10000"/>
              <a:gd name="connsiteX30" fmla="*/ 8871 w 10000"/>
              <a:gd name="connsiteY30" fmla="*/ 6272 h 10000"/>
              <a:gd name="connsiteX31" fmla="*/ 9088 w 10000"/>
              <a:gd name="connsiteY31" fmla="*/ 6000 h 10000"/>
              <a:gd name="connsiteX32" fmla="*/ 9242 w 10000"/>
              <a:gd name="connsiteY32" fmla="*/ 5741 h 10000"/>
              <a:gd name="connsiteX33" fmla="*/ 9458 w 10000"/>
              <a:gd name="connsiteY33" fmla="*/ 5345 h 10000"/>
              <a:gd name="connsiteX34" fmla="*/ 9597 w 10000"/>
              <a:gd name="connsiteY34" fmla="*/ 5037 h 10000"/>
              <a:gd name="connsiteX35" fmla="*/ 9768 w 10000"/>
              <a:gd name="connsiteY35" fmla="*/ 4618 h 10000"/>
              <a:gd name="connsiteX36" fmla="*/ 9876 w 10000"/>
              <a:gd name="connsiteY36" fmla="*/ 4148 h 10000"/>
              <a:gd name="connsiteX37" fmla="*/ 9953 w 10000"/>
              <a:gd name="connsiteY37" fmla="*/ 3729 h 10000"/>
              <a:gd name="connsiteX38" fmla="*/ 10000 w 10000"/>
              <a:gd name="connsiteY38" fmla="*/ 3359 h 10000"/>
              <a:gd name="connsiteX39" fmla="*/ 10000 w 10000"/>
              <a:gd name="connsiteY39" fmla="*/ 2964 h 10000"/>
              <a:gd name="connsiteX40" fmla="*/ 9984 w 10000"/>
              <a:gd name="connsiteY40" fmla="*/ 2642 h 10000"/>
              <a:gd name="connsiteX41" fmla="*/ 9922 w 10000"/>
              <a:gd name="connsiteY41" fmla="*/ 2161 h 10000"/>
              <a:gd name="connsiteX42" fmla="*/ 9768 w 10000"/>
              <a:gd name="connsiteY42" fmla="*/ 1679 h 10000"/>
              <a:gd name="connsiteX43" fmla="*/ 9628 w 10000"/>
              <a:gd name="connsiteY43" fmla="*/ 1260 h 10000"/>
              <a:gd name="connsiteX44" fmla="*/ 9458 w 10000"/>
              <a:gd name="connsiteY44" fmla="*/ 914 h 10000"/>
              <a:gd name="connsiteX45" fmla="*/ 9304 w 10000"/>
              <a:gd name="connsiteY45" fmla="*/ 631 h 10000"/>
              <a:gd name="connsiteX46" fmla="*/ 9165 w 10000"/>
              <a:gd name="connsiteY46" fmla="*/ 408 h 10000"/>
              <a:gd name="connsiteX47" fmla="*/ 8994 w 10000"/>
              <a:gd name="connsiteY47" fmla="*/ 185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0000" h="10000">
                <a:moveTo>
                  <a:pt x="8994" y="185"/>
                </a:moveTo>
                <a:lnTo>
                  <a:pt x="9412" y="0"/>
                </a:lnTo>
                <a:lnTo>
                  <a:pt x="4692" y="145"/>
                </a:lnTo>
                <a:lnTo>
                  <a:pt x="2059" y="2278"/>
                </a:lnTo>
                <a:lnTo>
                  <a:pt x="2441" y="2098"/>
                </a:lnTo>
                <a:cubicBezTo>
                  <a:pt x="3057" y="2903"/>
                  <a:pt x="3393" y="4430"/>
                  <a:pt x="599" y="5242"/>
                </a:cubicBezTo>
                <a:lnTo>
                  <a:pt x="2102" y="7617"/>
                </a:lnTo>
                <a:lnTo>
                  <a:pt x="0" y="10000"/>
                </a:lnTo>
                <a:lnTo>
                  <a:pt x="418" y="9988"/>
                </a:lnTo>
                <a:lnTo>
                  <a:pt x="850" y="9975"/>
                </a:lnTo>
                <a:lnTo>
                  <a:pt x="1329" y="9925"/>
                </a:lnTo>
                <a:lnTo>
                  <a:pt x="1824" y="9876"/>
                </a:lnTo>
                <a:lnTo>
                  <a:pt x="2302" y="9790"/>
                </a:lnTo>
                <a:lnTo>
                  <a:pt x="2782" y="9704"/>
                </a:lnTo>
                <a:lnTo>
                  <a:pt x="3153" y="9617"/>
                </a:lnTo>
                <a:lnTo>
                  <a:pt x="3554" y="9517"/>
                </a:lnTo>
                <a:lnTo>
                  <a:pt x="4049" y="9382"/>
                </a:lnTo>
                <a:lnTo>
                  <a:pt x="4467" y="9234"/>
                </a:lnTo>
                <a:lnTo>
                  <a:pt x="4868" y="9098"/>
                </a:lnTo>
                <a:lnTo>
                  <a:pt x="5301" y="8914"/>
                </a:lnTo>
                <a:lnTo>
                  <a:pt x="5734" y="8728"/>
                </a:lnTo>
                <a:lnTo>
                  <a:pt x="6089" y="8555"/>
                </a:lnTo>
                <a:lnTo>
                  <a:pt x="6491" y="8321"/>
                </a:lnTo>
                <a:lnTo>
                  <a:pt x="6893" y="8087"/>
                </a:lnTo>
                <a:lnTo>
                  <a:pt x="7249" y="7827"/>
                </a:lnTo>
                <a:lnTo>
                  <a:pt x="7542" y="7617"/>
                </a:lnTo>
                <a:lnTo>
                  <a:pt x="7867" y="7358"/>
                </a:lnTo>
                <a:lnTo>
                  <a:pt x="8114" y="7136"/>
                </a:lnTo>
                <a:lnTo>
                  <a:pt x="8393" y="6864"/>
                </a:lnTo>
                <a:lnTo>
                  <a:pt x="8670" y="6580"/>
                </a:lnTo>
                <a:lnTo>
                  <a:pt x="8871" y="6272"/>
                </a:lnTo>
                <a:cubicBezTo>
                  <a:pt x="8943" y="6181"/>
                  <a:pt x="9016" y="6091"/>
                  <a:pt x="9088" y="6000"/>
                </a:cubicBezTo>
                <a:cubicBezTo>
                  <a:pt x="9139" y="5913"/>
                  <a:pt x="9191" y="5828"/>
                  <a:pt x="9242" y="5741"/>
                </a:cubicBezTo>
                <a:lnTo>
                  <a:pt x="9458" y="5345"/>
                </a:lnTo>
                <a:cubicBezTo>
                  <a:pt x="9504" y="5242"/>
                  <a:pt x="9551" y="5140"/>
                  <a:pt x="9597" y="5037"/>
                </a:cubicBezTo>
                <a:lnTo>
                  <a:pt x="9768" y="4618"/>
                </a:lnTo>
                <a:lnTo>
                  <a:pt x="9876" y="4148"/>
                </a:lnTo>
                <a:cubicBezTo>
                  <a:pt x="9902" y="4008"/>
                  <a:pt x="9927" y="3869"/>
                  <a:pt x="9953" y="3729"/>
                </a:cubicBezTo>
                <a:cubicBezTo>
                  <a:pt x="9969" y="3605"/>
                  <a:pt x="9984" y="3481"/>
                  <a:pt x="10000" y="3359"/>
                </a:cubicBezTo>
                <a:lnTo>
                  <a:pt x="10000" y="2964"/>
                </a:lnTo>
                <a:cubicBezTo>
                  <a:pt x="9995" y="2856"/>
                  <a:pt x="9989" y="2749"/>
                  <a:pt x="9984" y="2642"/>
                </a:cubicBezTo>
                <a:cubicBezTo>
                  <a:pt x="9963" y="2482"/>
                  <a:pt x="9943" y="2321"/>
                  <a:pt x="9922" y="2161"/>
                </a:cubicBezTo>
                <a:cubicBezTo>
                  <a:pt x="9871" y="2000"/>
                  <a:pt x="9819" y="1839"/>
                  <a:pt x="9768" y="1679"/>
                </a:cubicBezTo>
                <a:cubicBezTo>
                  <a:pt x="9722" y="1539"/>
                  <a:pt x="9675" y="1400"/>
                  <a:pt x="9628" y="1260"/>
                </a:cubicBezTo>
                <a:cubicBezTo>
                  <a:pt x="9571" y="1145"/>
                  <a:pt x="9515" y="1029"/>
                  <a:pt x="9458" y="914"/>
                </a:cubicBezTo>
                <a:cubicBezTo>
                  <a:pt x="9407" y="819"/>
                  <a:pt x="9355" y="725"/>
                  <a:pt x="9304" y="631"/>
                </a:cubicBezTo>
                <a:cubicBezTo>
                  <a:pt x="9258" y="556"/>
                  <a:pt x="9211" y="483"/>
                  <a:pt x="9165" y="408"/>
                </a:cubicBezTo>
                <a:cubicBezTo>
                  <a:pt x="9108" y="333"/>
                  <a:pt x="9052" y="259"/>
                  <a:pt x="8994" y="185"/>
                </a:cubicBezTo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12700" cap="rnd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/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Text Box 10">
            <a:extLst>
              <a:ext uri="{FF2B5EF4-FFF2-40B4-BE49-F238E27FC236}">
                <a16:creationId xmlns:a16="http://schemas.microsoft.com/office/drawing/2014/main" id="{9C348B02-FCAF-4195-A5A4-2EB1A46352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69605" y="4373690"/>
            <a:ext cx="1480353" cy="30777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0000" rIns="90000">
            <a:spAutoFit/>
          </a:bodyPr>
          <a:lstStyle/>
          <a:p>
            <a:pPr algn="ctr" eaLnBrk="0" hangingPunct="0"/>
            <a:r>
              <a:rPr lang="en-US" sz="1400" dirty="0">
                <a:solidFill>
                  <a:srgbClr val="000000"/>
                </a:solidFill>
                <a:cs typeface="Arial" pitchFamily="34" charset="0"/>
              </a:rPr>
              <a:t>C</a:t>
            </a:r>
          </a:p>
        </p:txBody>
      </p:sp>
      <p:sp>
        <p:nvSpPr>
          <p:cNvPr id="15" name="Text Box 8">
            <a:extLst>
              <a:ext uri="{FF2B5EF4-FFF2-40B4-BE49-F238E27FC236}">
                <a16:creationId xmlns:a16="http://schemas.microsoft.com/office/drawing/2014/main" id="{33E50331-57AF-4060-896F-67B0347BAE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06292" y="2727145"/>
            <a:ext cx="1480353" cy="30777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0000" rIns="90000">
            <a:spAutoFit/>
          </a:bodyPr>
          <a:lstStyle/>
          <a:p>
            <a:pPr algn="ctr" eaLnBrk="0" hangingPunct="0"/>
            <a:r>
              <a:rPr lang="en-US" sz="1400" dirty="0">
                <a:solidFill>
                  <a:srgbClr val="000000"/>
                </a:solidFill>
                <a:cs typeface="Arial" pitchFamily="34" charset="0"/>
              </a:rPr>
              <a:t>B</a:t>
            </a:r>
          </a:p>
        </p:txBody>
      </p:sp>
    </p:spTree>
    <p:extLst>
      <p:ext uri="{BB962C8B-B14F-4D97-AF65-F5344CB8AC3E}">
        <p14:creationId xmlns:p14="http://schemas.microsoft.com/office/powerpoint/2010/main" val="282268903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F21E8C5-7A96-4436-AF65-47B9D8291F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79F754-B492-436B-B574-B6F186E19E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eedback loop 2</a:t>
            </a:r>
          </a:p>
        </p:txBody>
      </p:sp>
      <p:sp>
        <p:nvSpPr>
          <p:cNvPr id="5" name="Oval 3">
            <a:extLst>
              <a:ext uri="{FF2B5EF4-FFF2-40B4-BE49-F238E27FC236}">
                <a16:creationId xmlns:a16="http://schemas.microsoft.com/office/drawing/2014/main" id="{223DAFC4-36D6-420D-9D04-7ABBA99653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1880" y="1585042"/>
            <a:ext cx="3733800" cy="3733800"/>
          </a:xfrm>
          <a:prstGeom prst="ellipse">
            <a:avLst/>
          </a:prstGeom>
          <a:noFill/>
          <a:ln w="12700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algn="ctr"/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Oval 4">
            <a:extLst>
              <a:ext uri="{FF2B5EF4-FFF2-40B4-BE49-F238E27FC236}">
                <a16:creationId xmlns:a16="http://schemas.microsoft.com/office/drawing/2014/main" id="{794F2771-7205-44C9-BCAC-A62F1CEBDC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54680" y="2270842"/>
            <a:ext cx="1447800" cy="685800"/>
          </a:xfrm>
          <a:prstGeom prst="ellipse">
            <a:avLst/>
          </a:prstGeom>
          <a:solidFill>
            <a:srgbClr val="00B0F0"/>
          </a:solidFill>
          <a:ln w="12700">
            <a:noFill/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algn="ctr" eaLnBrk="0" hangingPunct="0"/>
            <a:r>
              <a:rPr lang="en-US" sz="1400" b="1" dirty="0">
                <a:solidFill>
                  <a:schemeClr val="bg1"/>
                </a:solidFill>
                <a:cs typeface="Arial" pitchFamily="34" charset="0"/>
              </a:rPr>
              <a:t>6</a:t>
            </a:r>
          </a:p>
        </p:txBody>
      </p:sp>
      <p:sp>
        <p:nvSpPr>
          <p:cNvPr id="7" name="Oval 5">
            <a:extLst>
              <a:ext uri="{FF2B5EF4-FFF2-40B4-BE49-F238E27FC236}">
                <a16:creationId xmlns:a16="http://schemas.microsoft.com/office/drawing/2014/main" id="{F08B91B1-1C48-4E77-AEC7-C35FE48B08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8880" y="2270842"/>
            <a:ext cx="1447800" cy="685800"/>
          </a:xfrm>
          <a:prstGeom prst="ellipse">
            <a:avLst/>
          </a:prstGeom>
          <a:solidFill>
            <a:srgbClr val="00B0F0"/>
          </a:solidFill>
          <a:ln w="12700">
            <a:noFill/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algn="ctr" eaLnBrk="0" hangingPunct="0"/>
            <a:r>
              <a:rPr lang="en-US" sz="14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8" name="Oval 6">
            <a:extLst>
              <a:ext uri="{FF2B5EF4-FFF2-40B4-BE49-F238E27FC236}">
                <a16:creationId xmlns:a16="http://schemas.microsoft.com/office/drawing/2014/main" id="{2A2D3E57-DD41-45AD-9256-440AC5D32E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9804" y="1356442"/>
            <a:ext cx="1449388" cy="685800"/>
          </a:xfrm>
          <a:prstGeom prst="ellipse">
            <a:avLst/>
          </a:prstGeom>
          <a:solidFill>
            <a:srgbClr val="00B0F0"/>
          </a:solidFill>
          <a:ln w="12700">
            <a:noFill/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algn="ctr" eaLnBrk="0" hangingPunct="0"/>
            <a:r>
              <a:rPr lang="en-US" sz="14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9" name="Oval 7">
            <a:extLst>
              <a:ext uri="{FF2B5EF4-FFF2-40B4-BE49-F238E27FC236}">
                <a16:creationId xmlns:a16="http://schemas.microsoft.com/office/drawing/2014/main" id="{F27CEF4A-E414-467F-BE21-9F94D5683A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9804" y="4861642"/>
            <a:ext cx="1449388" cy="685800"/>
          </a:xfrm>
          <a:prstGeom prst="ellipse">
            <a:avLst/>
          </a:prstGeom>
          <a:solidFill>
            <a:srgbClr val="00B0F0"/>
          </a:solidFill>
          <a:ln w="12700">
            <a:noFill/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algn="ctr" eaLnBrk="0" hangingPunct="0"/>
            <a:r>
              <a:rPr lang="en-US" sz="14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10" name="Oval 8">
            <a:extLst>
              <a:ext uri="{FF2B5EF4-FFF2-40B4-BE49-F238E27FC236}">
                <a16:creationId xmlns:a16="http://schemas.microsoft.com/office/drawing/2014/main" id="{077C9F17-F50B-4E9C-87DE-8F03AF29A8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54680" y="3871042"/>
            <a:ext cx="1447800" cy="685800"/>
          </a:xfrm>
          <a:prstGeom prst="ellipse">
            <a:avLst/>
          </a:prstGeom>
          <a:solidFill>
            <a:srgbClr val="00B0F0"/>
          </a:solidFill>
          <a:ln w="12700">
            <a:noFill/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algn="ctr" eaLnBrk="0" hangingPunct="0"/>
            <a:r>
              <a:rPr lang="en-US" sz="14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11" name="Oval 9">
            <a:extLst>
              <a:ext uri="{FF2B5EF4-FFF2-40B4-BE49-F238E27FC236}">
                <a16:creationId xmlns:a16="http://schemas.microsoft.com/office/drawing/2014/main" id="{2E9B13C5-C678-4957-B01E-CF7623D7DE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8880" y="3871042"/>
            <a:ext cx="1447800" cy="685800"/>
          </a:xfrm>
          <a:prstGeom prst="ellipse">
            <a:avLst/>
          </a:prstGeom>
          <a:solidFill>
            <a:srgbClr val="00B0F0"/>
          </a:solidFill>
          <a:ln w="12700">
            <a:noFill/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algn="ctr" eaLnBrk="0" hangingPunct="0"/>
            <a:r>
              <a:rPr lang="en-US" sz="14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8B496AAF-86E7-4B80-8641-41C4DF072189}"/>
              </a:ext>
            </a:extLst>
          </p:cNvPr>
          <p:cNvSpPr>
            <a:spLocks noChangeShapeType="1"/>
          </p:cNvSpPr>
          <p:nvPr/>
        </p:nvSpPr>
        <p:spPr bwMode="auto">
          <a:xfrm rot="16850757">
            <a:off x="2747599" y="2970136"/>
            <a:ext cx="52388" cy="3175"/>
          </a:xfrm>
          <a:prstGeom prst="line">
            <a:avLst/>
          </a:prstGeom>
          <a:noFill/>
          <a:ln w="0">
            <a:solidFill>
              <a:srgbClr val="B2B2B2"/>
            </a:solidFill>
            <a:round/>
            <a:headEnd/>
            <a:tailEnd type="stealth" w="lg" len="lg"/>
          </a:ln>
          <a:effectLst/>
        </p:spPr>
        <p:txBody>
          <a:bodyPr lIns="90000" tIns="46800" rIns="90000" bIns="46800"/>
          <a:lstStyle/>
          <a:p>
            <a:pPr algn="ctr"/>
            <a:endParaRPr 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Line 11">
            <a:extLst>
              <a:ext uri="{FF2B5EF4-FFF2-40B4-BE49-F238E27FC236}">
                <a16:creationId xmlns:a16="http://schemas.microsoft.com/office/drawing/2014/main" id="{E9043C27-3F56-423C-B0A4-0C197F418917}"/>
              </a:ext>
            </a:extLst>
          </p:cNvPr>
          <p:cNvSpPr>
            <a:spLocks noChangeShapeType="1"/>
          </p:cNvSpPr>
          <p:nvPr/>
        </p:nvSpPr>
        <p:spPr bwMode="auto">
          <a:xfrm rot="2702886">
            <a:off x="5986099" y="2252586"/>
            <a:ext cx="52388" cy="3175"/>
          </a:xfrm>
          <a:prstGeom prst="line">
            <a:avLst/>
          </a:prstGeom>
          <a:noFill/>
          <a:ln w="0">
            <a:solidFill>
              <a:srgbClr val="B2B2B2"/>
            </a:solidFill>
            <a:round/>
            <a:headEnd/>
            <a:tailEnd type="stealth" w="lg" len="lg"/>
          </a:ln>
          <a:effectLst/>
        </p:spPr>
        <p:txBody>
          <a:bodyPr lIns="90000" tIns="46800" rIns="90000" bIns="46800"/>
          <a:lstStyle/>
          <a:p>
            <a:pPr algn="ctr"/>
            <a:endParaRPr 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Line 12">
            <a:extLst>
              <a:ext uri="{FF2B5EF4-FFF2-40B4-BE49-F238E27FC236}">
                <a16:creationId xmlns:a16="http://schemas.microsoft.com/office/drawing/2014/main" id="{8EBB9C7D-5F7F-44DE-A706-5391A87D565C}"/>
              </a:ext>
            </a:extLst>
          </p:cNvPr>
          <p:cNvSpPr>
            <a:spLocks noChangeShapeType="1"/>
          </p:cNvSpPr>
          <p:nvPr/>
        </p:nvSpPr>
        <p:spPr bwMode="auto">
          <a:xfrm rot="19986357">
            <a:off x="3843769" y="1723156"/>
            <a:ext cx="52386" cy="3175"/>
          </a:xfrm>
          <a:prstGeom prst="line">
            <a:avLst/>
          </a:prstGeom>
          <a:noFill/>
          <a:ln w="0">
            <a:solidFill>
              <a:srgbClr val="B2B2B2"/>
            </a:solidFill>
            <a:round/>
            <a:headEnd/>
            <a:tailEnd type="stealth" w="lg" len="lg"/>
          </a:ln>
          <a:effectLst/>
        </p:spPr>
        <p:txBody>
          <a:bodyPr lIns="90000" tIns="46800" rIns="90000" bIns="46800"/>
          <a:lstStyle/>
          <a:p>
            <a:pPr algn="ctr"/>
            <a:endParaRPr 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Line 13">
            <a:extLst>
              <a:ext uri="{FF2B5EF4-FFF2-40B4-BE49-F238E27FC236}">
                <a16:creationId xmlns:a16="http://schemas.microsoft.com/office/drawing/2014/main" id="{DD788F53-9404-42D1-88C7-F7FE05B0A594}"/>
              </a:ext>
            </a:extLst>
          </p:cNvPr>
          <p:cNvSpPr>
            <a:spLocks noChangeShapeType="1"/>
          </p:cNvSpPr>
          <p:nvPr/>
        </p:nvSpPr>
        <p:spPr bwMode="auto">
          <a:xfrm rot="5848770">
            <a:off x="6371863" y="3870249"/>
            <a:ext cx="52387" cy="3175"/>
          </a:xfrm>
          <a:prstGeom prst="line">
            <a:avLst/>
          </a:prstGeom>
          <a:noFill/>
          <a:ln w="0">
            <a:solidFill>
              <a:srgbClr val="B2B2B2"/>
            </a:solidFill>
            <a:round/>
            <a:headEnd/>
            <a:tailEnd type="stealth" w="lg" len="lg"/>
          </a:ln>
          <a:effectLst/>
        </p:spPr>
        <p:txBody>
          <a:bodyPr lIns="90000" tIns="46800" rIns="90000" bIns="46800"/>
          <a:lstStyle/>
          <a:p>
            <a:pPr algn="ctr"/>
            <a:endParaRPr 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Line 14">
            <a:extLst>
              <a:ext uri="{FF2B5EF4-FFF2-40B4-BE49-F238E27FC236}">
                <a16:creationId xmlns:a16="http://schemas.microsoft.com/office/drawing/2014/main" id="{4F8A2AC3-B944-46D0-89E2-1108BEF072AB}"/>
              </a:ext>
            </a:extLst>
          </p:cNvPr>
          <p:cNvSpPr>
            <a:spLocks noChangeShapeType="1"/>
          </p:cNvSpPr>
          <p:nvPr/>
        </p:nvSpPr>
        <p:spPr bwMode="auto">
          <a:xfrm rot="9284656">
            <a:off x="5329670" y="5150569"/>
            <a:ext cx="52386" cy="3175"/>
          </a:xfrm>
          <a:prstGeom prst="line">
            <a:avLst/>
          </a:prstGeom>
          <a:noFill/>
          <a:ln w="0">
            <a:solidFill>
              <a:srgbClr val="B2B2B2"/>
            </a:solidFill>
            <a:round/>
            <a:headEnd/>
            <a:tailEnd type="stealth" w="lg" len="lg"/>
          </a:ln>
          <a:effectLst/>
        </p:spPr>
        <p:txBody>
          <a:bodyPr lIns="90000" tIns="46800" rIns="90000" bIns="46800"/>
          <a:lstStyle/>
          <a:p>
            <a:pPr algn="ctr"/>
            <a:endParaRPr 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Line 15">
            <a:extLst>
              <a:ext uri="{FF2B5EF4-FFF2-40B4-BE49-F238E27FC236}">
                <a16:creationId xmlns:a16="http://schemas.microsoft.com/office/drawing/2014/main" id="{7C941018-D1B4-4836-AE61-D64CEF4CD926}"/>
              </a:ext>
            </a:extLst>
          </p:cNvPr>
          <p:cNvSpPr>
            <a:spLocks noChangeShapeType="1"/>
          </p:cNvSpPr>
          <p:nvPr/>
        </p:nvSpPr>
        <p:spPr bwMode="auto">
          <a:xfrm rot="13811334">
            <a:off x="3063512" y="4573511"/>
            <a:ext cx="52388" cy="3175"/>
          </a:xfrm>
          <a:prstGeom prst="line">
            <a:avLst/>
          </a:prstGeom>
          <a:noFill/>
          <a:ln w="0">
            <a:solidFill>
              <a:srgbClr val="B2B2B2"/>
            </a:solidFill>
            <a:round/>
            <a:headEnd/>
            <a:tailEnd type="stealth" w="lg" len="lg"/>
          </a:ln>
          <a:effectLst/>
        </p:spPr>
        <p:txBody>
          <a:bodyPr lIns="90000" tIns="46800" rIns="90000" bIns="46800"/>
          <a:lstStyle/>
          <a:p>
            <a:pPr algn="ctr"/>
            <a:endParaRPr 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951790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2ECBD88-FF8A-432B-951C-F378D18C4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CCB20E-0690-4B9E-9240-243978A0E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cision tree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B5E9DBB3-1114-4BEF-9E19-8836ED563A7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5675" y="3212209"/>
            <a:ext cx="1427747" cy="504825"/>
          </a:xfrm>
          <a:prstGeom prst="rect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cxnSp>
        <p:nvCxnSpPr>
          <p:cNvPr id="6" name="AutoShape 7">
            <a:extLst>
              <a:ext uri="{FF2B5EF4-FFF2-40B4-BE49-F238E27FC236}">
                <a16:creationId xmlns:a16="http://schemas.microsoft.com/office/drawing/2014/main" id="{756945E0-E8C7-4AC2-858A-D284B37E6425}"/>
              </a:ext>
            </a:extLst>
          </p:cNvPr>
          <p:cNvCxnSpPr>
            <a:cxnSpLocks noChangeShapeType="1"/>
            <a:stCxn id="5" idx="3"/>
            <a:endCxn id="8" idx="1"/>
          </p:cNvCxnSpPr>
          <p:nvPr/>
        </p:nvCxnSpPr>
        <p:spPr bwMode="gray">
          <a:xfrm>
            <a:off x="1533420" y="3464620"/>
            <a:ext cx="963203" cy="127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</p:cxnSp>
      <p:sp>
        <p:nvSpPr>
          <p:cNvPr id="7" name="Rectangle 4">
            <a:extLst>
              <a:ext uri="{FF2B5EF4-FFF2-40B4-BE49-F238E27FC236}">
                <a16:creationId xmlns:a16="http://schemas.microsoft.com/office/drawing/2014/main" id="{DD4ACE5C-7BB6-4E72-856C-9C812030473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96624" y="1697235"/>
            <a:ext cx="1427747" cy="50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BB6E7E4-4586-4EFE-B847-5C6AB058B875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96624" y="3212209"/>
            <a:ext cx="1427747" cy="504825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D07F6ED-F394-48C8-AFA7-511780D2F84A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94992" y="1052739"/>
            <a:ext cx="1429378" cy="504825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62FBB702-105A-4237-A7F3-3A72CE361E3A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96624" y="4368282"/>
            <a:ext cx="1427747" cy="504825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11" name="Rectangle 13">
            <a:extLst>
              <a:ext uri="{FF2B5EF4-FFF2-40B4-BE49-F238E27FC236}">
                <a16:creationId xmlns:a16="http://schemas.microsoft.com/office/drawing/2014/main" id="{BA0D1420-6A9B-4CF2-BBD9-E7ECD9EF6AD9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96624" y="5029441"/>
            <a:ext cx="1427747" cy="504825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cxnSp>
        <p:nvCxnSpPr>
          <p:cNvPr id="12" name="AutoShape 14">
            <a:extLst>
              <a:ext uri="{FF2B5EF4-FFF2-40B4-BE49-F238E27FC236}">
                <a16:creationId xmlns:a16="http://schemas.microsoft.com/office/drawing/2014/main" id="{932D07A8-1470-48EB-97A0-7974589ADDF5}"/>
              </a:ext>
            </a:extLst>
          </p:cNvPr>
          <p:cNvCxnSpPr>
            <a:cxnSpLocks noChangeShapeType="1"/>
            <a:stCxn id="5" idx="3"/>
            <a:endCxn id="9" idx="1"/>
          </p:cNvCxnSpPr>
          <p:nvPr/>
        </p:nvCxnSpPr>
        <p:spPr bwMode="gray">
          <a:xfrm flipV="1">
            <a:off x="1533422" y="1305151"/>
            <a:ext cx="961571" cy="215947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</p:cxnSp>
      <p:cxnSp>
        <p:nvCxnSpPr>
          <p:cNvPr id="13" name="AutoShape 15">
            <a:extLst>
              <a:ext uri="{FF2B5EF4-FFF2-40B4-BE49-F238E27FC236}">
                <a16:creationId xmlns:a16="http://schemas.microsoft.com/office/drawing/2014/main" id="{1F7C20FC-CC63-4242-A809-922FDB1C5B02}"/>
              </a:ext>
            </a:extLst>
          </p:cNvPr>
          <p:cNvCxnSpPr>
            <a:cxnSpLocks noChangeShapeType="1"/>
            <a:stCxn id="5" idx="3"/>
            <a:endCxn id="10" idx="1"/>
          </p:cNvCxnSpPr>
          <p:nvPr/>
        </p:nvCxnSpPr>
        <p:spPr bwMode="gray">
          <a:xfrm>
            <a:off x="1533420" y="3464620"/>
            <a:ext cx="963203" cy="115607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</p:cxnSp>
      <p:cxnSp>
        <p:nvCxnSpPr>
          <p:cNvPr id="14" name="AutoShape 16">
            <a:extLst>
              <a:ext uri="{FF2B5EF4-FFF2-40B4-BE49-F238E27FC236}">
                <a16:creationId xmlns:a16="http://schemas.microsoft.com/office/drawing/2014/main" id="{2579D393-D11D-4839-95DE-9E6F289A53AC}"/>
              </a:ext>
            </a:extLst>
          </p:cNvPr>
          <p:cNvCxnSpPr>
            <a:cxnSpLocks noChangeShapeType="1"/>
            <a:stCxn id="5" idx="3"/>
            <a:endCxn id="11" idx="1"/>
          </p:cNvCxnSpPr>
          <p:nvPr/>
        </p:nvCxnSpPr>
        <p:spPr bwMode="gray">
          <a:xfrm>
            <a:off x="1533420" y="3464623"/>
            <a:ext cx="963203" cy="181723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</p:cxnSp>
      <p:cxnSp>
        <p:nvCxnSpPr>
          <p:cNvPr id="15" name="AutoShape 7">
            <a:extLst>
              <a:ext uri="{FF2B5EF4-FFF2-40B4-BE49-F238E27FC236}">
                <a16:creationId xmlns:a16="http://schemas.microsoft.com/office/drawing/2014/main" id="{259460CB-EA5C-4C15-81FE-0F540C009490}"/>
              </a:ext>
            </a:extLst>
          </p:cNvPr>
          <p:cNvCxnSpPr>
            <a:cxnSpLocks noChangeShapeType="1"/>
            <a:stCxn id="7" idx="3"/>
            <a:endCxn id="17" idx="1"/>
          </p:cNvCxnSpPr>
          <p:nvPr/>
        </p:nvCxnSpPr>
        <p:spPr bwMode="gray">
          <a:xfrm>
            <a:off x="3924370" y="1951235"/>
            <a:ext cx="963203" cy="44618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</p:cxnSp>
      <p:sp>
        <p:nvSpPr>
          <p:cNvPr id="16" name="Rectangle 4">
            <a:extLst>
              <a:ext uri="{FF2B5EF4-FFF2-40B4-BE49-F238E27FC236}">
                <a16:creationId xmlns:a16="http://schemas.microsoft.com/office/drawing/2014/main" id="{6AD9F415-665F-49EC-885A-91D7F9BD106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87573" y="1493763"/>
            <a:ext cx="1427747" cy="50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98B59F5-24D8-48CB-AD6F-1215A98D037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87573" y="2145013"/>
            <a:ext cx="1427747" cy="50482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95103A5-CA1A-46CB-ADB2-528C97EFEC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85941" y="825005"/>
            <a:ext cx="1429378" cy="50482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cxnSp>
        <p:nvCxnSpPr>
          <p:cNvPr id="19" name="AutoShape 14">
            <a:extLst>
              <a:ext uri="{FF2B5EF4-FFF2-40B4-BE49-F238E27FC236}">
                <a16:creationId xmlns:a16="http://schemas.microsoft.com/office/drawing/2014/main" id="{AE70D43E-94BA-426C-9DD5-315F493A79B9}"/>
              </a:ext>
            </a:extLst>
          </p:cNvPr>
          <p:cNvCxnSpPr>
            <a:cxnSpLocks noChangeShapeType="1"/>
            <a:stCxn id="7" idx="3"/>
            <a:endCxn id="16" idx="1"/>
          </p:cNvCxnSpPr>
          <p:nvPr/>
        </p:nvCxnSpPr>
        <p:spPr bwMode="gray">
          <a:xfrm flipV="1">
            <a:off x="3924370" y="1747763"/>
            <a:ext cx="963203" cy="20347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</p:cxnSp>
      <p:sp>
        <p:nvSpPr>
          <p:cNvPr id="20" name="Rectangle 13">
            <a:extLst>
              <a:ext uri="{FF2B5EF4-FFF2-40B4-BE49-F238E27FC236}">
                <a16:creationId xmlns:a16="http://schemas.microsoft.com/office/drawing/2014/main" id="{5D1D7FBD-1517-4DD7-BF62-94C187E24CB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87573" y="2911860"/>
            <a:ext cx="1427747" cy="50482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cxnSp>
        <p:nvCxnSpPr>
          <p:cNvPr id="21" name="AutoShape 16">
            <a:extLst>
              <a:ext uri="{FF2B5EF4-FFF2-40B4-BE49-F238E27FC236}">
                <a16:creationId xmlns:a16="http://schemas.microsoft.com/office/drawing/2014/main" id="{402D84E6-7443-478F-BEDA-0F4278462FE4}"/>
              </a:ext>
            </a:extLst>
          </p:cNvPr>
          <p:cNvCxnSpPr>
            <a:cxnSpLocks noChangeShapeType="1"/>
            <a:stCxn id="7" idx="3"/>
            <a:endCxn id="18" idx="1"/>
          </p:cNvCxnSpPr>
          <p:nvPr/>
        </p:nvCxnSpPr>
        <p:spPr bwMode="gray">
          <a:xfrm flipV="1">
            <a:off x="3924371" y="1077417"/>
            <a:ext cx="961571" cy="87381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</p:cxnSp>
      <p:cxnSp>
        <p:nvCxnSpPr>
          <p:cNvPr id="22" name="AutoShape 7">
            <a:extLst>
              <a:ext uri="{FF2B5EF4-FFF2-40B4-BE49-F238E27FC236}">
                <a16:creationId xmlns:a16="http://schemas.microsoft.com/office/drawing/2014/main" id="{FA740D90-7C8A-49D1-9524-11355AB7F7C1}"/>
              </a:ext>
            </a:extLst>
          </p:cNvPr>
          <p:cNvCxnSpPr>
            <a:cxnSpLocks noChangeShapeType="1"/>
            <a:stCxn id="11" idx="3"/>
            <a:endCxn id="24" idx="1"/>
          </p:cNvCxnSpPr>
          <p:nvPr/>
        </p:nvCxnSpPr>
        <p:spPr bwMode="gray">
          <a:xfrm flipV="1">
            <a:off x="3924370" y="5100573"/>
            <a:ext cx="963203" cy="18128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</p:cxnSp>
      <p:sp>
        <p:nvSpPr>
          <p:cNvPr id="23" name="Rectangle 4">
            <a:extLst>
              <a:ext uri="{FF2B5EF4-FFF2-40B4-BE49-F238E27FC236}">
                <a16:creationId xmlns:a16="http://schemas.microsoft.com/office/drawing/2014/main" id="{19546EB5-1498-44F7-B05B-6AD89505619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87573" y="4200607"/>
            <a:ext cx="1427747" cy="50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4ED785C-E389-403F-AE3C-D0F421A6E6D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87573" y="4848160"/>
            <a:ext cx="1427747" cy="50482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cxnSp>
        <p:nvCxnSpPr>
          <p:cNvPr id="25" name="AutoShape 7">
            <a:extLst>
              <a:ext uri="{FF2B5EF4-FFF2-40B4-BE49-F238E27FC236}">
                <a16:creationId xmlns:a16="http://schemas.microsoft.com/office/drawing/2014/main" id="{5D6182E3-81E9-470B-B531-293F25FDCE19}"/>
              </a:ext>
            </a:extLst>
          </p:cNvPr>
          <p:cNvCxnSpPr>
            <a:cxnSpLocks noChangeShapeType="1"/>
            <a:stCxn id="11" idx="3"/>
            <a:endCxn id="23" idx="1"/>
          </p:cNvCxnSpPr>
          <p:nvPr/>
        </p:nvCxnSpPr>
        <p:spPr bwMode="gray">
          <a:xfrm flipV="1">
            <a:off x="3924370" y="4454607"/>
            <a:ext cx="963203" cy="82724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</p:cxnSp>
      <p:sp>
        <p:nvSpPr>
          <p:cNvPr id="26" name="Rectangle 13">
            <a:extLst>
              <a:ext uri="{FF2B5EF4-FFF2-40B4-BE49-F238E27FC236}">
                <a16:creationId xmlns:a16="http://schemas.microsoft.com/office/drawing/2014/main" id="{292766CE-B85E-4EB8-8500-A35CA7D0B63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87573" y="5492536"/>
            <a:ext cx="1427747" cy="50482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cxnSp>
        <p:nvCxnSpPr>
          <p:cNvPr id="27" name="AutoShape 7">
            <a:extLst>
              <a:ext uri="{FF2B5EF4-FFF2-40B4-BE49-F238E27FC236}">
                <a16:creationId xmlns:a16="http://schemas.microsoft.com/office/drawing/2014/main" id="{18712F23-5555-4C14-83CB-38517D4F4AB0}"/>
              </a:ext>
            </a:extLst>
          </p:cNvPr>
          <p:cNvCxnSpPr>
            <a:cxnSpLocks noChangeShapeType="1"/>
            <a:stCxn id="11" idx="3"/>
            <a:endCxn id="26" idx="1"/>
          </p:cNvCxnSpPr>
          <p:nvPr/>
        </p:nvCxnSpPr>
        <p:spPr bwMode="gray">
          <a:xfrm>
            <a:off x="3924370" y="5281854"/>
            <a:ext cx="963203" cy="46309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</p:cxnSp>
      <p:sp>
        <p:nvSpPr>
          <p:cNvPr id="28" name="Rectangle 13">
            <a:extLst>
              <a:ext uri="{FF2B5EF4-FFF2-40B4-BE49-F238E27FC236}">
                <a16:creationId xmlns:a16="http://schemas.microsoft.com/office/drawing/2014/main" id="{1AAFAFCC-BFF7-4EE0-9255-1D036FFE9D7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87573" y="3556235"/>
            <a:ext cx="1427747" cy="50482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cxnSp>
        <p:nvCxnSpPr>
          <p:cNvPr id="29" name="AutoShape 7">
            <a:extLst>
              <a:ext uri="{FF2B5EF4-FFF2-40B4-BE49-F238E27FC236}">
                <a16:creationId xmlns:a16="http://schemas.microsoft.com/office/drawing/2014/main" id="{185D65CF-1A52-491D-9848-6762D8D11AC3}"/>
              </a:ext>
            </a:extLst>
          </p:cNvPr>
          <p:cNvCxnSpPr>
            <a:cxnSpLocks noChangeShapeType="1"/>
            <a:stCxn id="8" idx="3"/>
            <a:endCxn id="20" idx="1"/>
          </p:cNvCxnSpPr>
          <p:nvPr/>
        </p:nvCxnSpPr>
        <p:spPr bwMode="gray">
          <a:xfrm flipV="1">
            <a:off x="3924370" y="3164270"/>
            <a:ext cx="963203" cy="30035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</p:cxnSp>
      <p:cxnSp>
        <p:nvCxnSpPr>
          <p:cNvPr id="30" name="AutoShape 7">
            <a:extLst>
              <a:ext uri="{FF2B5EF4-FFF2-40B4-BE49-F238E27FC236}">
                <a16:creationId xmlns:a16="http://schemas.microsoft.com/office/drawing/2014/main" id="{F0220A3D-5F31-49BD-817C-2A97B6B67527}"/>
              </a:ext>
            </a:extLst>
          </p:cNvPr>
          <p:cNvCxnSpPr>
            <a:cxnSpLocks noChangeShapeType="1"/>
            <a:stCxn id="8" idx="3"/>
            <a:endCxn id="28" idx="1"/>
          </p:cNvCxnSpPr>
          <p:nvPr/>
        </p:nvCxnSpPr>
        <p:spPr bwMode="gray">
          <a:xfrm>
            <a:off x="3924370" y="3464622"/>
            <a:ext cx="963203" cy="34402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</p:cxnSp>
      <p:cxnSp>
        <p:nvCxnSpPr>
          <p:cNvPr id="31" name="AutoShape 16">
            <a:extLst>
              <a:ext uri="{FF2B5EF4-FFF2-40B4-BE49-F238E27FC236}">
                <a16:creationId xmlns:a16="http://schemas.microsoft.com/office/drawing/2014/main" id="{1BC68405-1FC5-48F4-8EB4-859F7107D0FB}"/>
              </a:ext>
            </a:extLst>
          </p:cNvPr>
          <p:cNvCxnSpPr>
            <a:cxnSpLocks noChangeShapeType="1"/>
            <a:stCxn id="5" idx="3"/>
            <a:endCxn id="7" idx="1"/>
          </p:cNvCxnSpPr>
          <p:nvPr/>
        </p:nvCxnSpPr>
        <p:spPr bwMode="gray">
          <a:xfrm flipV="1">
            <a:off x="1533420" y="1951237"/>
            <a:ext cx="963203" cy="151338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</p:cxnSp>
      <p:cxnSp>
        <p:nvCxnSpPr>
          <p:cNvPr id="32" name="AutoShape 7">
            <a:extLst>
              <a:ext uri="{FF2B5EF4-FFF2-40B4-BE49-F238E27FC236}">
                <a16:creationId xmlns:a16="http://schemas.microsoft.com/office/drawing/2014/main" id="{6F89830E-1080-4EB9-9737-2AF27A00F3F1}"/>
              </a:ext>
            </a:extLst>
          </p:cNvPr>
          <p:cNvCxnSpPr>
            <a:cxnSpLocks noChangeShapeType="1"/>
            <a:stCxn id="16" idx="3"/>
            <a:endCxn id="34" idx="1"/>
          </p:cNvCxnSpPr>
          <p:nvPr/>
        </p:nvCxnSpPr>
        <p:spPr bwMode="gray">
          <a:xfrm>
            <a:off x="6315319" y="1747766"/>
            <a:ext cx="963203" cy="63673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</p:cxnSp>
      <p:sp>
        <p:nvSpPr>
          <p:cNvPr id="33" name="Rectangle 4">
            <a:extLst>
              <a:ext uri="{FF2B5EF4-FFF2-40B4-BE49-F238E27FC236}">
                <a16:creationId xmlns:a16="http://schemas.microsoft.com/office/drawing/2014/main" id="{288B26C3-1D66-4373-AA1D-47CA580FEE1E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78522" y="1501031"/>
            <a:ext cx="1427747" cy="50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CC39437-95A4-4DB5-BF54-9E6293BDC60C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78522" y="2132090"/>
            <a:ext cx="1427747" cy="5048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cxnSp>
        <p:nvCxnSpPr>
          <p:cNvPr id="35" name="AutoShape 14">
            <a:extLst>
              <a:ext uri="{FF2B5EF4-FFF2-40B4-BE49-F238E27FC236}">
                <a16:creationId xmlns:a16="http://schemas.microsoft.com/office/drawing/2014/main" id="{18F19EE9-2AB8-4F9B-B870-45405CE285F6}"/>
              </a:ext>
            </a:extLst>
          </p:cNvPr>
          <p:cNvCxnSpPr>
            <a:cxnSpLocks noChangeShapeType="1"/>
            <a:stCxn id="16" idx="3"/>
            <a:endCxn id="33" idx="1"/>
          </p:cNvCxnSpPr>
          <p:nvPr/>
        </p:nvCxnSpPr>
        <p:spPr bwMode="gray">
          <a:xfrm>
            <a:off x="6315319" y="1747763"/>
            <a:ext cx="963203" cy="726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</p:cxnSp>
      <p:cxnSp>
        <p:nvCxnSpPr>
          <p:cNvPr id="36" name="AutoShape 7">
            <a:extLst>
              <a:ext uri="{FF2B5EF4-FFF2-40B4-BE49-F238E27FC236}">
                <a16:creationId xmlns:a16="http://schemas.microsoft.com/office/drawing/2014/main" id="{E9D6B95E-676C-456F-8F66-4F2006282892}"/>
              </a:ext>
            </a:extLst>
          </p:cNvPr>
          <p:cNvCxnSpPr>
            <a:cxnSpLocks noChangeShapeType="1"/>
            <a:stCxn id="28" idx="3"/>
            <a:endCxn id="38" idx="1"/>
          </p:cNvCxnSpPr>
          <p:nvPr/>
        </p:nvCxnSpPr>
        <p:spPr bwMode="gray">
          <a:xfrm>
            <a:off x="6315319" y="3808645"/>
            <a:ext cx="963203" cy="34176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</p:cxnSp>
      <p:sp>
        <p:nvSpPr>
          <p:cNvPr id="37" name="Rectangle 4">
            <a:extLst>
              <a:ext uri="{FF2B5EF4-FFF2-40B4-BE49-F238E27FC236}">
                <a16:creationId xmlns:a16="http://schemas.microsoft.com/office/drawing/2014/main" id="{765BFE51-9C35-4E2B-87FC-E037FB42E0C1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78522" y="3246752"/>
            <a:ext cx="1427747" cy="50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7EC9DDB-635A-4BBB-804F-3403E642DD9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78522" y="3898002"/>
            <a:ext cx="1427747" cy="5048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cxnSp>
        <p:nvCxnSpPr>
          <p:cNvPr id="39" name="AutoShape 14">
            <a:extLst>
              <a:ext uri="{FF2B5EF4-FFF2-40B4-BE49-F238E27FC236}">
                <a16:creationId xmlns:a16="http://schemas.microsoft.com/office/drawing/2014/main" id="{6C97D1D8-9B86-4DFA-910E-3DF1762C3877}"/>
              </a:ext>
            </a:extLst>
          </p:cNvPr>
          <p:cNvCxnSpPr>
            <a:cxnSpLocks noChangeShapeType="1"/>
            <a:stCxn id="28" idx="3"/>
            <a:endCxn id="37" idx="1"/>
          </p:cNvCxnSpPr>
          <p:nvPr/>
        </p:nvCxnSpPr>
        <p:spPr bwMode="gray">
          <a:xfrm flipV="1">
            <a:off x="6315319" y="3500753"/>
            <a:ext cx="963203" cy="30789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</p:cxnSp>
      <p:sp>
        <p:nvSpPr>
          <p:cNvPr id="40" name="Rectangle 4">
            <a:extLst>
              <a:ext uri="{FF2B5EF4-FFF2-40B4-BE49-F238E27FC236}">
                <a16:creationId xmlns:a16="http://schemas.microsoft.com/office/drawing/2014/main" id="{7040CBE6-DD87-4B80-AF0F-3C8E44F785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78522" y="869975"/>
            <a:ext cx="1427747" cy="50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cxnSp>
        <p:nvCxnSpPr>
          <p:cNvPr id="41" name="AutoShape 14">
            <a:extLst>
              <a:ext uri="{FF2B5EF4-FFF2-40B4-BE49-F238E27FC236}">
                <a16:creationId xmlns:a16="http://schemas.microsoft.com/office/drawing/2014/main" id="{3891BD1E-4F89-45E4-BFFB-F8C32F92656C}"/>
              </a:ext>
            </a:extLst>
          </p:cNvPr>
          <p:cNvCxnSpPr>
            <a:cxnSpLocks noChangeShapeType="1"/>
            <a:stCxn id="16" idx="3"/>
            <a:endCxn id="40" idx="1"/>
          </p:cNvCxnSpPr>
          <p:nvPr/>
        </p:nvCxnSpPr>
        <p:spPr bwMode="gray">
          <a:xfrm flipV="1">
            <a:off x="6315319" y="1123975"/>
            <a:ext cx="963203" cy="62378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</p:cxnSp>
      <p:cxnSp>
        <p:nvCxnSpPr>
          <p:cNvPr id="42" name="AutoShape 7">
            <a:extLst>
              <a:ext uri="{FF2B5EF4-FFF2-40B4-BE49-F238E27FC236}">
                <a16:creationId xmlns:a16="http://schemas.microsoft.com/office/drawing/2014/main" id="{F626B448-E0D5-45FD-A1BC-4B993D6E13B1}"/>
              </a:ext>
            </a:extLst>
          </p:cNvPr>
          <p:cNvCxnSpPr>
            <a:cxnSpLocks noChangeShapeType="1"/>
            <a:stCxn id="24" idx="3"/>
            <a:endCxn id="44" idx="1"/>
          </p:cNvCxnSpPr>
          <p:nvPr/>
        </p:nvCxnSpPr>
        <p:spPr bwMode="gray">
          <a:xfrm>
            <a:off x="6315319" y="5100570"/>
            <a:ext cx="963203" cy="31221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</p:cxnSp>
      <p:sp>
        <p:nvSpPr>
          <p:cNvPr id="43" name="Rectangle 4">
            <a:extLst>
              <a:ext uri="{FF2B5EF4-FFF2-40B4-BE49-F238E27FC236}">
                <a16:creationId xmlns:a16="http://schemas.microsoft.com/office/drawing/2014/main" id="{78E1102A-83E8-43EE-AED9-0CECB2FBA5C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78522" y="4509120"/>
            <a:ext cx="1427747" cy="50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A231C3D-0EE1-4473-9FA9-5E16A1D2318A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78522" y="5160370"/>
            <a:ext cx="1427747" cy="5048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cxnSp>
        <p:nvCxnSpPr>
          <p:cNvPr id="45" name="AutoShape 14">
            <a:extLst>
              <a:ext uri="{FF2B5EF4-FFF2-40B4-BE49-F238E27FC236}">
                <a16:creationId xmlns:a16="http://schemas.microsoft.com/office/drawing/2014/main" id="{04166BC8-6359-44A7-9829-B82ECDF6D3DF}"/>
              </a:ext>
            </a:extLst>
          </p:cNvPr>
          <p:cNvCxnSpPr>
            <a:cxnSpLocks noChangeShapeType="1"/>
            <a:stCxn id="24" idx="3"/>
            <a:endCxn id="43" idx="1"/>
          </p:cNvCxnSpPr>
          <p:nvPr/>
        </p:nvCxnSpPr>
        <p:spPr bwMode="gray">
          <a:xfrm flipV="1">
            <a:off x="6315319" y="4763120"/>
            <a:ext cx="963203" cy="33745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</p:cxnSp>
    </p:spTree>
    <p:extLst>
      <p:ext uri="{BB962C8B-B14F-4D97-AF65-F5344CB8AC3E}">
        <p14:creationId xmlns:p14="http://schemas.microsoft.com/office/powerpoint/2010/main" val="238129359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AC8D19-7C5E-4BE1-A48A-DF03CB57AE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996D23-B8D6-4342-AE79-3F52FAC47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51D502-CF87-4BB5-81C6-F8024BE3E37F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83266" y="1628800"/>
            <a:ext cx="7525000" cy="360040"/>
          </a:xfrm>
          <a:noFill/>
        </p:spPr>
        <p:txBody>
          <a:bodyPr/>
          <a:lstStyle/>
          <a:p>
            <a:pPr marL="0" indent="0">
              <a:buNone/>
            </a:pPr>
            <a:r>
              <a:rPr lang="en-GB" dirty="0">
                <a:solidFill>
                  <a:schemeClr val="tx1"/>
                </a:solidFill>
              </a:rPr>
              <a:t>1.  Overview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315FCD-46C2-4266-BC22-FE627820B3D1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noFill/>
        </p:spPr>
        <p:txBody>
          <a:bodyPr/>
          <a:lstStyle/>
          <a:p>
            <a:r>
              <a:rPr lang="en-GB" dirty="0"/>
              <a:t>2.  Text element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6266D40-4F90-40EE-922D-D067B0E0EEF4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noFill/>
        </p:spPr>
        <p:txBody>
          <a:bodyPr/>
          <a:lstStyle/>
          <a:p>
            <a:r>
              <a:rPr lang="en-GB" dirty="0"/>
              <a:t>3.  Charts and graph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F380767-1B25-4604-A7B8-050B601AA9DC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solidFill>
            <a:schemeClr val="accent1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4.  Diagram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094506-9521-44E3-B783-DFC26F12F5C9}"/>
              </a:ext>
            </a:extLst>
          </p:cNvPr>
          <p:cNvSpPr>
            <a:spLocks noGrp="1"/>
          </p:cNvSpPr>
          <p:nvPr>
            <p:ph type="body" idx="19"/>
          </p:nvPr>
        </p:nvSpPr>
        <p:spPr/>
        <p:txBody>
          <a:bodyPr/>
          <a:lstStyle/>
          <a:p>
            <a:r>
              <a:rPr lang="en-GB" dirty="0"/>
              <a:t>5.  Tab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53B1C36-7E2B-4D7E-830B-D40EE54C45C2}"/>
              </a:ext>
            </a:extLst>
          </p:cNvPr>
          <p:cNvSpPr>
            <a:spLocks noGrp="1"/>
          </p:cNvSpPr>
          <p:nvPr>
            <p:ph type="body" idx="20"/>
          </p:nvPr>
        </p:nvSpPr>
        <p:spPr/>
        <p:txBody>
          <a:bodyPr/>
          <a:lstStyle/>
          <a:p>
            <a:r>
              <a:rPr lang="en-GB" dirty="0"/>
              <a:t>6.  Timelin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5707A82-AD0B-4D55-B6FB-BB454CF223C8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noFill/>
        </p:spPr>
        <p:txBody>
          <a:bodyPr/>
          <a:lstStyle/>
          <a:p>
            <a:pPr marL="0" indent="0">
              <a:buNone/>
            </a:pPr>
            <a:r>
              <a:rPr lang="en-GB" dirty="0">
                <a:solidFill>
                  <a:schemeClr val="tx1"/>
                </a:solidFill>
              </a:rPr>
              <a:t>3 - 5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869AC75-AF82-449C-B905-9777235DC350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noFill/>
          <a:ln>
            <a:noFill/>
          </a:ln>
        </p:spPr>
        <p:txBody>
          <a:bodyPr/>
          <a:lstStyle/>
          <a:p>
            <a:r>
              <a:rPr lang="en-GB" dirty="0"/>
              <a:t>7 - 14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F696C2B-6A1B-443E-B3C1-C00B6CD25D52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noFill/>
        </p:spPr>
        <p:txBody>
          <a:bodyPr/>
          <a:lstStyle/>
          <a:p>
            <a:r>
              <a:rPr lang="en-GB" dirty="0"/>
              <a:t>16 - 28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7B042C2-290F-4877-8BB2-EBE52AB8F314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solidFill>
            <a:schemeClr val="accent1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30 - 35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DF20364-900C-44B9-8358-3A71195CCF88}"/>
              </a:ext>
            </a:extLst>
          </p:cNvPr>
          <p:cNvSpPr>
            <a:spLocks noGrp="1"/>
          </p:cNvSpPr>
          <p:nvPr>
            <p:ph type="body" idx="25"/>
          </p:nvPr>
        </p:nvSpPr>
        <p:spPr/>
        <p:txBody>
          <a:bodyPr/>
          <a:lstStyle/>
          <a:p>
            <a:r>
              <a:rPr lang="en-GB" dirty="0"/>
              <a:t>37 - 38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412E04B-DAE9-4C90-A9CC-3B82D772B51B}"/>
              </a:ext>
            </a:extLst>
          </p:cNvPr>
          <p:cNvSpPr>
            <a:spLocks noGrp="1"/>
          </p:cNvSpPr>
          <p:nvPr>
            <p:ph type="body" idx="26"/>
          </p:nvPr>
        </p:nvSpPr>
        <p:spPr/>
        <p:txBody>
          <a:bodyPr/>
          <a:lstStyle/>
          <a:p>
            <a:r>
              <a:rPr lang="en-GB" dirty="0"/>
              <a:t>40 - 41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D1B32BE-4739-4C59-9A70-ECCADD16F2DB}"/>
              </a:ext>
            </a:extLst>
          </p:cNvPr>
          <p:cNvSpPr>
            <a:spLocks noGrp="1"/>
          </p:cNvSpPr>
          <p:nvPr>
            <p:ph type="body" idx="2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A1FE6FD-4AF3-4227-9C6B-E088CBC06EA8}"/>
              </a:ext>
            </a:extLst>
          </p:cNvPr>
          <p:cNvSpPr txBox="1">
            <a:spLocks/>
          </p:cNvSpPr>
          <p:nvPr/>
        </p:nvSpPr>
        <p:spPr>
          <a:xfrm>
            <a:off x="188976" y="5652236"/>
            <a:ext cx="7697991" cy="360040"/>
          </a:xfrm>
          <a:prstGeom prst="rect">
            <a:avLst/>
          </a:prstGeom>
          <a:noFill/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7.  Map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E6EFC623-3B46-4EB0-BB5C-FDEA11BB9778}"/>
              </a:ext>
            </a:extLst>
          </p:cNvPr>
          <p:cNvSpPr txBox="1">
            <a:spLocks/>
          </p:cNvSpPr>
          <p:nvPr/>
        </p:nvSpPr>
        <p:spPr>
          <a:xfrm>
            <a:off x="7706885" y="5652236"/>
            <a:ext cx="1248139" cy="360040"/>
          </a:xfrm>
          <a:prstGeom prst="rect">
            <a:avLst/>
          </a:prstGeom>
          <a:noFill/>
        </p:spPr>
        <p:txBody>
          <a:bodyPr anchor="ctr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43 - 45</a:t>
            </a:r>
          </a:p>
        </p:txBody>
      </p:sp>
    </p:spTree>
    <p:extLst>
      <p:ext uri="{BB962C8B-B14F-4D97-AF65-F5344CB8AC3E}">
        <p14:creationId xmlns:p14="http://schemas.microsoft.com/office/powerpoint/2010/main" val="176927194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EFDC456-8EC7-49E8-AB69-517AB940CB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0577F7-7B1A-4253-BC18-6F603C132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43206A5-D586-4D5E-9BCE-0EE772BF4F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3408239"/>
              </p:ext>
            </p:extLst>
          </p:nvPr>
        </p:nvGraphicFramePr>
        <p:xfrm>
          <a:off x="47498" y="1161657"/>
          <a:ext cx="9049004" cy="460771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2622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622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622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622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69984"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bg1"/>
                          </a:solidFill>
                          <a:latin typeface="+mn-lt"/>
                          <a:cs typeface="Calibri" pitchFamily="34" charset="0"/>
                        </a:rPr>
                        <a:t>Column 1</a:t>
                      </a:r>
                    </a:p>
                  </a:txBody>
                  <a:tcPr marL="42250" marR="42250" marT="36000" marB="3600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bg1"/>
                          </a:solidFill>
                          <a:latin typeface="+mn-lt"/>
                          <a:cs typeface="Calibri" pitchFamily="34" charset="0"/>
                        </a:rPr>
                        <a:t>Column 2</a:t>
                      </a:r>
                    </a:p>
                  </a:txBody>
                  <a:tcPr marL="42250" marR="42250" marT="36000" marB="3600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bg1"/>
                          </a:solidFill>
                          <a:latin typeface="+mn-lt"/>
                          <a:cs typeface="Calibri" pitchFamily="34" charset="0"/>
                        </a:rPr>
                        <a:t>Column 3</a:t>
                      </a:r>
                    </a:p>
                  </a:txBody>
                  <a:tcPr marL="42250" marR="42250" marT="36000" marB="3600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bg1"/>
                          </a:solidFill>
                          <a:latin typeface="+mn-lt"/>
                          <a:cs typeface="Calibri" pitchFamily="34" charset="0"/>
                        </a:rPr>
                        <a:t>Column 4</a:t>
                      </a:r>
                    </a:p>
                  </a:txBody>
                  <a:tcPr marL="42250" marR="42250" marT="36000" marB="3600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971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400" b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250" marR="42250" marT="36000" marB="36000" anchor="ctr"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250" marR="42250" marT="36000" marB="36000" anchor="ctr"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9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400" b="1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9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400" b="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en-GB" sz="14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en-GB" sz="14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9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971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400" b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2971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400" b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2971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400" b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2971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400" b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440865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1252E90-D16C-458F-B70C-F37F8443C0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F887603-C422-441A-9CA9-8607FFC8DC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able (numerical content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304AAD2-AA95-4F49-947B-A28DA051FC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8941041"/>
              </p:ext>
            </p:extLst>
          </p:nvPr>
        </p:nvGraphicFramePr>
        <p:xfrm>
          <a:off x="47498" y="1525000"/>
          <a:ext cx="9049004" cy="354828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262251">
                  <a:extLst>
                    <a:ext uri="{9D8B030D-6E8A-4147-A177-3AD203B41FA5}">
                      <a16:colId xmlns:a16="http://schemas.microsoft.com/office/drawing/2014/main" val="2669943286"/>
                    </a:ext>
                  </a:extLst>
                </a:gridCol>
                <a:gridCol w="2262251">
                  <a:extLst>
                    <a:ext uri="{9D8B030D-6E8A-4147-A177-3AD203B41FA5}">
                      <a16:colId xmlns:a16="http://schemas.microsoft.com/office/drawing/2014/main" val="2716090014"/>
                    </a:ext>
                  </a:extLst>
                </a:gridCol>
                <a:gridCol w="2262251">
                  <a:extLst>
                    <a:ext uri="{9D8B030D-6E8A-4147-A177-3AD203B41FA5}">
                      <a16:colId xmlns:a16="http://schemas.microsoft.com/office/drawing/2014/main" val="2913870654"/>
                    </a:ext>
                  </a:extLst>
                </a:gridCol>
                <a:gridCol w="2262251">
                  <a:extLst>
                    <a:ext uri="{9D8B030D-6E8A-4147-A177-3AD203B41FA5}">
                      <a16:colId xmlns:a16="http://schemas.microsoft.com/office/drawing/2014/main" val="3483232496"/>
                    </a:ext>
                  </a:extLst>
                </a:gridCol>
              </a:tblGrid>
              <a:tr h="369984"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bg1"/>
                          </a:solidFill>
                          <a:latin typeface="+mn-lt"/>
                          <a:cs typeface="Calibri" pitchFamily="34" charset="0"/>
                        </a:rPr>
                        <a:t>Column 1</a:t>
                      </a:r>
                    </a:p>
                  </a:txBody>
                  <a:tcPr marL="42250" marR="42250" marT="36000" marB="3600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bg1"/>
                          </a:solidFill>
                          <a:latin typeface="+mn-lt"/>
                          <a:cs typeface="Calibri" pitchFamily="34" charset="0"/>
                        </a:rPr>
                        <a:t>Column 2</a:t>
                      </a:r>
                    </a:p>
                  </a:txBody>
                  <a:tcPr marL="42250" marR="42250" marT="36000" marB="3600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bg1"/>
                          </a:solidFill>
                          <a:latin typeface="+mn-lt"/>
                          <a:cs typeface="Calibri" pitchFamily="34" charset="0"/>
                        </a:rPr>
                        <a:t>Column 3</a:t>
                      </a:r>
                    </a:p>
                  </a:txBody>
                  <a:tcPr marL="42250" marR="42250" marT="36000" marB="3600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bg1"/>
                          </a:solidFill>
                          <a:latin typeface="+mn-lt"/>
                          <a:cs typeface="Calibri" pitchFamily="34" charset="0"/>
                        </a:rPr>
                        <a:t>Column 4</a:t>
                      </a:r>
                    </a:p>
                  </a:txBody>
                  <a:tcPr marL="42250" marR="42250" marT="36000" marB="3600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9845240"/>
                  </a:ext>
                </a:extLst>
              </a:tr>
              <a:tr h="52971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400" b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250" marR="42250" marT="36000" marB="36000" anchor="ctr"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i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250" marR="42250" marT="36000" marB="36000" anchor="ctr"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5143711"/>
                  </a:ext>
                </a:extLst>
              </a:tr>
              <a:tr h="529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400" b="1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250" marR="42250" marT="36000" marB="36000" anchor="ctr"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250" marR="42250" marT="36000" marB="36000" anchor="ctr"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108378"/>
                  </a:ext>
                </a:extLst>
              </a:tr>
              <a:tr h="529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400" b="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en-GB" sz="14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250" marR="42250" marT="36000" marB="36000" anchor="ctr"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en-GB" sz="14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250" marR="42250" marT="36000" marB="36000" anchor="ctr"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9483386"/>
                  </a:ext>
                </a:extLst>
              </a:tr>
              <a:tr h="529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3228517"/>
                  </a:ext>
                </a:extLst>
              </a:tr>
              <a:tr h="52971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400" b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250" marR="42250" marT="36000" marB="36000" anchor="ctr"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250" marR="42250" marT="36000" marB="36000" anchor="ctr"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7087403"/>
                  </a:ext>
                </a:extLst>
              </a:tr>
              <a:tr h="52971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4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4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250" marR="4225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009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374807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AC8D19-7C5E-4BE1-A48A-DF03CB57AE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996D23-B8D6-4342-AE79-3F52FAC47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51D502-CF87-4BB5-81C6-F8024BE3E37F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83266" y="1628800"/>
            <a:ext cx="7525000" cy="360040"/>
          </a:xfrm>
          <a:noFill/>
        </p:spPr>
        <p:txBody>
          <a:bodyPr/>
          <a:lstStyle/>
          <a:p>
            <a:pPr marL="0" indent="0">
              <a:buNone/>
            </a:pPr>
            <a:r>
              <a:rPr lang="en-GB" dirty="0">
                <a:solidFill>
                  <a:schemeClr val="tx1"/>
                </a:solidFill>
              </a:rPr>
              <a:t>1.  Overview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315FCD-46C2-4266-BC22-FE627820B3D1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noFill/>
        </p:spPr>
        <p:txBody>
          <a:bodyPr/>
          <a:lstStyle/>
          <a:p>
            <a:r>
              <a:rPr lang="en-GB" dirty="0"/>
              <a:t>2.  Text element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6266D40-4F90-40EE-922D-D067B0E0EEF4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noFill/>
        </p:spPr>
        <p:txBody>
          <a:bodyPr/>
          <a:lstStyle/>
          <a:p>
            <a:r>
              <a:rPr lang="en-GB" dirty="0"/>
              <a:t>3.  Charts and graph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F380767-1B25-4604-A7B8-050B601AA9DC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noFill/>
        </p:spPr>
        <p:txBody>
          <a:bodyPr/>
          <a:lstStyle/>
          <a:p>
            <a:r>
              <a:rPr lang="en-GB" dirty="0"/>
              <a:t>4.  Diagram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094506-9521-44E3-B783-DFC26F12F5C9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noFill/>
        </p:spPr>
        <p:txBody>
          <a:bodyPr/>
          <a:lstStyle/>
          <a:p>
            <a:r>
              <a:rPr lang="en-GB" dirty="0"/>
              <a:t>5.  Tab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53B1C36-7E2B-4D7E-830B-D40EE54C45C2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solidFill>
            <a:schemeClr val="accent1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6.  Timelin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5707A82-AD0B-4D55-B6FB-BB454CF223C8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noFill/>
        </p:spPr>
        <p:txBody>
          <a:bodyPr/>
          <a:lstStyle/>
          <a:p>
            <a:pPr marL="0" indent="0">
              <a:buNone/>
            </a:pPr>
            <a:r>
              <a:rPr lang="en-GB" dirty="0">
                <a:solidFill>
                  <a:schemeClr val="tx1"/>
                </a:solidFill>
              </a:rPr>
              <a:t>3 - 5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869AC75-AF82-449C-B905-9777235DC350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noFill/>
          <a:ln>
            <a:noFill/>
          </a:ln>
        </p:spPr>
        <p:txBody>
          <a:bodyPr/>
          <a:lstStyle/>
          <a:p>
            <a:r>
              <a:rPr lang="en-GB" dirty="0"/>
              <a:t>7 - 14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F696C2B-6A1B-443E-B3C1-C00B6CD25D52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noFill/>
        </p:spPr>
        <p:txBody>
          <a:bodyPr/>
          <a:lstStyle/>
          <a:p>
            <a:r>
              <a:rPr lang="en-GB" dirty="0"/>
              <a:t>16 - 28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7B042C2-290F-4877-8BB2-EBE52AB8F314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noFill/>
        </p:spPr>
        <p:txBody>
          <a:bodyPr/>
          <a:lstStyle/>
          <a:p>
            <a:r>
              <a:rPr lang="en-GB" dirty="0"/>
              <a:t>30 - 35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DF20364-900C-44B9-8358-3A71195CCF88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noFill/>
        </p:spPr>
        <p:txBody>
          <a:bodyPr/>
          <a:lstStyle/>
          <a:p>
            <a:r>
              <a:rPr lang="en-GB" dirty="0"/>
              <a:t>37 - 38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412E04B-DAE9-4C90-A9CC-3B82D772B51B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solidFill>
            <a:schemeClr val="accent1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40 - 41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D1B32BE-4739-4C59-9A70-ECCADD16F2DB}"/>
              </a:ext>
            </a:extLst>
          </p:cNvPr>
          <p:cNvSpPr>
            <a:spLocks noGrp="1"/>
          </p:cNvSpPr>
          <p:nvPr>
            <p:ph type="body" idx="2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A1FE6FD-4AF3-4227-9C6B-E088CBC06EA8}"/>
              </a:ext>
            </a:extLst>
          </p:cNvPr>
          <p:cNvSpPr txBox="1">
            <a:spLocks/>
          </p:cNvSpPr>
          <p:nvPr/>
        </p:nvSpPr>
        <p:spPr>
          <a:xfrm>
            <a:off x="188976" y="5652236"/>
            <a:ext cx="7697991" cy="360040"/>
          </a:xfrm>
          <a:prstGeom prst="rect">
            <a:avLst/>
          </a:prstGeom>
          <a:noFill/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7.  Map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34C1406B-D15A-4F34-AC9B-A456575A2950}"/>
              </a:ext>
            </a:extLst>
          </p:cNvPr>
          <p:cNvSpPr txBox="1">
            <a:spLocks/>
          </p:cNvSpPr>
          <p:nvPr/>
        </p:nvSpPr>
        <p:spPr>
          <a:xfrm>
            <a:off x="7706885" y="5652236"/>
            <a:ext cx="1248139" cy="360040"/>
          </a:xfrm>
          <a:prstGeom prst="rect">
            <a:avLst/>
          </a:prstGeom>
          <a:noFill/>
        </p:spPr>
        <p:txBody>
          <a:bodyPr anchor="ctr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43 - 45</a:t>
            </a:r>
          </a:p>
        </p:txBody>
      </p:sp>
    </p:spTree>
    <p:extLst>
      <p:ext uri="{BB962C8B-B14F-4D97-AF65-F5344CB8AC3E}">
        <p14:creationId xmlns:p14="http://schemas.microsoft.com/office/powerpoint/2010/main" val="22030640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17131A3-2145-41EB-81DB-EA6CC801FD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38043E-B717-42CF-81B7-0EF77B9AE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76" y="219456"/>
            <a:ext cx="7387481" cy="796544"/>
          </a:xfrm>
        </p:spPr>
        <p:txBody>
          <a:bodyPr/>
          <a:lstStyle/>
          <a:p>
            <a:r>
              <a:rPr lang="en-GB" dirty="0"/>
              <a:t>It is crucial to maintain the integrity of this new forma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467EC3-5EE1-4B16-B943-4BDC2DB03FA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GB" sz="1600" dirty="0"/>
              <a:t>This is the Master Template Document. Please save this document in each Team Folder, and </a:t>
            </a:r>
            <a:r>
              <a:rPr lang="en-GB" sz="1600" u="sng" dirty="0"/>
              <a:t>take care not to edit, delete or add anything to this Master document</a:t>
            </a:r>
            <a:r>
              <a:rPr lang="en-GB" sz="1600" dirty="0"/>
              <a:t> </a:t>
            </a:r>
          </a:p>
          <a:p>
            <a:pPr>
              <a:spcBef>
                <a:spcPts val="600"/>
              </a:spcBef>
            </a:pPr>
            <a:endParaRPr lang="en-GB" sz="1600" dirty="0"/>
          </a:p>
          <a:p>
            <a:pPr>
              <a:spcBef>
                <a:spcPts val="600"/>
              </a:spcBef>
            </a:pPr>
            <a:r>
              <a:rPr lang="en-GB" sz="1600" dirty="0"/>
              <a:t>The main challenge in maintaining a consistent PowerPoint standard going forward will be to prevent the ‘pollution’ of this slide format with older DH formats, or formats from external parties</a:t>
            </a:r>
          </a:p>
          <a:p>
            <a:pPr>
              <a:spcBef>
                <a:spcPts val="600"/>
              </a:spcBef>
            </a:pPr>
            <a:endParaRPr lang="en-GB" sz="1600" u="sng" dirty="0"/>
          </a:p>
          <a:p>
            <a:pPr>
              <a:spcBef>
                <a:spcPts val="600"/>
              </a:spcBef>
            </a:pPr>
            <a:r>
              <a:rPr lang="en-GB" sz="1600" dirty="0"/>
              <a:t>Whenever you use this new format, </a:t>
            </a:r>
            <a:r>
              <a:rPr lang="en-GB" sz="1600" u="sng" dirty="0"/>
              <a:t>care must be taken not to paste in whole slides from other documents</a:t>
            </a:r>
            <a:r>
              <a:rPr lang="en-GB" sz="1600" dirty="0"/>
              <a:t> that are based on another forma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 b="0" dirty="0"/>
              <a:t>Doing so will carry over the source document’s Master template, which will be inconsistent with our style guidelines, and will pollute the NHS Group ‘Slide Master’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 b="0" dirty="0"/>
              <a:t>To copy over content from another slide pack without this happening:</a:t>
            </a:r>
          </a:p>
          <a:p>
            <a:pPr marL="703263" lvl="1" indent="-342900">
              <a:spcBef>
                <a:spcPts val="600"/>
              </a:spcBef>
              <a:buFont typeface="+mj-lt"/>
              <a:buAutoNum type="arabicPeriod"/>
            </a:pPr>
            <a:r>
              <a:rPr lang="en-GB" sz="1600" dirty="0"/>
              <a:t>Create a blank slide in your document</a:t>
            </a:r>
          </a:p>
          <a:p>
            <a:pPr marL="703263" lvl="1" indent="-342900">
              <a:spcBef>
                <a:spcPts val="600"/>
              </a:spcBef>
              <a:buFont typeface="+mj-lt"/>
              <a:buAutoNum type="arabicPeriod"/>
            </a:pPr>
            <a:r>
              <a:rPr lang="en-GB" sz="1600" dirty="0"/>
              <a:t>Select all of the </a:t>
            </a:r>
            <a:r>
              <a:rPr lang="en-GB" sz="1600" i="1" dirty="0"/>
              <a:t>content</a:t>
            </a:r>
            <a:r>
              <a:rPr lang="en-GB" sz="1600" dirty="0"/>
              <a:t> of the slide you want to transfer (by selecting all of the </a:t>
            </a:r>
            <a:r>
              <a:rPr lang="en-GB" sz="1600" u="sng" dirty="0"/>
              <a:t>individual elements</a:t>
            </a:r>
            <a:r>
              <a:rPr lang="en-GB" sz="1600" dirty="0"/>
              <a:t>), and click ‘copy’</a:t>
            </a:r>
          </a:p>
          <a:p>
            <a:pPr marL="703263" lvl="1" indent="-342900">
              <a:spcBef>
                <a:spcPts val="600"/>
              </a:spcBef>
              <a:buFont typeface="+mj-lt"/>
              <a:buAutoNum type="arabicPeriod"/>
            </a:pPr>
            <a:r>
              <a:rPr lang="en-GB" sz="1600" dirty="0"/>
              <a:t>Paste these elements into the blank slide in your own pack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600" b="0" dirty="0"/>
              <a:t>While this will take a small amount of extra time, it will ensure our Group style remains standardised, and will be required less over times as all documents become consistent</a:t>
            </a:r>
          </a:p>
        </p:txBody>
      </p:sp>
    </p:spTree>
    <p:extLst>
      <p:ext uri="{BB962C8B-B14F-4D97-AF65-F5344CB8AC3E}">
        <p14:creationId xmlns:p14="http://schemas.microsoft.com/office/powerpoint/2010/main" val="58088418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A57FB1-1629-45B3-AC05-382051B2D2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8FDDBB2-716D-4B0C-9D34-5BF85C2320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ject timeline</a:t>
            </a:r>
          </a:p>
        </p:txBody>
      </p:sp>
      <p:sp>
        <p:nvSpPr>
          <p:cNvPr id="5" name="Pentagon 5">
            <a:extLst>
              <a:ext uri="{FF2B5EF4-FFF2-40B4-BE49-F238E27FC236}">
                <a16:creationId xmlns:a16="http://schemas.microsoft.com/office/drawing/2014/main" id="{55D8AB67-E86C-4E99-B878-D2F201EC2875}"/>
              </a:ext>
            </a:extLst>
          </p:cNvPr>
          <p:cNvSpPr/>
          <p:nvPr/>
        </p:nvSpPr>
        <p:spPr bwMode="auto">
          <a:xfrm>
            <a:off x="1398991" y="927001"/>
            <a:ext cx="1384433" cy="485775"/>
          </a:xfrm>
          <a:prstGeom prst="homePlate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36000" rIns="0" bIns="3600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</a:rPr>
              <a:t>Month 1</a:t>
            </a:r>
          </a:p>
        </p:txBody>
      </p:sp>
      <p:sp>
        <p:nvSpPr>
          <p:cNvPr id="6" name="Chevron 6">
            <a:extLst>
              <a:ext uri="{FF2B5EF4-FFF2-40B4-BE49-F238E27FC236}">
                <a16:creationId xmlns:a16="http://schemas.microsoft.com/office/drawing/2014/main" id="{5DB6DE99-A4DE-4652-9EB8-525804E2988A}"/>
              </a:ext>
            </a:extLst>
          </p:cNvPr>
          <p:cNvSpPr/>
          <p:nvPr/>
        </p:nvSpPr>
        <p:spPr bwMode="auto">
          <a:xfrm>
            <a:off x="3904728" y="927001"/>
            <a:ext cx="1382713" cy="485775"/>
          </a:xfrm>
          <a:prstGeom prst="chevron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36000" rIns="0" bIns="3600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</a:rPr>
              <a:t>Month 3</a:t>
            </a:r>
          </a:p>
        </p:txBody>
      </p:sp>
      <p:sp>
        <p:nvSpPr>
          <p:cNvPr id="7" name="Chevron 7">
            <a:extLst>
              <a:ext uri="{FF2B5EF4-FFF2-40B4-BE49-F238E27FC236}">
                <a16:creationId xmlns:a16="http://schemas.microsoft.com/office/drawing/2014/main" id="{D5ECABA8-D690-4AB3-9C1C-C893F24D4EE7}"/>
              </a:ext>
            </a:extLst>
          </p:cNvPr>
          <p:cNvSpPr/>
          <p:nvPr/>
        </p:nvSpPr>
        <p:spPr bwMode="auto">
          <a:xfrm>
            <a:off x="5156735" y="927001"/>
            <a:ext cx="1382713" cy="485775"/>
          </a:xfrm>
          <a:prstGeom prst="chevron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36000" rIns="0" bIns="3600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</a:rPr>
              <a:t>Month 4</a:t>
            </a:r>
          </a:p>
        </p:txBody>
      </p:sp>
      <p:sp>
        <p:nvSpPr>
          <p:cNvPr id="8" name="Chevron 8">
            <a:extLst>
              <a:ext uri="{FF2B5EF4-FFF2-40B4-BE49-F238E27FC236}">
                <a16:creationId xmlns:a16="http://schemas.microsoft.com/office/drawing/2014/main" id="{56A1D4F4-C902-489D-9325-19CB197222BF}"/>
              </a:ext>
            </a:extLst>
          </p:cNvPr>
          <p:cNvSpPr/>
          <p:nvPr/>
        </p:nvSpPr>
        <p:spPr bwMode="auto">
          <a:xfrm>
            <a:off x="6408744" y="927001"/>
            <a:ext cx="1384432" cy="485775"/>
          </a:xfrm>
          <a:prstGeom prst="chevron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36000" rIns="0" bIns="3600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</a:rPr>
              <a:t>Month 5</a:t>
            </a:r>
          </a:p>
        </p:txBody>
      </p:sp>
      <p:sp>
        <p:nvSpPr>
          <p:cNvPr id="9" name="Chevron 9">
            <a:extLst>
              <a:ext uri="{FF2B5EF4-FFF2-40B4-BE49-F238E27FC236}">
                <a16:creationId xmlns:a16="http://schemas.microsoft.com/office/drawing/2014/main" id="{3FE59403-CF12-4B6A-B35E-C00E6BC1B3A0}"/>
              </a:ext>
            </a:extLst>
          </p:cNvPr>
          <p:cNvSpPr/>
          <p:nvPr/>
        </p:nvSpPr>
        <p:spPr bwMode="auto">
          <a:xfrm>
            <a:off x="7660756" y="927001"/>
            <a:ext cx="1384432" cy="485775"/>
          </a:xfrm>
          <a:prstGeom prst="chevron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36000" rIns="0" bIns="3600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</a:rPr>
              <a:t>Month 6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AAD8AD-A67E-4B3B-B9A4-D77495356419}"/>
              </a:ext>
            </a:extLst>
          </p:cNvPr>
          <p:cNvCxnSpPr/>
          <p:nvPr/>
        </p:nvCxnSpPr>
        <p:spPr bwMode="auto">
          <a:xfrm>
            <a:off x="72064" y="3789040"/>
            <a:ext cx="8884444" cy="0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EB55B944-BF30-4FF1-A8BD-221BCBC93663}"/>
              </a:ext>
            </a:extLst>
          </p:cNvPr>
          <p:cNvSpPr/>
          <p:nvPr/>
        </p:nvSpPr>
        <p:spPr bwMode="auto">
          <a:xfrm>
            <a:off x="72065" y="1530770"/>
            <a:ext cx="1155700" cy="1034134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1400" b="1" dirty="0">
                <a:solidFill>
                  <a:srgbClr val="FFFFFF"/>
                </a:solidFill>
              </a:rPr>
              <a:t>Work-stream 1</a:t>
            </a:r>
          </a:p>
        </p:txBody>
      </p:sp>
      <p:sp>
        <p:nvSpPr>
          <p:cNvPr id="12" name="Pentagon 12">
            <a:extLst>
              <a:ext uri="{FF2B5EF4-FFF2-40B4-BE49-F238E27FC236}">
                <a16:creationId xmlns:a16="http://schemas.microsoft.com/office/drawing/2014/main" id="{FE8366BB-51A4-4534-8B38-1F9627BA005F}"/>
              </a:ext>
            </a:extLst>
          </p:cNvPr>
          <p:cNvSpPr/>
          <p:nvPr/>
        </p:nvSpPr>
        <p:spPr bwMode="auto">
          <a:xfrm>
            <a:off x="1398994" y="1556795"/>
            <a:ext cx="7646194" cy="180975"/>
          </a:xfrm>
          <a:prstGeom prst="homePlate">
            <a:avLst/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0" rIns="36000" bIns="0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100" dirty="0">
                <a:solidFill>
                  <a:srgbClr val="FFFFFF"/>
                </a:solidFill>
              </a:rPr>
              <a:t>Sub-work stream 1</a:t>
            </a: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943980FC-3CFD-4762-8922-6267EBE5B99E}"/>
              </a:ext>
            </a:extLst>
          </p:cNvPr>
          <p:cNvSpPr/>
          <p:nvPr/>
        </p:nvSpPr>
        <p:spPr bwMode="auto">
          <a:xfrm>
            <a:off x="2645842" y="2321790"/>
            <a:ext cx="220133" cy="185737"/>
          </a:xfrm>
          <a:prstGeom prst="triangle">
            <a:avLst/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r"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90A061-C41B-4B64-A6D2-7B1E0668F874}"/>
              </a:ext>
            </a:extLst>
          </p:cNvPr>
          <p:cNvSpPr txBox="1"/>
          <p:nvPr/>
        </p:nvSpPr>
        <p:spPr>
          <a:xfrm>
            <a:off x="2872855" y="2321790"/>
            <a:ext cx="468645" cy="211203"/>
          </a:xfrm>
          <a:prstGeom prst="rect">
            <a:avLst/>
          </a:prstGeom>
          <a:noFill/>
        </p:spPr>
        <p:txBody>
          <a:bodyPr wrap="none" lIns="36000" tIns="36000" rIns="36000" bIns="36000">
            <a:spAutoFit/>
          </a:bodyPr>
          <a:lstStyle/>
          <a:p>
            <a:pPr fontAlgn="base">
              <a:spcAft>
                <a:spcPct val="0"/>
              </a:spcAft>
              <a:defRPr/>
            </a:pPr>
            <a:r>
              <a:rPr lang="en-GB" sz="900" dirty="0">
                <a:solidFill>
                  <a:srgbClr val="000000"/>
                </a:solidFill>
              </a:rPr>
              <a:t>Meeting</a:t>
            </a:r>
            <a:endParaRPr lang="en-GB" sz="900" i="1" dirty="0">
              <a:solidFill>
                <a:srgbClr val="000000"/>
              </a:solidFill>
            </a:endParaRPr>
          </a:p>
        </p:txBody>
      </p:sp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489C77DB-3D32-4F04-ABA9-2BBB9FAA1D22}"/>
              </a:ext>
            </a:extLst>
          </p:cNvPr>
          <p:cNvSpPr/>
          <p:nvPr/>
        </p:nvSpPr>
        <p:spPr bwMode="auto">
          <a:xfrm>
            <a:off x="5142978" y="2321790"/>
            <a:ext cx="220133" cy="185737"/>
          </a:xfrm>
          <a:prstGeom prst="triangl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r"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345040BB-6987-463A-B45E-DFF0E44EBE2F}"/>
              </a:ext>
            </a:extLst>
          </p:cNvPr>
          <p:cNvSpPr/>
          <p:nvPr/>
        </p:nvSpPr>
        <p:spPr bwMode="auto">
          <a:xfrm>
            <a:off x="6391547" y="2321790"/>
            <a:ext cx="220133" cy="185737"/>
          </a:xfrm>
          <a:prstGeom prst="triangl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r"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4EB8BB12-F26A-4B9A-B25C-F39F84678011}"/>
              </a:ext>
            </a:extLst>
          </p:cNvPr>
          <p:cNvSpPr/>
          <p:nvPr/>
        </p:nvSpPr>
        <p:spPr bwMode="auto">
          <a:xfrm>
            <a:off x="7731264" y="2321790"/>
            <a:ext cx="220133" cy="185737"/>
          </a:xfrm>
          <a:prstGeom prst="triangl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r"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18" name="Chevron 25">
            <a:extLst>
              <a:ext uri="{FF2B5EF4-FFF2-40B4-BE49-F238E27FC236}">
                <a16:creationId xmlns:a16="http://schemas.microsoft.com/office/drawing/2014/main" id="{37940E51-82B1-432B-9604-3E588D20DE26}"/>
              </a:ext>
            </a:extLst>
          </p:cNvPr>
          <p:cNvSpPr/>
          <p:nvPr/>
        </p:nvSpPr>
        <p:spPr bwMode="auto">
          <a:xfrm>
            <a:off x="2651003" y="927001"/>
            <a:ext cx="1384433" cy="485775"/>
          </a:xfrm>
          <a:prstGeom prst="chevron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36000" rIns="0" bIns="3600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</a:rPr>
              <a:t>Month 2</a:t>
            </a:r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5ECD2C48-5E2A-40E6-AEFA-B9960ED074DF}"/>
              </a:ext>
            </a:extLst>
          </p:cNvPr>
          <p:cNvSpPr/>
          <p:nvPr/>
        </p:nvSpPr>
        <p:spPr bwMode="auto">
          <a:xfrm>
            <a:off x="3973520" y="2321790"/>
            <a:ext cx="220133" cy="185737"/>
          </a:xfrm>
          <a:prstGeom prst="triangle">
            <a:avLst/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r"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1200">
              <a:solidFill>
                <a:srgbClr val="000000"/>
              </a:solidFill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90671AE-D240-441C-88D9-D5D697BFDE45}"/>
              </a:ext>
            </a:extLst>
          </p:cNvPr>
          <p:cNvCxnSpPr/>
          <p:nvPr/>
        </p:nvCxnSpPr>
        <p:spPr bwMode="auto">
          <a:xfrm>
            <a:off x="72064" y="2628238"/>
            <a:ext cx="8884444" cy="0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2E842DD-FD35-43A2-8EAC-DDC3354FEE5E}"/>
              </a:ext>
            </a:extLst>
          </p:cNvPr>
          <p:cNvCxnSpPr/>
          <p:nvPr/>
        </p:nvCxnSpPr>
        <p:spPr bwMode="auto">
          <a:xfrm>
            <a:off x="72064" y="4949842"/>
            <a:ext cx="8884444" cy="0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Pentagon 31">
            <a:extLst>
              <a:ext uri="{FF2B5EF4-FFF2-40B4-BE49-F238E27FC236}">
                <a16:creationId xmlns:a16="http://schemas.microsoft.com/office/drawing/2014/main" id="{AE2E9C78-F2FC-457B-9539-A0619D1EFA54}"/>
              </a:ext>
            </a:extLst>
          </p:cNvPr>
          <p:cNvSpPr/>
          <p:nvPr/>
        </p:nvSpPr>
        <p:spPr bwMode="auto">
          <a:xfrm>
            <a:off x="2651004" y="1812798"/>
            <a:ext cx="3850611" cy="180975"/>
          </a:xfrm>
          <a:prstGeom prst="homePlate">
            <a:avLst/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0" rIns="36000" bIns="0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100" dirty="0">
                <a:solidFill>
                  <a:schemeClr val="bg1"/>
                </a:solidFill>
              </a:rPr>
              <a:t>Sub-work stream 2</a:t>
            </a:r>
          </a:p>
        </p:txBody>
      </p:sp>
      <p:sp>
        <p:nvSpPr>
          <p:cNvPr id="23" name="Pentagon 39">
            <a:extLst>
              <a:ext uri="{FF2B5EF4-FFF2-40B4-BE49-F238E27FC236}">
                <a16:creationId xmlns:a16="http://schemas.microsoft.com/office/drawing/2014/main" id="{872F8E0D-8C3D-44C7-A65B-7C691DA37303}"/>
              </a:ext>
            </a:extLst>
          </p:cNvPr>
          <p:cNvSpPr/>
          <p:nvPr/>
        </p:nvSpPr>
        <p:spPr bwMode="auto">
          <a:xfrm>
            <a:off x="5156736" y="2068805"/>
            <a:ext cx="3864370" cy="180975"/>
          </a:xfrm>
          <a:prstGeom prst="homePlate">
            <a:avLst/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0" rIns="36000" bIns="0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100" dirty="0">
                <a:solidFill>
                  <a:schemeClr val="bg1"/>
                </a:solidFill>
              </a:rPr>
              <a:t>Sub-work stream 3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3B119B7-6986-42CA-A9BD-AC76FF66B9DC}"/>
              </a:ext>
            </a:extLst>
          </p:cNvPr>
          <p:cNvSpPr/>
          <p:nvPr/>
        </p:nvSpPr>
        <p:spPr bwMode="auto">
          <a:xfrm>
            <a:off x="72065" y="2691572"/>
            <a:ext cx="1155700" cy="1034134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1400" b="1" dirty="0">
                <a:solidFill>
                  <a:schemeClr val="bg1"/>
                </a:solidFill>
              </a:rPr>
              <a:t>Work-stream 2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2F7FC27-3FCE-4B48-80F0-BF82BA62463D}"/>
              </a:ext>
            </a:extLst>
          </p:cNvPr>
          <p:cNvSpPr/>
          <p:nvPr/>
        </p:nvSpPr>
        <p:spPr bwMode="auto">
          <a:xfrm>
            <a:off x="72065" y="3852374"/>
            <a:ext cx="1155700" cy="1034134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1400" b="1" dirty="0">
                <a:solidFill>
                  <a:schemeClr val="bg1"/>
                </a:solidFill>
              </a:rPr>
              <a:t>Work-stream 3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67B3D8A-4277-48B7-A508-62D0F72948CF}"/>
              </a:ext>
            </a:extLst>
          </p:cNvPr>
          <p:cNvSpPr/>
          <p:nvPr/>
        </p:nvSpPr>
        <p:spPr bwMode="auto">
          <a:xfrm>
            <a:off x="72065" y="5013176"/>
            <a:ext cx="1155700" cy="1034134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400" b="1" dirty="0">
                <a:solidFill>
                  <a:schemeClr val="bg1"/>
                </a:solidFill>
              </a:rPr>
              <a:t>Work-stream 4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646135A-4868-4FCB-9A81-3D683300C98B}"/>
              </a:ext>
            </a:extLst>
          </p:cNvPr>
          <p:cNvSpPr txBox="1"/>
          <p:nvPr/>
        </p:nvSpPr>
        <p:spPr>
          <a:xfrm>
            <a:off x="4244887" y="2321790"/>
            <a:ext cx="468645" cy="211203"/>
          </a:xfrm>
          <a:prstGeom prst="rect">
            <a:avLst/>
          </a:prstGeom>
          <a:noFill/>
        </p:spPr>
        <p:txBody>
          <a:bodyPr wrap="none" lIns="36000" tIns="36000" rIns="36000" bIns="36000">
            <a:spAutoFit/>
          </a:bodyPr>
          <a:lstStyle/>
          <a:p>
            <a:pPr fontAlgn="base">
              <a:spcAft>
                <a:spcPct val="0"/>
              </a:spcAft>
              <a:defRPr/>
            </a:pPr>
            <a:r>
              <a:rPr lang="en-GB" sz="900" dirty="0">
                <a:solidFill>
                  <a:srgbClr val="000000"/>
                </a:solidFill>
              </a:rPr>
              <a:t>Meeting</a:t>
            </a:r>
            <a:endParaRPr lang="en-GB" sz="900" i="1" dirty="0">
              <a:solidFill>
                <a:srgbClr val="000000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80A376A-1C8D-4C57-8962-ACAE250D04A4}"/>
              </a:ext>
            </a:extLst>
          </p:cNvPr>
          <p:cNvSpPr txBox="1"/>
          <p:nvPr/>
        </p:nvSpPr>
        <p:spPr>
          <a:xfrm>
            <a:off x="5415017" y="2321790"/>
            <a:ext cx="468645" cy="211203"/>
          </a:xfrm>
          <a:prstGeom prst="rect">
            <a:avLst/>
          </a:prstGeom>
          <a:noFill/>
        </p:spPr>
        <p:txBody>
          <a:bodyPr wrap="none" lIns="36000" tIns="36000" rIns="36000" bIns="36000">
            <a:spAutoFit/>
          </a:bodyPr>
          <a:lstStyle/>
          <a:p>
            <a:pPr fontAlgn="base">
              <a:spcAft>
                <a:spcPct val="0"/>
              </a:spcAft>
              <a:defRPr/>
            </a:pPr>
            <a:r>
              <a:rPr lang="en-GB" sz="900" dirty="0">
                <a:solidFill>
                  <a:srgbClr val="000000"/>
                </a:solidFill>
              </a:rPr>
              <a:t>Meeting</a:t>
            </a:r>
            <a:endParaRPr lang="en-GB" sz="900" i="1" dirty="0">
              <a:solidFill>
                <a:srgbClr val="00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D4F9902-DC39-427D-B10F-0CDA976EBA57}"/>
              </a:ext>
            </a:extLst>
          </p:cNvPr>
          <p:cNvSpPr txBox="1"/>
          <p:nvPr/>
        </p:nvSpPr>
        <p:spPr>
          <a:xfrm>
            <a:off x="6663155" y="2321790"/>
            <a:ext cx="468645" cy="211203"/>
          </a:xfrm>
          <a:prstGeom prst="rect">
            <a:avLst/>
          </a:prstGeom>
          <a:noFill/>
        </p:spPr>
        <p:txBody>
          <a:bodyPr wrap="none" lIns="36000" tIns="36000" rIns="36000" bIns="36000">
            <a:spAutoFit/>
          </a:bodyPr>
          <a:lstStyle/>
          <a:p>
            <a:pPr fontAlgn="base">
              <a:spcAft>
                <a:spcPct val="0"/>
              </a:spcAft>
              <a:defRPr/>
            </a:pPr>
            <a:r>
              <a:rPr lang="en-GB" sz="900" dirty="0">
                <a:solidFill>
                  <a:srgbClr val="000000"/>
                </a:solidFill>
              </a:rPr>
              <a:t>Meeting</a:t>
            </a:r>
            <a:endParaRPr lang="en-GB" sz="900" i="1" dirty="0">
              <a:solidFill>
                <a:srgbClr val="000000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E09508-2626-4C07-8E98-B28AE23837AC}"/>
              </a:ext>
            </a:extLst>
          </p:cNvPr>
          <p:cNvSpPr txBox="1"/>
          <p:nvPr/>
        </p:nvSpPr>
        <p:spPr>
          <a:xfrm>
            <a:off x="7989303" y="2321790"/>
            <a:ext cx="468645" cy="211203"/>
          </a:xfrm>
          <a:prstGeom prst="rect">
            <a:avLst/>
          </a:prstGeom>
          <a:noFill/>
        </p:spPr>
        <p:txBody>
          <a:bodyPr wrap="none" lIns="36000" tIns="36000" rIns="36000" bIns="36000">
            <a:spAutoFit/>
          </a:bodyPr>
          <a:lstStyle/>
          <a:p>
            <a:pPr fontAlgn="base">
              <a:spcAft>
                <a:spcPct val="0"/>
              </a:spcAft>
              <a:defRPr/>
            </a:pPr>
            <a:r>
              <a:rPr lang="en-GB" sz="900" dirty="0">
                <a:solidFill>
                  <a:srgbClr val="000000"/>
                </a:solidFill>
              </a:rPr>
              <a:t>Meeting</a:t>
            </a:r>
            <a:endParaRPr lang="en-GB" sz="900" i="1" dirty="0">
              <a:solidFill>
                <a:srgbClr val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98B911D-86EB-48BB-8734-225AEA99D8E1}"/>
              </a:ext>
            </a:extLst>
          </p:cNvPr>
          <p:cNvCxnSpPr/>
          <p:nvPr/>
        </p:nvCxnSpPr>
        <p:spPr bwMode="auto">
          <a:xfrm>
            <a:off x="3456440" y="1484784"/>
            <a:ext cx="0" cy="4562526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49E16C88-1A7D-4AA4-A053-4C5E6A64A7FE}"/>
              </a:ext>
            </a:extLst>
          </p:cNvPr>
          <p:cNvSpPr txBox="1"/>
          <p:nvPr/>
        </p:nvSpPr>
        <p:spPr>
          <a:xfrm>
            <a:off x="3528448" y="5907935"/>
            <a:ext cx="447806" cy="257369"/>
          </a:xfrm>
          <a:prstGeom prst="rect">
            <a:avLst/>
          </a:prstGeom>
          <a:noFill/>
        </p:spPr>
        <p:txBody>
          <a:bodyPr wrap="none" lIns="36000" tIns="36000" rIns="36000" bIns="36000">
            <a:spAutoFit/>
          </a:bodyPr>
          <a:lstStyle/>
          <a:p>
            <a:pPr fontAlgn="base"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</a:rPr>
              <a:t>Today</a:t>
            </a:r>
            <a:endParaRPr lang="en-GB" sz="1200" b="1" i="1" dirty="0">
              <a:solidFill>
                <a:srgbClr val="000000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6A21111-EF52-4EEF-8289-257D5AC1EE4C}"/>
              </a:ext>
            </a:extLst>
          </p:cNvPr>
          <p:cNvSpPr txBox="1"/>
          <p:nvPr/>
        </p:nvSpPr>
        <p:spPr>
          <a:xfrm>
            <a:off x="2870079" y="2775022"/>
            <a:ext cx="566428" cy="211203"/>
          </a:xfrm>
          <a:prstGeom prst="rect">
            <a:avLst/>
          </a:prstGeom>
          <a:noFill/>
        </p:spPr>
        <p:txBody>
          <a:bodyPr wrap="none" lIns="36000" tIns="36000" rIns="36000" bIns="36000">
            <a:spAutoFit/>
          </a:bodyPr>
          <a:lstStyle/>
          <a:p>
            <a:pPr fontAlgn="base">
              <a:spcAft>
                <a:spcPct val="0"/>
              </a:spcAft>
              <a:defRPr/>
            </a:pPr>
            <a:r>
              <a:rPr lang="en-GB" sz="900" dirty="0">
                <a:solidFill>
                  <a:srgbClr val="000000"/>
                </a:solidFill>
              </a:rPr>
              <a:t>Milestone</a:t>
            </a:r>
            <a:endParaRPr lang="en-GB" sz="900" i="1" dirty="0">
              <a:solidFill>
                <a:srgbClr val="000000"/>
              </a:solidFill>
            </a:endParaRPr>
          </a:p>
        </p:txBody>
      </p:sp>
      <p:sp>
        <p:nvSpPr>
          <p:cNvPr id="35" name="Diamond 34">
            <a:extLst>
              <a:ext uri="{FF2B5EF4-FFF2-40B4-BE49-F238E27FC236}">
                <a16:creationId xmlns:a16="http://schemas.microsoft.com/office/drawing/2014/main" id="{37A2EE17-29BF-4283-ABA9-0CB0062BA895}"/>
              </a:ext>
            </a:extLst>
          </p:cNvPr>
          <p:cNvSpPr/>
          <p:nvPr/>
        </p:nvSpPr>
        <p:spPr>
          <a:xfrm>
            <a:off x="2657080" y="2788960"/>
            <a:ext cx="197655" cy="178200"/>
          </a:xfrm>
          <a:prstGeom prst="diamond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BCACC02-D6C8-4DED-A807-77F5A2DE36EF}"/>
              </a:ext>
            </a:extLst>
          </p:cNvPr>
          <p:cNvSpPr txBox="1"/>
          <p:nvPr/>
        </p:nvSpPr>
        <p:spPr>
          <a:xfrm>
            <a:off x="4189253" y="2775369"/>
            <a:ext cx="566428" cy="211203"/>
          </a:xfrm>
          <a:prstGeom prst="rect">
            <a:avLst/>
          </a:prstGeom>
          <a:noFill/>
        </p:spPr>
        <p:txBody>
          <a:bodyPr wrap="none" lIns="36000" tIns="36000" rIns="36000" bIns="36000">
            <a:spAutoFit/>
          </a:bodyPr>
          <a:lstStyle/>
          <a:p>
            <a:pPr fontAlgn="base">
              <a:spcAft>
                <a:spcPct val="0"/>
              </a:spcAft>
              <a:defRPr/>
            </a:pPr>
            <a:r>
              <a:rPr lang="en-GB" sz="900" dirty="0">
                <a:solidFill>
                  <a:srgbClr val="000000"/>
                </a:solidFill>
              </a:rPr>
              <a:t>Milestone</a:t>
            </a:r>
            <a:endParaRPr lang="en-GB" sz="900" i="1" dirty="0">
              <a:solidFill>
                <a:srgbClr val="000000"/>
              </a:solidFill>
            </a:endParaRPr>
          </a:p>
        </p:txBody>
      </p:sp>
      <p:sp>
        <p:nvSpPr>
          <p:cNvPr id="37" name="Diamond 36">
            <a:extLst>
              <a:ext uri="{FF2B5EF4-FFF2-40B4-BE49-F238E27FC236}">
                <a16:creationId xmlns:a16="http://schemas.microsoft.com/office/drawing/2014/main" id="{76E7A54C-0D59-4816-910F-AF4EEEF3156F}"/>
              </a:ext>
            </a:extLst>
          </p:cNvPr>
          <p:cNvSpPr/>
          <p:nvPr/>
        </p:nvSpPr>
        <p:spPr>
          <a:xfrm>
            <a:off x="3976254" y="2789307"/>
            <a:ext cx="197655" cy="178200"/>
          </a:xfrm>
          <a:prstGeom prst="diamond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184D6BA-921A-43A0-9084-438617C3EA73}"/>
              </a:ext>
            </a:extLst>
          </p:cNvPr>
          <p:cNvSpPr txBox="1"/>
          <p:nvPr/>
        </p:nvSpPr>
        <p:spPr>
          <a:xfrm>
            <a:off x="5361290" y="2792969"/>
            <a:ext cx="566428" cy="211203"/>
          </a:xfrm>
          <a:prstGeom prst="rect">
            <a:avLst/>
          </a:prstGeom>
          <a:noFill/>
        </p:spPr>
        <p:txBody>
          <a:bodyPr wrap="none" lIns="36000" tIns="36000" rIns="36000" bIns="36000">
            <a:spAutoFit/>
          </a:bodyPr>
          <a:lstStyle/>
          <a:p>
            <a:pPr fontAlgn="base">
              <a:spcAft>
                <a:spcPct val="0"/>
              </a:spcAft>
              <a:defRPr/>
            </a:pPr>
            <a:r>
              <a:rPr lang="en-GB" sz="900" dirty="0">
                <a:solidFill>
                  <a:srgbClr val="000000"/>
                </a:solidFill>
              </a:rPr>
              <a:t>Milestone</a:t>
            </a:r>
            <a:endParaRPr lang="en-GB" sz="900" i="1" dirty="0">
              <a:solidFill>
                <a:srgbClr val="000000"/>
              </a:solidFill>
            </a:endParaRPr>
          </a:p>
        </p:txBody>
      </p:sp>
      <p:sp>
        <p:nvSpPr>
          <p:cNvPr id="39" name="Diamond 38">
            <a:extLst>
              <a:ext uri="{FF2B5EF4-FFF2-40B4-BE49-F238E27FC236}">
                <a16:creationId xmlns:a16="http://schemas.microsoft.com/office/drawing/2014/main" id="{787F3EC7-DAB7-43AB-B472-57A4286716DE}"/>
              </a:ext>
            </a:extLst>
          </p:cNvPr>
          <p:cNvSpPr/>
          <p:nvPr/>
        </p:nvSpPr>
        <p:spPr>
          <a:xfrm>
            <a:off x="5148291" y="2806907"/>
            <a:ext cx="197655" cy="178200"/>
          </a:xfrm>
          <a:prstGeom prst="diamond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7A25740-A68C-4315-A997-F9C626E3556D}"/>
              </a:ext>
            </a:extLst>
          </p:cNvPr>
          <p:cNvSpPr txBox="1"/>
          <p:nvPr/>
        </p:nvSpPr>
        <p:spPr>
          <a:xfrm>
            <a:off x="6618416" y="2797326"/>
            <a:ext cx="566428" cy="211203"/>
          </a:xfrm>
          <a:prstGeom prst="rect">
            <a:avLst/>
          </a:prstGeom>
          <a:noFill/>
        </p:spPr>
        <p:txBody>
          <a:bodyPr wrap="none" lIns="36000" tIns="36000" rIns="36000" bIns="36000">
            <a:spAutoFit/>
          </a:bodyPr>
          <a:lstStyle/>
          <a:p>
            <a:pPr fontAlgn="base">
              <a:spcAft>
                <a:spcPct val="0"/>
              </a:spcAft>
              <a:defRPr/>
            </a:pPr>
            <a:r>
              <a:rPr lang="en-GB" sz="900" dirty="0">
                <a:solidFill>
                  <a:srgbClr val="000000"/>
                </a:solidFill>
              </a:rPr>
              <a:t>Milestone</a:t>
            </a:r>
            <a:endParaRPr lang="en-GB" sz="900" i="1" dirty="0">
              <a:solidFill>
                <a:srgbClr val="000000"/>
              </a:solidFill>
            </a:endParaRPr>
          </a:p>
        </p:txBody>
      </p:sp>
      <p:sp>
        <p:nvSpPr>
          <p:cNvPr id="41" name="Diamond 40">
            <a:extLst>
              <a:ext uri="{FF2B5EF4-FFF2-40B4-BE49-F238E27FC236}">
                <a16:creationId xmlns:a16="http://schemas.microsoft.com/office/drawing/2014/main" id="{01A6C898-CDC0-4359-959B-BCBB5638BEE1}"/>
              </a:ext>
            </a:extLst>
          </p:cNvPr>
          <p:cNvSpPr/>
          <p:nvPr/>
        </p:nvSpPr>
        <p:spPr>
          <a:xfrm>
            <a:off x="6405417" y="2811264"/>
            <a:ext cx="197655" cy="178200"/>
          </a:xfrm>
          <a:prstGeom prst="diamond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ECD871B-F9B4-488A-8536-4A08DC6F9CA7}"/>
              </a:ext>
            </a:extLst>
          </p:cNvPr>
          <p:cNvSpPr txBox="1"/>
          <p:nvPr/>
        </p:nvSpPr>
        <p:spPr>
          <a:xfrm>
            <a:off x="7941493" y="2800835"/>
            <a:ext cx="566428" cy="211203"/>
          </a:xfrm>
          <a:prstGeom prst="rect">
            <a:avLst/>
          </a:prstGeom>
          <a:noFill/>
        </p:spPr>
        <p:txBody>
          <a:bodyPr wrap="none" lIns="36000" tIns="36000" rIns="36000" bIns="36000">
            <a:spAutoFit/>
          </a:bodyPr>
          <a:lstStyle/>
          <a:p>
            <a:pPr fontAlgn="base">
              <a:spcAft>
                <a:spcPct val="0"/>
              </a:spcAft>
              <a:defRPr/>
            </a:pPr>
            <a:r>
              <a:rPr lang="en-GB" sz="900" dirty="0">
                <a:solidFill>
                  <a:srgbClr val="000000"/>
                </a:solidFill>
              </a:rPr>
              <a:t>Milestone</a:t>
            </a:r>
            <a:endParaRPr lang="en-GB" sz="900" i="1" dirty="0">
              <a:solidFill>
                <a:srgbClr val="000000"/>
              </a:solidFill>
            </a:endParaRPr>
          </a:p>
        </p:txBody>
      </p:sp>
      <p:sp>
        <p:nvSpPr>
          <p:cNvPr id="43" name="Diamond 42">
            <a:extLst>
              <a:ext uri="{FF2B5EF4-FFF2-40B4-BE49-F238E27FC236}">
                <a16:creationId xmlns:a16="http://schemas.microsoft.com/office/drawing/2014/main" id="{825C0D53-75DE-43CE-A3FA-4C1E39213099}"/>
              </a:ext>
            </a:extLst>
          </p:cNvPr>
          <p:cNvSpPr/>
          <p:nvPr/>
        </p:nvSpPr>
        <p:spPr>
          <a:xfrm>
            <a:off x="7728494" y="2814773"/>
            <a:ext cx="197655" cy="178200"/>
          </a:xfrm>
          <a:prstGeom prst="diamond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333481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43B50DF-6A58-4CE5-95DC-6F821E62CE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6AC568-6E76-406D-93E5-DBDE62D95C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ject milestone map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C7627AB-F93E-4CA2-8A55-1DA15A377E35}"/>
              </a:ext>
            </a:extLst>
          </p:cNvPr>
          <p:cNvCxnSpPr>
            <a:cxnSpLocks/>
          </p:cNvCxnSpPr>
          <p:nvPr/>
        </p:nvCxnSpPr>
        <p:spPr>
          <a:xfrm>
            <a:off x="3437993" y="1415219"/>
            <a:ext cx="13" cy="7961"/>
          </a:xfrm>
          <a:prstGeom prst="line">
            <a:avLst/>
          </a:prstGeom>
          <a:ln w="3810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D996448-3A1F-48E6-99A4-1F8859CE371C}"/>
              </a:ext>
            </a:extLst>
          </p:cNvPr>
          <p:cNvCxnSpPr>
            <a:cxnSpLocks/>
          </p:cNvCxnSpPr>
          <p:nvPr/>
        </p:nvCxnSpPr>
        <p:spPr>
          <a:xfrm>
            <a:off x="692610" y="1400683"/>
            <a:ext cx="0" cy="22500"/>
          </a:xfrm>
          <a:prstGeom prst="line">
            <a:avLst/>
          </a:prstGeom>
          <a:ln w="3810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99571C4-CD15-4C7F-B5AA-A26284B50BFE}"/>
              </a:ext>
            </a:extLst>
          </p:cNvPr>
          <p:cNvCxnSpPr>
            <a:stCxn id="12" idx="0"/>
          </p:cNvCxnSpPr>
          <p:nvPr/>
        </p:nvCxnSpPr>
        <p:spPr>
          <a:xfrm flipH="1" flipV="1">
            <a:off x="6636360" y="1423180"/>
            <a:ext cx="28752" cy="3265334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ounded Rectangle 14">
            <a:extLst>
              <a:ext uri="{FF2B5EF4-FFF2-40B4-BE49-F238E27FC236}">
                <a16:creationId xmlns:a16="http://schemas.microsoft.com/office/drawing/2014/main" id="{ECDE2D8F-F56A-4645-B2AD-E5D1D2957A29}"/>
              </a:ext>
            </a:extLst>
          </p:cNvPr>
          <p:cNvSpPr/>
          <p:nvPr/>
        </p:nvSpPr>
        <p:spPr>
          <a:xfrm>
            <a:off x="1125469" y="3856474"/>
            <a:ext cx="1479960" cy="1300718"/>
          </a:xfrm>
          <a:prstGeom prst="roundRect">
            <a:avLst/>
          </a:prstGeom>
          <a:solidFill>
            <a:schemeClr val="accent2"/>
          </a:solidFill>
          <a:ln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Milestone 2</a:t>
            </a:r>
          </a:p>
        </p:txBody>
      </p:sp>
      <p:sp>
        <p:nvSpPr>
          <p:cNvPr id="12" name="Rounded Rectangle 16">
            <a:extLst>
              <a:ext uri="{FF2B5EF4-FFF2-40B4-BE49-F238E27FC236}">
                <a16:creationId xmlns:a16="http://schemas.microsoft.com/office/drawing/2014/main" id="{84D82FA9-69C7-4600-9DED-6445894F8B3E}"/>
              </a:ext>
            </a:extLst>
          </p:cNvPr>
          <p:cNvSpPr/>
          <p:nvPr/>
        </p:nvSpPr>
        <p:spPr>
          <a:xfrm>
            <a:off x="5778264" y="4688514"/>
            <a:ext cx="1773696" cy="976293"/>
          </a:xfrm>
          <a:prstGeom prst="roundRect">
            <a:avLst/>
          </a:prstGeom>
          <a:solidFill>
            <a:schemeClr val="accent2"/>
          </a:solidFill>
          <a:ln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Milestone 5</a:t>
            </a:r>
          </a:p>
        </p:txBody>
      </p:sp>
      <p:sp>
        <p:nvSpPr>
          <p:cNvPr id="13" name="Rounded Rectangle 17">
            <a:extLst>
              <a:ext uri="{FF2B5EF4-FFF2-40B4-BE49-F238E27FC236}">
                <a16:creationId xmlns:a16="http://schemas.microsoft.com/office/drawing/2014/main" id="{442DA511-A4DC-47E0-A70E-CCB467ACE886}"/>
              </a:ext>
            </a:extLst>
          </p:cNvPr>
          <p:cNvSpPr/>
          <p:nvPr/>
        </p:nvSpPr>
        <p:spPr>
          <a:xfrm>
            <a:off x="3397760" y="3187491"/>
            <a:ext cx="2661770" cy="1218692"/>
          </a:xfrm>
          <a:prstGeom prst="roundRect">
            <a:avLst/>
          </a:prstGeom>
          <a:solidFill>
            <a:schemeClr val="accent1"/>
          </a:solidFill>
          <a:ln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/>
              <a:t>Milestone 4</a:t>
            </a:r>
          </a:p>
        </p:txBody>
      </p:sp>
      <p:sp>
        <p:nvSpPr>
          <p:cNvPr id="14" name="Rounded Rectangle 20">
            <a:extLst>
              <a:ext uri="{FF2B5EF4-FFF2-40B4-BE49-F238E27FC236}">
                <a16:creationId xmlns:a16="http://schemas.microsoft.com/office/drawing/2014/main" id="{BC54FCAA-0425-4139-ABC4-1C422A594792}"/>
              </a:ext>
            </a:extLst>
          </p:cNvPr>
          <p:cNvSpPr/>
          <p:nvPr/>
        </p:nvSpPr>
        <p:spPr>
          <a:xfrm>
            <a:off x="7508537" y="2624243"/>
            <a:ext cx="1536031" cy="767823"/>
          </a:xfrm>
          <a:prstGeom prst="roundRect">
            <a:avLst/>
          </a:prstGeom>
          <a:solidFill>
            <a:schemeClr val="accent1"/>
          </a:solidFill>
          <a:ln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/>
              <a:t>Milestone 6</a:t>
            </a:r>
          </a:p>
        </p:txBody>
      </p:sp>
      <p:sp>
        <p:nvSpPr>
          <p:cNvPr id="15" name="Rounded Rectangle 21">
            <a:extLst>
              <a:ext uri="{FF2B5EF4-FFF2-40B4-BE49-F238E27FC236}">
                <a16:creationId xmlns:a16="http://schemas.microsoft.com/office/drawing/2014/main" id="{8ACC01C9-B4B3-432E-92BB-5498870E9F2B}"/>
              </a:ext>
            </a:extLst>
          </p:cNvPr>
          <p:cNvSpPr/>
          <p:nvPr/>
        </p:nvSpPr>
        <p:spPr>
          <a:xfrm>
            <a:off x="2421413" y="1790992"/>
            <a:ext cx="1930379" cy="851121"/>
          </a:xfrm>
          <a:prstGeom prst="roundRect">
            <a:avLst/>
          </a:prstGeom>
          <a:solidFill>
            <a:schemeClr val="accent1"/>
          </a:solidFill>
          <a:ln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/>
              <a:t>Milestone 3</a:t>
            </a:r>
          </a:p>
        </p:txBody>
      </p:sp>
      <p:sp>
        <p:nvSpPr>
          <p:cNvPr id="16" name="Rounded Rectangle 22">
            <a:extLst>
              <a:ext uri="{FF2B5EF4-FFF2-40B4-BE49-F238E27FC236}">
                <a16:creationId xmlns:a16="http://schemas.microsoft.com/office/drawing/2014/main" id="{45ED0FEC-383C-4D03-BF8B-8C9F382A9C84}"/>
              </a:ext>
            </a:extLst>
          </p:cNvPr>
          <p:cNvSpPr/>
          <p:nvPr/>
        </p:nvSpPr>
        <p:spPr>
          <a:xfrm>
            <a:off x="128740" y="2395072"/>
            <a:ext cx="1454139" cy="1016442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/>
              <a:t>Milestone 1</a:t>
            </a:r>
          </a:p>
        </p:txBody>
      </p:sp>
      <p:sp>
        <p:nvSpPr>
          <p:cNvPr id="17" name="Pentagon 26">
            <a:extLst>
              <a:ext uri="{FF2B5EF4-FFF2-40B4-BE49-F238E27FC236}">
                <a16:creationId xmlns:a16="http://schemas.microsoft.com/office/drawing/2014/main" id="{E9727CCB-4A4B-4481-B9D5-C6923AA4AD31}"/>
              </a:ext>
            </a:extLst>
          </p:cNvPr>
          <p:cNvSpPr/>
          <p:nvPr/>
        </p:nvSpPr>
        <p:spPr bwMode="auto">
          <a:xfrm>
            <a:off x="72427" y="1016000"/>
            <a:ext cx="1536032" cy="468787"/>
          </a:xfrm>
          <a:prstGeom prst="homePlate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36000" rIns="0" bIns="3600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</a:rPr>
              <a:t>Month 1</a:t>
            </a:r>
          </a:p>
        </p:txBody>
      </p:sp>
      <p:sp>
        <p:nvSpPr>
          <p:cNvPr id="18" name="Chevron 27">
            <a:extLst>
              <a:ext uri="{FF2B5EF4-FFF2-40B4-BE49-F238E27FC236}">
                <a16:creationId xmlns:a16="http://schemas.microsoft.com/office/drawing/2014/main" id="{7D4AAD87-4E82-4129-AA58-B8FA82CAC28B}"/>
              </a:ext>
            </a:extLst>
          </p:cNvPr>
          <p:cNvSpPr/>
          <p:nvPr/>
        </p:nvSpPr>
        <p:spPr bwMode="auto">
          <a:xfrm>
            <a:off x="3069907" y="1016000"/>
            <a:ext cx="1534123" cy="468787"/>
          </a:xfrm>
          <a:prstGeom prst="chevron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36000" rIns="0" bIns="3600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</a:rPr>
              <a:t>Month 3</a:t>
            </a:r>
          </a:p>
        </p:txBody>
      </p:sp>
      <p:sp>
        <p:nvSpPr>
          <p:cNvPr id="19" name="Chevron 28">
            <a:extLst>
              <a:ext uri="{FF2B5EF4-FFF2-40B4-BE49-F238E27FC236}">
                <a16:creationId xmlns:a16="http://schemas.microsoft.com/office/drawing/2014/main" id="{D0667288-E6C5-4542-890B-3CAB77F84B87}"/>
              </a:ext>
            </a:extLst>
          </p:cNvPr>
          <p:cNvSpPr/>
          <p:nvPr/>
        </p:nvSpPr>
        <p:spPr bwMode="auto">
          <a:xfrm>
            <a:off x="4566738" y="1016000"/>
            <a:ext cx="1534123" cy="468787"/>
          </a:xfrm>
          <a:prstGeom prst="chevron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36000" rIns="0" bIns="3600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</a:rPr>
              <a:t>Month 4</a:t>
            </a:r>
          </a:p>
        </p:txBody>
      </p:sp>
      <p:sp>
        <p:nvSpPr>
          <p:cNvPr id="20" name="Chevron 29">
            <a:extLst>
              <a:ext uri="{FF2B5EF4-FFF2-40B4-BE49-F238E27FC236}">
                <a16:creationId xmlns:a16="http://schemas.microsoft.com/office/drawing/2014/main" id="{9E7C94F5-D27D-44F0-B5C5-23B341C7820F}"/>
              </a:ext>
            </a:extLst>
          </p:cNvPr>
          <p:cNvSpPr/>
          <p:nvPr/>
        </p:nvSpPr>
        <p:spPr bwMode="auto">
          <a:xfrm>
            <a:off x="6063569" y="1016000"/>
            <a:ext cx="1536031" cy="468787"/>
          </a:xfrm>
          <a:prstGeom prst="chevron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36000" rIns="0" bIns="3600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</a:rPr>
              <a:t>Month 5</a:t>
            </a:r>
          </a:p>
        </p:txBody>
      </p:sp>
      <p:sp>
        <p:nvSpPr>
          <p:cNvPr id="21" name="Chevron 30">
            <a:extLst>
              <a:ext uri="{FF2B5EF4-FFF2-40B4-BE49-F238E27FC236}">
                <a16:creationId xmlns:a16="http://schemas.microsoft.com/office/drawing/2014/main" id="{665F76F6-2E10-41A1-B28B-254127C8646B}"/>
              </a:ext>
            </a:extLst>
          </p:cNvPr>
          <p:cNvSpPr/>
          <p:nvPr/>
        </p:nvSpPr>
        <p:spPr bwMode="auto">
          <a:xfrm>
            <a:off x="7560400" y="1016985"/>
            <a:ext cx="1536031" cy="468787"/>
          </a:xfrm>
          <a:prstGeom prst="chevron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36000" rIns="0" bIns="3600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</a:rPr>
              <a:t>Month 6</a:t>
            </a:r>
          </a:p>
        </p:txBody>
      </p:sp>
      <p:sp>
        <p:nvSpPr>
          <p:cNvPr id="22" name="Chevron 31">
            <a:extLst>
              <a:ext uri="{FF2B5EF4-FFF2-40B4-BE49-F238E27FC236}">
                <a16:creationId xmlns:a16="http://schemas.microsoft.com/office/drawing/2014/main" id="{5D9792BE-E141-4169-BBC1-AB8A01880711}"/>
              </a:ext>
            </a:extLst>
          </p:cNvPr>
          <p:cNvSpPr/>
          <p:nvPr/>
        </p:nvSpPr>
        <p:spPr bwMode="auto">
          <a:xfrm>
            <a:off x="1571167" y="1016985"/>
            <a:ext cx="1536032" cy="468787"/>
          </a:xfrm>
          <a:prstGeom prst="chevron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36000" rIns="0" bIns="3600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</a:rPr>
              <a:t>Month 2</a:t>
            </a:r>
          </a:p>
        </p:txBody>
      </p:sp>
      <p:sp>
        <p:nvSpPr>
          <p:cNvPr id="23" name="Rounded Rectangle 23">
            <a:extLst>
              <a:ext uri="{FF2B5EF4-FFF2-40B4-BE49-F238E27FC236}">
                <a16:creationId xmlns:a16="http://schemas.microsoft.com/office/drawing/2014/main" id="{4E6E1713-E672-4345-A9AA-5C3C7E04EE56}"/>
              </a:ext>
            </a:extLst>
          </p:cNvPr>
          <p:cNvSpPr/>
          <p:nvPr/>
        </p:nvSpPr>
        <p:spPr>
          <a:xfrm>
            <a:off x="7870848" y="5426745"/>
            <a:ext cx="341258" cy="191956"/>
          </a:xfrm>
          <a:prstGeom prst="roundRect">
            <a:avLst/>
          </a:prstGeom>
          <a:solidFill>
            <a:schemeClr val="accent1"/>
          </a:solidFill>
          <a:ln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 dirty="0"/>
          </a:p>
        </p:txBody>
      </p:sp>
      <p:sp>
        <p:nvSpPr>
          <p:cNvPr id="24" name="Rounded Rectangle 24">
            <a:extLst>
              <a:ext uri="{FF2B5EF4-FFF2-40B4-BE49-F238E27FC236}">
                <a16:creationId xmlns:a16="http://schemas.microsoft.com/office/drawing/2014/main" id="{A9F3CAA5-88FF-4687-A3FB-42C20D470F14}"/>
              </a:ext>
            </a:extLst>
          </p:cNvPr>
          <p:cNvSpPr/>
          <p:nvPr/>
        </p:nvSpPr>
        <p:spPr>
          <a:xfrm>
            <a:off x="7870848" y="5733669"/>
            <a:ext cx="341258" cy="191956"/>
          </a:xfrm>
          <a:prstGeom prst="roundRect">
            <a:avLst/>
          </a:prstGeom>
          <a:solidFill>
            <a:schemeClr val="accent2"/>
          </a:solidFill>
          <a:ln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49C33E4-4FC7-480E-BAF0-0312B033C2F9}"/>
              </a:ext>
            </a:extLst>
          </p:cNvPr>
          <p:cNvSpPr txBox="1"/>
          <p:nvPr/>
        </p:nvSpPr>
        <p:spPr>
          <a:xfrm>
            <a:off x="8288058" y="5397588"/>
            <a:ext cx="85594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/>
              <a:t>Label 1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7D43D1A-E067-43CE-A5AE-46F48DA8E883}"/>
              </a:ext>
            </a:extLst>
          </p:cNvPr>
          <p:cNvSpPr txBox="1"/>
          <p:nvPr/>
        </p:nvSpPr>
        <p:spPr>
          <a:xfrm>
            <a:off x="8288059" y="5704244"/>
            <a:ext cx="80837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/>
              <a:t>Label 2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313C18F3-E01B-4AC3-AD4A-F8D8B87E9DF7}"/>
              </a:ext>
            </a:extLst>
          </p:cNvPr>
          <p:cNvCxnSpPr>
            <a:cxnSpLocks/>
          </p:cNvCxnSpPr>
          <p:nvPr/>
        </p:nvCxnSpPr>
        <p:spPr>
          <a:xfrm flipV="1">
            <a:off x="5229010" y="1484787"/>
            <a:ext cx="13755" cy="1702704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46C2C8CF-D256-463E-BCE1-41789C1F893E}"/>
              </a:ext>
            </a:extLst>
          </p:cNvPr>
          <p:cNvCxnSpPr>
            <a:cxnSpLocks/>
          </p:cNvCxnSpPr>
          <p:nvPr/>
        </p:nvCxnSpPr>
        <p:spPr>
          <a:xfrm flipV="1">
            <a:off x="8372969" y="1484787"/>
            <a:ext cx="0" cy="1139456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12709C2-2363-4465-8021-4A713C79548F}"/>
              </a:ext>
            </a:extLst>
          </p:cNvPr>
          <p:cNvCxnSpPr>
            <a:cxnSpLocks/>
          </p:cNvCxnSpPr>
          <p:nvPr/>
        </p:nvCxnSpPr>
        <p:spPr>
          <a:xfrm flipH="1" flipV="1">
            <a:off x="3529369" y="1473343"/>
            <a:ext cx="1" cy="31764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67D4A9F-9DBA-4C2B-8F7D-88542D79254E}"/>
              </a:ext>
            </a:extLst>
          </p:cNvPr>
          <p:cNvCxnSpPr>
            <a:cxnSpLocks/>
          </p:cNvCxnSpPr>
          <p:nvPr/>
        </p:nvCxnSpPr>
        <p:spPr>
          <a:xfrm flipV="1">
            <a:off x="2024966" y="1484787"/>
            <a:ext cx="118992" cy="23716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E2B02FD-933A-4D29-AA2E-7D691E9A9153}"/>
              </a:ext>
            </a:extLst>
          </p:cNvPr>
          <p:cNvCxnSpPr>
            <a:cxnSpLocks/>
            <a:stCxn id="16" idx="0"/>
          </p:cNvCxnSpPr>
          <p:nvPr/>
        </p:nvCxnSpPr>
        <p:spPr>
          <a:xfrm flipH="1" flipV="1">
            <a:off x="805376" y="1485772"/>
            <a:ext cx="50434" cy="9093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272150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AC8D19-7C5E-4BE1-A48A-DF03CB57AE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996D23-B8D6-4342-AE79-3F52FAC47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51D502-CF87-4BB5-81C6-F8024BE3E37F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83266" y="1628800"/>
            <a:ext cx="7525000" cy="360040"/>
          </a:xfrm>
          <a:noFill/>
        </p:spPr>
        <p:txBody>
          <a:bodyPr/>
          <a:lstStyle/>
          <a:p>
            <a:pPr marL="0" indent="0">
              <a:buNone/>
            </a:pPr>
            <a:r>
              <a:rPr lang="en-GB" dirty="0">
                <a:solidFill>
                  <a:schemeClr val="tx1"/>
                </a:solidFill>
              </a:rPr>
              <a:t>1.  Overview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315FCD-46C2-4266-BC22-FE627820B3D1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noFill/>
        </p:spPr>
        <p:txBody>
          <a:bodyPr/>
          <a:lstStyle/>
          <a:p>
            <a:r>
              <a:rPr lang="en-GB" dirty="0"/>
              <a:t>2.  Text element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6266D40-4F90-40EE-922D-D067B0E0EEF4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noFill/>
        </p:spPr>
        <p:txBody>
          <a:bodyPr/>
          <a:lstStyle/>
          <a:p>
            <a:r>
              <a:rPr lang="en-GB" dirty="0"/>
              <a:t>3.  Charts and graph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F380767-1B25-4604-A7B8-050B601AA9DC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noFill/>
        </p:spPr>
        <p:txBody>
          <a:bodyPr/>
          <a:lstStyle/>
          <a:p>
            <a:r>
              <a:rPr lang="en-GB" dirty="0"/>
              <a:t>4.  Diagram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094506-9521-44E3-B783-DFC26F12F5C9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noFill/>
        </p:spPr>
        <p:txBody>
          <a:bodyPr/>
          <a:lstStyle/>
          <a:p>
            <a:r>
              <a:rPr lang="en-GB" dirty="0"/>
              <a:t>5.  Tab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53B1C36-7E2B-4D7E-830B-D40EE54C45C2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noFill/>
        </p:spPr>
        <p:txBody>
          <a:bodyPr/>
          <a:lstStyle/>
          <a:p>
            <a:r>
              <a:rPr lang="en-GB" dirty="0"/>
              <a:t>6.  Timelin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5707A82-AD0B-4D55-B6FB-BB454CF223C8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noFill/>
        </p:spPr>
        <p:txBody>
          <a:bodyPr/>
          <a:lstStyle/>
          <a:p>
            <a:pPr marL="0" indent="0">
              <a:buNone/>
            </a:pPr>
            <a:r>
              <a:rPr lang="en-GB" dirty="0">
                <a:solidFill>
                  <a:schemeClr val="tx1"/>
                </a:solidFill>
              </a:rPr>
              <a:t>3 - 5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869AC75-AF82-449C-B905-9777235DC350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noFill/>
          <a:ln>
            <a:noFill/>
          </a:ln>
        </p:spPr>
        <p:txBody>
          <a:bodyPr/>
          <a:lstStyle/>
          <a:p>
            <a:r>
              <a:rPr lang="en-GB" dirty="0"/>
              <a:t>7 - 14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F696C2B-6A1B-443E-B3C1-C00B6CD25D52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noFill/>
        </p:spPr>
        <p:txBody>
          <a:bodyPr/>
          <a:lstStyle/>
          <a:p>
            <a:r>
              <a:rPr lang="en-GB" dirty="0"/>
              <a:t>16 - 28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7B042C2-290F-4877-8BB2-EBE52AB8F314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noFill/>
        </p:spPr>
        <p:txBody>
          <a:bodyPr/>
          <a:lstStyle/>
          <a:p>
            <a:r>
              <a:rPr lang="en-GB" dirty="0"/>
              <a:t>30 - 35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DF20364-900C-44B9-8358-3A71195CCF88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noFill/>
        </p:spPr>
        <p:txBody>
          <a:bodyPr/>
          <a:lstStyle/>
          <a:p>
            <a:r>
              <a:rPr lang="en-GB" dirty="0"/>
              <a:t>37 - 38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412E04B-DAE9-4C90-A9CC-3B82D772B51B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noFill/>
        </p:spPr>
        <p:txBody>
          <a:bodyPr/>
          <a:lstStyle/>
          <a:p>
            <a:r>
              <a:rPr lang="en-GB" dirty="0"/>
              <a:t>40 - 41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D1B32BE-4739-4C59-9A70-ECCADD16F2DB}"/>
              </a:ext>
            </a:extLst>
          </p:cNvPr>
          <p:cNvSpPr>
            <a:spLocks noGrp="1"/>
          </p:cNvSpPr>
          <p:nvPr>
            <p:ph type="body" idx="2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A1FE6FD-4AF3-4227-9C6B-E088CBC06EA8}"/>
              </a:ext>
            </a:extLst>
          </p:cNvPr>
          <p:cNvSpPr txBox="1">
            <a:spLocks/>
          </p:cNvSpPr>
          <p:nvPr/>
        </p:nvSpPr>
        <p:spPr>
          <a:xfrm>
            <a:off x="188976" y="5652236"/>
            <a:ext cx="7697991" cy="36004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7.  Map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38F3F384-F0A7-4F6A-9AEC-A4FF4EE7D89F}"/>
              </a:ext>
            </a:extLst>
          </p:cNvPr>
          <p:cNvSpPr txBox="1">
            <a:spLocks/>
          </p:cNvSpPr>
          <p:nvPr/>
        </p:nvSpPr>
        <p:spPr>
          <a:xfrm>
            <a:off x="7706885" y="5652236"/>
            <a:ext cx="1248139" cy="36004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43 - 45</a:t>
            </a:r>
          </a:p>
        </p:txBody>
      </p:sp>
    </p:spTree>
    <p:extLst>
      <p:ext uri="{BB962C8B-B14F-4D97-AF65-F5344CB8AC3E}">
        <p14:creationId xmlns:p14="http://schemas.microsoft.com/office/powerpoint/2010/main" val="330617295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D993CF-EBAD-4D12-9B5F-43A1640135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10A1E3-D855-4DEE-A119-C7FC7873B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K country map (click on each country to change colouring to highlight) </a:t>
            </a:r>
          </a:p>
        </p:txBody>
      </p:sp>
      <p:sp>
        <p:nvSpPr>
          <p:cNvPr id="5" name="Freeform 12">
            <a:extLst>
              <a:ext uri="{FF2B5EF4-FFF2-40B4-BE49-F238E27FC236}">
                <a16:creationId xmlns:a16="http://schemas.microsoft.com/office/drawing/2014/main" id="{D99E8A40-3D6E-434E-BBA2-583CC3152348}"/>
              </a:ext>
            </a:extLst>
          </p:cNvPr>
          <p:cNvSpPr>
            <a:spLocks noEditPoints="1"/>
          </p:cNvSpPr>
          <p:nvPr/>
        </p:nvSpPr>
        <p:spPr bwMode="auto">
          <a:xfrm>
            <a:off x="4031409" y="4284957"/>
            <a:ext cx="963083" cy="1136650"/>
          </a:xfrm>
          <a:custGeom>
            <a:avLst/>
            <a:gdLst>
              <a:gd name="T0" fmla="*/ 387 w 402"/>
              <a:gd name="T1" fmla="*/ 395 h 514"/>
              <a:gd name="T2" fmla="*/ 373 w 402"/>
              <a:gd name="T3" fmla="*/ 378 h 514"/>
              <a:gd name="T4" fmla="*/ 351 w 402"/>
              <a:gd name="T5" fmla="*/ 378 h 514"/>
              <a:gd name="T6" fmla="*/ 335 w 402"/>
              <a:gd name="T7" fmla="*/ 361 h 514"/>
              <a:gd name="T8" fmla="*/ 325 w 402"/>
              <a:gd name="T9" fmla="*/ 329 h 514"/>
              <a:gd name="T10" fmla="*/ 331 w 402"/>
              <a:gd name="T11" fmla="*/ 315 h 514"/>
              <a:gd name="T12" fmla="*/ 335 w 402"/>
              <a:gd name="T13" fmla="*/ 294 h 514"/>
              <a:gd name="T14" fmla="*/ 345 w 402"/>
              <a:gd name="T15" fmla="*/ 280 h 514"/>
              <a:gd name="T16" fmla="*/ 338 w 402"/>
              <a:gd name="T17" fmla="*/ 271 h 514"/>
              <a:gd name="T18" fmla="*/ 316 w 402"/>
              <a:gd name="T19" fmla="*/ 260 h 514"/>
              <a:gd name="T20" fmla="*/ 303 w 402"/>
              <a:gd name="T21" fmla="*/ 248 h 514"/>
              <a:gd name="T22" fmla="*/ 321 w 402"/>
              <a:gd name="T23" fmla="*/ 226 h 514"/>
              <a:gd name="T24" fmla="*/ 339 w 402"/>
              <a:gd name="T25" fmla="*/ 222 h 514"/>
              <a:gd name="T26" fmla="*/ 331 w 402"/>
              <a:gd name="T27" fmla="*/ 220 h 514"/>
              <a:gd name="T28" fmla="*/ 318 w 402"/>
              <a:gd name="T29" fmla="*/ 209 h 514"/>
              <a:gd name="T30" fmla="*/ 333 w 402"/>
              <a:gd name="T31" fmla="*/ 186 h 514"/>
              <a:gd name="T32" fmla="*/ 336 w 402"/>
              <a:gd name="T33" fmla="*/ 167 h 514"/>
              <a:gd name="T34" fmla="*/ 316 w 402"/>
              <a:gd name="T35" fmla="*/ 153 h 514"/>
              <a:gd name="T36" fmla="*/ 315 w 402"/>
              <a:gd name="T37" fmla="*/ 141 h 514"/>
              <a:gd name="T38" fmla="*/ 326 w 402"/>
              <a:gd name="T39" fmla="*/ 130 h 514"/>
              <a:gd name="T40" fmla="*/ 336 w 402"/>
              <a:gd name="T41" fmla="*/ 119 h 514"/>
              <a:gd name="T42" fmla="*/ 349 w 402"/>
              <a:gd name="T43" fmla="*/ 115 h 514"/>
              <a:gd name="T44" fmla="*/ 369 w 402"/>
              <a:gd name="T45" fmla="*/ 123 h 514"/>
              <a:gd name="T46" fmla="*/ 380 w 402"/>
              <a:gd name="T47" fmla="*/ 111 h 514"/>
              <a:gd name="T48" fmla="*/ 357 w 402"/>
              <a:gd name="T49" fmla="*/ 85 h 514"/>
              <a:gd name="T50" fmla="*/ 346 w 402"/>
              <a:gd name="T51" fmla="*/ 61 h 514"/>
              <a:gd name="T52" fmla="*/ 337 w 402"/>
              <a:gd name="T53" fmla="*/ 49 h 514"/>
              <a:gd name="T54" fmla="*/ 324 w 402"/>
              <a:gd name="T55" fmla="*/ 41 h 514"/>
              <a:gd name="T56" fmla="*/ 237 w 402"/>
              <a:gd name="T57" fmla="*/ 34 h 514"/>
              <a:gd name="T58" fmla="*/ 168 w 402"/>
              <a:gd name="T59" fmla="*/ 49 h 514"/>
              <a:gd name="T60" fmla="*/ 144 w 402"/>
              <a:gd name="T61" fmla="*/ 75 h 514"/>
              <a:gd name="T62" fmla="*/ 136 w 402"/>
              <a:gd name="T63" fmla="*/ 90 h 514"/>
              <a:gd name="T64" fmla="*/ 99 w 402"/>
              <a:gd name="T65" fmla="*/ 128 h 514"/>
              <a:gd name="T66" fmla="*/ 115 w 402"/>
              <a:gd name="T67" fmla="*/ 151 h 514"/>
              <a:gd name="T68" fmla="*/ 166 w 402"/>
              <a:gd name="T69" fmla="*/ 133 h 514"/>
              <a:gd name="T70" fmla="*/ 179 w 402"/>
              <a:gd name="T71" fmla="*/ 220 h 514"/>
              <a:gd name="T72" fmla="*/ 147 w 402"/>
              <a:gd name="T73" fmla="*/ 303 h 514"/>
              <a:gd name="T74" fmla="*/ 86 w 402"/>
              <a:gd name="T75" fmla="*/ 327 h 514"/>
              <a:gd name="T76" fmla="*/ 25 w 402"/>
              <a:gd name="T77" fmla="*/ 359 h 514"/>
              <a:gd name="T78" fmla="*/ 20 w 402"/>
              <a:gd name="T79" fmla="*/ 418 h 514"/>
              <a:gd name="T80" fmla="*/ 37 w 402"/>
              <a:gd name="T81" fmla="*/ 435 h 514"/>
              <a:gd name="T82" fmla="*/ 50 w 402"/>
              <a:gd name="T83" fmla="*/ 436 h 514"/>
              <a:gd name="T84" fmla="*/ 49 w 402"/>
              <a:gd name="T85" fmla="*/ 460 h 514"/>
              <a:gd name="T86" fmla="*/ 95 w 402"/>
              <a:gd name="T87" fmla="*/ 428 h 514"/>
              <a:gd name="T88" fmla="*/ 184 w 402"/>
              <a:gd name="T89" fmla="*/ 443 h 514"/>
              <a:gd name="T90" fmla="*/ 157 w 402"/>
              <a:gd name="T91" fmla="*/ 453 h 514"/>
              <a:gd name="T92" fmla="*/ 170 w 402"/>
              <a:gd name="T93" fmla="*/ 475 h 514"/>
              <a:gd name="T94" fmla="*/ 229 w 402"/>
              <a:gd name="T95" fmla="*/ 470 h 514"/>
              <a:gd name="T96" fmla="*/ 309 w 402"/>
              <a:gd name="T97" fmla="*/ 513 h 514"/>
              <a:gd name="T98" fmla="*/ 332 w 402"/>
              <a:gd name="T99" fmla="*/ 486 h 514"/>
              <a:gd name="T100" fmla="*/ 398 w 402"/>
              <a:gd name="T101" fmla="*/ 458 h 514"/>
              <a:gd name="T102" fmla="*/ 397 w 402"/>
              <a:gd name="T103" fmla="*/ 435 h 514"/>
              <a:gd name="T104" fmla="*/ 402 w 402"/>
              <a:gd name="T105" fmla="*/ 401 h 514"/>
              <a:gd name="T106" fmla="*/ 157 w 402"/>
              <a:gd name="T107" fmla="*/ 54 h 514"/>
              <a:gd name="T108" fmla="*/ 167 w 402"/>
              <a:gd name="T109" fmla="*/ 29 h 514"/>
              <a:gd name="T110" fmla="*/ 143 w 402"/>
              <a:gd name="T111" fmla="*/ 4 h 514"/>
              <a:gd name="T112" fmla="*/ 102 w 402"/>
              <a:gd name="T113" fmla="*/ 38 h 514"/>
              <a:gd name="T114" fmla="*/ 99 w 402"/>
              <a:gd name="T115" fmla="*/ 32 h 514"/>
              <a:gd name="T116" fmla="*/ 86 w 402"/>
              <a:gd name="T117" fmla="*/ 37 h 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02" h="514">
                <a:moveTo>
                  <a:pt x="402" y="401"/>
                </a:moveTo>
                <a:cubicBezTo>
                  <a:pt x="402" y="401"/>
                  <a:pt x="402" y="401"/>
                  <a:pt x="402" y="401"/>
                </a:cubicBezTo>
                <a:cubicBezTo>
                  <a:pt x="401" y="401"/>
                  <a:pt x="400" y="400"/>
                  <a:pt x="399" y="399"/>
                </a:cubicBezTo>
                <a:cubicBezTo>
                  <a:pt x="398" y="399"/>
                  <a:pt x="398" y="398"/>
                  <a:pt x="397" y="397"/>
                </a:cubicBezTo>
                <a:cubicBezTo>
                  <a:pt x="397" y="397"/>
                  <a:pt x="397" y="397"/>
                  <a:pt x="397" y="397"/>
                </a:cubicBezTo>
                <a:cubicBezTo>
                  <a:pt x="395" y="397"/>
                  <a:pt x="394" y="397"/>
                  <a:pt x="394" y="397"/>
                </a:cubicBezTo>
                <a:cubicBezTo>
                  <a:pt x="393" y="397"/>
                  <a:pt x="393" y="397"/>
                  <a:pt x="393" y="397"/>
                </a:cubicBezTo>
                <a:cubicBezTo>
                  <a:pt x="393" y="397"/>
                  <a:pt x="393" y="397"/>
                  <a:pt x="392" y="397"/>
                </a:cubicBezTo>
                <a:cubicBezTo>
                  <a:pt x="392" y="397"/>
                  <a:pt x="390" y="398"/>
                  <a:pt x="388" y="396"/>
                </a:cubicBezTo>
                <a:cubicBezTo>
                  <a:pt x="387" y="396"/>
                  <a:pt x="387" y="395"/>
                  <a:pt x="387" y="395"/>
                </a:cubicBezTo>
                <a:cubicBezTo>
                  <a:pt x="386" y="394"/>
                  <a:pt x="385" y="393"/>
                  <a:pt x="384" y="392"/>
                </a:cubicBezTo>
                <a:cubicBezTo>
                  <a:pt x="384" y="391"/>
                  <a:pt x="384" y="390"/>
                  <a:pt x="384" y="389"/>
                </a:cubicBezTo>
                <a:cubicBezTo>
                  <a:pt x="384" y="389"/>
                  <a:pt x="384" y="388"/>
                  <a:pt x="383" y="387"/>
                </a:cubicBezTo>
                <a:cubicBezTo>
                  <a:pt x="382" y="387"/>
                  <a:pt x="382" y="386"/>
                  <a:pt x="381" y="385"/>
                </a:cubicBezTo>
                <a:cubicBezTo>
                  <a:pt x="380" y="383"/>
                  <a:pt x="378" y="382"/>
                  <a:pt x="377" y="381"/>
                </a:cubicBezTo>
                <a:cubicBezTo>
                  <a:pt x="377" y="381"/>
                  <a:pt x="376" y="380"/>
                  <a:pt x="376" y="379"/>
                </a:cubicBezTo>
                <a:cubicBezTo>
                  <a:pt x="375" y="379"/>
                  <a:pt x="375" y="379"/>
                  <a:pt x="375" y="379"/>
                </a:cubicBezTo>
                <a:cubicBezTo>
                  <a:pt x="375" y="379"/>
                  <a:pt x="374" y="379"/>
                  <a:pt x="374" y="378"/>
                </a:cubicBezTo>
                <a:cubicBezTo>
                  <a:pt x="373" y="378"/>
                  <a:pt x="373" y="378"/>
                  <a:pt x="373" y="378"/>
                </a:cubicBezTo>
                <a:cubicBezTo>
                  <a:pt x="373" y="378"/>
                  <a:pt x="373" y="378"/>
                  <a:pt x="373" y="378"/>
                </a:cubicBezTo>
                <a:cubicBezTo>
                  <a:pt x="373" y="378"/>
                  <a:pt x="373" y="378"/>
                  <a:pt x="373" y="378"/>
                </a:cubicBezTo>
                <a:cubicBezTo>
                  <a:pt x="373" y="378"/>
                  <a:pt x="372" y="378"/>
                  <a:pt x="372" y="377"/>
                </a:cubicBezTo>
                <a:cubicBezTo>
                  <a:pt x="370" y="376"/>
                  <a:pt x="369" y="376"/>
                  <a:pt x="369" y="376"/>
                </a:cubicBezTo>
                <a:cubicBezTo>
                  <a:pt x="366" y="376"/>
                  <a:pt x="366" y="376"/>
                  <a:pt x="366" y="376"/>
                </a:cubicBezTo>
                <a:cubicBezTo>
                  <a:pt x="366" y="376"/>
                  <a:pt x="365" y="377"/>
                  <a:pt x="363" y="377"/>
                </a:cubicBezTo>
                <a:cubicBezTo>
                  <a:pt x="361" y="378"/>
                  <a:pt x="360" y="378"/>
                  <a:pt x="360" y="378"/>
                </a:cubicBezTo>
                <a:cubicBezTo>
                  <a:pt x="359" y="379"/>
                  <a:pt x="359" y="379"/>
                  <a:pt x="359" y="379"/>
                </a:cubicBezTo>
                <a:cubicBezTo>
                  <a:pt x="354" y="380"/>
                  <a:pt x="354" y="380"/>
                  <a:pt x="354" y="380"/>
                </a:cubicBezTo>
                <a:cubicBezTo>
                  <a:pt x="353" y="380"/>
                  <a:pt x="352" y="379"/>
                  <a:pt x="351" y="378"/>
                </a:cubicBezTo>
                <a:cubicBezTo>
                  <a:pt x="351" y="378"/>
                  <a:pt x="351" y="378"/>
                  <a:pt x="351" y="378"/>
                </a:cubicBezTo>
                <a:cubicBezTo>
                  <a:pt x="351" y="377"/>
                  <a:pt x="350" y="376"/>
                  <a:pt x="350" y="376"/>
                </a:cubicBezTo>
                <a:cubicBezTo>
                  <a:pt x="347" y="377"/>
                  <a:pt x="346" y="376"/>
                  <a:pt x="345" y="376"/>
                </a:cubicBezTo>
                <a:cubicBezTo>
                  <a:pt x="345" y="375"/>
                  <a:pt x="344" y="374"/>
                  <a:pt x="345" y="373"/>
                </a:cubicBezTo>
                <a:cubicBezTo>
                  <a:pt x="345" y="372"/>
                  <a:pt x="345" y="372"/>
                  <a:pt x="345" y="372"/>
                </a:cubicBezTo>
                <a:cubicBezTo>
                  <a:pt x="344" y="371"/>
                  <a:pt x="344" y="371"/>
                  <a:pt x="344" y="371"/>
                </a:cubicBezTo>
                <a:cubicBezTo>
                  <a:pt x="343" y="370"/>
                  <a:pt x="343" y="370"/>
                  <a:pt x="343" y="370"/>
                </a:cubicBezTo>
                <a:cubicBezTo>
                  <a:pt x="343" y="369"/>
                  <a:pt x="343" y="369"/>
                  <a:pt x="343" y="369"/>
                </a:cubicBezTo>
                <a:cubicBezTo>
                  <a:pt x="342" y="369"/>
                  <a:pt x="341" y="368"/>
                  <a:pt x="340" y="367"/>
                </a:cubicBezTo>
                <a:cubicBezTo>
                  <a:pt x="339" y="365"/>
                  <a:pt x="339" y="365"/>
                  <a:pt x="339" y="365"/>
                </a:cubicBezTo>
                <a:cubicBezTo>
                  <a:pt x="338" y="364"/>
                  <a:pt x="336" y="363"/>
                  <a:pt x="335" y="361"/>
                </a:cubicBezTo>
                <a:cubicBezTo>
                  <a:pt x="334" y="359"/>
                  <a:pt x="332" y="357"/>
                  <a:pt x="332" y="357"/>
                </a:cubicBezTo>
                <a:cubicBezTo>
                  <a:pt x="331" y="355"/>
                  <a:pt x="330" y="353"/>
                  <a:pt x="330" y="351"/>
                </a:cubicBezTo>
                <a:cubicBezTo>
                  <a:pt x="330" y="345"/>
                  <a:pt x="330" y="345"/>
                  <a:pt x="330" y="345"/>
                </a:cubicBezTo>
                <a:cubicBezTo>
                  <a:pt x="330" y="345"/>
                  <a:pt x="330" y="345"/>
                  <a:pt x="330" y="345"/>
                </a:cubicBezTo>
                <a:cubicBezTo>
                  <a:pt x="330" y="344"/>
                  <a:pt x="330" y="344"/>
                  <a:pt x="329" y="343"/>
                </a:cubicBezTo>
                <a:cubicBezTo>
                  <a:pt x="329" y="343"/>
                  <a:pt x="329" y="343"/>
                  <a:pt x="329" y="343"/>
                </a:cubicBezTo>
                <a:cubicBezTo>
                  <a:pt x="328" y="342"/>
                  <a:pt x="327" y="341"/>
                  <a:pt x="327" y="340"/>
                </a:cubicBezTo>
                <a:cubicBezTo>
                  <a:pt x="326" y="338"/>
                  <a:pt x="326" y="337"/>
                  <a:pt x="326" y="337"/>
                </a:cubicBezTo>
                <a:cubicBezTo>
                  <a:pt x="325" y="336"/>
                  <a:pt x="325" y="335"/>
                  <a:pt x="325" y="333"/>
                </a:cubicBezTo>
                <a:cubicBezTo>
                  <a:pt x="325" y="332"/>
                  <a:pt x="325" y="330"/>
                  <a:pt x="325" y="329"/>
                </a:cubicBezTo>
                <a:cubicBezTo>
                  <a:pt x="325" y="327"/>
                  <a:pt x="325" y="327"/>
                  <a:pt x="325" y="327"/>
                </a:cubicBezTo>
                <a:cubicBezTo>
                  <a:pt x="324" y="326"/>
                  <a:pt x="325" y="325"/>
                  <a:pt x="325" y="325"/>
                </a:cubicBezTo>
                <a:cubicBezTo>
                  <a:pt x="325" y="325"/>
                  <a:pt x="324" y="324"/>
                  <a:pt x="324" y="323"/>
                </a:cubicBezTo>
                <a:cubicBezTo>
                  <a:pt x="323" y="321"/>
                  <a:pt x="323" y="321"/>
                  <a:pt x="323" y="321"/>
                </a:cubicBezTo>
                <a:cubicBezTo>
                  <a:pt x="323" y="320"/>
                  <a:pt x="323" y="320"/>
                  <a:pt x="324" y="319"/>
                </a:cubicBezTo>
                <a:cubicBezTo>
                  <a:pt x="325" y="318"/>
                  <a:pt x="325" y="318"/>
                  <a:pt x="325" y="318"/>
                </a:cubicBezTo>
                <a:cubicBezTo>
                  <a:pt x="330" y="318"/>
                  <a:pt x="330" y="318"/>
                  <a:pt x="330" y="318"/>
                </a:cubicBezTo>
                <a:cubicBezTo>
                  <a:pt x="332" y="317"/>
                  <a:pt x="332" y="317"/>
                  <a:pt x="332" y="317"/>
                </a:cubicBezTo>
                <a:cubicBezTo>
                  <a:pt x="332" y="317"/>
                  <a:pt x="332" y="316"/>
                  <a:pt x="333" y="316"/>
                </a:cubicBezTo>
                <a:cubicBezTo>
                  <a:pt x="332" y="316"/>
                  <a:pt x="331" y="315"/>
                  <a:pt x="331" y="315"/>
                </a:cubicBezTo>
                <a:cubicBezTo>
                  <a:pt x="330" y="315"/>
                  <a:pt x="330" y="315"/>
                  <a:pt x="330" y="315"/>
                </a:cubicBezTo>
                <a:cubicBezTo>
                  <a:pt x="329" y="315"/>
                  <a:pt x="328" y="314"/>
                  <a:pt x="328" y="313"/>
                </a:cubicBezTo>
                <a:cubicBezTo>
                  <a:pt x="328" y="312"/>
                  <a:pt x="328" y="312"/>
                  <a:pt x="328" y="312"/>
                </a:cubicBezTo>
                <a:cubicBezTo>
                  <a:pt x="328" y="311"/>
                  <a:pt x="328" y="311"/>
                  <a:pt x="328" y="311"/>
                </a:cubicBezTo>
                <a:cubicBezTo>
                  <a:pt x="331" y="304"/>
                  <a:pt x="331" y="304"/>
                  <a:pt x="331" y="304"/>
                </a:cubicBezTo>
                <a:cubicBezTo>
                  <a:pt x="331" y="303"/>
                  <a:pt x="331" y="302"/>
                  <a:pt x="331" y="302"/>
                </a:cubicBezTo>
                <a:cubicBezTo>
                  <a:pt x="332" y="301"/>
                  <a:pt x="332" y="301"/>
                  <a:pt x="333" y="300"/>
                </a:cubicBezTo>
                <a:cubicBezTo>
                  <a:pt x="333" y="299"/>
                  <a:pt x="333" y="298"/>
                  <a:pt x="334" y="298"/>
                </a:cubicBezTo>
                <a:cubicBezTo>
                  <a:pt x="334" y="297"/>
                  <a:pt x="334" y="297"/>
                  <a:pt x="334" y="297"/>
                </a:cubicBezTo>
                <a:cubicBezTo>
                  <a:pt x="335" y="294"/>
                  <a:pt x="335" y="294"/>
                  <a:pt x="335" y="294"/>
                </a:cubicBezTo>
                <a:cubicBezTo>
                  <a:pt x="335" y="293"/>
                  <a:pt x="336" y="293"/>
                  <a:pt x="336" y="293"/>
                </a:cubicBezTo>
                <a:cubicBezTo>
                  <a:pt x="341" y="291"/>
                  <a:pt x="341" y="291"/>
                  <a:pt x="341" y="291"/>
                </a:cubicBezTo>
                <a:cubicBezTo>
                  <a:pt x="346" y="289"/>
                  <a:pt x="349" y="289"/>
                  <a:pt x="349" y="289"/>
                </a:cubicBezTo>
                <a:cubicBezTo>
                  <a:pt x="349" y="289"/>
                  <a:pt x="349" y="289"/>
                  <a:pt x="349" y="289"/>
                </a:cubicBezTo>
                <a:cubicBezTo>
                  <a:pt x="350" y="289"/>
                  <a:pt x="350" y="289"/>
                  <a:pt x="350" y="289"/>
                </a:cubicBezTo>
                <a:cubicBezTo>
                  <a:pt x="350" y="289"/>
                  <a:pt x="350" y="288"/>
                  <a:pt x="349" y="288"/>
                </a:cubicBezTo>
                <a:cubicBezTo>
                  <a:pt x="348" y="287"/>
                  <a:pt x="346" y="286"/>
                  <a:pt x="346" y="285"/>
                </a:cubicBezTo>
                <a:cubicBezTo>
                  <a:pt x="345" y="285"/>
                  <a:pt x="345" y="285"/>
                  <a:pt x="345" y="285"/>
                </a:cubicBezTo>
                <a:cubicBezTo>
                  <a:pt x="343" y="284"/>
                  <a:pt x="344" y="282"/>
                  <a:pt x="345" y="281"/>
                </a:cubicBezTo>
                <a:cubicBezTo>
                  <a:pt x="345" y="280"/>
                  <a:pt x="345" y="280"/>
                  <a:pt x="345" y="280"/>
                </a:cubicBezTo>
                <a:cubicBezTo>
                  <a:pt x="345" y="279"/>
                  <a:pt x="345" y="279"/>
                  <a:pt x="346" y="278"/>
                </a:cubicBezTo>
                <a:cubicBezTo>
                  <a:pt x="347" y="276"/>
                  <a:pt x="347" y="276"/>
                  <a:pt x="347" y="276"/>
                </a:cubicBezTo>
                <a:cubicBezTo>
                  <a:pt x="349" y="274"/>
                  <a:pt x="350" y="273"/>
                  <a:pt x="351" y="273"/>
                </a:cubicBezTo>
                <a:cubicBezTo>
                  <a:pt x="351" y="273"/>
                  <a:pt x="351" y="273"/>
                  <a:pt x="352" y="273"/>
                </a:cubicBezTo>
                <a:cubicBezTo>
                  <a:pt x="352" y="273"/>
                  <a:pt x="352" y="273"/>
                  <a:pt x="352" y="273"/>
                </a:cubicBezTo>
                <a:cubicBezTo>
                  <a:pt x="352" y="272"/>
                  <a:pt x="352" y="272"/>
                  <a:pt x="352" y="272"/>
                </a:cubicBezTo>
                <a:cubicBezTo>
                  <a:pt x="351" y="270"/>
                  <a:pt x="351" y="270"/>
                  <a:pt x="351" y="270"/>
                </a:cubicBezTo>
                <a:cubicBezTo>
                  <a:pt x="350" y="270"/>
                  <a:pt x="350" y="270"/>
                  <a:pt x="350" y="270"/>
                </a:cubicBezTo>
                <a:cubicBezTo>
                  <a:pt x="349" y="271"/>
                  <a:pt x="348" y="271"/>
                  <a:pt x="348" y="271"/>
                </a:cubicBezTo>
                <a:cubicBezTo>
                  <a:pt x="338" y="271"/>
                  <a:pt x="338" y="271"/>
                  <a:pt x="338" y="271"/>
                </a:cubicBezTo>
                <a:cubicBezTo>
                  <a:pt x="336" y="270"/>
                  <a:pt x="336" y="270"/>
                  <a:pt x="336" y="270"/>
                </a:cubicBezTo>
                <a:cubicBezTo>
                  <a:pt x="336" y="270"/>
                  <a:pt x="335" y="270"/>
                  <a:pt x="333" y="270"/>
                </a:cubicBezTo>
                <a:cubicBezTo>
                  <a:pt x="332" y="271"/>
                  <a:pt x="331" y="271"/>
                  <a:pt x="330" y="270"/>
                </a:cubicBezTo>
                <a:cubicBezTo>
                  <a:pt x="326" y="267"/>
                  <a:pt x="326" y="267"/>
                  <a:pt x="326" y="267"/>
                </a:cubicBezTo>
                <a:cubicBezTo>
                  <a:pt x="326" y="267"/>
                  <a:pt x="325" y="266"/>
                  <a:pt x="324" y="266"/>
                </a:cubicBezTo>
                <a:cubicBezTo>
                  <a:pt x="323" y="265"/>
                  <a:pt x="322" y="265"/>
                  <a:pt x="322" y="264"/>
                </a:cubicBezTo>
                <a:cubicBezTo>
                  <a:pt x="321" y="264"/>
                  <a:pt x="321" y="264"/>
                  <a:pt x="320" y="264"/>
                </a:cubicBezTo>
                <a:cubicBezTo>
                  <a:pt x="319" y="262"/>
                  <a:pt x="319" y="262"/>
                  <a:pt x="319" y="262"/>
                </a:cubicBezTo>
                <a:cubicBezTo>
                  <a:pt x="317" y="261"/>
                  <a:pt x="317" y="261"/>
                  <a:pt x="317" y="261"/>
                </a:cubicBezTo>
                <a:cubicBezTo>
                  <a:pt x="317" y="260"/>
                  <a:pt x="317" y="260"/>
                  <a:pt x="316" y="260"/>
                </a:cubicBezTo>
                <a:cubicBezTo>
                  <a:pt x="316" y="258"/>
                  <a:pt x="316" y="258"/>
                  <a:pt x="316" y="258"/>
                </a:cubicBezTo>
                <a:cubicBezTo>
                  <a:pt x="315" y="258"/>
                  <a:pt x="315" y="258"/>
                  <a:pt x="314" y="257"/>
                </a:cubicBezTo>
                <a:cubicBezTo>
                  <a:pt x="312" y="255"/>
                  <a:pt x="312" y="255"/>
                  <a:pt x="312" y="255"/>
                </a:cubicBezTo>
                <a:cubicBezTo>
                  <a:pt x="310" y="255"/>
                  <a:pt x="310" y="255"/>
                  <a:pt x="310" y="255"/>
                </a:cubicBezTo>
                <a:cubicBezTo>
                  <a:pt x="308" y="255"/>
                  <a:pt x="308" y="255"/>
                  <a:pt x="308" y="255"/>
                </a:cubicBezTo>
                <a:cubicBezTo>
                  <a:pt x="307" y="255"/>
                  <a:pt x="306" y="254"/>
                  <a:pt x="306" y="253"/>
                </a:cubicBezTo>
                <a:cubicBezTo>
                  <a:pt x="306" y="252"/>
                  <a:pt x="306" y="252"/>
                  <a:pt x="306" y="252"/>
                </a:cubicBezTo>
                <a:cubicBezTo>
                  <a:pt x="304" y="251"/>
                  <a:pt x="304" y="251"/>
                  <a:pt x="304" y="251"/>
                </a:cubicBezTo>
                <a:cubicBezTo>
                  <a:pt x="303" y="251"/>
                  <a:pt x="303" y="250"/>
                  <a:pt x="303" y="249"/>
                </a:cubicBezTo>
                <a:cubicBezTo>
                  <a:pt x="303" y="248"/>
                  <a:pt x="303" y="248"/>
                  <a:pt x="303" y="248"/>
                </a:cubicBezTo>
                <a:cubicBezTo>
                  <a:pt x="302" y="248"/>
                  <a:pt x="302" y="248"/>
                  <a:pt x="302" y="248"/>
                </a:cubicBezTo>
                <a:cubicBezTo>
                  <a:pt x="302" y="248"/>
                  <a:pt x="302" y="248"/>
                  <a:pt x="302" y="248"/>
                </a:cubicBezTo>
                <a:cubicBezTo>
                  <a:pt x="305" y="237"/>
                  <a:pt x="305" y="237"/>
                  <a:pt x="305" y="237"/>
                </a:cubicBezTo>
                <a:cubicBezTo>
                  <a:pt x="307" y="236"/>
                  <a:pt x="307" y="236"/>
                  <a:pt x="307" y="236"/>
                </a:cubicBezTo>
                <a:cubicBezTo>
                  <a:pt x="309" y="233"/>
                  <a:pt x="309" y="233"/>
                  <a:pt x="309" y="233"/>
                </a:cubicBezTo>
                <a:cubicBezTo>
                  <a:pt x="310" y="232"/>
                  <a:pt x="310" y="232"/>
                  <a:pt x="310" y="232"/>
                </a:cubicBezTo>
                <a:cubicBezTo>
                  <a:pt x="315" y="231"/>
                  <a:pt x="315" y="231"/>
                  <a:pt x="315" y="231"/>
                </a:cubicBezTo>
                <a:cubicBezTo>
                  <a:pt x="316" y="230"/>
                  <a:pt x="317" y="229"/>
                  <a:pt x="318" y="228"/>
                </a:cubicBezTo>
                <a:cubicBezTo>
                  <a:pt x="319" y="226"/>
                  <a:pt x="320" y="226"/>
                  <a:pt x="321" y="226"/>
                </a:cubicBezTo>
                <a:cubicBezTo>
                  <a:pt x="321" y="226"/>
                  <a:pt x="321" y="226"/>
                  <a:pt x="321" y="226"/>
                </a:cubicBezTo>
                <a:cubicBezTo>
                  <a:pt x="322" y="226"/>
                  <a:pt x="323" y="227"/>
                  <a:pt x="323" y="227"/>
                </a:cubicBezTo>
                <a:cubicBezTo>
                  <a:pt x="330" y="227"/>
                  <a:pt x="330" y="227"/>
                  <a:pt x="330" y="227"/>
                </a:cubicBezTo>
                <a:cubicBezTo>
                  <a:pt x="332" y="224"/>
                  <a:pt x="332" y="224"/>
                  <a:pt x="332" y="224"/>
                </a:cubicBezTo>
                <a:cubicBezTo>
                  <a:pt x="333" y="224"/>
                  <a:pt x="333" y="224"/>
                  <a:pt x="333" y="224"/>
                </a:cubicBezTo>
                <a:cubicBezTo>
                  <a:pt x="334" y="224"/>
                  <a:pt x="334" y="224"/>
                  <a:pt x="334" y="224"/>
                </a:cubicBezTo>
                <a:cubicBezTo>
                  <a:pt x="335" y="222"/>
                  <a:pt x="335" y="222"/>
                  <a:pt x="335" y="222"/>
                </a:cubicBezTo>
                <a:cubicBezTo>
                  <a:pt x="336" y="222"/>
                  <a:pt x="337" y="222"/>
                  <a:pt x="338" y="222"/>
                </a:cubicBezTo>
                <a:cubicBezTo>
                  <a:pt x="338" y="222"/>
                  <a:pt x="338" y="222"/>
                  <a:pt x="338" y="222"/>
                </a:cubicBezTo>
                <a:cubicBezTo>
                  <a:pt x="338" y="222"/>
                  <a:pt x="338" y="222"/>
                  <a:pt x="339" y="222"/>
                </a:cubicBezTo>
                <a:cubicBezTo>
                  <a:pt x="339" y="222"/>
                  <a:pt x="339" y="222"/>
                  <a:pt x="339" y="222"/>
                </a:cubicBezTo>
                <a:cubicBezTo>
                  <a:pt x="340" y="221"/>
                  <a:pt x="340" y="220"/>
                  <a:pt x="341" y="219"/>
                </a:cubicBezTo>
                <a:cubicBezTo>
                  <a:pt x="341" y="218"/>
                  <a:pt x="341" y="218"/>
                  <a:pt x="341" y="218"/>
                </a:cubicBezTo>
                <a:cubicBezTo>
                  <a:pt x="341" y="216"/>
                  <a:pt x="341" y="216"/>
                  <a:pt x="341" y="216"/>
                </a:cubicBezTo>
                <a:cubicBezTo>
                  <a:pt x="340" y="215"/>
                  <a:pt x="340" y="215"/>
                  <a:pt x="340" y="215"/>
                </a:cubicBezTo>
                <a:cubicBezTo>
                  <a:pt x="339" y="215"/>
                  <a:pt x="339" y="215"/>
                  <a:pt x="339" y="215"/>
                </a:cubicBezTo>
                <a:cubicBezTo>
                  <a:pt x="337" y="216"/>
                  <a:pt x="337" y="216"/>
                  <a:pt x="337" y="216"/>
                </a:cubicBezTo>
                <a:cubicBezTo>
                  <a:pt x="335" y="217"/>
                  <a:pt x="335" y="217"/>
                  <a:pt x="335" y="217"/>
                </a:cubicBezTo>
                <a:cubicBezTo>
                  <a:pt x="334" y="218"/>
                  <a:pt x="334" y="218"/>
                  <a:pt x="334" y="218"/>
                </a:cubicBezTo>
                <a:cubicBezTo>
                  <a:pt x="333" y="218"/>
                  <a:pt x="333" y="219"/>
                  <a:pt x="332" y="220"/>
                </a:cubicBezTo>
                <a:cubicBezTo>
                  <a:pt x="331" y="220"/>
                  <a:pt x="331" y="220"/>
                  <a:pt x="331" y="220"/>
                </a:cubicBezTo>
                <a:cubicBezTo>
                  <a:pt x="331" y="221"/>
                  <a:pt x="330" y="222"/>
                  <a:pt x="328" y="223"/>
                </a:cubicBezTo>
                <a:cubicBezTo>
                  <a:pt x="328" y="223"/>
                  <a:pt x="328" y="223"/>
                  <a:pt x="328" y="223"/>
                </a:cubicBezTo>
                <a:cubicBezTo>
                  <a:pt x="327" y="225"/>
                  <a:pt x="325" y="225"/>
                  <a:pt x="324" y="225"/>
                </a:cubicBezTo>
                <a:cubicBezTo>
                  <a:pt x="324" y="225"/>
                  <a:pt x="324" y="225"/>
                  <a:pt x="323" y="226"/>
                </a:cubicBezTo>
                <a:cubicBezTo>
                  <a:pt x="322" y="226"/>
                  <a:pt x="320" y="226"/>
                  <a:pt x="320" y="226"/>
                </a:cubicBezTo>
                <a:cubicBezTo>
                  <a:pt x="319" y="225"/>
                  <a:pt x="319" y="225"/>
                  <a:pt x="319" y="225"/>
                </a:cubicBezTo>
                <a:cubicBezTo>
                  <a:pt x="317" y="223"/>
                  <a:pt x="317" y="223"/>
                  <a:pt x="317" y="223"/>
                </a:cubicBezTo>
                <a:cubicBezTo>
                  <a:pt x="316" y="222"/>
                  <a:pt x="316" y="222"/>
                  <a:pt x="316" y="221"/>
                </a:cubicBezTo>
                <a:cubicBezTo>
                  <a:pt x="316" y="211"/>
                  <a:pt x="316" y="211"/>
                  <a:pt x="316" y="211"/>
                </a:cubicBezTo>
                <a:cubicBezTo>
                  <a:pt x="316" y="210"/>
                  <a:pt x="317" y="209"/>
                  <a:pt x="318" y="209"/>
                </a:cubicBezTo>
                <a:cubicBezTo>
                  <a:pt x="320" y="209"/>
                  <a:pt x="320" y="209"/>
                  <a:pt x="320" y="209"/>
                </a:cubicBezTo>
                <a:cubicBezTo>
                  <a:pt x="323" y="208"/>
                  <a:pt x="323" y="208"/>
                  <a:pt x="323" y="208"/>
                </a:cubicBezTo>
                <a:cubicBezTo>
                  <a:pt x="323" y="208"/>
                  <a:pt x="323" y="208"/>
                  <a:pt x="323" y="208"/>
                </a:cubicBezTo>
                <a:cubicBezTo>
                  <a:pt x="324" y="207"/>
                  <a:pt x="324" y="205"/>
                  <a:pt x="324" y="204"/>
                </a:cubicBezTo>
                <a:cubicBezTo>
                  <a:pt x="324" y="202"/>
                  <a:pt x="325" y="201"/>
                  <a:pt x="326" y="201"/>
                </a:cubicBezTo>
                <a:cubicBezTo>
                  <a:pt x="327" y="201"/>
                  <a:pt x="327" y="201"/>
                  <a:pt x="327" y="201"/>
                </a:cubicBezTo>
                <a:cubicBezTo>
                  <a:pt x="328" y="199"/>
                  <a:pt x="328" y="199"/>
                  <a:pt x="328" y="199"/>
                </a:cubicBezTo>
                <a:cubicBezTo>
                  <a:pt x="329" y="196"/>
                  <a:pt x="329" y="196"/>
                  <a:pt x="329" y="196"/>
                </a:cubicBezTo>
                <a:cubicBezTo>
                  <a:pt x="329" y="195"/>
                  <a:pt x="329" y="195"/>
                  <a:pt x="329" y="195"/>
                </a:cubicBezTo>
                <a:cubicBezTo>
                  <a:pt x="333" y="186"/>
                  <a:pt x="333" y="186"/>
                  <a:pt x="333" y="186"/>
                </a:cubicBezTo>
                <a:cubicBezTo>
                  <a:pt x="333" y="185"/>
                  <a:pt x="334" y="183"/>
                  <a:pt x="334" y="182"/>
                </a:cubicBezTo>
                <a:cubicBezTo>
                  <a:pt x="334" y="180"/>
                  <a:pt x="336" y="178"/>
                  <a:pt x="336" y="177"/>
                </a:cubicBezTo>
                <a:cubicBezTo>
                  <a:pt x="337" y="177"/>
                  <a:pt x="337" y="176"/>
                  <a:pt x="337" y="176"/>
                </a:cubicBezTo>
                <a:cubicBezTo>
                  <a:pt x="337" y="175"/>
                  <a:pt x="338" y="174"/>
                  <a:pt x="339" y="174"/>
                </a:cubicBezTo>
                <a:cubicBezTo>
                  <a:pt x="342" y="174"/>
                  <a:pt x="342" y="174"/>
                  <a:pt x="342" y="174"/>
                </a:cubicBezTo>
                <a:cubicBezTo>
                  <a:pt x="341" y="174"/>
                  <a:pt x="341" y="173"/>
                  <a:pt x="341" y="173"/>
                </a:cubicBezTo>
                <a:cubicBezTo>
                  <a:pt x="341" y="171"/>
                  <a:pt x="341" y="171"/>
                  <a:pt x="341" y="171"/>
                </a:cubicBezTo>
                <a:cubicBezTo>
                  <a:pt x="338" y="169"/>
                  <a:pt x="338" y="169"/>
                  <a:pt x="338" y="169"/>
                </a:cubicBezTo>
                <a:cubicBezTo>
                  <a:pt x="337" y="167"/>
                  <a:pt x="337" y="167"/>
                  <a:pt x="337" y="167"/>
                </a:cubicBezTo>
                <a:cubicBezTo>
                  <a:pt x="336" y="167"/>
                  <a:pt x="336" y="167"/>
                  <a:pt x="336" y="167"/>
                </a:cubicBezTo>
                <a:cubicBezTo>
                  <a:pt x="335" y="167"/>
                  <a:pt x="335" y="167"/>
                  <a:pt x="334" y="166"/>
                </a:cubicBezTo>
                <a:cubicBezTo>
                  <a:pt x="333" y="164"/>
                  <a:pt x="333" y="164"/>
                  <a:pt x="333" y="164"/>
                </a:cubicBezTo>
                <a:cubicBezTo>
                  <a:pt x="325" y="164"/>
                  <a:pt x="325" y="164"/>
                  <a:pt x="325" y="164"/>
                </a:cubicBezTo>
                <a:cubicBezTo>
                  <a:pt x="324" y="164"/>
                  <a:pt x="324" y="164"/>
                  <a:pt x="324" y="164"/>
                </a:cubicBezTo>
                <a:cubicBezTo>
                  <a:pt x="320" y="161"/>
                  <a:pt x="320" y="161"/>
                  <a:pt x="320" y="161"/>
                </a:cubicBezTo>
                <a:cubicBezTo>
                  <a:pt x="320" y="156"/>
                  <a:pt x="320" y="156"/>
                  <a:pt x="320" y="156"/>
                </a:cubicBezTo>
                <a:cubicBezTo>
                  <a:pt x="320" y="156"/>
                  <a:pt x="320" y="156"/>
                  <a:pt x="320" y="156"/>
                </a:cubicBezTo>
                <a:cubicBezTo>
                  <a:pt x="320" y="156"/>
                  <a:pt x="320" y="156"/>
                  <a:pt x="319" y="156"/>
                </a:cubicBezTo>
                <a:cubicBezTo>
                  <a:pt x="319" y="157"/>
                  <a:pt x="319" y="157"/>
                  <a:pt x="319" y="157"/>
                </a:cubicBezTo>
                <a:cubicBezTo>
                  <a:pt x="316" y="153"/>
                  <a:pt x="316" y="153"/>
                  <a:pt x="316" y="153"/>
                </a:cubicBezTo>
                <a:cubicBezTo>
                  <a:pt x="316" y="153"/>
                  <a:pt x="316" y="153"/>
                  <a:pt x="316" y="153"/>
                </a:cubicBezTo>
                <a:cubicBezTo>
                  <a:pt x="317" y="153"/>
                  <a:pt x="317" y="153"/>
                  <a:pt x="317" y="153"/>
                </a:cubicBezTo>
                <a:cubicBezTo>
                  <a:pt x="317" y="152"/>
                  <a:pt x="317" y="152"/>
                  <a:pt x="317" y="152"/>
                </a:cubicBezTo>
                <a:cubicBezTo>
                  <a:pt x="317" y="152"/>
                  <a:pt x="317" y="151"/>
                  <a:pt x="317" y="150"/>
                </a:cubicBezTo>
                <a:cubicBezTo>
                  <a:pt x="316" y="150"/>
                  <a:pt x="316" y="150"/>
                  <a:pt x="316" y="150"/>
                </a:cubicBezTo>
                <a:cubicBezTo>
                  <a:pt x="313" y="148"/>
                  <a:pt x="313" y="148"/>
                  <a:pt x="313" y="148"/>
                </a:cubicBezTo>
                <a:cubicBezTo>
                  <a:pt x="313" y="148"/>
                  <a:pt x="312" y="147"/>
                  <a:pt x="312" y="146"/>
                </a:cubicBezTo>
                <a:cubicBezTo>
                  <a:pt x="312" y="144"/>
                  <a:pt x="312" y="144"/>
                  <a:pt x="312" y="144"/>
                </a:cubicBezTo>
                <a:cubicBezTo>
                  <a:pt x="312" y="143"/>
                  <a:pt x="313" y="143"/>
                  <a:pt x="313" y="142"/>
                </a:cubicBezTo>
                <a:cubicBezTo>
                  <a:pt x="315" y="141"/>
                  <a:pt x="315" y="141"/>
                  <a:pt x="315" y="141"/>
                </a:cubicBezTo>
                <a:cubicBezTo>
                  <a:pt x="317" y="140"/>
                  <a:pt x="317" y="140"/>
                  <a:pt x="317" y="140"/>
                </a:cubicBezTo>
                <a:cubicBezTo>
                  <a:pt x="316" y="139"/>
                  <a:pt x="315" y="138"/>
                  <a:pt x="315" y="137"/>
                </a:cubicBezTo>
                <a:cubicBezTo>
                  <a:pt x="315" y="136"/>
                  <a:pt x="315" y="136"/>
                  <a:pt x="315" y="136"/>
                </a:cubicBezTo>
                <a:cubicBezTo>
                  <a:pt x="315" y="135"/>
                  <a:pt x="315" y="135"/>
                  <a:pt x="315" y="135"/>
                </a:cubicBezTo>
                <a:cubicBezTo>
                  <a:pt x="316" y="134"/>
                  <a:pt x="316" y="134"/>
                  <a:pt x="316" y="134"/>
                </a:cubicBezTo>
                <a:cubicBezTo>
                  <a:pt x="316" y="133"/>
                  <a:pt x="317" y="132"/>
                  <a:pt x="317" y="132"/>
                </a:cubicBezTo>
                <a:cubicBezTo>
                  <a:pt x="318" y="132"/>
                  <a:pt x="318" y="132"/>
                  <a:pt x="319" y="133"/>
                </a:cubicBezTo>
                <a:cubicBezTo>
                  <a:pt x="320" y="133"/>
                  <a:pt x="320" y="133"/>
                  <a:pt x="320" y="133"/>
                </a:cubicBezTo>
                <a:cubicBezTo>
                  <a:pt x="322" y="131"/>
                  <a:pt x="325" y="130"/>
                  <a:pt x="326" y="130"/>
                </a:cubicBezTo>
                <a:cubicBezTo>
                  <a:pt x="326" y="130"/>
                  <a:pt x="326" y="130"/>
                  <a:pt x="326" y="130"/>
                </a:cubicBezTo>
                <a:cubicBezTo>
                  <a:pt x="327" y="130"/>
                  <a:pt x="327" y="130"/>
                  <a:pt x="327" y="130"/>
                </a:cubicBezTo>
                <a:cubicBezTo>
                  <a:pt x="328" y="129"/>
                  <a:pt x="328" y="129"/>
                  <a:pt x="328" y="129"/>
                </a:cubicBezTo>
                <a:cubicBezTo>
                  <a:pt x="328" y="129"/>
                  <a:pt x="328" y="128"/>
                  <a:pt x="329" y="128"/>
                </a:cubicBezTo>
                <a:cubicBezTo>
                  <a:pt x="329" y="127"/>
                  <a:pt x="329" y="127"/>
                  <a:pt x="329" y="127"/>
                </a:cubicBezTo>
                <a:cubicBezTo>
                  <a:pt x="329" y="125"/>
                  <a:pt x="329" y="125"/>
                  <a:pt x="329" y="125"/>
                </a:cubicBezTo>
                <a:cubicBezTo>
                  <a:pt x="329" y="123"/>
                  <a:pt x="330" y="123"/>
                  <a:pt x="331" y="123"/>
                </a:cubicBezTo>
                <a:cubicBezTo>
                  <a:pt x="334" y="123"/>
                  <a:pt x="334" y="123"/>
                  <a:pt x="334" y="123"/>
                </a:cubicBezTo>
                <a:cubicBezTo>
                  <a:pt x="335" y="123"/>
                  <a:pt x="335" y="123"/>
                  <a:pt x="335" y="123"/>
                </a:cubicBezTo>
                <a:cubicBezTo>
                  <a:pt x="335" y="122"/>
                  <a:pt x="335" y="122"/>
                  <a:pt x="335" y="122"/>
                </a:cubicBezTo>
                <a:cubicBezTo>
                  <a:pt x="335" y="121"/>
                  <a:pt x="335" y="120"/>
                  <a:pt x="336" y="119"/>
                </a:cubicBezTo>
                <a:cubicBezTo>
                  <a:pt x="337" y="119"/>
                  <a:pt x="337" y="119"/>
                  <a:pt x="337" y="119"/>
                </a:cubicBezTo>
                <a:cubicBezTo>
                  <a:pt x="338" y="117"/>
                  <a:pt x="340" y="114"/>
                  <a:pt x="340" y="114"/>
                </a:cubicBezTo>
                <a:cubicBezTo>
                  <a:pt x="341" y="114"/>
                  <a:pt x="341" y="114"/>
                  <a:pt x="341" y="114"/>
                </a:cubicBezTo>
                <a:cubicBezTo>
                  <a:pt x="341" y="113"/>
                  <a:pt x="341" y="113"/>
                  <a:pt x="341" y="113"/>
                </a:cubicBezTo>
                <a:cubicBezTo>
                  <a:pt x="341" y="113"/>
                  <a:pt x="341" y="113"/>
                  <a:pt x="341" y="112"/>
                </a:cubicBezTo>
                <a:cubicBezTo>
                  <a:pt x="341" y="112"/>
                  <a:pt x="341" y="112"/>
                  <a:pt x="341" y="112"/>
                </a:cubicBezTo>
                <a:cubicBezTo>
                  <a:pt x="345" y="112"/>
                  <a:pt x="345" y="112"/>
                  <a:pt x="345" y="112"/>
                </a:cubicBezTo>
                <a:cubicBezTo>
                  <a:pt x="346" y="114"/>
                  <a:pt x="346" y="114"/>
                  <a:pt x="346" y="114"/>
                </a:cubicBezTo>
                <a:cubicBezTo>
                  <a:pt x="348" y="115"/>
                  <a:pt x="348" y="115"/>
                  <a:pt x="348" y="115"/>
                </a:cubicBezTo>
                <a:cubicBezTo>
                  <a:pt x="349" y="115"/>
                  <a:pt x="349" y="115"/>
                  <a:pt x="349" y="115"/>
                </a:cubicBezTo>
                <a:cubicBezTo>
                  <a:pt x="350" y="114"/>
                  <a:pt x="350" y="114"/>
                  <a:pt x="350" y="114"/>
                </a:cubicBezTo>
                <a:cubicBezTo>
                  <a:pt x="351" y="114"/>
                  <a:pt x="351" y="114"/>
                  <a:pt x="352" y="114"/>
                </a:cubicBezTo>
                <a:cubicBezTo>
                  <a:pt x="358" y="114"/>
                  <a:pt x="358" y="114"/>
                  <a:pt x="358" y="114"/>
                </a:cubicBezTo>
                <a:cubicBezTo>
                  <a:pt x="359" y="114"/>
                  <a:pt x="359" y="114"/>
                  <a:pt x="359" y="114"/>
                </a:cubicBezTo>
                <a:cubicBezTo>
                  <a:pt x="361" y="115"/>
                  <a:pt x="361" y="115"/>
                  <a:pt x="361" y="115"/>
                </a:cubicBezTo>
                <a:cubicBezTo>
                  <a:pt x="362" y="115"/>
                  <a:pt x="362" y="115"/>
                  <a:pt x="362" y="116"/>
                </a:cubicBezTo>
                <a:cubicBezTo>
                  <a:pt x="363" y="118"/>
                  <a:pt x="363" y="118"/>
                  <a:pt x="363" y="118"/>
                </a:cubicBezTo>
                <a:cubicBezTo>
                  <a:pt x="366" y="119"/>
                  <a:pt x="366" y="119"/>
                  <a:pt x="366" y="119"/>
                </a:cubicBezTo>
                <a:cubicBezTo>
                  <a:pt x="368" y="121"/>
                  <a:pt x="368" y="121"/>
                  <a:pt x="368" y="121"/>
                </a:cubicBezTo>
                <a:cubicBezTo>
                  <a:pt x="369" y="121"/>
                  <a:pt x="369" y="122"/>
                  <a:pt x="369" y="123"/>
                </a:cubicBezTo>
                <a:cubicBezTo>
                  <a:pt x="369" y="123"/>
                  <a:pt x="369" y="123"/>
                  <a:pt x="369" y="123"/>
                </a:cubicBezTo>
                <a:cubicBezTo>
                  <a:pt x="370" y="124"/>
                  <a:pt x="371" y="125"/>
                  <a:pt x="371" y="125"/>
                </a:cubicBezTo>
                <a:cubicBezTo>
                  <a:pt x="371" y="126"/>
                  <a:pt x="371" y="126"/>
                  <a:pt x="371" y="126"/>
                </a:cubicBezTo>
                <a:cubicBezTo>
                  <a:pt x="372" y="126"/>
                  <a:pt x="373" y="125"/>
                  <a:pt x="374" y="125"/>
                </a:cubicBezTo>
                <a:cubicBezTo>
                  <a:pt x="375" y="124"/>
                  <a:pt x="375" y="124"/>
                  <a:pt x="375" y="124"/>
                </a:cubicBezTo>
                <a:cubicBezTo>
                  <a:pt x="375" y="124"/>
                  <a:pt x="377" y="123"/>
                  <a:pt x="378" y="123"/>
                </a:cubicBezTo>
                <a:cubicBezTo>
                  <a:pt x="378" y="122"/>
                  <a:pt x="379" y="122"/>
                  <a:pt x="380" y="122"/>
                </a:cubicBezTo>
                <a:cubicBezTo>
                  <a:pt x="380" y="121"/>
                  <a:pt x="380" y="121"/>
                  <a:pt x="380" y="121"/>
                </a:cubicBezTo>
                <a:cubicBezTo>
                  <a:pt x="380" y="121"/>
                  <a:pt x="380" y="121"/>
                  <a:pt x="380" y="120"/>
                </a:cubicBezTo>
                <a:cubicBezTo>
                  <a:pt x="380" y="111"/>
                  <a:pt x="380" y="111"/>
                  <a:pt x="380" y="111"/>
                </a:cubicBezTo>
                <a:cubicBezTo>
                  <a:pt x="380" y="110"/>
                  <a:pt x="381" y="110"/>
                  <a:pt x="381" y="110"/>
                </a:cubicBezTo>
                <a:cubicBezTo>
                  <a:pt x="379" y="108"/>
                  <a:pt x="379" y="108"/>
                  <a:pt x="379" y="108"/>
                </a:cubicBezTo>
                <a:cubicBezTo>
                  <a:pt x="376" y="108"/>
                  <a:pt x="376" y="108"/>
                  <a:pt x="376" y="108"/>
                </a:cubicBezTo>
                <a:cubicBezTo>
                  <a:pt x="375" y="108"/>
                  <a:pt x="374" y="108"/>
                  <a:pt x="374" y="107"/>
                </a:cubicBezTo>
                <a:cubicBezTo>
                  <a:pt x="370" y="107"/>
                  <a:pt x="370" y="107"/>
                  <a:pt x="370" y="107"/>
                </a:cubicBezTo>
                <a:cubicBezTo>
                  <a:pt x="370" y="107"/>
                  <a:pt x="369" y="107"/>
                  <a:pt x="369" y="106"/>
                </a:cubicBezTo>
                <a:cubicBezTo>
                  <a:pt x="367" y="105"/>
                  <a:pt x="367" y="105"/>
                  <a:pt x="367" y="105"/>
                </a:cubicBezTo>
                <a:cubicBezTo>
                  <a:pt x="362" y="105"/>
                  <a:pt x="362" y="105"/>
                  <a:pt x="362" y="105"/>
                </a:cubicBezTo>
                <a:cubicBezTo>
                  <a:pt x="357" y="98"/>
                  <a:pt x="357" y="98"/>
                  <a:pt x="357" y="98"/>
                </a:cubicBezTo>
                <a:cubicBezTo>
                  <a:pt x="357" y="85"/>
                  <a:pt x="357" y="85"/>
                  <a:pt x="357" y="85"/>
                </a:cubicBezTo>
                <a:cubicBezTo>
                  <a:pt x="356" y="85"/>
                  <a:pt x="356" y="85"/>
                  <a:pt x="356" y="85"/>
                </a:cubicBezTo>
                <a:cubicBezTo>
                  <a:pt x="354" y="83"/>
                  <a:pt x="354" y="83"/>
                  <a:pt x="354" y="83"/>
                </a:cubicBezTo>
                <a:cubicBezTo>
                  <a:pt x="354" y="76"/>
                  <a:pt x="354" y="76"/>
                  <a:pt x="354" y="76"/>
                </a:cubicBezTo>
                <a:cubicBezTo>
                  <a:pt x="350" y="76"/>
                  <a:pt x="350" y="76"/>
                  <a:pt x="350" y="76"/>
                </a:cubicBezTo>
                <a:cubicBezTo>
                  <a:pt x="349" y="76"/>
                  <a:pt x="348" y="75"/>
                  <a:pt x="348" y="74"/>
                </a:cubicBezTo>
                <a:cubicBezTo>
                  <a:pt x="347" y="74"/>
                  <a:pt x="347" y="74"/>
                  <a:pt x="347" y="74"/>
                </a:cubicBezTo>
                <a:cubicBezTo>
                  <a:pt x="339" y="67"/>
                  <a:pt x="339" y="67"/>
                  <a:pt x="339" y="67"/>
                </a:cubicBezTo>
                <a:cubicBezTo>
                  <a:pt x="339" y="66"/>
                  <a:pt x="339" y="65"/>
                  <a:pt x="340" y="64"/>
                </a:cubicBezTo>
                <a:cubicBezTo>
                  <a:pt x="341" y="63"/>
                  <a:pt x="344" y="61"/>
                  <a:pt x="344" y="61"/>
                </a:cubicBezTo>
                <a:cubicBezTo>
                  <a:pt x="345" y="61"/>
                  <a:pt x="345" y="61"/>
                  <a:pt x="346" y="61"/>
                </a:cubicBezTo>
                <a:cubicBezTo>
                  <a:pt x="346" y="61"/>
                  <a:pt x="346" y="61"/>
                  <a:pt x="346" y="61"/>
                </a:cubicBezTo>
                <a:cubicBezTo>
                  <a:pt x="347" y="60"/>
                  <a:pt x="347" y="60"/>
                  <a:pt x="347" y="60"/>
                </a:cubicBezTo>
                <a:cubicBezTo>
                  <a:pt x="348" y="60"/>
                  <a:pt x="348" y="59"/>
                  <a:pt x="348" y="59"/>
                </a:cubicBezTo>
                <a:cubicBezTo>
                  <a:pt x="347" y="59"/>
                  <a:pt x="347" y="58"/>
                  <a:pt x="347" y="57"/>
                </a:cubicBezTo>
                <a:cubicBezTo>
                  <a:pt x="347" y="56"/>
                  <a:pt x="347" y="56"/>
                  <a:pt x="347" y="56"/>
                </a:cubicBezTo>
                <a:cubicBezTo>
                  <a:pt x="346" y="54"/>
                  <a:pt x="345" y="53"/>
                  <a:pt x="345" y="53"/>
                </a:cubicBezTo>
                <a:cubicBezTo>
                  <a:pt x="344" y="52"/>
                  <a:pt x="344" y="52"/>
                  <a:pt x="344" y="52"/>
                </a:cubicBezTo>
                <a:cubicBezTo>
                  <a:pt x="344" y="52"/>
                  <a:pt x="344" y="52"/>
                  <a:pt x="344" y="52"/>
                </a:cubicBezTo>
                <a:cubicBezTo>
                  <a:pt x="341" y="51"/>
                  <a:pt x="341" y="51"/>
                  <a:pt x="341" y="51"/>
                </a:cubicBezTo>
                <a:cubicBezTo>
                  <a:pt x="341" y="51"/>
                  <a:pt x="339" y="50"/>
                  <a:pt x="337" y="49"/>
                </a:cubicBezTo>
                <a:cubicBezTo>
                  <a:pt x="335" y="48"/>
                  <a:pt x="333" y="46"/>
                  <a:pt x="332" y="45"/>
                </a:cubicBezTo>
                <a:cubicBezTo>
                  <a:pt x="329" y="44"/>
                  <a:pt x="329" y="44"/>
                  <a:pt x="329" y="44"/>
                </a:cubicBezTo>
                <a:cubicBezTo>
                  <a:pt x="329" y="44"/>
                  <a:pt x="329" y="44"/>
                  <a:pt x="329" y="44"/>
                </a:cubicBezTo>
                <a:cubicBezTo>
                  <a:pt x="329" y="45"/>
                  <a:pt x="329" y="45"/>
                  <a:pt x="329" y="45"/>
                </a:cubicBezTo>
                <a:cubicBezTo>
                  <a:pt x="328" y="45"/>
                  <a:pt x="328" y="45"/>
                  <a:pt x="328" y="45"/>
                </a:cubicBezTo>
                <a:cubicBezTo>
                  <a:pt x="328" y="46"/>
                  <a:pt x="328" y="46"/>
                  <a:pt x="328" y="46"/>
                </a:cubicBezTo>
                <a:cubicBezTo>
                  <a:pt x="326" y="45"/>
                  <a:pt x="326" y="45"/>
                  <a:pt x="326" y="45"/>
                </a:cubicBezTo>
                <a:cubicBezTo>
                  <a:pt x="324" y="43"/>
                  <a:pt x="324" y="43"/>
                  <a:pt x="324" y="43"/>
                </a:cubicBezTo>
                <a:cubicBezTo>
                  <a:pt x="324" y="43"/>
                  <a:pt x="324" y="43"/>
                  <a:pt x="324" y="43"/>
                </a:cubicBezTo>
                <a:cubicBezTo>
                  <a:pt x="324" y="41"/>
                  <a:pt x="324" y="41"/>
                  <a:pt x="324" y="41"/>
                </a:cubicBezTo>
                <a:cubicBezTo>
                  <a:pt x="323" y="40"/>
                  <a:pt x="323" y="40"/>
                  <a:pt x="323" y="40"/>
                </a:cubicBezTo>
                <a:cubicBezTo>
                  <a:pt x="294" y="19"/>
                  <a:pt x="294" y="19"/>
                  <a:pt x="294" y="19"/>
                </a:cubicBezTo>
                <a:cubicBezTo>
                  <a:pt x="291" y="17"/>
                  <a:pt x="291" y="17"/>
                  <a:pt x="291" y="17"/>
                </a:cubicBezTo>
                <a:cubicBezTo>
                  <a:pt x="288" y="17"/>
                  <a:pt x="288" y="17"/>
                  <a:pt x="288" y="17"/>
                </a:cubicBezTo>
                <a:cubicBezTo>
                  <a:pt x="283" y="17"/>
                  <a:pt x="283" y="17"/>
                  <a:pt x="283" y="17"/>
                </a:cubicBezTo>
                <a:cubicBezTo>
                  <a:pt x="280" y="18"/>
                  <a:pt x="280" y="18"/>
                  <a:pt x="280" y="18"/>
                </a:cubicBezTo>
                <a:cubicBezTo>
                  <a:pt x="269" y="25"/>
                  <a:pt x="269" y="25"/>
                  <a:pt x="269" y="25"/>
                </a:cubicBezTo>
                <a:cubicBezTo>
                  <a:pt x="250" y="34"/>
                  <a:pt x="250" y="34"/>
                  <a:pt x="250" y="34"/>
                </a:cubicBezTo>
                <a:cubicBezTo>
                  <a:pt x="246" y="35"/>
                  <a:pt x="246" y="35"/>
                  <a:pt x="246" y="35"/>
                </a:cubicBezTo>
                <a:cubicBezTo>
                  <a:pt x="237" y="34"/>
                  <a:pt x="237" y="34"/>
                  <a:pt x="237" y="34"/>
                </a:cubicBezTo>
                <a:cubicBezTo>
                  <a:pt x="229" y="33"/>
                  <a:pt x="229" y="33"/>
                  <a:pt x="229" y="33"/>
                </a:cubicBezTo>
                <a:cubicBezTo>
                  <a:pt x="228" y="32"/>
                  <a:pt x="228" y="32"/>
                  <a:pt x="228" y="32"/>
                </a:cubicBezTo>
                <a:cubicBezTo>
                  <a:pt x="228" y="32"/>
                  <a:pt x="228" y="32"/>
                  <a:pt x="228" y="32"/>
                </a:cubicBezTo>
                <a:cubicBezTo>
                  <a:pt x="228" y="32"/>
                  <a:pt x="228" y="32"/>
                  <a:pt x="228" y="32"/>
                </a:cubicBezTo>
                <a:cubicBezTo>
                  <a:pt x="206" y="24"/>
                  <a:pt x="206" y="24"/>
                  <a:pt x="206" y="24"/>
                </a:cubicBezTo>
                <a:cubicBezTo>
                  <a:pt x="206" y="35"/>
                  <a:pt x="206" y="35"/>
                  <a:pt x="206" y="35"/>
                </a:cubicBezTo>
                <a:cubicBezTo>
                  <a:pt x="189" y="44"/>
                  <a:pt x="189" y="44"/>
                  <a:pt x="189" y="44"/>
                </a:cubicBezTo>
                <a:cubicBezTo>
                  <a:pt x="177" y="49"/>
                  <a:pt x="177" y="49"/>
                  <a:pt x="177" y="49"/>
                </a:cubicBezTo>
                <a:cubicBezTo>
                  <a:pt x="172" y="49"/>
                  <a:pt x="172" y="49"/>
                  <a:pt x="172" y="49"/>
                </a:cubicBezTo>
                <a:cubicBezTo>
                  <a:pt x="168" y="49"/>
                  <a:pt x="168" y="49"/>
                  <a:pt x="168" y="49"/>
                </a:cubicBezTo>
                <a:cubicBezTo>
                  <a:pt x="167" y="49"/>
                  <a:pt x="167" y="49"/>
                  <a:pt x="167" y="49"/>
                </a:cubicBezTo>
                <a:cubicBezTo>
                  <a:pt x="165" y="50"/>
                  <a:pt x="165" y="50"/>
                  <a:pt x="165" y="50"/>
                </a:cubicBezTo>
                <a:cubicBezTo>
                  <a:pt x="159" y="54"/>
                  <a:pt x="159" y="54"/>
                  <a:pt x="159" y="54"/>
                </a:cubicBezTo>
                <a:cubicBezTo>
                  <a:pt x="158" y="55"/>
                  <a:pt x="158" y="55"/>
                  <a:pt x="158" y="55"/>
                </a:cubicBezTo>
                <a:cubicBezTo>
                  <a:pt x="157" y="61"/>
                  <a:pt x="157" y="61"/>
                  <a:pt x="157" y="61"/>
                </a:cubicBezTo>
                <a:cubicBezTo>
                  <a:pt x="157" y="62"/>
                  <a:pt x="157" y="62"/>
                  <a:pt x="157" y="62"/>
                </a:cubicBezTo>
                <a:cubicBezTo>
                  <a:pt x="156" y="62"/>
                  <a:pt x="156" y="62"/>
                  <a:pt x="156" y="62"/>
                </a:cubicBezTo>
                <a:cubicBezTo>
                  <a:pt x="155" y="63"/>
                  <a:pt x="155" y="63"/>
                  <a:pt x="155" y="63"/>
                </a:cubicBezTo>
                <a:cubicBezTo>
                  <a:pt x="151" y="66"/>
                  <a:pt x="151" y="66"/>
                  <a:pt x="151" y="66"/>
                </a:cubicBezTo>
                <a:cubicBezTo>
                  <a:pt x="144" y="75"/>
                  <a:pt x="144" y="75"/>
                  <a:pt x="144" y="75"/>
                </a:cubicBezTo>
                <a:cubicBezTo>
                  <a:pt x="143" y="76"/>
                  <a:pt x="143" y="76"/>
                  <a:pt x="143" y="76"/>
                </a:cubicBezTo>
                <a:cubicBezTo>
                  <a:pt x="143" y="76"/>
                  <a:pt x="143" y="76"/>
                  <a:pt x="143" y="76"/>
                </a:cubicBezTo>
                <a:cubicBezTo>
                  <a:pt x="143" y="79"/>
                  <a:pt x="143" y="79"/>
                  <a:pt x="143" y="79"/>
                </a:cubicBezTo>
                <a:cubicBezTo>
                  <a:pt x="142" y="80"/>
                  <a:pt x="142" y="80"/>
                  <a:pt x="142" y="80"/>
                </a:cubicBezTo>
                <a:cubicBezTo>
                  <a:pt x="142" y="81"/>
                  <a:pt x="142" y="81"/>
                  <a:pt x="142" y="81"/>
                </a:cubicBezTo>
                <a:cubicBezTo>
                  <a:pt x="141" y="82"/>
                  <a:pt x="141" y="82"/>
                  <a:pt x="141" y="82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39" y="81"/>
                  <a:pt x="139" y="81"/>
                  <a:pt x="139" y="81"/>
                </a:cubicBezTo>
                <a:cubicBezTo>
                  <a:pt x="139" y="79"/>
                  <a:pt x="139" y="79"/>
                  <a:pt x="139" y="79"/>
                </a:cubicBezTo>
                <a:cubicBezTo>
                  <a:pt x="136" y="90"/>
                  <a:pt x="136" y="90"/>
                  <a:pt x="136" y="90"/>
                </a:cubicBezTo>
                <a:cubicBezTo>
                  <a:pt x="136" y="92"/>
                  <a:pt x="136" y="92"/>
                  <a:pt x="136" y="92"/>
                </a:cubicBezTo>
                <a:cubicBezTo>
                  <a:pt x="135" y="97"/>
                  <a:pt x="135" y="97"/>
                  <a:pt x="135" y="97"/>
                </a:cubicBezTo>
                <a:cubicBezTo>
                  <a:pt x="135" y="98"/>
                  <a:pt x="135" y="98"/>
                  <a:pt x="135" y="98"/>
                </a:cubicBezTo>
                <a:cubicBezTo>
                  <a:pt x="134" y="100"/>
                  <a:pt x="134" y="100"/>
                  <a:pt x="134" y="100"/>
                </a:cubicBezTo>
                <a:cubicBezTo>
                  <a:pt x="121" y="112"/>
                  <a:pt x="121" y="112"/>
                  <a:pt x="121" y="112"/>
                </a:cubicBezTo>
                <a:cubicBezTo>
                  <a:pt x="112" y="121"/>
                  <a:pt x="112" y="121"/>
                  <a:pt x="112" y="121"/>
                </a:cubicBezTo>
                <a:cubicBezTo>
                  <a:pt x="109" y="124"/>
                  <a:pt x="109" y="124"/>
                  <a:pt x="109" y="124"/>
                </a:cubicBezTo>
                <a:cubicBezTo>
                  <a:pt x="107" y="125"/>
                  <a:pt x="107" y="125"/>
                  <a:pt x="107" y="125"/>
                </a:cubicBezTo>
                <a:cubicBezTo>
                  <a:pt x="105" y="125"/>
                  <a:pt x="105" y="125"/>
                  <a:pt x="105" y="125"/>
                </a:cubicBezTo>
                <a:cubicBezTo>
                  <a:pt x="99" y="128"/>
                  <a:pt x="99" y="128"/>
                  <a:pt x="99" y="128"/>
                </a:cubicBezTo>
                <a:cubicBezTo>
                  <a:pt x="90" y="134"/>
                  <a:pt x="90" y="134"/>
                  <a:pt x="90" y="134"/>
                </a:cubicBezTo>
                <a:cubicBezTo>
                  <a:pt x="79" y="146"/>
                  <a:pt x="79" y="146"/>
                  <a:pt x="79" y="146"/>
                </a:cubicBezTo>
                <a:cubicBezTo>
                  <a:pt x="75" y="156"/>
                  <a:pt x="75" y="156"/>
                  <a:pt x="75" y="156"/>
                </a:cubicBezTo>
                <a:cubicBezTo>
                  <a:pt x="73" y="161"/>
                  <a:pt x="73" y="161"/>
                  <a:pt x="73" y="161"/>
                </a:cubicBezTo>
                <a:cubicBezTo>
                  <a:pt x="74" y="161"/>
                  <a:pt x="74" y="161"/>
                  <a:pt x="74" y="161"/>
                </a:cubicBezTo>
                <a:cubicBezTo>
                  <a:pt x="75" y="163"/>
                  <a:pt x="75" y="163"/>
                  <a:pt x="75" y="163"/>
                </a:cubicBezTo>
                <a:cubicBezTo>
                  <a:pt x="79" y="163"/>
                  <a:pt x="79" y="163"/>
                  <a:pt x="79" y="163"/>
                </a:cubicBezTo>
                <a:cubicBezTo>
                  <a:pt x="107" y="159"/>
                  <a:pt x="107" y="159"/>
                  <a:pt x="107" y="159"/>
                </a:cubicBezTo>
                <a:cubicBezTo>
                  <a:pt x="115" y="154"/>
                  <a:pt x="115" y="154"/>
                  <a:pt x="115" y="154"/>
                </a:cubicBezTo>
                <a:cubicBezTo>
                  <a:pt x="115" y="151"/>
                  <a:pt x="115" y="151"/>
                  <a:pt x="115" y="151"/>
                </a:cubicBezTo>
                <a:cubicBezTo>
                  <a:pt x="116" y="149"/>
                  <a:pt x="116" y="149"/>
                  <a:pt x="116" y="149"/>
                </a:cubicBezTo>
                <a:cubicBezTo>
                  <a:pt x="118" y="145"/>
                  <a:pt x="118" y="145"/>
                  <a:pt x="118" y="145"/>
                </a:cubicBezTo>
                <a:cubicBezTo>
                  <a:pt x="120" y="142"/>
                  <a:pt x="120" y="142"/>
                  <a:pt x="120" y="142"/>
                </a:cubicBezTo>
                <a:cubicBezTo>
                  <a:pt x="121" y="141"/>
                  <a:pt x="121" y="141"/>
                  <a:pt x="121" y="141"/>
                </a:cubicBezTo>
                <a:cubicBezTo>
                  <a:pt x="130" y="135"/>
                  <a:pt x="130" y="135"/>
                  <a:pt x="130" y="135"/>
                </a:cubicBezTo>
                <a:cubicBezTo>
                  <a:pt x="152" y="131"/>
                  <a:pt x="152" y="131"/>
                  <a:pt x="152" y="131"/>
                </a:cubicBezTo>
                <a:cubicBezTo>
                  <a:pt x="156" y="130"/>
                  <a:pt x="156" y="130"/>
                  <a:pt x="156" y="130"/>
                </a:cubicBezTo>
                <a:cubicBezTo>
                  <a:pt x="157" y="130"/>
                  <a:pt x="157" y="130"/>
                  <a:pt x="157" y="130"/>
                </a:cubicBezTo>
                <a:cubicBezTo>
                  <a:pt x="163" y="131"/>
                  <a:pt x="163" y="131"/>
                  <a:pt x="163" y="131"/>
                </a:cubicBezTo>
                <a:cubicBezTo>
                  <a:pt x="166" y="133"/>
                  <a:pt x="166" y="133"/>
                  <a:pt x="166" y="133"/>
                </a:cubicBezTo>
                <a:cubicBezTo>
                  <a:pt x="169" y="139"/>
                  <a:pt x="169" y="139"/>
                  <a:pt x="169" y="139"/>
                </a:cubicBezTo>
                <a:cubicBezTo>
                  <a:pt x="171" y="144"/>
                  <a:pt x="171" y="144"/>
                  <a:pt x="171" y="144"/>
                </a:cubicBezTo>
                <a:cubicBezTo>
                  <a:pt x="180" y="176"/>
                  <a:pt x="180" y="176"/>
                  <a:pt x="180" y="176"/>
                </a:cubicBezTo>
                <a:cubicBezTo>
                  <a:pt x="174" y="195"/>
                  <a:pt x="174" y="195"/>
                  <a:pt x="174" y="195"/>
                </a:cubicBezTo>
                <a:cubicBezTo>
                  <a:pt x="172" y="202"/>
                  <a:pt x="172" y="202"/>
                  <a:pt x="172" y="202"/>
                </a:cubicBezTo>
                <a:cubicBezTo>
                  <a:pt x="171" y="205"/>
                  <a:pt x="171" y="205"/>
                  <a:pt x="171" y="205"/>
                </a:cubicBezTo>
                <a:cubicBezTo>
                  <a:pt x="171" y="206"/>
                  <a:pt x="171" y="206"/>
                  <a:pt x="171" y="206"/>
                </a:cubicBezTo>
                <a:cubicBezTo>
                  <a:pt x="171" y="207"/>
                  <a:pt x="171" y="207"/>
                  <a:pt x="171" y="207"/>
                </a:cubicBezTo>
                <a:cubicBezTo>
                  <a:pt x="171" y="208"/>
                  <a:pt x="171" y="208"/>
                  <a:pt x="171" y="208"/>
                </a:cubicBezTo>
                <a:cubicBezTo>
                  <a:pt x="179" y="220"/>
                  <a:pt x="179" y="220"/>
                  <a:pt x="179" y="220"/>
                </a:cubicBezTo>
                <a:cubicBezTo>
                  <a:pt x="179" y="221"/>
                  <a:pt x="179" y="221"/>
                  <a:pt x="179" y="221"/>
                </a:cubicBezTo>
                <a:cubicBezTo>
                  <a:pt x="181" y="222"/>
                  <a:pt x="181" y="222"/>
                  <a:pt x="181" y="222"/>
                </a:cubicBezTo>
                <a:cubicBezTo>
                  <a:pt x="181" y="235"/>
                  <a:pt x="181" y="235"/>
                  <a:pt x="181" y="235"/>
                </a:cubicBezTo>
                <a:cubicBezTo>
                  <a:pt x="177" y="259"/>
                  <a:pt x="177" y="259"/>
                  <a:pt x="177" y="259"/>
                </a:cubicBezTo>
                <a:cubicBezTo>
                  <a:pt x="176" y="264"/>
                  <a:pt x="176" y="264"/>
                  <a:pt x="176" y="264"/>
                </a:cubicBezTo>
                <a:cubicBezTo>
                  <a:pt x="171" y="275"/>
                  <a:pt x="171" y="275"/>
                  <a:pt x="171" y="275"/>
                </a:cubicBezTo>
                <a:cubicBezTo>
                  <a:pt x="169" y="278"/>
                  <a:pt x="169" y="278"/>
                  <a:pt x="169" y="278"/>
                </a:cubicBezTo>
                <a:cubicBezTo>
                  <a:pt x="161" y="289"/>
                  <a:pt x="161" y="289"/>
                  <a:pt x="161" y="289"/>
                </a:cubicBezTo>
                <a:cubicBezTo>
                  <a:pt x="156" y="297"/>
                  <a:pt x="156" y="297"/>
                  <a:pt x="156" y="297"/>
                </a:cubicBezTo>
                <a:cubicBezTo>
                  <a:pt x="147" y="303"/>
                  <a:pt x="147" y="303"/>
                  <a:pt x="147" y="303"/>
                </a:cubicBezTo>
                <a:cubicBezTo>
                  <a:pt x="115" y="325"/>
                  <a:pt x="115" y="325"/>
                  <a:pt x="115" y="325"/>
                </a:cubicBezTo>
                <a:cubicBezTo>
                  <a:pt x="114" y="326"/>
                  <a:pt x="114" y="326"/>
                  <a:pt x="114" y="326"/>
                </a:cubicBezTo>
                <a:cubicBezTo>
                  <a:pt x="110" y="327"/>
                  <a:pt x="110" y="327"/>
                  <a:pt x="110" y="327"/>
                </a:cubicBezTo>
                <a:cubicBezTo>
                  <a:pt x="109" y="327"/>
                  <a:pt x="109" y="327"/>
                  <a:pt x="109" y="327"/>
                </a:cubicBezTo>
                <a:cubicBezTo>
                  <a:pt x="107" y="326"/>
                  <a:pt x="107" y="326"/>
                  <a:pt x="107" y="326"/>
                </a:cubicBezTo>
                <a:cubicBezTo>
                  <a:pt x="104" y="325"/>
                  <a:pt x="104" y="325"/>
                  <a:pt x="104" y="325"/>
                </a:cubicBezTo>
                <a:cubicBezTo>
                  <a:pt x="103" y="325"/>
                  <a:pt x="103" y="325"/>
                  <a:pt x="103" y="325"/>
                </a:cubicBezTo>
                <a:cubicBezTo>
                  <a:pt x="91" y="326"/>
                  <a:pt x="91" y="326"/>
                  <a:pt x="91" y="326"/>
                </a:cubicBezTo>
                <a:cubicBezTo>
                  <a:pt x="86" y="327"/>
                  <a:pt x="86" y="327"/>
                  <a:pt x="86" y="327"/>
                </a:cubicBezTo>
                <a:cubicBezTo>
                  <a:pt x="86" y="327"/>
                  <a:pt x="86" y="327"/>
                  <a:pt x="86" y="327"/>
                </a:cubicBezTo>
                <a:cubicBezTo>
                  <a:pt x="77" y="333"/>
                  <a:pt x="77" y="333"/>
                  <a:pt x="77" y="333"/>
                </a:cubicBezTo>
                <a:cubicBezTo>
                  <a:pt x="77" y="333"/>
                  <a:pt x="77" y="333"/>
                  <a:pt x="77" y="333"/>
                </a:cubicBezTo>
                <a:cubicBezTo>
                  <a:pt x="76" y="336"/>
                  <a:pt x="76" y="336"/>
                  <a:pt x="76" y="336"/>
                </a:cubicBezTo>
                <a:cubicBezTo>
                  <a:pt x="76" y="337"/>
                  <a:pt x="76" y="337"/>
                  <a:pt x="76" y="337"/>
                </a:cubicBezTo>
                <a:cubicBezTo>
                  <a:pt x="74" y="341"/>
                  <a:pt x="74" y="341"/>
                  <a:pt x="74" y="341"/>
                </a:cubicBezTo>
                <a:cubicBezTo>
                  <a:pt x="63" y="356"/>
                  <a:pt x="63" y="356"/>
                  <a:pt x="63" y="356"/>
                </a:cubicBezTo>
                <a:cubicBezTo>
                  <a:pt x="63" y="356"/>
                  <a:pt x="63" y="356"/>
                  <a:pt x="63" y="356"/>
                </a:cubicBezTo>
                <a:cubicBezTo>
                  <a:pt x="62" y="356"/>
                  <a:pt x="62" y="356"/>
                  <a:pt x="62" y="356"/>
                </a:cubicBezTo>
                <a:cubicBezTo>
                  <a:pt x="55" y="357"/>
                  <a:pt x="55" y="357"/>
                  <a:pt x="55" y="357"/>
                </a:cubicBezTo>
                <a:cubicBezTo>
                  <a:pt x="25" y="359"/>
                  <a:pt x="25" y="359"/>
                  <a:pt x="25" y="359"/>
                </a:cubicBezTo>
                <a:cubicBezTo>
                  <a:pt x="4" y="378"/>
                  <a:pt x="4" y="378"/>
                  <a:pt x="4" y="378"/>
                </a:cubicBezTo>
                <a:cubicBezTo>
                  <a:pt x="7" y="392"/>
                  <a:pt x="7" y="392"/>
                  <a:pt x="7" y="392"/>
                </a:cubicBezTo>
                <a:cubicBezTo>
                  <a:pt x="15" y="396"/>
                  <a:pt x="15" y="396"/>
                  <a:pt x="15" y="396"/>
                </a:cubicBezTo>
                <a:cubicBezTo>
                  <a:pt x="17" y="396"/>
                  <a:pt x="17" y="396"/>
                  <a:pt x="17" y="396"/>
                </a:cubicBezTo>
                <a:cubicBezTo>
                  <a:pt x="17" y="397"/>
                  <a:pt x="17" y="397"/>
                  <a:pt x="17" y="397"/>
                </a:cubicBezTo>
                <a:cubicBezTo>
                  <a:pt x="18" y="400"/>
                  <a:pt x="18" y="400"/>
                  <a:pt x="18" y="400"/>
                </a:cubicBezTo>
                <a:cubicBezTo>
                  <a:pt x="19" y="401"/>
                  <a:pt x="19" y="401"/>
                  <a:pt x="19" y="401"/>
                </a:cubicBezTo>
                <a:cubicBezTo>
                  <a:pt x="21" y="414"/>
                  <a:pt x="21" y="414"/>
                  <a:pt x="21" y="414"/>
                </a:cubicBezTo>
                <a:cubicBezTo>
                  <a:pt x="21" y="416"/>
                  <a:pt x="21" y="416"/>
                  <a:pt x="21" y="416"/>
                </a:cubicBezTo>
                <a:cubicBezTo>
                  <a:pt x="20" y="418"/>
                  <a:pt x="20" y="418"/>
                  <a:pt x="20" y="418"/>
                </a:cubicBezTo>
                <a:cubicBezTo>
                  <a:pt x="19" y="419"/>
                  <a:pt x="19" y="419"/>
                  <a:pt x="19" y="419"/>
                </a:cubicBezTo>
                <a:cubicBezTo>
                  <a:pt x="14" y="419"/>
                  <a:pt x="14" y="419"/>
                  <a:pt x="14" y="419"/>
                </a:cubicBezTo>
                <a:cubicBezTo>
                  <a:pt x="11" y="419"/>
                  <a:pt x="11" y="419"/>
                  <a:pt x="11" y="419"/>
                </a:cubicBezTo>
                <a:cubicBezTo>
                  <a:pt x="0" y="427"/>
                  <a:pt x="0" y="427"/>
                  <a:pt x="0" y="427"/>
                </a:cubicBezTo>
                <a:cubicBezTo>
                  <a:pt x="8" y="436"/>
                  <a:pt x="8" y="436"/>
                  <a:pt x="8" y="436"/>
                </a:cubicBezTo>
                <a:cubicBezTo>
                  <a:pt x="12" y="437"/>
                  <a:pt x="12" y="437"/>
                  <a:pt x="12" y="437"/>
                </a:cubicBezTo>
                <a:cubicBezTo>
                  <a:pt x="14" y="433"/>
                  <a:pt x="14" y="433"/>
                  <a:pt x="14" y="433"/>
                </a:cubicBezTo>
                <a:cubicBezTo>
                  <a:pt x="32" y="434"/>
                  <a:pt x="32" y="434"/>
                  <a:pt x="32" y="434"/>
                </a:cubicBezTo>
                <a:cubicBezTo>
                  <a:pt x="35" y="434"/>
                  <a:pt x="35" y="434"/>
                  <a:pt x="35" y="434"/>
                </a:cubicBezTo>
                <a:cubicBezTo>
                  <a:pt x="37" y="435"/>
                  <a:pt x="37" y="435"/>
                  <a:pt x="37" y="435"/>
                </a:cubicBezTo>
                <a:cubicBezTo>
                  <a:pt x="39" y="436"/>
                  <a:pt x="39" y="436"/>
                  <a:pt x="39" y="436"/>
                </a:cubicBezTo>
                <a:cubicBezTo>
                  <a:pt x="51" y="433"/>
                  <a:pt x="51" y="433"/>
                  <a:pt x="51" y="433"/>
                </a:cubicBezTo>
                <a:cubicBezTo>
                  <a:pt x="54" y="431"/>
                  <a:pt x="54" y="431"/>
                  <a:pt x="54" y="431"/>
                </a:cubicBezTo>
                <a:cubicBezTo>
                  <a:pt x="55" y="431"/>
                  <a:pt x="55" y="431"/>
                  <a:pt x="55" y="431"/>
                </a:cubicBezTo>
                <a:cubicBezTo>
                  <a:pt x="55" y="432"/>
                  <a:pt x="55" y="432"/>
                  <a:pt x="55" y="432"/>
                </a:cubicBezTo>
                <a:cubicBezTo>
                  <a:pt x="56" y="432"/>
                  <a:pt x="56" y="432"/>
                  <a:pt x="56" y="432"/>
                </a:cubicBezTo>
                <a:cubicBezTo>
                  <a:pt x="55" y="433"/>
                  <a:pt x="55" y="433"/>
                  <a:pt x="55" y="433"/>
                </a:cubicBezTo>
                <a:cubicBezTo>
                  <a:pt x="54" y="435"/>
                  <a:pt x="54" y="435"/>
                  <a:pt x="54" y="435"/>
                </a:cubicBezTo>
                <a:cubicBezTo>
                  <a:pt x="53" y="435"/>
                  <a:pt x="53" y="435"/>
                  <a:pt x="53" y="435"/>
                </a:cubicBezTo>
                <a:cubicBezTo>
                  <a:pt x="50" y="436"/>
                  <a:pt x="50" y="436"/>
                  <a:pt x="50" y="436"/>
                </a:cubicBezTo>
                <a:cubicBezTo>
                  <a:pt x="41" y="439"/>
                  <a:pt x="41" y="439"/>
                  <a:pt x="41" y="439"/>
                </a:cubicBezTo>
                <a:cubicBezTo>
                  <a:pt x="30" y="442"/>
                  <a:pt x="30" y="442"/>
                  <a:pt x="30" y="442"/>
                </a:cubicBezTo>
                <a:cubicBezTo>
                  <a:pt x="27" y="442"/>
                  <a:pt x="27" y="442"/>
                  <a:pt x="27" y="442"/>
                </a:cubicBezTo>
                <a:cubicBezTo>
                  <a:pt x="28" y="454"/>
                  <a:pt x="28" y="454"/>
                  <a:pt x="28" y="454"/>
                </a:cubicBezTo>
                <a:cubicBezTo>
                  <a:pt x="29" y="456"/>
                  <a:pt x="29" y="456"/>
                  <a:pt x="29" y="456"/>
                </a:cubicBezTo>
                <a:cubicBezTo>
                  <a:pt x="30" y="457"/>
                  <a:pt x="30" y="457"/>
                  <a:pt x="30" y="457"/>
                </a:cubicBezTo>
                <a:cubicBezTo>
                  <a:pt x="36" y="459"/>
                  <a:pt x="36" y="459"/>
                  <a:pt x="36" y="459"/>
                </a:cubicBezTo>
                <a:cubicBezTo>
                  <a:pt x="46" y="462"/>
                  <a:pt x="46" y="462"/>
                  <a:pt x="46" y="462"/>
                </a:cubicBezTo>
                <a:cubicBezTo>
                  <a:pt x="48" y="462"/>
                  <a:pt x="48" y="462"/>
                  <a:pt x="48" y="462"/>
                </a:cubicBezTo>
                <a:cubicBezTo>
                  <a:pt x="49" y="460"/>
                  <a:pt x="49" y="460"/>
                  <a:pt x="49" y="460"/>
                </a:cubicBezTo>
                <a:cubicBezTo>
                  <a:pt x="54" y="454"/>
                  <a:pt x="54" y="454"/>
                  <a:pt x="54" y="454"/>
                </a:cubicBezTo>
                <a:cubicBezTo>
                  <a:pt x="58" y="451"/>
                  <a:pt x="58" y="451"/>
                  <a:pt x="58" y="451"/>
                </a:cubicBezTo>
                <a:cubicBezTo>
                  <a:pt x="59" y="450"/>
                  <a:pt x="59" y="450"/>
                  <a:pt x="59" y="450"/>
                </a:cubicBezTo>
                <a:cubicBezTo>
                  <a:pt x="62" y="449"/>
                  <a:pt x="62" y="449"/>
                  <a:pt x="62" y="449"/>
                </a:cubicBezTo>
                <a:cubicBezTo>
                  <a:pt x="84" y="440"/>
                  <a:pt x="84" y="440"/>
                  <a:pt x="84" y="440"/>
                </a:cubicBezTo>
                <a:cubicBezTo>
                  <a:pt x="86" y="434"/>
                  <a:pt x="86" y="434"/>
                  <a:pt x="86" y="434"/>
                </a:cubicBezTo>
                <a:cubicBezTo>
                  <a:pt x="86" y="432"/>
                  <a:pt x="86" y="432"/>
                  <a:pt x="86" y="432"/>
                </a:cubicBezTo>
                <a:cubicBezTo>
                  <a:pt x="88" y="430"/>
                  <a:pt x="88" y="430"/>
                  <a:pt x="88" y="430"/>
                </a:cubicBezTo>
                <a:cubicBezTo>
                  <a:pt x="92" y="429"/>
                  <a:pt x="92" y="429"/>
                  <a:pt x="92" y="429"/>
                </a:cubicBezTo>
                <a:cubicBezTo>
                  <a:pt x="95" y="428"/>
                  <a:pt x="95" y="428"/>
                  <a:pt x="95" y="428"/>
                </a:cubicBezTo>
                <a:cubicBezTo>
                  <a:pt x="97" y="427"/>
                  <a:pt x="97" y="427"/>
                  <a:pt x="97" y="427"/>
                </a:cubicBezTo>
                <a:cubicBezTo>
                  <a:pt x="103" y="427"/>
                  <a:pt x="103" y="427"/>
                  <a:pt x="103" y="427"/>
                </a:cubicBezTo>
                <a:cubicBezTo>
                  <a:pt x="124" y="426"/>
                  <a:pt x="124" y="426"/>
                  <a:pt x="124" y="426"/>
                </a:cubicBezTo>
                <a:cubicBezTo>
                  <a:pt x="134" y="429"/>
                  <a:pt x="134" y="429"/>
                  <a:pt x="134" y="429"/>
                </a:cubicBezTo>
                <a:cubicBezTo>
                  <a:pt x="164" y="440"/>
                  <a:pt x="164" y="440"/>
                  <a:pt x="164" y="440"/>
                </a:cubicBezTo>
                <a:cubicBezTo>
                  <a:pt x="182" y="440"/>
                  <a:pt x="182" y="440"/>
                  <a:pt x="182" y="440"/>
                </a:cubicBezTo>
                <a:cubicBezTo>
                  <a:pt x="182" y="441"/>
                  <a:pt x="182" y="441"/>
                  <a:pt x="182" y="441"/>
                </a:cubicBezTo>
                <a:cubicBezTo>
                  <a:pt x="183" y="441"/>
                  <a:pt x="183" y="441"/>
                  <a:pt x="183" y="441"/>
                </a:cubicBezTo>
                <a:cubicBezTo>
                  <a:pt x="184" y="443"/>
                  <a:pt x="184" y="443"/>
                  <a:pt x="184" y="443"/>
                </a:cubicBezTo>
                <a:cubicBezTo>
                  <a:pt x="184" y="443"/>
                  <a:pt x="184" y="443"/>
                  <a:pt x="184" y="443"/>
                </a:cubicBezTo>
                <a:cubicBezTo>
                  <a:pt x="183" y="444"/>
                  <a:pt x="183" y="444"/>
                  <a:pt x="183" y="444"/>
                </a:cubicBezTo>
                <a:cubicBezTo>
                  <a:pt x="182" y="448"/>
                  <a:pt x="182" y="448"/>
                  <a:pt x="182" y="448"/>
                </a:cubicBezTo>
                <a:cubicBezTo>
                  <a:pt x="181" y="448"/>
                  <a:pt x="181" y="448"/>
                  <a:pt x="181" y="448"/>
                </a:cubicBezTo>
                <a:cubicBezTo>
                  <a:pt x="177" y="450"/>
                  <a:pt x="177" y="450"/>
                  <a:pt x="177" y="450"/>
                </a:cubicBezTo>
                <a:cubicBezTo>
                  <a:pt x="172" y="453"/>
                  <a:pt x="172" y="453"/>
                  <a:pt x="172" y="453"/>
                </a:cubicBezTo>
                <a:cubicBezTo>
                  <a:pt x="168" y="454"/>
                  <a:pt x="168" y="454"/>
                  <a:pt x="168" y="454"/>
                </a:cubicBezTo>
                <a:cubicBezTo>
                  <a:pt x="166" y="454"/>
                  <a:pt x="166" y="454"/>
                  <a:pt x="166" y="454"/>
                </a:cubicBezTo>
                <a:cubicBezTo>
                  <a:pt x="159" y="454"/>
                  <a:pt x="159" y="454"/>
                  <a:pt x="159" y="454"/>
                </a:cubicBezTo>
                <a:cubicBezTo>
                  <a:pt x="158" y="454"/>
                  <a:pt x="158" y="454"/>
                  <a:pt x="158" y="454"/>
                </a:cubicBezTo>
                <a:cubicBezTo>
                  <a:pt x="157" y="453"/>
                  <a:pt x="157" y="453"/>
                  <a:pt x="157" y="453"/>
                </a:cubicBezTo>
                <a:cubicBezTo>
                  <a:pt x="148" y="458"/>
                  <a:pt x="148" y="458"/>
                  <a:pt x="148" y="458"/>
                </a:cubicBezTo>
                <a:cubicBezTo>
                  <a:pt x="148" y="458"/>
                  <a:pt x="148" y="458"/>
                  <a:pt x="148" y="458"/>
                </a:cubicBezTo>
                <a:cubicBezTo>
                  <a:pt x="148" y="459"/>
                  <a:pt x="148" y="459"/>
                  <a:pt x="148" y="459"/>
                </a:cubicBezTo>
                <a:cubicBezTo>
                  <a:pt x="148" y="469"/>
                  <a:pt x="148" y="469"/>
                  <a:pt x="148" y="469"/>
                </a:cubicBezTo>
                <a:cubicBezTo>
                  <a:pt x="150" y="471"/>
                  <a:pt x="150" y="471"/>
                  <a:pt x="150" y="471"/>
                </a:cubicBezTo>
                <a:cubicBezTo>
                  <a:pt x="156" y="475"/>
                  <a:pt x="156" y="475"/>
                  <a:pt x="156" y="475"/>
                </a:cubicBezTo>
                <a:cubicBezTo>
                  <a:pt x="159" y="477"/>
                  <a:pt x="159" y="477"/>
                  <a:pt x="159" y="477"/>
                </a:cubicBezTo>
                <a:cubicBezTo>
                  <a:pt x="161" y="477"/>
                  <a:pt x="161" y="477"/>
                  <a:pt x="161" y="477"/>
                </a:cubicBezTo>
                <a:cubicBezTo>
                  <a:pt x="162" y="477"/>
                  <a:pt x="162" y="477"/>
                  <a:pt x="162" y="477"/>
                </a:cubicBezTo>
                <a:cubicBezTo>
                  <a:pt x="170" y="475"/>
                  <a:pt x="170" y="475"/>
                  <a:pt x="170" y="475"/>
                </a:cubicBezTo>
                <a:cubicBezTo>
                  <a:pt x="184" y="471"/>
                  <a:pt x="184" y="471"/>
                  <a:pt x="184" y="471"/>
                </a:cubicBezTo>
                <a:cubicBezTo>
                  <a:pt x="193" y="463"/>
                  <a:pt x="193" y="463"/>
                  <a:pt x="193" y="463"/>
                </a:cubicBezTo>
                <a:cubicBezTo>
                  <a:pt x="194" y="462"/>
                  <a:pt x="194" y="462"/>
                  <a:pt x="194" y="462"/>
                </a:cubicBezTo>
                <a:cubicBezTo>
                  <a:pt x="194" y="461"/>
                  <a:pt x="194" y="461"/>
                  <a:pt x="194" y="461"/>
                </a:cubicBezTo>
                <a:cubicBezTo>
                  <a:pt x="196" y="459"/>
                  <a:pt x="196" y="459"/>
                  <a:pt x="196" y="459"/>
                </a:cubicBezTo>
                <a:cubicBezTo>
                  <a:pt x="199" y="457"/>
                  <a:pt x="199" y="457"/>
                  <a:pt x="199" y="457"/>
                </a:cubicBezTo>
                <a:cubicBezTo>
                  <a:pt x="202" y="457"/>
                  <a:pt x="202" y="457"/>
                  <a:pt x="202" y="457"/>
                </a:cubicBezTo>
                <a:cubicBezTo>
                  <a:pt x="219" y="454"/>
                  <a:pt x="219" y="454"/>
                  <a:pt x="219" y="454"/>
                </a:cubicBezTo>
                <a:cubicBezTo>
                  <a:pt x="220" y="455"/>
                  <a:pt x="220" y="455"/>
                  <a:pt x="220" y="455"/>
                </a:cubicBezTo>
                <a:cubicBezTo>
                  <a:pt x="229" y="470"/>
                  <a:pt x="229" y="470"/>
                  <a:pt x="229" y="470"/>
                </a:cubicBezTo>
                <a:cubicBezTo>
                  <a:pt x="232" y="473"/>
                  <a:pt x="232" y="473"/>
                  <a:pt x="232" y="473"/>
                </a:cubicBezTo>
                <a:cubicBezTo>
                  <a:pt x="233" y="475"/>
                  <a:pt x="233" y="475"/>
                  <a:pt x="233" y="475"/>
                </a:cubicBezTo>
                <a:cubicBezTo>
                  <a:pt x="249" y="492"/>
                  <a:pt x="249" y="492"/>
                  <a:pt x="249" y="492"/>
                </a:cubicBezTo>
                <a:cubicBezTo>
                  <a:pt x="264" y="507"/>
                  <a:pt x="264" y="507"/>
                  <a:pt x="264" y="507"/>
                </a:cubicBezTo>
                <a:cubicBezTo>
                  <a:pt x="267" y="509"/>
                  <a:pt x="267" y="509"/>
                  <a:pt x="267" y="509"/>
                </a:cubicBezTo>
                <a:cubicBezTo>
                  <a:pt x="268" y="510"/>
                  <a:pt x="268" y="510"/>
                  <a:pt x="268" y="510"/>
                </a:cubicBezTo>
                <a:cubicBezTo>
                  <a:pt x="279" y="512"/>
                  <a:pt x="279" y="512"/>
                  <a:pt x="279" y="512"/>
                </a:cubicBezTo>
                <a:cubicBezTo>
                  <a:pt x="289" y="514"/>
                  <a:pt x="289" y="514"/>
                  <a:pt x="289" y="514"/>
                </a:cubicBezTo>
                <a:cubicBezTo>
                  <a:pt x="296" y="514"/>
                  <a:pt x="296" y="514"/>
                  <a:pt x="296" y="514"/>
                </a:cubicBezTo>
                <a:cubicBezTo>
                  <a:pt x="309" y="513"/>
                  <a:pt x="309" y="513"/>
                  <a:pt x="309" y="513"/>
                </a:cubicBezTo>
                <a:cubicBezTo>
                  <a:pt x="323" y="509"/>
                  <a:pt x="323" y="509"/>
                  <a:pt x="323" y="509"/>
                </a:cubicBezTo>
                <a:cubicBezTo>
                  <a:pt x="324" y="508"/>
                  <a:pt x="324" y="508"/>
                  <a:pt x="324" y="508"/>
                </a:cubicBezTo>
                <a:cubicBezTo>
                  <a:pt x="324" y="508"/>
                  <a:pt x="324" y="508"/>
                  <a:pt x="324" y="508"/>
                </a:cubicBezTo>
                <a:cubicBezTo>
                  <a:pt x="327" y="505"/>
                  <a:pt x="327" y="505"/>
                  <a:pt x="327" y="505"/>
                </a:cubicBezTo>
                <a:cubicBezTo>
                  <a:pt x="327" y="502"/>
                  <a:pt x="327" y="502"/>
                  <a:pt x="327" y="502"/>
                </a:cubicBezTo>
                <a:cubicBezTo>
                  <a:pt x="327" y="499"/>
                  <a:pt x="327" y="499"/>
                  <a:pt x="327" y="499"/>
                </a:cubicBezTo>
                <a:cubicBezTo>
                  <a:pt x="327" y="498"/>
                  <a:pt x="327" y="498"/>
                  <a:pt x="327" y="498"/>
                </a:cubicBezTo>
                <a:cubicBezTo>
                  <a:pt x="328" y="494"/>
                  <a:pt x="328" y="494"/>
                  <a:pt x="328" y="494"/>
                </a:cubicBezTo>
                <a:cubicBezTo>
                  <a:pt x="332" y="488"/>
                  <a:pt x="332" y="488"/>
                  <a:pt x="332" y="488"/>
                </a:cubicBezTo>
                <a:cubicBezTo>
                  <a:pt x="332" y="486"/>
                  <a:pt x="332" y="486"/>
                  <a:pt x="332" y="486"/>
                </a:cubicBezTo>
                <a:cubicBezTo>
                  <a:pt x="333" y="485"/>
                  <a:pt x="333" y="485"/>
                  <a:pt x="333" y="485"/>
                </a:cubicBezTo>
                <a:cubicBezTo>
                  <a:pt x="352" y="471"/>
                  <a:pt x="352" y="471"/>
                  <a:pt x="352" y="471"/>
                </a:cubicBezTo>
                <a:cubicBezTo>
                  <a:pt x="356" y="471"/>
                  <a:pt x="356" y="471"/>
                  <a:pt x="356" y="471"/>
                </a:cubicBezTo>
                <a:cubicBezTo>
                  <a:pt x="356" y="471"/>
                  <a:pt x="356" y="471"/>
                  <a:pt x="356" y="471"/>
                </a:cubicBezTo>
                <a:cubicBezTo>
                  <a:pt x="364" y="472"/>
                  <a:pt x="364" y="472"/>
                  <a:pt x="364" y="472"/>
                </a:cubicBezTo>
                <a:cubicBezTo>
                  <a:pt x="369" y="471"/>
                  <a:pt x="369" y="471"/>
                  <a:pt x="369" y="471"/>
                </a:cubicBezTo>
                <a:cubicBezTo>
                  <a:pt x="373" y="470"/>
                  <a:pt x="373" y="470"/>
                  <a:pt x="373" y="470"/>
                </a:cubicBezTo>
                <a:cubicBezTo>
                  <a:pt x="377" y="469"/>
                  <a:pt x="377" y="469"/>
                  <a:pt x="377" y="469"/>
                </a:cubicBezTo>
                <a:cubicBezTo>
                  <a:pt x="395" y="461"/>
                  <a:pt x="395" y="461"/>
                  <a:pt x="395" y="461"/>
                </a:cubicBezTo>
                <a:cubicBezTo>
                  <a:pt x="398" y="458"/>
                  <a:pt x="398" y="458"/>
                  <a:pt x="398" y="458"/>
                </a:cubicBezTo>
                <a:cubicBezTo>
                  <a:pt x="402" y="453"/>
                  <a:pt x="402" y="453"/>
                  <a:pt x="402" y="453"/>
                </a:cubicBezTo>
                <a:cubicBezTo>
                  <a:pt x="401" y="453"/>
                  <a:pt x="401" y="453"/>
                  <a:pt x="401" y="453"/>
                </a:cubicBezTo>
                <a:cubicBezTo>
                  <a:pt x="401" y="453"/>
                  <a:pt x="400" y="453"/>
                  <a:pt x="400" y="452"/>
                </a:cubicBezTo>
                <a:cubicBezTo>
                  <a:pt x="399" y="452"/>
                  <a:pt x="399" y="452"/>
                  <a:pt x="399" y="452"/>
                </a:cubicBezTo>
                <a:cubicBezTo>
                  <a:pt x="399" y="452"/>
                  <a:pt x="399" y="452"/>
                  <a:pt x="399" y="452"/>
                </a:cubicBezTo>
                <a:cubicBezTo>
                  <a:pt x="399" y="452"/>
                  <a:pt x="399" y="452"/>
                  <a:pt x="399" y="452"/>
                </a:cubicBezTo>
                <a:cubicBezTo>
                  <a:pt x="399" y="451"/>
                  <a:pt x="398" y="450"/>
                  <a:pt x="398" y="449"/>
                </a:cubicBezTo>
                <a:cubicBezTo>
                  <a:pt x="398" y="443"/>
                  <a:pt x="398" y="443"/>
                  <a:pt x="398" y="443"/>
                </a:cubicBezTo>
                <a:cubicBezTo>
                  <a:pt x="397" y="443"/>
                  <a:pt x="397" y="442"/>
                  <a:pt x="397" y="440"/>
                </a:cubicBezTo>
                <a:cubicBezTo>
                  <a:pt x="397" y="438"/>
                  <a:pt x="397" y="436"/>
                  <a:pt x="397" y="435"/>
                </a:cubicBezTo>
                <a:cubicBezTo>
                  <a:pt x="397" y="435"/>
                  <a:pt x="397" y="435"/>
                  <a:pt x="397" y="434"/>
                </a:cubicBezTo>
                <a:cubicBezTo>
                  <a:pt x="397" y="434"/>
                  <a:pt x="397" y="433"/>
                  <a:pt x="397" y="432"/>
                </a:cubicBezTo>
                <a:cubicBezTo>
                  <a:pt x="397" y="431"/>
                  <a:pt x="397" y="431"/>
                  <a:pt x="397" y="431"/>
                </a:cubicBezTo>
                <a:cubicBezTo>
                  <a:pt x="397" y="430"/>
                  <a:pt x="397" y="430"/>
                  <a:pt x="397" y="429"/>
                </a:cubicBezTo>
                <a:cubicBezTo>
                  <a:pt x="397" y="429"/>
                  <a:pt x="397" y="428"/>
                  <a:pt x="397" y="427"/>
                </a:cubicBezTo>
                <a:cubicBezTo>
                  <a:pt x="397" y="425"/>
                  <a:pt x="397" y="423"/>
                  <a:pt x="397" y="422"/>
                </a:cubicBezTo>
                <a:cubicBezTo>
                  <a:pt x="396" y="421"/>
                  <a:pt x="397" y="419"/>
                  <a:pt x="397" y="418"/>
                </a:cubicBezTo>
                <a:cubicBezTo>
                  <a:pt x="398" y="416"/>
                  <a:pt x="398" y="414"/>
                  <a:pt x="398" y="413"/>
                </a:cubicBezTo>
                <a:cubicBezTo>
                  <a:pt x="398" y="412"/>
                  <a:pt x="397" y="408"/>
                  <a:pt x="398" y="406"/>
                </a:cubicBezTo>
                <a:cubicBezTo>
                  <a:pt x="400" y="404"/>
                  <a:pt x="402" y="401"/>
                  <a:pt x="402" y="401"/>
                </a:cubicBezTo>
                <a:close/>
                <a:moveTo>
                  <a:pt x="113" y="60"/>
                </a:moveTo>
                <a:cubicBezTo>
                  <a:pt x="126" y="71"/>
                  <a:pt x="126" y="71"/>
                  <a:pt x="126" y="71"/>
                </a:cubicBezTo>
                <a:cubicBezTo>
                  <a:pt x="135" y="76"/>
                  <a:pt x="135" y="76"/>
                  <a:pt x="135" y="76"/>
                </a:cubicBezTo>
                <a:cubicBezTo>
                  <a:pt x="137" y="76"/>
                  <a:pt x="137" y="76"/>
                  <a:pt x="137" y="76"/>
                </a:cubicBezTo>
                <a:cubicBezTo>
                  <a:pt x="138" y="76"/>
                  <a:pt x="138" y="76"/>
                  <a:pt x="138" y="76"/>
                </a:cubicBezTo>
                <a:cubicBezTo>
                  <a:pt x="147" y="68"/>
                  <a:pt x="147" y="68"/>
                  <a:pt x="147" y="68"/>
                </a:cubicBezTo>
                <a:cubicBezTo>
                  <a:pt x="151" y="63"/>
                  <a:pt x="151" y="63"/>
                  <a:pt x="151" y="63"/>
                </a:cubicBezTo>
                <a:cubicBezTo>
                  <a:pt x="155" y="57"/>
                  <a:pt x="155" y="57"/>
                  <a:pt x="155" y="57"/>
                </a:cubicBezTo>
                <a:cubicBezTo>
                  <a:pt x="156" y="56"/>
                  <a:pt x="156" y="56"/>
                  <a:pt x="156" y="56"/>
                </a:cubicBezTo>
                <a:cubicBezTo>
                  <a:pt x="157" y="54"/>
                  <a:pt x="157" y="54"/>
                  <a:pt x="157" y="54"/>
                </a:cubicBezTo>
                <a:cubicBezTo>
                  <a:pt x="158" y="53"/>
                  <a:pt x="158" y="53"/>
                  <a:pt x="158" y="53"/>
                </a:cubicBezTo>
                <a:cubicBezTo>
                  <a:pt x="161" y="50"/>
                  <a:pt x="161" y="50"/>
                  <a:pt x="161" y="50"/>
                </a:cubicBezTo>
                <a:cubicBezTo>
                  <a:pt x="172" y="44"/>
                  <a:pt x="172" y="44"/>
                  <a:pt x="172" y="44"/>
                </a:cubicBezTo>
                <a:cubicBezTo>
                  <a:pt x="175" y="41"/>
                  <a:pt x="175" y="41"/>
                  <a:pt x="175" y="41"/>
                </a:cubicBezTo>
                <a:cubicBezTo>
                  <a:pt x="181" y="34"/>
                  <a:pt x="181" y="34"/>
                  <a:pt x="181" y="34"/>
                </a:cubicBezTo>
                <a:cubicBezTo>
                  <a:pt x="182" y="30"/>
                  <a:pt x="182" y="30"/>
                  <a:pt x="182" y="30"/>
                </a:cubicBezTo>
                <a:cubicBezTo>
                  <a:pt x="181" y="29"/>
                  <a:pt x="181" y="29"/>
                  <a:pt x="181" y="29"/>
                </a:cubicBezTo>
                <a:cubicBezTo>
                  <a:pt x="171" y="28"/>
                  <a:pt x="171" y="28"/>
                  <a:pt x="171" y="28"/>
                </a:cubicBezTo>
                <a:cubicBezTo>
                  <a:pt x="169" y="28"/>
                  <a:pt x="169" y="28"/>
                  <a:pt x="169" y="28"/>
                </a:cubicBezTo>
                <a:cubicBezTo>
                  <a:pt x="167" y="29"/>
                  <a:pt x="167" y="29"/>
                  <a:pt x="167" y="29"/>
                </a:cubicBezTo>
                <a:cubicBezTo>
                  <a:pt x="166" y="31"/>
                  <a:pt x="166" y="31"/>
                  <a:pt x="166" y="31"/>
                </a:cubicBezTo>
                <a:cubicBezTo>
                  <a:pt x="166" y="31"/>
                  <a:pt x="166" y="31"/>
                  <a:pt x="166" y="31"/>
                </a:cubicBezTo>
                <a:cubicBezTo>
                  <a:pt x="160" y="34"/>
                  <a:pt x="160" y="34"/>
                  <a:pt x="160" y="34"/>
                </a:cubicBezTo>
                <a:cubicBezTo>
                  <a:pt x="159" y="34"/>
                  <a:pt x="159" y="34"/>
                  <a:pt x="159" y="34"/>
                </a:cubicBezTo>
                <a:cubicBezTo>
                  <a:pt x="157" y="33"/>
                  <a:pt x="157" y="33"/>
                  <a:pt x="157" y="33"/>
                </a:cubicBezTo>
                <a:cubicBezTo>
                  <a:pt x="157" y="32"/>
                  <a:pt x="157" y="32"/>
                  <a:pt x="157" y="32"/>
                </a:cubicBezTo>
                <a:cubicBezTo>
                  <a:pt x="152" y="22"/>
                  <a:pt x="152" y="22"/>
                  <a:pt x="152" y="22"/>
                </a:cubicBezTo>
                <a:cubicBezTo>
                  <a:pt x="146" y="7"/>
                  <a:pt x="146" y="7"/>
                  <a:pt x="146" y="7"/>
                </a:cubicBezTo>
                <a:cubicBezTo>
                  <a:pt x="145" y="5"/>
                  <a:pt x="145" y="5"/>
                  <a:pt x="145" y="5"/>
                </a:cubicBezTo>
                <a:cubicBezTo>
                  <a:pt x="143" y="4"/>
                  <a:pt x="143" y="4"/>
                  <a:pt x="143" y="4"/>
                </a:cubicBezTo>
                <a:cubicBezTo>
                  <a:pt x="140" y="3"/>
                  <a:pt x="140" y="3"/>
                  <a:pt x="140" y="3"/>
                </a:cubicBezTo>
                <a:cubicBezTo>
                  <a:pt x="126" y="0"/>
                  <a:pt x="126" y="0"/>
                  <a:pt x="126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116" y="1"/>
                  <a:pt x="116" y="1"/>
                  <a:pt x="116" y="1"/>
                </a:cubicBezTo>
                <a:cubicBezTo>
                  <a:pt x="103" y="7"/>
                  <a:pt x="103" y="7"/>
                  <a:pt x="103" y="7"/>
                </a:cubicBezTo>
                <a:cubicBezTo>
                  <a:pt x="102" y="8"/>
                  <a:pt x="102" y="8"/>
                  <a:pt x="102" y="8"/>
                </a:cubicBezTo>
                <a:cubicBezTo>
                  <a:pt x="102" y="9"/>
                  <a:pt x="102" y="9"/>
                  <a:pt x="102" y="9"/>
                </a:cubicBezTo>
                <a:cubicBezTo>
                  <a:pt x="102" y="38"/>
                  <a:pt x="102" y="38"/>
                  <a:pt x="102" y="38"/>
                </a:cubicBezTo>
                <a:lnTo>
                  <a:pt x="113" y="60"/>
                </a:lnTo>
                <a:close/>
                <a:moveTo>
                  <a:pt x="86" y="37"/>
                </a:moveTo>
                <a:cubicBezTo>
                  <a:pt x="98" y="46"/>
                  <a:pt x="98" y="46"/>
                  <a:pt x="98" y="46"/>
                </a:cubicBezTo>
                <a:cubicBezTo>
                  <a:pt x="100" y="47"/>
                  <a:pt x="100" y="47"/>
                  <a:pt x="100" y="47"/>
                </a:cubicBezTo>
                <a:cubicBezTo>
                  <a:pt x="102" y="47"/>
                  <a:pt x="102" y="47"/>
                  <a:pt x="102" y="47"/>
                </a:cubicBezTo>
                <a:cubicBezTo>
                  <a:pt x="103" y="46"/>
                  <a:pt x="103" y="46"/>
                  <a:pt x="103" y="46"/>
                </a:cubicBezTo>
                <a:cubicBezTo>
                  <a:pt x="103" y="45"/>
                  <a:pt x="103" y="45"/>
                  <a:pt x="103" y="45"/>
                </a:cubicBezTo>
                <a:cubicBezTo>
                  <a:pt x="103" y="44"/>
                  <a:pt x="103" y="44"/>
                  <a:pt x="103" y="44"/>
                </a:cubicBezTo>
                <a:cubicBezTo>
                  <a:pt x="103" y="43"/>
                  <a:pt x="103" y="43"/>
                  <a:pt x="103" y="43"/>
                </a:cubicBezTo>
                <a:cubicBezTo>
                  <a:pt x="99" y="32"/>
                  <a:pt x="99" y="32"/>
                  <a:pt x="99" y="32"/>
                </a:cubicBezTo>
                <a:cubicBezTo>
                  <a:pt x="94" y="26"/>
                  <a:pt x="94" y="26"/>
                  <a:pt x="94" y="26"/>
                </a:cubicBezTo>
                <a:cubicBezTo>
                  <a:pt x="93" y="26"/>
                  <a:pt x="93" y="26"/>
                  <a:pt x="93" y="26"/>
                </a:cubicBezTo>
                <a:cubicBezTo>
                  <a:pt x="92" y="26"/>
                  <a:pt x="92" y="26"/>
                  <a:pt x="92" y="26"/>
                </a:cubicBezTo>
                <a:cubicBezTo>
                  <a:pt x="87" y="27"/>
                  <a:pt x="87" y="27"/>
                  <a:pt x="87" y="27"/>
                </a:cubicBezTo>
                <a:cubicBezTo>
                  <a:pt x="86" y="26"/>
                  <a:pt x="86" y="26"/>
                  <a:pt x="86" y="26"/>
                </a:cubicBezTo>
                <a:cubicBezTo>
                  <a:pt x="85" y="26"/>
                  <a:pt x="85" y="26"/>
                  <a:pt x="85" y="26"/>
                </a:cubicBezTo>
                <a:cubicBezTo>
                  <a:pt x="85" y="27"/>
                  <a:pt x="85" y="27"/>
                  <a:pt x="85" y="27"/>
                </a:cubicBezTo>
                <a:cubicBezTo>
                  <a:pt x="83" y="31"/>
                  <a:pt x="83" y="31"/>
                  <a:pt x="83" y="31"/>
                </a:cubicBezTo>
                <a:cubicBezTo>
                  <a:pt x="85" y="36"/>
                  <a:pt x="85" y="36"/>
                  <a:pt x="85" y="36"/>
                </a:cubicBezTo>
                <a:lnTo>
                  <a:pt x="86" y="3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Freeform 13">
            <a:extLst>
              <a:ext uri="{FF2B5EF4-FFF2-40B4-BE49-F238E27FC236}">
                <a16:creationId xmlns:a16="http://schemas.microsoft.com/office/drawing/2014/main" id="{A112E1E3-52CE-4C11-99D9-FB9BD4DB3477}"/>
              </a:ext>
            </a:extLst>
          </p:cNvPr>
          <p:cNvSpPr>
            <a:spLocks noEditPoints="1"/>
          </p:cNvSpPr>
          <p:nvPr/>
        </p:nvSpPr>
        <p:spPr bwMode="auto">
          <a:xfrm>
            <a:off x="2039891" y="3183232"/>
            <a:ext cx="1711192" cy="2152650"/>
          </a:xfrm>
          <a:custGeom>
            <a:avLst/>
            <a:gdLst>
              <a:gd name="T0" fmla="*/ 351 w 714"/>
              <a:gd name="T1" fmla="*/ 94 h 973"/>
              <a:gd name="T2" fmla="*/ 133 w 714"/>
              <a:gd name="T3" fmla="*/ 328 h 973"/>
              <a:gd name="T4" fmla="*/ 113 w 714"/>
              <a:gd name="T5" fmla="*/ 380 h 973"/>
              <a:gd name="T6" fmla="*/ 116 w 714"/>
              <a:gd name="T7" fmla="*/ 924 h 973"/>
              <a:gd name="T8" fmla="*/ 155 w 714"/>
              <a:gd name="T9" fmla="*/ 517 h 973"/>
              <a:gd name="T10" fmla="*/ 162 w 714"/>
              <a:gd name="T11" fmla="*/ 561 h 973"/>
              <a:gd name="T12" fmla="*/ 183 w 714"/>
              <a:gd name="T13" fmla="*/ 570 h 973"/>
              <a:gd name="T14" fmla="*/ 171 w 714"/>
              <a:gd name="T15" fmla="*/ 567 h 973"/>
              <a:gd name="T16" fmla="*/ 22 w 714"/>
              <a:gd name="T17" fmla="*/ 857 h 973"/>
              <a:gd name="T18" fmla="*/ 12 w 714"/>
              <a:gd name="T19" fmla="*/ 798 h 973"/>
              <a:gd name="T20" fmla="*/ 90 w 714"/>
              <a:gd name="T21" fmla="*/ 422 h 973"/>
              <a:gd name="T22" fmla="*/ 692 w 714"/>
              <a:gd name="T23" fmla="*/ 529 h 973"/>
              <a:gd name="T24" fmla="*/ 686 w 714"/>
              <a:gd name="T25" fmla="*/ 444 h 973"/>
              <a:gd name="T26" fmla="*/ 662 w 714"/>
              <a:gd name="T27" fmla="*/ 363 h 973"/>
              <a:gd name="T28" fmla="*/ 695 w 714"/>
              <a:gd name="T29" fmla="*/ 344 h 973"/>
              <a:gd name="T30" fmla="*/ 624 w 714"/>
              <a:gd name="T31" fmla="*/ 337 h 973"/>
              <a:gd name="T32" fmla="*/ 592 w 714"/>
              <a:gd name="T33" fmla="*/ 280 h 973"/>
              <a:gd name="T34" fmla="*/ 496 w 714"/>
              <a:gd name="T35" fmla="*/ 319 h 973"/>
              <a:gd name="T36" fmla="*/ 428 w 714"/>
              <a:gd name="T37" fmla="*/ 264 h 973"/>
              <a:gd name="T38" fmla="*/ 449 w 714"/>
              <a:gd name="T39" fmla="*/ 157 h 973"/>
              <a:gd name="T40" fmla="*/ 541 w 714"/>
              <a:gd name="T41" fmla="*/ 80 h 973"/>
              <a:gd name="T42" fmla="*/ 572 w 714"/>
              <a:gd name="T43" fmla="*/ 28 h 973"/>
              <a:gd name="T44" fmla="*/ 507 w 714"/>
              <a:gd name="T45" fmla="*/ 55 h 973"/>
              <a:gd name="T46" fmla="*/ 489 w 714"/>
              <a:gd name="T47" fmla="*/ 25 h 973"/>
              <a:gd name="T48" fmla="*/ 475 w 714"/>
              <a:gd name="T49" fmla="*/ 38 h 973"/>
              <a:gd name="T50" fmla="*/ 476 w 714"/>
              <a:gd name="T51" fmla="*/ 54 h 973"/>
              <a:gd name="T52" fmla="*/ 433 w 714"/>
              <a:gd name="T53" fmla="*/ 39 h 973"/>
              <a:gd name="T54" fmla="*/ 375 w 714"/>
              <a:gd name="T55" fmla="*/ 119 h 973"/>
              <a:gd name="T56" fmla="*/ 354 w 714"/>
              <a:gd name="T57" fmla="*/ 134 h 973"/>
              <a:gd name="T58" fmla="*/ 315 w 714"/>
              <a:gd name="T59" fmla="*/ 174 h 973"/>
              <a:gd name="T60" fmla="*/ 334 w 714"/>
              <a:gd name="T61" fmla="*/ 256 h 973"/>
              <a:gd name="T62" fmla="*/ 294 w 714"/>
              <a:gd name="T63" fmla="*/ 271 h 973"/>
              <a:gd name="T64" fmla="*/ 247 w 714"/>
              <a:gd name="T65" fmla="*/ 273 h 973"/>
              <a:gd name="T66" fmla="*/ 147 w 714"/>
              <a:gd name="T67" fmla="*/ 271 h 973"/>
              <a:gd name="T68" fmla="*/ 143 w 714"/>
              <a:gd name="T69" fmla="*/ 269 h 973"/>
              <a:gd name="T70" fmla="*/ 112 w 714"/>
              <a:gd name="T71" fmla="*/ 304 h 973"/>
              <a:gd name="T72" fmla="*/ 139 w 714"/>
              <a:gd name="T73" fmla="*/ 340 h 973"/>
              <a:gd name="T74" fmla="*/ 169 w 714"/>
              <a:gd name="T75" fmla="*/ 356 h 973"/>
              <a:gd name="T76" fmla="*/ 111 w 714"/>
              <a:gd name="T77" fmla="*/ 431 h 973"/>
              <a:gd name="T78" fmla="*/ 135 w 714"/>
              <a:gd name="T79" fmla="*/ 474 h 973"/>
              <a:gd name="T80" fmla="*/ 153 w 714"/>
              <a:gd name="T81" fmla="*/ 505 h 973"/>
              <a:gd name="T82" fmla="*/ 169 w 714"/>
              <a:gd name="T83" fmla="*/ 524 h 973"/>
              <a:gd name="T84" fmla="*/ 273 w 714"/>
              <a:gd name="T85" fmla="*/ 555 h 973"/>
              <a:gd name="T86" fmla="*/ 181 w 714"/>
              <a:gd name="T87" fmla="*/ 641 h 973"/>
              <a:gd name="T88" fmla="*/ 117 w 714"/>
              <a:gd name="T89" fmla="*/ 694 h 973"/>
              <a:gd name="T90" fmla="*/ 233 w 714"/>
              <a:gd name="T91" fmla="*/ 681 h 973"/>
              <a:gd name="T92" fmla="*/ 188 w 714"/>
              <a:gd name="T93" fmla="*/ 691 h 973"/>
              <a:gd name="T94" fmla="*/ 131 w 714"/>
              <a:gd name="T95" fmla="*/ 766 h 973"/>
              <a:gd name="T96" fmla="*/ 52 w 714"/>
              <a:gd name="T97" fmla="*/ 762 h 973"/>
              <a:gd name="T98" fmla="*/ 114 w 714"/>
              <a:gd name="T99" fmla="*/ 795 h 973"/>
              <a:gd name="T100" fmla="*/ 46 w 714"/>
              <a:gd name="T101" fmla="*/ 844 h 973"/>
              <a:gd name="T102" fmla="*/ 77 w 714"/>
              <a:gd name="T103" fmla="*/ 889 h 973"/>
              <a:gd name="T104" fmla="*/ 94 w 714"/>
              <a:gd name="T105" fmla="*/ 926 h 973"/>
              <a:gd name="T106" fmla="*/ 167 w 714"/>
              <a:gd name="T107" fmla="*/ 918 h 973"/>
              <a:gd name="T108" fmla="*/ 142 w 714"/>
              <a:gd name="T109" fmla="*/ 936 h 973"/>
              <a:gd name="T110" fmla="*/ 107 w 714"/>
              <a:gd name="T111" fmla="*/ 965 h 973"/>
              <a:gd name="T112" fmla="*/ 202 w 714"/>
              <a:gd name="T113" fmla="*/ 969 h 973"/>
              <a:gd name="T114" fmla="*/ 320 w 714"/>
              <a:gd name="T115" fmla="*/ 923 h 973"/>
              <a:gd name="T116" fmla="*/ 472 w 714"/>
              <a:gd name="T117" fmla="*/ 838 h 973"/>
              <a:gd name="T118" fmla="*/ 556 w 714"/>
              <a:gd name="T119" fmla="*/ 819 h 973"/>
              <a:gd name="T120" fmla="*/ 657 w 714"/>
              <a:gd name="T121" fmla="*/ 757 h 9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14" h="973">
                <a:moveTo>
                  <a:pt x="352" y="96"/>
                </a:moveTo>
                <a:cubicBezTo>
                  <a:pt x="357" y="98"/>
                  <a:pt x="357" y="98"/>
                  <a:pt x="357" y="98"/>
                </a:cubicBezTo>
                <a:cubicBezTo>
                  <a:pt x="358" y="98"/>
                  <a:pt x="358" y="98"/>
                  <a:pt x="358" y="98"/>
                </a:cubicBezTo>
                <a:cubicBezTo>
                  <a:pt x="361" y="96"/>
                  <a:pt x="361" y="96"/>
                  <a:pt x="361" y="96"/>
                </a:cubicBezTo>
                <a:cubicBezTo>
                  <a:pt x="362" y="96"/>
                  <a:pt x="362" y="96"/>
                  <a:pt x="362" y="96"/>
                </a:cubicBezTo>
                <a:cubicBezTo>
                  <a:pt x="362" y="95"/>
                  <a:pt x="362" y="95"/>
                  <a:pt x="362" y="95"/>
                </a:cubicBezTo>
                <a:cubicBezTo>
                  <a:pt x="362" y="90"/>
                  <a:pt x="362" y="90"/>
                  <a:pt x="362" y="90"/>
                </a:cubicBezTo>
                <a:cubicBezTo>
                  <a:pt x="362" y="90"/>
                  <a:pt x="362" y="90"/>
                  <a:pt x="362" y="90"/>
                </a:cubicBezTo>
                <a:cubicBezTo>
                  <a:pt x="362" y="89"/>
                  <a:pt x="362" y="89"/>
                  <a:pt x="362" y="89"/>
                </a:cubicBezTo>
                <a:cubicBezTo>
                  <a:pt x="362" y="88"/>
                  <a:pt x="362" y="88"/>
                  <a:pt x="362" y="88"/>
                </a:cubicBezTo>
                <a:cubicBezTo>
                  <a:pt x="356" y="84"/>
                  <a:pt x="356" y="84"/>
                  <a:pt x="356" y="84"/>
                </a:cubicBezTo>
                <a:cubicBezTo>
                  <a:pt x="355" y="83"/>
                  <a:pt x="355" y="83"/>
                  <a:pt x="355" y="83"/>
                </a:cubicBezTo>
                <a:cubicBezTo>
                  <a:pt x="354" y="83"/>
                  <a:pt x="354" y="83"/>
                  <a:pt x="354" y="83"/>
                </a:cubicBezTo>
                <a:cubicBezTo>
                  <a:pt x="354" y="84"/>
                  <a:pt x="354" y="84"/>
                  <a:pt x="354" y="84"/>
                </a:cubicBezTo>
                <a:cubicBezTo>
                  <a:pt x="353" y="85"/>
                  <a:pt x="353" y="85"/>
                  <a:pt x="353" y="85"/>
                </a:cubicBezTo>
                <a:cubicBezTo>
                  <a:pt x="351" y="93"/>
                  <a:pt x="351" y="93"/>
                  <a:pt x="351" y="93"/>
                </a:cubicBezTo>
                <a:cubicBezTo>
                  <a:pt x="351" y="94"/>
                  <a:pt x="351" y="94"/>
                  <a:pt x="351" y="94"/>
                </a:cubicBezTo>
                <a:cubicBezTo>
                  <a:pt x="351" y="95"/>
                  <a:pt x="351" y="95"/>
                  <a:pt x="351" y="95"/>
                </a:cubicBezTo>
                <a:lnTo>
                  <a:pt x="352" y="96"/>
                </a:lnTo>
                <a:close/>
                <a:moveTo>
                  <a:pt x="115" y="343"/>
                </a:moveTo>
                <a:cubicBezTo>
                  <a:pt x="114" y="345"/>
                  <a:pt x="114" y="345"/>
                  <a:pt x="114" y="345"/>
                </a:cubicBezTo>
                <a:cubicBezTo>
                  <a:pt x="114" y="345"/>
                  <a:pt x="114" y="345"/>
                  <a:pt x="114" y="345"/>
                </a:cubicBezTo>
                <a:cubicBezTo>
                  <a:pt x="114" y="347"/>
                  <a:pt x="114" y="347"/>
                  <a:pt x="114" y="347"/>
                </a:cubicBezTo>
                <a:cubicBezTo>
                  <a:pt x="115" y="349"/>
                  <a:pt x="115" y="349"/>
                  <a:pt x="115" y="349"/>
                </a:cubicBezTo>
                <a:cubicBezTo>
                  <a:pt x="126" y="358"/>
                  <a:pt x="126" y="358"/>
                  <a:pt x="126" y="358"/>
                </a:cubicBezTo>
                <a:cubicBezTo>
                  <a:pt x="128" y="359"/>
                  <a:pt x="128" y="359"/>
                  <a:pt x="128" y="359"/>
                </a:cubicBezTo>
                <a:cubicBezTo>
                  <a:pt x="129" y="359"/>
                  <a:pt x="129" y="359"/>
                  <a:pt x="129" y="359"/>
                </a:cubicBezTo>
                <a:cubicBezTo>
                  <a:pt x="130" y="358"/>
                  <a:pt x="130" y="358"/>
                  <a:pt x="130" y="358"/>
                </a:cubicBezTo>
                <a:cubicBezTo>
                  <a:pt x="131" y="357"/>
                  <a:pt x="131" y="357"/>
                  <a:pt x="131" y="357"/>
                </a:cubicBezTo>
                <a:cubicBezTo>
                  <a:pt x="132" y="355"/>
                  <a:pt x="132" y="355"/>
                  <a:pt x="132" y="355"/>
                </a:cubicBezTo>
                <a:cubicBezTo>
                  <a:pt x="135" y="341"/>
                  <a:pt x="135" y="341"/>
                  <a:pt x="135" y="341"/>
                </a:cubicBezTo>
                <a:cubicBezTo>
                  <a:pt x="135" y="340"/>
                  <a:pt x="135" y="340"/>
                  <a:pt x="135" y="340"/>
                </a:cubicBezTo>
                <a:cubicBezTo>
                  <a:pt x="134" y="330"/>
                  <a:pt x="134" y="330"/>
                  <a:pt x="134" y="330"/>
                </a:cubicBezTo>
                <a:cubicBezTo>
                  <a:pt x="133" y="328"/>
                  <a:pt x="133" y="328"/>
                  <a:pt x="133" y="328"/>
                </a:cubicBezTo>
                <a:cubicBezTo>
                  <a:pt x="132" y="326"/>
                  <a:pt x="132" y="326"/>
                  <a:pt x="132" y="326"/>
                </a:cubicBezTo>
                <a:cubicBezTo>
                  <a:pt x="131" y="325"/>
                  <a:pt x="131" y="325"/>
                  <a:pt x="131" y="325"/>
                </a:cubicBezTo>
                <a:cubicBezTo>
                  <a:pt x="129" y="323"/>
                  <a:pt x="129" y="323"/>
                  <a:pt x="129" y="323"/>
                </a:cubicBezTo>
                <a:cubicBezTo>
                  <a:pt x="128" y="322"/>
                  <a:pt x="128" y="322"/>
                  <a:pt x="128" y="322"/>
                </a:cubicBezTo>
                <a:cubicBezTo>
                  <a:pt x="117" y="321"/>
                  <a:pt x="117" y="321"/>
                  <a:pt x="117" y="321"/>
                </a:cubicBezTo>
                <a:cubicBezTo>
                  <a:pt x="115" y="321"/>
                  <a:pt x="115" y="321"/>
                  <a:pt x="115" y="321"/>
                </a:cubicBezTo>
                <a:cubicBezTo>
                  <a:pt x="95" y="326"/>
                  <a:pt x="95" y="326"/>
                  <a:pt x="95" y="326"/>
                </a:cubicBezTo>
                <a:cubicBezTo>
                  <a:pt x="85" y="330"/>
                  <a:pt x="85" y="330"/>
                  <a:pt x="85" y="330"/>
                </a:cubicBezTo>
                <a:cubicBezTo>
                  <a:pt x="85" y="331"/>
                  <a:pt x="85" y="331"/>
                  <a:pt x="85" y="331"/>
                </a:cubicBezTo>
                <a:cubicBezTo>
                  <a:pt x="85" y="332"/>
                  <a:pt x="85" y="332"/>
                  <a:pt x="85" y="332"/>
                </a:cubicBezTo>
                <a:cubicBezTo>
                  <a:pt x="98" y="335"/>
                  <a:pt x="98" y="335"/>
                  <a:pt x="98" y="335"/>
                </a:cubicBezTo>
                <a:lnTo>
                  <a:pt x="115" y="343"/>
                </a:lnTo>
                <a:close/>
                <a:moveTo>
                  <a:pt x="122" y="372"/>
                </a:moveTo>
                <a:cubicBezTo>
                  <a:pt x="114" y="376"/>
                  <a:pt x="114" y="376"/>
                  <a:pt x="114" y="376"/>
                </a:cubicBezTo>
                <a:cubicBezTo>
                  <a:pt x="114" y="377"/>
                  <a:pt x="114" y="377"/>
                  <a:pt x="114" y="377"/>
                </a:cubicBezTo>
                <a:cubicBezTo>
                  <a:pt x="113" y="379"/>
                  <a:pt x="113" y="379"/>
                  <a:pt x="113" y="379"/>
                </a:cubicBezTo>
                <a:cubicBezTo>
                  <a:pt x="113" y="380"/>
                  <a:pt x="113" y="380"/>
                  <a:pt x="113" y="380"/>
                </a:cubicBezTo>
                <a:cubicBezTo>
                  <a:pt x="113" y="380"/>
                  <a:pt x="113" y="380"/>
                  <a:pt x="113" y="380"/>
                </a:cubicBezTo>
                <a:cubicBezTo>
                  <a:pt x="119" y="381"/>
                  <a:pt x="119" y="381"/>
                  <a:pt x="119" y="381"/>
                </a:cubicBezTo>
                <a:cubicBezTo>
                  <a:pt x="125" y="380"/>
                  <a:pt x="125" y="380"/>
                  <a:pt x="125" y="380"/>
                </a:cubicBezTo>
                <a:cubicBezTo>
                  <a:pt x="126" y="380"/>
                  <a:pt x="126" y="380"/>
                  <a:pt x="126" y="380"/>
                </a:cubicBezTo>
                <a:cubicBezTo>
                  <a:pt x="128" y="378"/>
                  <a:pt x="128" y="378"/>
                  <a:pt x="128" y="378"/>
                </a:cubicBezTo>
                <a:cubicBezTo>
                  <a:pt x="129" y="377"/>
                  <a:pt x="129" y="377"/>
                  <a:pt x="129" y="377"/>
                </a:cubicBezTo>
                <a:cubicBezTo>
                  <a:pt x="129" y="377"/>
                  <a:pt x="129" y="377"/>
                  <a:pt x="129" y="377"/>
                </a:cubicBezTo>
                <a:cubicBezTo>
                  <a:pt x="129" y="376"/>
                  <a:pt x="129" y="376"/>
                  <a:pt x="129" y="376"/>
                </a:cubicBezTo>
                <a:cubicBezTo>
                  <a:pt x="123" y="371"/>
                  <a:pt x="123" y="371"/>
                  <a:pt x="123" y="371"/>
                </a:cubicBezTo>
                <a:lnTo>
                  <a:pt x="122" y="372"/>
                </a:lnTo>
                <a:close/>
                <a:moveTo>
                  <a:pt x="112" y="929"/>
                </a:moveTo>
                <a:cubicBezTo>
                  <a:pt x="113" y="929"/>
                  <a:pt x="113" y="929"/>
                  <a:pt x="113" y="929"/>
                </a:cubicBezTo>
                <a:cubicBezTo>
                  <a:pt x="116" y="926"/>
                  <a:pt x="116" y="926"/>
                  <a:pt x="116" y="926"/>
                </a:cubicBezTo>
                <a:cubicBezTo>
                  <a:pt x="117" y="925"/>
                  <a:pt x="117" y="925"/>
                  <a:pt x="117" y="925"/>
                </a:cubicBezTo>
                <a:cubicBezTo>
                  <a:pt x="118" y="924"/>
                  <a:pt x="118" y="924"/>
                  <a:pt x="118" y="924"/>
                </a:cubicBezTo>
                <a:cubicBezTo>
                  <a:pt x="117" y="924"/>
                  <a:pt x="117" y="924"/>
                  <a:pt x="117" y="924"/>
                </a:cubicBezTo>
                <a:cubicBezTo>
                  <a:pt x="116" y="924"/>
                  <a:pt x="116" y="924"/>
                  <a:pt x="116" y="924"/>
                </a:cubicBezTo>
                <a:cubicBezTo>
                  <a:pt x="103" y="924"/>
                  <a:pt x="103" y="924"/>
                  <a:pt x="103" y="924"/>
                </a:cubicBezTo>
                <a:cubicBezTo>
                  <a:pt x="99" y="925"/>
                  <a:pt x="99" y="925"/>
                  <a:pt x="99" y="925"/>
                </a:cubicBezTo>
                <a:cubicBezTo>
                  <a:pt x="98" y="925"/>
                  <a:pt x="98" y="925"/>
                  <a:pt x="98" y="925"/>
                </a:cubicBezTo>
                <a:cubicBezTo>
                  <a:pt x="96" y="926"/>
                  <a:pt x="96" y="926"/>
                  <a:pt x="96" y="926"/>
                </a:cubicBezTo>
                <a:cubicBezTo>
                  <a:pt x="96" y="927"/>
                  <a:pt x="96" y="927"/>
                  <a:pt x="96" y="927"/>
                </a:cubicBezTo>
                <a:cubicBezTo>
                  <a:pt x="95" y="928"/>
                  <a:pt x="95" y="928"/>
                  <a:pt x="95" y="928"/>
                </a:cubicBezTo>
                <a:cubicBezTo>
                  <a:pt x="96" y="930"/>
                  <a:pt x="96" y="930"/>
                  <a:pt x="96" y="930"/>
                </a:cubicBezTo>
                <a:cubicBezTo>
                  <a:pt x="97" y="930"/>
                  <a:pt x="97" y="930"/>
                  <a:pt x="97" y="930"/>
                </a:cubicBezTo>
                <a:cubicBezTo>
                  <a:pt x="102" y="931"/>
                  <a:pt x="102" y="931"/>
                  <a:pt x="102" y="931"/>
                </a:cubicBezTo>
                <a:cubicBezTo>
                  <a:pt x="108" y="930"/>
                  <a:pt x="108" y="930"/>
                  <a:pt x="108" y="930"/>
                </a:cubicBezTo>
                <a:lnTo>
                  <a:pt x="112" y="929"/>
                </a:lnTo>
                <a:close/>
                <a:moveTo>
                  <a:pt x="165" y="514"/>
                </a:moveTo>
                <a:cubicBezTo>
                  <a:pt x="164" y="513"/>
                  <a:pt x="164" y="513"/>
                  <a:pt x="164" y="513"/>
                </a:cubicBezTo>
                <a:cubicBezTo>
                  <a:pt x="164" y="512"/>
                  <a:pt x="164" y="512"/>
                  <a:pt x="164" y="512"/>
                </a:cubicBezTo>
                <a:cubicBezTo>
                  <a:pt x="161" y="513"/>
                  <a:pt x="161" y="513"/>
                  <a:pt x="161" y="513"/>
                </a:cubicBezTo>
                <a:cubicBezTo>
                  <a:pt x="156" y="516"/>
                  <a:pt x="156" y="516"/>
                  <a:pt x="156" y="516"/>
                </a:cubicBezTo>
                <a:cubicBezTo>
                  <a:pt x="155" y="517"/>
                  <a:pt x="155" y="517"/>
                  <a:pt x="155" y="517"/>
                </a:cubicBezTo>
                <a:cubicBezTo>
                  <a:pt x="155" y="517"/>
                  <a:pt x="155" y="517"/>
                  <a:pt x="155" y="517"/>
                </a:cubicBezTo>
                <a:cubicBezTo>
                  <a:pt x="155" y="524"/>
                  <a:pt x="155" y="524"/>
                  <a:pt x="155" y="524"/>
                </a:cubicBezTo>
                <a:cubicBezTo>
                  <a:pt x="157" y="526"/>
                  <a:pt x="157" y="526"/>
                  <a:pt x="157" y="526"/>
                </a:cubicBezTo>
                <a:cubicBezTo>
                  <a:pt x="160" y="526"/>
                  <a:pt x="160" y="526"/>
                  <a:pt x="160" y="526"/>
                </a:cubicBezTo>
                <a:cubicBezTo>
                  <a:pt x="163" y="526"/>
                  <a:pt x="163" y="526"/>
                  <a:pt x="163" y="526"/>
                </a:cubicBezTo>
                <a:cubicBezTo>
                  <a:pt x="164" y="525"/>
                  <a:pt x="164" y="525"/>
                  <a:pt x="164" y="525"/>
                </a:cubicBezTo>
                <a:cubicBezTo>
                  <a:pt x="166" y="520"/>
                  <a:pt x="166" y="520"/>
                  <a:pt x="166" y="520"/>
                </a:cubicBezTo>
                <a:cubicBezTo>
                  <a:pt x="166" y="519"/>
                  <a:pt x="166" y="519"/>
                  <a:pt x="166" y="519"/>
                </a:cubicBezTo>
                <a:cubicBezTo>
                  <a:pt x="164" y="516"/>
                  <a:pt x="164" y="516"/>
                  <a:pt x="164" y="516"/>
                </a:cubicBezTo>
                <a:cubicBezTo>
                  <a:pt x="164" y="515"/>
                  <a:pt x="164" y="515"/>
                  <a:pt x="164" y="515"/>
                </a:cubicBezTo>
                <a:lnTo>
                  <a:pt x="165" y="514"/>
                </a:lnTo>
                <a:close/>
                <a:moveTo>
                  <a:pt x="145" y="545"/>
                </a:moveTo>
                <a:cubicBezTo>
                  <a:pt x="139" y="543"/>
                  <a:pt x="139" y="543"/>
                  <a:pt x="139" y="543"/>
                </a:cubicBezTo>
                <a:cubicBezTo>
                  <a:pt x="137" y="544"/>
                  <a:pt x="137" y="544"/>
                  <a:pt x="137" y="544"/>
                </a:cubicBezTo>
                <a:cubicBezTo>
                  <a:pt x="136" y="544"/>
                  <a:pt x="136" y="544"/>
                  <a:pt x="136" y="544"/>
                </a:cubicBezTo>
                <a:cubicBezTo>
                  <a:pt x="134" y="546"/>
                  <a:pt x="134" y="546"/>
                  <a:pt x="134" y="546"/>
                </a:cubicBezTo>
                <a:cubicBezTo>
                  <a:pt x="162" y="561"/>
                  <a:pt x="162" y="561"/>
                  <a:pt x="162" y="561"/>
                </a:cubicBezTo>
                <a:cubicBezTo>
                  <a:pt x="164" y="561"/>
                  <a:pt x="164" y="561"/>
                  <a:pt x="164" y="561"/>
                </a:cubicBezTo>
                <a:cubicBezTo>
                  <a:pt x="164" y="560"/>
                  <a:pt x="164" y="560"/>
                  <a:pt x="164" y="560"/>
                </a:cubicBezTo>
                <a:cubicBezTo>
                  <a:pt x="167" y="557"/>
                  <a:pt x="167" y="557"/>
                  <a:pt x="167" y="557"/>
                </a:cubicBezTo>
                <a:cubicBezTo>
                  <a:pt x="167" y="556"/>
                  <a:pt x="167" y="556"/>
                  <a:pt x="167" y="556"/>
                </a:cubicBezTo>
                <a:cubicBezTo>
                  <a:pt x="167" y="556"/>
                  <a:pt x="167" y="556"/>
                  <a:pt x="167" y="556"/>
                </a:cubicBezTo>
                <a:cubicBezTo>
                  <a:pt x="166" y="555"/>
                  <a:pt x="166" y="555"/>
                  <a:pt x="166" y="555"/>
                </a:cubicBezTo>
                <a:cubicBezTo>
                  <a:pt x="159" y="550"/>
                  <a:pt x="159" y="550"/>
                  <a:pt x="159" y="550"/>
                </a:cubicBezTo>
                <a:cubicBezTo>
                  <a:pt x="157" y="549"/>
                  <a:pt x="157" y="549"/>
                  <a:pt x="157" y="549"/>
                </a:cubicBezTo>
                <a:cubicBezTo>
                  <a:pt x="153" y="547"/>
                  <a:pt x="153" y="547"/>
                  <a:pt x="153" y="547"/>
                </a:cubicBezTo>
                <a:lnTo>
                  <a:pt x="145" y="545"/>
                </a:lnTo>
                <a:close/>
                <a:moveTo>
                  <a:pt x="180" y="575"/>
                </a:moveTo>
                <a:cubicBezTo>
                  <a:pt x="181" y="575"/>
                  <a:pt x="181" y="575"/>
                  <a:pt x="181" y="575"/>
                </a:cubicBezTo>
                <a:cubicBezTo>
                  <a:pt x="182" y="573"/>
                  <a:pt x="182" y="573"/>
                  <a:pt x="182" y="573"/>
                </a:cubicBezTo>
                <a:cubicBezTo>
                  <a:pt x="183" y="571"/>
                  <a:pt x="183" y="571"/>
                  <a:pt x="183" y="571"/>
                </a:cubicBezTo>
                <a:cubicBezTo>
                  <a:pt x="183" y="570"/>
                  <a:pt x="183" y="570"/>
                  <a:pt x="183" y="570"/>
                </a:cubicBezTo>
                <a:cubicBezTo>
                  <a:pt x="183" y="570"/>
                  <a:pt x="183" y="570"/>
                  <a:pt x="183" y="570"/>
                </a:cubicBezTo>
                <a:cubicBezTo>
                  <a:pt x="183" y="570"/>
                  <a:pt x="183" y="570"/>
                  <a:pt x="183" y="570"/>
                </a:cubicBezTo>
                <a:cubicBezTo>
                  <a:pt x="183" y="569"/>
                  <a:pt x="183" y="569"/>
                  <a:pt x="183" y="569"/>
                </a:cubicBezTo>
                <a:cubicBezTo>
                  <a:pt x="181" y="568"/>
                  <a:pt x="181" y="568"/>
                  <a:pt x="181" y="568"/>
                </a:cubicBezTo>
                <a:cubicBezTo>
                  <a:pt x="179" y="568"/>
                  <a:pt x="179" y="568"/>
                  <a:pt x="179" y="568"/>
                </a:cubicBezTo>
                <a:cubicBezTo>
                  <a:pt x="177" y="570"/>
                  <a:pt x="177" y="570"/>
                  <a:pt x="177" y="570"/>
                </a:cubicBezTo>
                <a:cubicBezTo>
                  <a:pt x="175" y="571"/>
                  <a:pt x="175" y="571"/>
                  <a:pt x="175" y="571"/>
                </a:cubicBezTo>
                <a:cubicBezTo>
                  <a:pt x="175" y="571"/>
                  <a:pt x="175" y="571"/>
                  <a:pt x="175" y="571"/>
                </a:cubicBezTo>
                <a:cubicBezTo>
                  <a:pt x="175" y="573"/>
                  <a:pt x="175" y="573"/>
                  <a:pt x="175" y="573"/>
                </a:cubicBezTo>
                <a:lnTo>
                  <a:pt x="180" y="575"/>
                </a:lnTo>
                <a:close/>
                <a:moveTo>
                  <a:pt x="174" y="560"/>
                </a:moveTo>
                <a:cubicBezTo>
                  <a:pt x="170" y="561"/>
                  <a:pt x="170" y="561"/>
                  <a:pt x="170" y="561"/>
                </a:cubicBezTo>
                <a:cubicBezTo>
                  <a:pt x="169" y="562"/>
                  <a:pt x="169" y="562"/>
                  <a:pt x="169" y="562"/>
                </a:cubicBezTo>
                <a:cubicBezTo>
                  <a:pt x="167" y="563"/>
                  <a:pt x="167" y="563"/>
                  <a:pt x="167" y="563"/>
                </a:cubicBezTo>
                <a:cubicBezTo>
                  <a:pt x="167" y="565"/>
                  <a:pt x="167" y="565"/>
                  <a:pt x="167" y="565"/>
                </a:cubicBezTo>
                <a:cubicBezTo>
                  <a:pt x="167" y="566"/>
                  <a:pt x="167" y="566"/>
                  <a:pt x="167" y="566"/>
                </a:cubicBezTo>
                <a:cubicBezTo>
                  <a:pt x="167" y="566"/>
                  <a:pt x="167" y="566"/>
                  <a:pt x="167" y="566"/>
                </a:cubicBezTo>
                <a:cubicBezTo>
                  <a:pt x="169" y="568"/>
                  <a:pt x="169" y="568"/>
                  <a:pt x="169" y="568"/>
                </a:cubicBezTo>
                <a:cubicBezTo>
                  <a:pt x="171" y="567"/>
                  <a:pt x="171" y="567"/>
                  <a:pt x="171" y="567"/>
                </a:cubicBezTo>
                <a:cubicBezTo>
                  <a:pt x="174" y="564"/>
                  <a:pt x="174" y="564"/>
                  <a:pt x="174" y="564"/>
                </a:cubicBezTo>
                <a:cubicBezTo>
                  <a:pt x="175" y="563"/>
                  <a:pt x="175" y="563"/>
                  <a:pt x="175" y="563"/>
                </a:cubicBezTo>
                <a:cubicBezTo>
                  <a:pt x="175" y="561"/>
                  <a:pt x="175" y="561"/>
                  <a:pt x="175" y="561"/>
                </a:cubicBezTo>
                <a:cubicBezTo>
                  <a:pt x="175" y="561"/>
                  <a:pt x="175" y="561"/>
                  <a:pt x="175" y="561"/>
                </a:cubicBezTo>
                <a:cubicBezTo>
                  <a:pt x="175" y="560"/>
                  <a:pt x="175" y="560"/>
                  <a:pt x="175" y="560"/>
                </a:cubicBezTo>
                <a:lnTo>
                  <a:pt x="174" y="560"/>
                </a:lnTo>
                <a:close/>
                <a:moveTo>
                  <a:pt x="33" y="855"/>
                </a:moveTo>
                <a:cubicBezTo>
                  <a:pt x="39" y="852"/>
                  <a:pt x="39" y="852"/>
                  <a:pt x="39" y="852"/>
                </a:cubicBezTo>
                <a:cubicBezTo>
                  <a:pt x="42" y="849"/>
                  <a:pt x="42" y="849"/>
                  <a:pt x="42" y="849"/>
                </a:cubicBezTo>
                <a:cubicBezTo>
                  <a:pt x="42" y="848"/>
                  <a:pt x="42" y="848"/>
                  <a:pt x="42" y="848"/>
                </a:cubicBezTo>
                <a:cubicBezTo>
                  <a:pt x="41" y="847"/>
                  <a:pt x="41" y="847"/>
                  <a:pt x="41" y="847"/>
                </a:cubicBezTo>
                <a:cubicBezTo>
                  <a:pt x="36" y="846"/>
                  <a:pt x="36" y="846"/>
                  <a:pt x="36" y="846"/>
                </a:cubicBezTo>
                <a:cubicBezTo>
                  <a:pt x="34" y="846"/>
                  <a:pt x="34" y="846"/>
                  <a:pt x="34" y="846"/>
                </a:cubicBezTo>
                <a:cubicBezTo>
                  <a:pt x="25" y="851"/>
                  <a:pt x="25" y="851"/>
                  <a:pt x="25" y="851"/>
                </a:cubicBezTo>
                <a:cubicBezTo>
                  <a:pt x="24" y="853"/>
                  <a:pt x="24" y="853"/>
                  <a:pt x="24" y="853"/>
                </a:cubicBezTo>
                <a:cubicBezTo>
                  <a:pt x="22" y="855"/>
                  <a:pt x="22" y="855"/>
                  <a:pt x="22" y="855"/>
                </a:cubicBezTo>
                <a:cubicBezTo>
                  <a:pt x="22" y="857"/>
                  <a:pt x="22" y="857"/>
                  <a:pt x="22" y="857"/>
                </a:cubicBezTo>
                <a:cubicBezTo>
                  <a:pt x="22" y="857"/>
                  <a:pt x="22" y="857"/>
                  <a:pt x="22" y="857"/>
                </a:cubicBezTo>
                <a:cubicBezTo>
                  <a:pt x="31" y="855"/>
                  <a:pt x="31" y="855"/>
                  <a:pt x="31" y="855"/>
                </a:cubicBezTo>
                <a:lnTo>
                  <a:pt x="33" y="855"/>
                </a:lnTo>
                <a:close/>
                <a:moveTo>
                  <a:pt x="53" y="928"/>
                </a:moveTo>
                <a:cubicBezTo>
                  <a:pt x="51" y="929"/>
                  <a:pt x="51" y="929"/>
                  <a:pt x="51" y="929"/>
                </a:cubicBezTo>
                <a:cubicBezTo>
                  <a:pt x="48" y="931"/>
                  <a:pt x="48" y="931"/>
                  <a:pt x="48" y="931"/>
                </a:cubicBezTo>
                <a:cubicBezTo>
                  <a:pt x="45" y="934"/>
                  <a:pt x="45" y="934"/>
                  <a:pt x="45" y="934"/>
                </a:cubicBezTo>
                <a:cubicBezTo>
                  <a:pt x="45" y="935"/>
                  <a:pt x="45" y="935"/>
                  <a:pt x="45" y="935"/>
                </a:cubicBezTo>
                <a:cubicBezTo>
                  <a:pt x="48" y="935"/>
                  <a:pt x="48" y="935"/>
                  <a:pt x="48" y="935"/>
                </a:cubicBezTo>
                <a:cubicBezTo>
                  <a:pt x="49" y="934"/>
                  <a:pt x="49" y="934"/>
                  <a:pt x="49" y="934"/>
                </a:cubicBezTo>
                <a:cubicBezTo>
                  <a:pt x="55" y="932"/>
                  <a:pt x="55" y="932"/>
                  <a:pt x="55" y="932"/>
                </a:cubicBezTo>
                <a:cubicBezTo>
                  <a:pt x="57" y="930"/>
                  <a:pt x="57" y="930"/>
                  <a:pt x="57" y="930"/>
                </a:cubicBezTo>
                <a:cubicBezTo>
                  <a:pt x="57" y="929"/>
                  <a:pt x="57" y="929"/>
                  <a:pt x="57" y="929"/>
                </a:cubicBezTo>
                <a:cubicBezTo>
                  <a:pt x="58" y="929"/>
                  <a:pt x="58" y="929"/>
                  <a:pt x="58" y="929"/>
                </a:cubicBezTo>
                <a:cubicBezTo>
                  <a:pt x="57" y="928"/>
                  <a:pt x="57" y="928"/>
                  <a:pt x="57" y="928"/>
                </a:cubicBezTo>
                <a:lnTo>
                  <a:pt x="53" y="928"/>
                </a:lnTo>
                <a:close/>
                <a:moveTo>
                  <a:pt x="12" y="798"/>
                </a:moveTo>
                <a:cubicBezTo>
                  <a:pt x="11" y="799"/>
                  <a:pt x="11" y="799"/>
                  <a:pt x="11" y="799"/>
                </a:cubicBezTo>
                <a:cubicBezTo>
                  <a:pt x="1" y="805"/>
                  <a:pt x="1" y="805"/>
                  <a:pt x="1" y="805"/>
                </a:cubicBezTo>
                <a:cubicBezTo>
                  <a:pt x="0" y="806"/>
                  <a:pt x="0" y="806"/>
                  <a:pt x="0" y="806"/>
                </a:cubicBezTo>
                <a:cubicBezTo>
                  <a:pt x="0" y="807"/>
                  <a:pt x="0" y="807"/>
                  <a:pt x="0" y="807"/>
                </a:cubicBezTo>
                <a:cubicBezTo>
                  <a:pt x="1" y="808"/>
                  <a:pt x="1" y="808"/>
                  <a:pt x="1" y="808"/>
                </a:cubicBezTo>
                <a:cubicBezTo>
                  <a:pt x="2" y="808"/>
                  <a:pt x="2" y="808"/>
                  <a:pt x="2" y="808"/>
                </a:cubicBezTo>
                <a:cubicBezTo>
                  <a:pt x="11" y="804"/>
                  <a:pt x="11" y="804"/>
                  <a:pt x="11" y="804"/>
                </a:cubicBezTo>
                <a:cubicBezTo>
                  <a:pt x="12" y="803"/>
                  <a:pt x="12" y="803"/>
                  <a:pt x="12" y="803"/>
                </a:cubicBezTo>
                <a:cubicBezTo>
                  <a:pt x="12" y="802"/>
                  <a:pt x="12" y="802"/>
                  <a:pt x="12" y="802"/>
                </a:cubicBezTo>
                <a:cubicBezTo>
                  <a:pt x="13" y="801"/>
                  <a:pt x="13" y="801"/>
                  <a:pt x="13" y="801"/>
                </a:cubicBezTo>
                <a:cubicBezTo>
                  <a:pt x="13" y="800"/>
                  <a:pt x="13" y="800"/>
                  <a:pt x="13" y="800"/>
                </a:cubicBezTo>
                <a:cubicBezTo>
                  <a:pt x="13" y="800"/>
                  <a:pt x="13" y="800"/>
                  <a:pt x="13" y="800"/>
                </a:cubicBezTo>
                <a:cubicBezTo>
                  <a:pt x="13" y="799"/>
                  <a:pt x="13" y="799"/>
                  <a:pt x="13" y="799"/>
                </a:cubicBezTo>
                <a:lnTo>
                  <a:pt x="12" y="798"/>
                </a:lnTo>
                <a:close/>
                <a:moveTo>
                  <a:pt x="84" y="424"/>
                </a:moveTo>
                <a:cubicBezTo>
                  <a:pt x="88" y="424"/>
                  <a:pt x="88" y="424"/>
                  <a:pt x="88" y="424"/>
                </a:cubicBezTo>
                <a:cubicBezTo>
                  <a:pt x="90" y="422"/>
                  <a:pt x="90" y="422"/>
                  <a:pt x="90" y="422"/>
                </a:cubicBezTo>
                <a:cubicBezTo>
                  <a:pt x="91" y="422"/>
                  <a:pt x="91" y="422"/>
                  <a:pt x="91" y="422"/>
                </a:cubicBezTo>
                <a:cubicBezTo>
                  <a:pt x="91" y="418"/>
                  <a:pt x="91" y="418"/>
                  <a:pt x="91" y="418"/>
                </a:cubicBezTo>
                <a:cubicBezTo>
                  <a:pt x="91" y="418"/>
                  <a:pt x="91" y="418"/>
                  <a:pt x="91" y="418"/>
                </a:cubicBezTo>
                <a:cubicBezTo>
                  <a:pt x="90" y="417"/>
                  <a:pt x="90" y="417"/>
                  <a:pt x="90" y="417"/>
                </a:cubicBezTo>
                <a:cubicBezTo>
                  <a:pt x="90" y="417"/>
                  <a:pt x="90" y="417"/>
                  <a:pt x="90" y="417"/>
                </a:cubicBezTo>
                <a:cubicBezTo>
                  <a:pt x="88" y="417"/>
                  <a:pt x="88" y="417"/>
                  <a:pt x="88" y="417"/>
                </a:cubicBezTo>
                <a:cubicBezTo>
                  <a:pt x="80" y="417"/>
                  <a:pt x="80" y="417"/>
                  <a:pt x="80" y="417"/>
                </a:cubicBezTo>
                <a:cubicBezTo>
                  <a:pt x="80" y="418"/>
                  <a:pt x="80" y="418"/>
                  <a:pt x="80" y="418"/>
                </a:cubicBezTo>
                <a:cubicBezTo>
                  <a:pt x="79" y="418"/>
                  <a:pt x="79" y="418"/>
                  <a:pt x="79" y="418"/>
                </a:cubicBezTo>
                <a:cubicBezTo>
                  <a:pt x="79" y="419"/>
                  <a:pt x="79" y="419"/>
                  <a:pt x="79" y="419"/>
                </a:cubicBezTo>
                <a:cubicBezTo>
                  <a:pt x="79" y="421"/>
                  <a:pt x="79" y="421"/>
                  <a:pt x="79" y="421"/>
                </a:cubicBezTo>
                <a:cubicBezTo>
                  <a:pt x="79" y="421"/>
                  <a:pt x="79" y="421"/>
                  <a:pt x="79" y="421"/>
                </a:cubicBezTo>
                <a:cubicBezTo>
                  <a:pt x="82" y="423"/>
                  <a:pt x="82" y="423"/>
                  <a:pt x="82" y="423"/>
                </a:cubicBezTo>
                <a:lnTo>
                  <a:pt x="84" y="424"/>
                </a:lnTo>
                <a:close/>
                <a:moveTo>
                  <a:pt x="711" y="578"/>
                </a:moveTo>
                <a:cubicBezTo>
                  <a:pt x="702" y="536"/>
                  <a:pt x="702" y="536"/>
                  <a:pt x="702" y="536"/>
                </a:cubicBezTo>
                <a:cubicBezTo>
                  <a:pt x="692" y="529"/>
                  <a:pt x="692" y="529"/>
                  <a:pt x="692" y="529"/>
                </a:cubicBezTo>
                <a:cubicBezTo>
                  <a:pt x="690" y="527"/>
                  <a:pt x="690" y="527"/>
                  <a:pt x="690" y="527"/>
                </a:cubicBezTo>
                <a:cubicBezTo>
                  <a:pt x="689" y="526"/>
                  <a:pt x="689" y="526"/>
                  <a:pt x="689" y="526"/>
                </a:cubicBezTo>
                <a:cubicBezTo>
                  <a:pt x="683" y="518"/>
                  <a:pt x="683" y="518"/>
                  <a:pt x="683" y="518"/>
                </a:cubicBezTo>
                <a:cubicBezTo>
                  <a:pt x="683" y="515"/>
                  <a:pt x="683" y="515"/>
                  <a:pt x="683" y="515"/>
                </a:cubicBezTo>
                <a:cubicBezTo>
                  <a:pt x="683" y="515"/>
                  <a:pt x="683" y="515"/>
                  <a:pt x="683" y="515"/>
                </a:cubicBezTo>
                <a:cubicBezTo>
                  <a:pt x="695" y="490"/>
                  <a:pt x="695" y="490"/>
                  <a:pt x="695" y="490"/>
                </a:cubicBezTo>
                <a:cubicBezTo>
                  <a:pt x="700" y="483"/>
                  <a:pt x="700" y="483"/>
                  <a:pt x="700" y="483"/>
                </a:cubicBezTo>
                <a:cubicBezTo>
                  <a:pt x="705" y="472"/>
                  <a:pt x="705" y="472"/>
                  <a:pt x="705" y="472"/>
                </a:cubicBezTo>
                <a:cubicBezTo>
                  <a:pt x="706" y="472"/>
                  <a:pt x="706" y="472"/>
                  <a:pt x="706" y="472"/>
                </a:cubicBezTo>
                <a:cubicBezTo>
                  <a:pt x="706" y="468"/>
                  <a:pt x="706" y="468"/>
                  <a:pt x="706" y="468"/>
                </a:cubicBezTo>
                <a:cubicBezTo>
                  <a:pt x="706" y="466"/>
                  <a:pt x="706" y="466"/>
                  <a:pt x="706" y="466"/>
                </a:cubicBezTo>
                <a:cubicBezTo>
                  <a:pt x="705" y="462"/>
                  <a:pt x="705" y="462"/>
                  <a:pt x="705" y="462"/>
                </a:cubicBezTo>
                <a:cubicBezTo>
                  <a:pt x="702" y="457"/>
                  <a:pt x="702" y="457"/>
                  <a:pt x="702" y="457"/>
                </a:cubicBezTo>
                <a:cubicBezTo>
                  <a:pt x="700" y="457"/>
                  <a:pt x="700" y="457"/>
                  <a:pt x="700" y="457"/>
                </a:cubicBezTo>
                <a:cubicBezTo>
                  <a:pt x="696" y="456"/>
                  <a:pt x="696" y="456"/>
                  <a:pt x="696" y="456"/>
                </a:cubicBezTo>
                <a:cubicBezTo>
                  <a:pt x="695" y="455"/>
                  <a:pt x="695" y="455"/>
                  <a:pt x="695" y="455"/>
                </a:cubicBezTo>
                <a:cubicBezTo>
                  <a:pt x="686" y="444"/>
                  <a:pt x="686" y="444"/>
                  <a:pt x="686" y="444"/>
                </a:cubicBezTo>
                <a:cubicBezTo>
                  <a:pt x="682" y="433"/>
                  <a:pt x="682" y="433"/>
                  <a:pt x="682" y="433"/>
                </a:cubicBezTo>
                <a:cubicBezTo>
                  <a:pt x="680" y="422"/>
                  <a:pt x="680" y="422"/>
                  <a:pt x="680" y="422"/>
                </a:cubicBezTo>
                <a:cubicBezTo>
                  <a:pt x="681" y="420"/>
                  <a:pt x="681" y="420"/>
                  <a:pt x="681" y="420"/>
                </a:cubicBezTo>
                <a:cubicBezTo>
                  <a:pt x="681" y="415"/>
                  <a:pt x="681" y="415"/>
                  <a:pt x="681" y="415"/>
                </a:cubicBezTo>
                <a:cubicBezTo>
                  <a:pt x="682" y="407"/>
                  <a:pt x="682" y="407"/>
                  <a:pt x="682" y="407"/>
                </a:cubicBezTo>
                <a:cubicBezTo>
                  <a:pt x="682" y="388"/>
                  <a:pt x="682" y="388"/>
                  <a:pt x="682" y="388"/>
                </a:cubicBezTo>
                <a:cubicBezTo>
                  <a:pt x="682" y="387"/>
                  <a:pt x="682" y="387"/>
                  <a:pt x="682" y="387"/>
                </a:cubicBezTo>
                <a:cubicBezTo>
                  <a:pt x="679" y="386"/>
                  <a:pt x="679" y="386"/>
                  <a:pt x="679" y="386"/>
                </a:cubicBezTo>
                <a:cubicBezTo>
                  <a:pt x="675" y="386"/>
                  <a:pt x="675" y="386"/>
                  <a:pt x="675" y="386"/>
                </a:cubicBezTo>
                <a:cubicBezTo>
                  <a:pt x="670" y="384"/>
                  <a:pt x="670" y="384"/>
                  <a:pt x="670" y="384"/>
                </a:cubicBezTo>
                <a:cubicBezTo>
                  <a:pt x="668" y="383"/>
                  <a:pt x="668" y="383"/>
                  <a:pt x="668" y="383"/>
                </a:cubicBezTo>
                <a:cubicBezTo>
                  <a:pt x="667" y="382"/>
                  <a:pt x="667" y="382"/>
                  <a:pt x="667" y="382"/>
                </a:cubicBezTo>
                <a:cubicBezTo>
                  <a:pt x="663" y="376"/>
                  <a:pt x="663" y="376"/>
                  <a:pt x="663" y="376"/>
                </a:cubicBezTo>
                <a:cubicBezTo>
                  <a:pt x="662" y="374"/>
                  <a:pt x="662" y="374"/>
                  <a:pt x="662" y="374"/>
                </a:cubicBezTo>
                <a:cubicBezTo>
                  <a:pt x="662" y="372"/>
                  <a:pt x="662" y="372"/>
                  <a:pt x="662" y="372"/>
                </a:cubicBezTo>
                <a:cubicBezTo>
                  <a:pt x="662" y="364"/>
                  <a:pt x="662" y="364"/>
                  <a:pt x="662" y="364"/>
                </a:cubicBezTo>
                <a:cubicBezTo>
                  <a:pt x="662" y="363"/>
                  <a:pt x="662" y="363"/>
                  <a:pt x="662" y="363"/>
                </a:cubicBezTo>
                <a:cubicBezTo>
                  <a:pt x="665" y="349"/>
                  <a:pt x="665" y="349"/>
                  <a:pt x="665" y="349"/>
                </a:cubicBezTo>
                <a:cubicBezTo>
                  <a:pt x="666" y="348"/>
                  <a:pt x="666" y="348"/>
                  <a:pt x="666" y="348"/>
                </a:cubicBezTo>
                <a:cubicBezTo>
                  <a:pt x="668" y="348"/>
                  <a:pt x="668" y="348"/>
                  <a:pt x="668" y="348"/>
                </a:cubicBezTo>
                <a:cubicBezTo>
                  <a:pt x="675" y="349"/>
                  <a:pt x="675" y="349"/>
                  <a:pt x="675" y="349"/>
                </a:cubicBezTo>
                <a:cubicBezTo>
                  <a:pt x="682" y="353"/>
                  <a:pt x="682" y="353"/>
                  <a:pt x="682" y="353"/>
                </a:cubicBezTo>
                <a:cubicBezTo>
                  <a:pt x="686" y="355"/>
                  <a:pt x="686" y="355"/>
                  <a:pt x="686" y="355"/>
                </a:cubicBezTo>
                <a:cubicBezTo>
                  <a:pt x="688" y="356"/>
                  <a:pt x="688" y="356"/>
                  <a:pt x="688" y="356"/>
                </a:cubicBezTo>
                <a:cubicBezTo>
                  <a:pt x="691" y="357"/>
                  <a:pt x="691" y="357"/>
                  <a:pt x="691" y="357"/>
                </a:cubicBezTo>
                <a:cubicBezTo>
                  <a:pt x="693" y="357"/>
                  <a:pt x="693" y="357"/>
                  <a:pt x="693" y="357"/>
                </a:cubicBezTo>
                <a:cubicBezTo>
                  <a:pt x="697" y="355"/>
                  <a:pt x="697" y="355"/>
                  <a:pt x="697" y="355"/>
                </a:cubicBezTo>
                <a:cubicBezTo>
                  <a:pt x="700" y="354"/>
                  <a:pt x="700" y="354"/>
                  <a:pt x="700" y="354"/>
                </a:cubicBezTo>
                <a:cubicBezTo>
                  <a:pt x="701" y="353"/>
                  <a:pt x="701" y="353"/>
                  <a:pt x="701" y="353"/>
                </a:cubicBezTo>
                <a:cubicBezTo>
                  <a:pt x="701" y="352"/>
                  <a:pt x="701" y="352"/>
                  <a:pt x="701" y="352"/>
                </a:cubicBezTo>
                <a:cubicBezTo>
                  <a:pt x="701" y="350"/>
                  <a:pt x="701" y="350"/>
                  <a:pt x="701" y="350"/>
                </a:cubicBezTo>
                <a:cubicBezTo>
                  <a:pt x="699" y="345"/>
                  <a:pt x="699" y="345"/>
                  <a:pt x="699" y="345"/>
                </a:cubicBezTo>
                <a:cubicBezTo>
                  <a:pt x="698" y="344"/>
                  <a:pt x="698" y="344"/>
                  <a:pt x="698" y="344"/>
                </a:cubicBezTo>
                <a:cubicBezTo>
                  <a:pt x="695" y="344"/>
                  <a:pt x="695" y="344"/>
                  <a:pt x="695" y="344"/>
                </a:cubicBezTo>
                <a:cubicBezTo>
                  <a:pt x="693" y="344"/>
                  <a:pt x="693" y="344"/>
                  <a:pt x="693" y="344"/>
                </a:cubicBezTo>
                <a:cubicBezTo>
                  <a:pt x="692" y="343"/>
                  <a:pt x="692" y="343"/>
                  <a:pt x="692" y="343"/>
                </a:cubicBezTo>
                <a:cubicBezTo>
                  <a:pt x="682" y="332"/>
                  <a:pt x="682" y="332"/>
                  <a:pt x="682" y="332"/>
                </a:cubicBezTo>
                <a:cubicBezTo>
                  <a:pt x="680" y="330"/>
                  <a:pt x="680" y="330"/>
                  <a:pt x="680" y="330"/>
                </a:cubicBezTo>
                <a:cubicBezTo>
                  <a:pt x="680" y="329"/>
                  <a:pt x="680" y="329"/>
                  <a:pt x="680" y="329"/>
                </a:cubicBezTo>
                <a:cubicBezTo>
                  <a:pt x="680" y="329"/>
                  <a:pt x="680" y="329"/>
                  <a:pt x="680" y="329"/>
                </a:cubicBezTo>
                <a:cubicBezTo>
                  <a:pt x="676" y="328"/>
                  <a:pt x="676" y="328"/>
                  <a:pt x="676" y="328"/>
                </a:cubicBezTo>
                <a:cubicBezTo>
                  <a:pt x="675" y="328"/>
                  <a:pt x="675" y="328"/>
                  <a:pt x="675" y="328"/>
                </a:cubicBezTo>
                <a:cubicBezTo>
                  <a:pt x="669" y="330"/>
                  <a:pt x="669" y="330"/>
                  <a:pt x="669" y="330"/>
                </a:cubicBezTo>
                <a:cubicBezTo>
                  <a:pt x="668" y="330"/>
                  <a:pt x="668" y="330"/>
                  <a:pt x="668" y="330"/>
                </a:cubicBezTo>
                <a:cubicBezTo>
                  <a:pt x="668" y="333"/>
                  <a:pt x="668" y="333"/>
                  <a:pt x="668" y="333"/>
                </a:cubicBezTo>
                <a:cubicBezTo>
                  <a:pt x="668" y="335"/>
                  <a:pt x="668" y="335"/>
                  <a:pt x="668" y="335"/>
                </a:cubicBezTo>
                <a:cubicBezTo>
                  <a:pt x="660" y="338"/>
                  <a:pt x="660" y="338"/>
                  <a:pt x="660" y="338"/>
                </a:cubicBezTo>
                <a:cubicBezTo>
                  <a:pt x="632" y="342"/>
                  <a:pt x="632" y="342"/>
                  <a:pt x="632" y="342"/>
                </a:cubicBezTo>
                <a:cubicBezTo>
                  <a:pt x="628" y="342"/>
                  <a:pt x="628" y="342"/>
                  <a:pt x="628" y="342"/>
                </a:cubicBezTo>
                <a:cubicBezTo>
                  <a:pt x="627" y="341"/>
                  <a:pt x="627" y="341"/>
                  <a:pt x="627" y="341"/>
                </a:cubicBezTo>
                <a:cubicBezTo>
                  <a:pt x="624" y="337"/>
                  <a:pt x="624" y="337"/>
                  <a:pt x="624" y="337"/>
                </a:cubicBezTo>
                <a:cubicBezTo>
                  <a:pt x="620" y="330"/>
                  <a:pt x="620" y="330"/>
                  <a:pt x="620" y="330"/>
                </a:cubicBezTo>
                <a:cubicBezTo>
                  <a:pt x="620" y="328"/>
                  <a:pt x="620" y="328"/>
                  <a:pt x="620" y="328"/>
                </a:cubicBezTo>
                <a:cubicBezTo>
                  <a:pt x="620" y="325"/>
                  <a:pt x="620" y="325"/>
                  <a:pt x="620" y="325"/>
                </a:cubicBezTo>
                <a:cubicBezTo>
                  <a:pt x="620" y="323"/>
                  <a:pt x="620" y="323"/>
                  <a:pt x="620" y="323"/>
                </a:cubicBezTo>
                <a:cubicBezTo>
                  <a:pt x="624" y="317"/>
                  <a:pt x="624" y="317"/>
                  <a:pt x="624" y="317"/>
                </a:cubicBezTo>
                <a:cubicBezTo>
                  <a:pt x="624" y="314"/>
                  <a:pt x="624" y="314"/>
                  <a:pt x="624" y="314"/>
                </a:cubicBezTo>
                <a:cubicBezTo>
                  <a:pt x="624" y="313"/>
                  <a:pt x="624" y="313"/>
                  <a:pt x="624" y="313"/>
                </a:cubicBezTo>
                <a:cubicBezTo>
                  <a:pt x="623" y="310"/>
                  <a:pt x="623" y="310"/>
                  <a:pt x="623" y="310"/>
                </a:cubicBezTo>
                <a:cubicBezTo>
                  <a:pt x="622" y="308"/>
                  <a:pt x="622" y="308"/>
                  <a:pt x="622" y="308"/>
                </a:cubicBezTo>
                <a:cubicBezTo>
                  <a:pt x="621" y="306"/>
                  <a:pt x="621" y="306"/>
                  <a:pt x="621" y="306"/>
                </a:cubicBezTo>
                <a:cubicBezTo>
                  <a:pt x="614" y="303"/>
                  <a:pt x="614" y="303"/>
                  <a:pt x="614" y="303"/>
                </a:cubicBezTo>
                <a:cubicBezTo>
                  <a:pt x="613" y="305"/>
                  <a:pt x="613" y="305"/>
                  <a:pt x="613" y="305"/>
                </a:cubicBezTo>
                <a:cubicBezTo>
                  <a:pt x="611" y="307"/>
                  <a:pt x="611" y="307"/>
                  <a:pt x="611" y="307"/>
                </a:cubicBezTo>
                <a:cubicBezTo>
                  <a:pt x="609" y="305"/>
                  <a:pt x="609" y="305"/>
                  <a:pt x="609" y="305"/>
                </a:cubicBezTo>
                <a:cubicBezTo>
                  <a:pt x="600" y="298"/>
                  <a:pt x="600" y="298"/>
                  <a:pt x="600" y="298"/>
                </a:cubicBezTo>
                <a:cubicBezTo>
                  <a:pt x="597" y="293"/>
                  <a:pt x="597" y="293"/>
                  <a:pt x="597" y="293"/>
                </a:cubicBezTo>
                <a:cubicBezTo>
                  <a:pt x="592" y="280"/>
                  <a:pt x="592" y="280"/>
                  <a:pt x="592" y="280"/>
                </a:cubicBezTo>
                <a:cubicBezTo>
                  <a:pt x="591" y="277"/>
                  <a:pt x="591" y="277"/>
                  <a:pt x="591" y="277"/>
                </a:cubicBezTo>
                <a:cubicBezTo>
                  <a:pt x="592" y="274"/>
                  <a:pt x="592" y="274"/>
                  <a:pt x="592" y="274"/>
                </a:cubicBezTo>
                <a:cubicBezTo>
                  <a:pt x="590" y="267"/>
                  <a:pt x="590" y="267"/>
                  <a:pt x="590" y="267"/>
                </a:cubicBezTo>
                <a:cubicBezTo>
                  <a:pt x="589" y="265"/>
                  <a:pt x="589" y="265"/>
                  <a:pt x="589" y="265"/>
                </a:cubicBezTo>
                <a:cubicBezTo>
                  <a:pt x="584" y="258"/>
                  <a:pt x="584" y="258"/>
                  <a:pt x="584" y="258"/>
                </a:cubicBezTo>
                <a:cubicBezTo>
                  <a:pt x="578" y="251"/>
                  <a:pt x="578" y="251"/>
                  <a:pt x="578" y="251"/>
                </a:cubicBezTo>
                <a:cubicBezTo>
                  <a:pt x="569" y="247"/>
                  <a:pt x="569" y="247"/>
                  <a:pt x="569" y="247"/>
                </a:cubicBezTo>
                <a:cubicBezTo>
                  <a:pt x="568" y="247"/>
                  <a:pt x="568" y="247"/>
                  <a:pt x="568" y="247"/>
                </a:cubicBezTo>
                <a:cubicBezTo>
                  <a:pt x="552" y="266"/>
                  <a:pt x="552" y="266"/>
                  <a:pt x="552" y="266"/>
                </a:cubicBezTo>
                <a:cubicBezTo>
                  <a:pt x="548" y="277"/>
                  <a:pt x="548" y="277"/>
                  <a:pt x="548" y="277"/>
                </a:cubicBezTo>
                <a:cubicBezTo>
                  <a:pt x="551" y="284"/>
                  <a:pt x="551" y="284"/>
                  <a:pt x="551" y="284"/>
                </a:cubicBezTo>
                <a:cubicBezTo>
                  <a:pt x="551" y="292"/>
                  <a:pt x="551" y="292"/>
                  <a:pt x="551" y="292"/>
                </a:cubicBezTo>
                <a:cubicBezTo>
                  <a:pt x="533" y="317"/>
                  <a:pt x="533" y="317"/>
                  <a:pt x="533" y="317"/>
                </a:cubicBezTo>
                <a:cubicBezTo>
                  <a:pt x="529" y="320"/>
                  <a:pt x="529" y="320"/>
                  <a:pt x="529" y="320"/>
                </a:cubicBezTo>
                <a:cubicBezTo>
                  <a:pt x="523" y="321"/>
                  <a:pt x="523" y="321"/>
                  <a:pt x="523" y="321"/>
                </a:cubicBezTo>
                <a:cubicBezTo>
                  <a:pt x="521" y="321"/>
                  <a:pt x="521" y="321"/>
                  <a:pt x="521" y="321"/>
                </a:cubicBezTo>
                <a:cubicBezTo>
                  <a:pt x="496" y="319"/>
                  <a:pt x="496" y="319"/>
                  <a:pt x="496" y="319"/>
                </a:cubicBezTo>
                <a:cubicBezTo>
                  <a:pt x="486" y="317"/>
                  <a:pt x="486" y="317"/>
                  <a:pt x="486" y="317"/>
                </a:cubicBezTo>
                <a:cubicBezTo>
                  <a:pt x="484" y="315"/>
                  <a:pt x="484" y="315"/>
                  <a:pt x="484" y="315"/>
                </a:cubicBezTo>
                <a:cubicBezTo>
                  <a:pt x="478" y="311"/>
                  <a:pt x="478" y="311"/>
                  <a:pt x="478" y="311"/>
                </a:cubicBezTo>
                <a:cubicBezTo>
                  <a:pt x="476" y="309"/>
                  <a:pt x="476" y="309"/>
                  <a:pt x="476" y="309"/>
                </a:cubicBezTo>
                <a:cubicBezTo>
                  <a:pt x="475" y="306"/>
                  <a:pt x="475" y="306"/>
                  <a:pt x="475" y="306"/>
                </a:cubicBezTo>
                <a:cubicBezTo>
                  <a:pt x="475" y="305"/>
                  <a:pt x="475" y="305"/>
                  <a:pt x="475" y="305"/>
                </a:cubicBezTo>
                <a:cubicBezTo>
                  <a:pt x="475" y="303"/>
                  <a:pt x="475" y="303"/>
                  <a:pt x="475" y="303"/>
                </a:cubicBezTo>
                <a:cubicBezTo>
                  <a:pt x="473" y="301"/>
                  <a:pt x="473" y="301"/>
                  <a:pt x="473" y="301"/>
                </a:cubicBezTo>
                <a:cubicBezTo>
                  <a:pt x="468" y="298"/>
                  <a:pt x="468" y="298"/>
                  <a:pt x="468" y="298"/>
                </a:cubicBezTo>
                <a:cubicBezTo>
                  <a:pt x="466" y="297"/>
                  <a:pt x="466" y="297"/>
                  <a:pt x="466" y="297"/>
                </a:cubicBezTo>
                <a:cubicBezTo>
                  <a:pt x="460" y="296"/>
                  <a:pt x="460" y="296"/>
                  <a:pt x="460" y="296"/>
                </a:cubicBezTo>
                <a:cubicBezTo>
                  <a:pt x="451" y="295"/>
                  <a:pt x="451" y="295"/>
                  <a:pt x="451" y="295"/>
                </a:cubicBezTo>
                <a:cubicBezTo>
                  <a:pt x="445" y="294"/>
                  <a:pt x="445" y="294"/>
                  <a:pt x="445" y="294"/>
                </a:cubicBezTo>
                <a:cubicBezTo>
                  <a:pt x="443" y="293"/>
                  <a:pt x="443" y="293"/>
                  <a:pt x="443" y="293"/>
                </a:cubicBezTo>
                <a:cubicBezTo>
                  <a:pt x="442" y="288"/>
                  <a:pt x="442" y="288"/>
                  <a:pt x="442" y="288"/>
                </a:cubicBezTo>
                <a:cubicBezTo>
                  <a:pt x="435" y="273"/>
                  <a:pt x="435" y="273"/>
                  <a:pt x="435" y="273"/>
                </a:cubicBezTo>
                <a:cubicBezTo>
                  <a:pt x="428" y="264"/>
                  <a:pt x="428" y="264"/>
                  <a:pt x="428" y="264"/>
                </a:cubicBezTo>
                <a:cubicBezTo>
                  <a:pt x="417" y="253"/>
                  <a:pt x="417" y="253"/>
                  <a:pt x="417" y="253"/>
                </a:cubicBezTo>
                <a:cubicBezTo>
                  <a:pt x="402" y="234"/>
                  <a:pt x="402" y="234"/>
                  <a:pt x="402" y="234"/>
                </a:cubicBezTo>
                <a:cubicBezTo>
                  <a:pt x="400" y="227"/>
                  <a:pt x="400" y="227"/>
                  <a:pt x="400" y="227"/>
                </a:cubicBezTo>
                <a:cubicBezTo>
                  <a:pt x="402" y="225"/>
                  <a:pt x="402" y="225"/>
                  <a:pt x="402" y="225"/>
                </a:cubicBezTo>
                <a:cubicBezTo>
                  <a:pt x="432" y="208"/>
                  <a:pt x="432" y="208"/>
                  <a:pt x="432" y="208"/>
                </a:cubicBezTo>
                <a:cubicBezTo>
                  <a:pt x="446" y="208"/>
                  <a:pt x="446" y="208"/>
                  <a:pt x="446" y="208"/>
                </a:cubicBezTo>
                <a:cubicBezTo>
                  <a:pt x="448" y="208"/>
                  <a:pt x="448" y="208"/>
                  <a:pt x="448" y="208"/>
                </a:cubicBezTo>
                <a:cubicBezTo>
                  <a:pt x="451" y="206"/>
                  <a:pt x="451" y="206"/>
                  <a:pt x="451" y="206"/>
                </a:cubicBezTo>
                <a:cubicBezTo>
                  <a:pt x="469" y="191"/>
                  <a:pt x="469" y="191"/>
                  <a:pt x="469" y="191"/>
                </a:cubicBezTo>
                <a:cubicBezTo>
                  <a:pt x="469" y="189"/>
                  <a:pt x="469" y="189"/>
                  <a:pt x="469" y="189"/>
                </a:cubicBezTo>
                <a:cubicBezTo>
                  <a:pt x="458" y="188"/>
                  <a:pt x="458" y="188"/>
                  <a:pt x="458" y="188"/>
                </a:cubicBezTo>
                <a:cubicBezTo>
                  <a:pt x="449" y="187"/>
                  <a:pt x="449" y="187"/>
                  <a:pt x="449" y="187"/>
                </a:cubicBezTo>
                <a:cubicBezTo>
                  <a:pt x="447" y="187"/>
                  <a:pt x="447" y="187"/>
                  <a:pt x="447" y="187"/>
                </a:cubicBezTo>
                <a:cubicBezTo>
                  <a:pt x="437" y="175"/>
                  <a:pt x="437" y="175"/>
                  <a:pt x="437" y="175"/>
                </a:cubicBezTo>
                <a:cubicBezTo>
                  <a:pt x="440" y="169"/>
                  <a:pt x="440" y="169"/>
                  <a:pt x="440" y="169"/>
                </a:cubicBezTo>
                <a:cubicBezTo>
                  <a:pt x="447" y="159"/>
                  <a:pt x="447" y="159"/>
                  <a:pt x="447" y="159"/>
                </a:cubicBezTo>
                <a:cubicBezTo>
                  <a:pt x="449" y="157"/>
                  <a:pt x="449" y="157"/>
                  <a:pt x="449" y="157"/>
                </a:cubicBezTo>
                <a:cubicBezTo>
                  <a:pt x="450" y="157"/>
                  <a:pt x="450" y="157"/>
                  <a:pt x="450" y="157"/>
                </a:cubicBezTo>
                <a:cubicBezTo>
                  <a:pt x="453" y="157"/>
                  <a:pt x="453" y="157"/>
                  <a:pt x="453" y="157"/>
                </a:cubicBezTo>
                <a:cubicBezTo>
                  <a:pt x="456" y="158"/>
                  <a:pt x="456" y="158"/>
                  <a:pt x="456" y="158"/>
                </a:cubicBezTo>
                <a:cubicBezTo>
                  <a:pt x="461" y="163"/>
                  <a:pt x="461" y="163"/>
                  <a:pt x="461" y="163"/>
                </a:cubicBezTo>
                <a:cubicBezTo>
                  <a:pt x="462" y="165"/>
                  <a:pt x="462" y="165"/>
                  <a:pt x="462" y="165"/>
                </a:cubicBezTo>
                <a:cubicBezTo>
                  <a:pt x="463" y="165"/>
                  <a:pt x="463" y="165"/>
                  <a:pt x="463" y="165"/>
                </a:cubicBezTo>
                <a:cubicBezTo>
                  <a:pt x="466" y="166"/>
                  <a:pt x="466" y="166"/>
                  <a:pt x="466" y="166"/>
                </a:cubicBezTo>
                <a:cubicBezTo>
                  <a:pt x="495" y="154"/>
                  <a:pt x="495" y="154"/>
                  <a:pt x="495" y="154"/>
                </a:cubicBezTo>
                <a:cubicBezTo>
                  <a:pt x="508" y="128"/>
                  <a:pt x="508" y="128"/>
                  <a:pt x="508" y="128"/>
                </a:cubicBezTo>
                <a:cubicBezTo>
                  <a:pt x="510" y="124"/>
                  <a:pt x="510" y="124"/>
                  <a:pt x="510" y="124"/>
                </a:cubicBezTo>
                <a:cubicBezTo>
                  <a:pt x="514" y="109"/>
                  <a:pt x="514" y="109"/>
                  <a:pt x="514" y="109"/>
                </a:cubicBezTo>
                <a:cubicBezTo>
                  <a:pt x="515" y="99"/>
                  <a:pt x="515" y="99"/>
                  <a:pt x="515" y="99"/>
                </a:cubicBezTo>
                <a:cubicBezTo>
                  <a:pt x="514" y="98"/>
                  <a:pt x="514" y="98"/>
                  <a:pt x="514" y="98"/>
                </a:cubicBezTo>
                <a:cubicBezTo>
                  <a:pt x="515" y="96"/>
                  <a:pt x="515" y="96"/>
                  <a:pt x="515" y="96"/>
                </a:cubicBezTo>
                <a:cubicBezTo>
                  <a:pt x="524" y="83"/>
                  <a:pt x="524" y="83"/>
                  <a:pt x="524" y="83"/>
                </a:cubicBezTo>
                <a:cubicBezTo>
                  <a:pt x="526" y="82"/>
                  <a:pt x="526" y="82"/>
                  <a:pt x="526" y="82"/>
                </a:cubicBezTo>
                <a:cubicBezTo>
                  <a:pt x="541" y="80"/>
                  <a:pt x="541" y="80"/>
                  <a:pt x="541" y="80"/>
                </a:cubicBezTo>
                <a:cubicBezTo>
                  <a:pt x="541" y="80"/>
                  <a:pt x="541" y="80"/>
                  <a:pt x="541" y="80"/>
                </a:cubicBezTo>
                <a:cubicBezTo>
                  <a:pt x="541" y="80"/>
                  <a:pt x="541" y="80"/>
                  <a:pt x="541" y="80"/>
                </a:cubicBezTo>
                <a:cubicBezTo>
                  <a:pt x="541" y="79"/>
                  <a:pt x="541" y="79"/>
                  <a:pt x="541" y="79"/>
                </a:cubicBezTo>
                <a:cubicBezTo>
                  <a:pt x="542" y="78"/>
                  <a:pt x="542" y="78"/>
                  <a:pt x="542" y="78"/>
                </a:cubicBezTo>
                <a:cubicBezTo>
                  <a:pt x="543" y="75"/>
                  <a:pt x="543" y="75"/>
                  <a:pt x="543" y="75"/>
                </a:cubicBezTo>
                <a:cubicBezTo>
                  <a:pt x="545" y="72"/>
                  <a:pt x="545" y="72"/>
                  <a:pt x="545" y="72"/>
                </a:cubicBezTo>
                <a:cubicBezTo>
                  <a:pt x="552" y="62"/>
                  <a:pt x="552" y="62"/>
                  <a:pt x="552" y="62"/>
                </a:cubicBezTo>
                <a:cubicBezTo>
                  <a:pt x="553" y="61"/>
                  <a:pt x="553" y="61"/>
                  <a:pt x="553" y="61"/>
                </a:cubicBezTo>
                <a:cubicBezTo>
                  <a:pt x="556" y="59"/>
                  <a:pt x="556" y="59"/>
                  <a:pt x="556" y="59"/>
                </a:cubicBezTo>
                <a:cubicBezTo>
                  <a:pt x="558" y="58"/>
                  <a:pt x="558" y="58"/>
                  <a:pt x="558" y="58"/>
                </a:cubicBezTo>
                <a:cubicBezTo>
                  <a:pt x="570" y="51"/>
                  <a:pt x="570" y="51"/>
                  <a:pt x="570" y="51"/>
                </a:cubicBezTo>
                <a:cubicBezTo>
                  <a:pt x="586" y="43"/>
                  <a:pt x="586" y="43"/>
                  <a:pt x="586" y="43"/>
                </a:cubicBezTo>
                <a:cubicBezTo>
                  <a:pt x="588" y="42"/>
                  <a:pt x="588" y="42"/>
                  <a:pt x="588" y="42"/>
                </a:cubicBezTo>
                <a:cubicBezTo>
                  <a:pt x="589" y="38"/>
                  <a:pt x="589" y="38"/>
                  <a:pt x="589" y="38"/>
                </a:cubicBezTo>
                <a:cubicBezTo>
                  <a:pt x="588" y="36"/>
                  <a:pt x="588" y="36"/>
                  <a:pt x="588" y="36"/>
                </a:cubicBezTo>
                <a:cubicBezTo>
                  <a:pt x="585" y="34"/>
                  <a:pt x="585" y="34"/>
                  <a:pt x="585" y="34"/>
                </a:cubicBezTo>
                <a:cubicBezTo>
                  <a:pt x="572" y="28"/>
                  <a:pt x="572" y="28"/>
                  <a:pt x="572" y="28"/>
                </a:cubicBezTo>
                <a:cubicBezTo>
                  <a:pt x="553" y="13"/>
                  <a:pt x="553" y="13"/>
                  <a:pt x="553" y="13"/>
                </a:cubicBezTo>
                <a:cubicBezTo>
                  <a:pt x="550" y="9"/>
                  <a:pt x="550" y="9"/>
                  <a:pt x="550" y="9"/>
                </a:cubicBezTo>
                <a:cubicBezTo>
                  <a:pt x="545" y="6"/>
                  <a:pt x="545" y="6"/>
                  <a:pt x="545" y="6"/>
                </a:cubicBezTo>
                <a:cubicBezTo>
                  <a:pt x="528" y="0"/>
                  <a:pt x="528" y="0"/>
                  <a:pt x="528" y="0"/>
                </a:cubicBezTo>
                <a:cubicBezTo>
                  <a:pt x="523" y="1"/>
                  <a:pt x="523" y="1"/>
                  <a:pt x="523" y="1"/>
                </a:cubicBezTo>
                <a:cubicBezTo>
                  <a:pt x="522" y="1"/>
                  <a:pt x="522" y="1"/>
                  <a:pt x="522" y="1"/>
                </a:cubicBezTo>
                <a:cubicBezTo>
                  <a:pt x="521" y="2"/>
                  <a:pt x="521" y="2"/>
                  <a:pt x="521" y="2"/>
                </a:cubicBezTo>
                <a:cubicBezTo>
                  <a:pt x="533" y="19"/>
                  <a:pt x="533" y="19"/>
                  <a:pt x="533" y="19"/>
                </a:cubicBezTo>
                <a:cubicBezTo>
                  <a:pt x="522" y="22"/>
                  <a:pt x="522" y="22"/>
                  <a:pt x="522" y="22"/>
                </a:cubicBezTo>
                <a:cubicBezTo>
                  <a:pt x="503" y="25"/>
                  <a:pt x="503" y="25"/>
                  <a:pt x="503" y="25"/>
                </a:cubicBezTo>
                <a:cubicBezTo>
                  <a:pt x="503" y="25"/>
                  <a:pt x="503" y="25"/>
                  <a:pt x="503" y="25"/>
                </a:cubicBezTo>
                <a:cubicBezTo>
                  <a:pt x="499" y="44"/>
                  <a:pt x="499" y="44"/>
                  <a:pt x="499" y="44"/>
                </a:cubicBezTo>
                <a:cubicBezTo>
                  <a:pt x="499" y="45"/>
                  <a:pt x="499" y="45"/>
                  <a:pt x="499" y="45"/>
                </a:cubicBezTo>
                <a:cubicBezTo>
                  <a:pt x="500" y="46"/>
                  <a:pt x="500" y="46"/>
                  <a:pt x="500" y="46"/>
                </a:cubicBezTo>
                <a:cubicBezTo>
                  <a:pt x="503" y="47"/>
                  <a:pt x="503" y="47"/>
                  <a:pt x="503" y="47"/>
                </a:cubicBezTo>
                <a:cubicBezTo>
                  <a:pt x="504" y="49"/>
                  <a:pt x="504" y="49"/>
                  <a:pt x="504" y="49"/>
                </a:cubicBezTo>
                <a:cubicBezTo>
                  <a:pt x="507" y="55"/>
                  <a:pt x="507" y="55"/>
                  <a:pt x="507" y="55"/>
                </a:cubicBezTo>
                <a:cubicBezTo>
                  <a:pt x="510" y="60"/>
                  <a:pt x="510" y="60"/>
                  <a:pt x="510" y="60"/>
                </a:cubicBezTo>
                <a:cubicBezTo>
                  <a:pt x="510" y="61"/>
                  <a:pt x="510" y="61"/>
                  <a:pt x="510" y="61"/>
                </a:cubicBezTo>
                <a:cubicBezTo>
                  <a:pt x="511" y="82"/>
                  <a:pt x="511" y="82"/>
                  <a:pt x="511" y="82"/>
                </a:cubicBezTo>
                <a:cubicBezTo>
                  <a:pt x="511" y="83"/>
                  <a:pt x="511" y="83"/>
                  <a:pt x="511" y="83"/>
                </a:cubicBezTo>
                <a:cubicBezTo>
                  <a:pt x="509" y="84"/>
                  <a:pt x="509" y="84"/>
                  <a:pt x="509" y="84"/>
                </a:cubicBezTo>
                <a:cubicBezTo>
                  <a:pt x="502" y="87"/>
                  <a:pt x="502" y="87"/>
                  <a:pt x="502" y="87"/>
                </a:cubicBezTo>
                <a:cubicBezTo>
                  <a:pt x="497" y="87"/>
                  <a:pt x="497" y="87"/>
                  <a:pt x="497" y="87"/>
                </a:cubicBezTo>
                <a:cubicBezTo>
                  <a:pt x="485" y="84"/>
                  <a:pt x="485" y="84"/>
                  <a:pt x="485" y="84"/>
                </a:cubicBezTo>
                <a:cubicBezTo>
                  <a:pt x="485" y="83"/>
                  <a:pt x="485" y="83"/>
                  <a:pt x="485" y="83"/>
                </a:cubicBezTo>
                <a:cubicBezTo>
                  <a:pt x="486" y="81"/>
                  <a:pt x="486" y="81"/>
                  <a:pt x="486" y="81"/>
                </a:cubicBezTo>
                <a:cubicBezTo>
                  <a:pt x="496" y="73"/>
                  <a:pt x="496" y="73"/>
                  <a:pt x="496" y="73"/>
                </a:cubicBezTo>
                <a:cubicBezTo>
                  <a:pt x="497" y="73"/>
                  <a:pt x="497" y="73"/>
                  <a:pt x="497" y="73"/>
                </a:cubicBezTo>
                <a:cubicBezTo>
                  <a:pt x="500" y="72"/>
                  <a:pt x="500" y="72"/>
                  <a:pt x="500" y="72"/>
                </a:cubicBezTo>
                <a:cubicBezTo>
                  <a:pt x="501" y="72"/>
                  <a:pt x="501" y="72"/>
                  <a:pt x="501" y="72"/>
                </a:cubicBezTo>
                <a:cubicBezTo>
                  <a:pt x="503" y="66"/>
                  <a:pt x="503" y="66"/>
                  <a:pt x="503" y="66"/>
                </a:cubicBezTo>
                <a:cubicBezTo>
                  <a:pt x="502" y="63"/>
                  <a:pt x="502" y="63"/>
                  <a:pt x="502" y="63"/>
                </a:cubicBezTo>
                <a:cubicBezTo>
                  <a:pt x="489" y="25"/>
                  <a:pt x="489" y="25"/>
                  <a:pt x="489" y="25"/>
                </a:cubicBezTo>
                <a:cubicBezTo>
                  <a:pt x="489" y="24"/>
                  <a:pt x="489" y="24"/>
                  <a:pt x="489" y="24"/>
                </a:cubicBezTo>
                <a:cubicBezTo>
                  <a:pt x="488" y="24"/>
                  <a:pt x="488" y="24"/>
                  <a:pt x="488" y="24"/>
                </a:cubicBezTo>
                <a:cubicBezTo>
                  <a:pt x="486" y="24"/>
                  <a:pt x="486" y="24"/>
                  <a:pt x="486" y="24"/>
                </a:cubicBezTo>
                <a:cubicBezTo>
                  <a:pt x="471" y="31"/>
                  <a:pt x="471" y="31"/>
                  <a:pt x="471" y="31"/>
                </a:cubicBezTo>
                <a:cubicBezTo>
                  <a:pt x="471" y="32"/>
                  <a:pt x="471" y="32"/>
                  <a:pt x="471" y="32"/>
                </a:cubicBezTo>
                <a:cubicBezTo>
                  <a:pt x="466" y="37"/>
                  <a:pt x="466" y="37"/>
                  <a:pt x="466" y="37"/>
                </a:cubicBezTo>
                <a:cubicBezTo>
                  <a:pt x="465" y="39"/>
                  <a:pt x="465" y="39"/>
                  <a:pt x="465" y="39"/>
                </a:cubicBezTo>
                <a:cubicBezTo>
                  <a:pt x="464" y="40"/>
                  <a:pt x="464" y="40"/>
                  <a:pt x="464" y="40"/>
                </a:cubicBezTo>
                <a:cubicBezTo>
                  <a:pt x="465" y="41"/>
                  <a:pt x="465" y="41"/>
                  <a:pt x="465" y="41"/>
                </a:cubicBezTo>
                <a:cubicBezTo>
                  <a:pt x="467" y="44"/>
                  <a:pt x="467" y="44"/>
                  <a:pt x="467" y="44"/>
                </a:cubicBezTo>
                <a:cubicBezTo>
                  <a:pt x="468" y="46"/>
                  <a:pt x="468" y="46"/>
                  <a:pt x="468" y="46"/>
                </a:cubicBezTo>
                <a:cubicBezTo>
                  <a:pt x="476" y="50"/>
                  <a:pt x="476" y="50"/>
                  <a:pt x="476" y="50"/>
                </a:cubicBezTo>
                <a:cubicBezTo>
                  <a:pt x="476" y="50"/>
                  <a:pt x="476" y="50"/>
                  <a:pt x="476" y="50"/>
                </a:cubicBezTo>
                <a:cubicBezTo>
                  <a:pt x="475" y="46"/>
                  <a:pt x="475" y="46"/>
                  <a:pt x="475" y="46"/>
                </a:cubicBezTo>
                <a:cubicBezTo>
                  <a:pt x="475" y="45"/>
                  <a:pt x="475" y="45"/>
                  <a:pt x="475" y="45"/>
                </a:cubicBezTo>
                <a:cubicBezTo>
                  <a:pt x="475" y="44"/>
                  <a:pt x="475" y="44"/>
                  <a:pt x="475" y="44"/>
                </a:cubicBezTo>
                <a:cubicBezTo>
                  <a:pt x="475" y="38"/>
                  <a:pt x="475" y="38"/>
                  <a:pt x="475" y="38"/>
                </a:cubicBezTo>
                <a:cubicBezTo>
                  <a:pt x="476" y="38"/>
                  <a:pt x="476" y="38"/>
                  <a:pt x="476" y="38"/>
                </a:cubicBezTo>
                <a:cubicBezTo>
                  <a:pt x="476" y="37"/>
                  <a:pt x="476" y="37"/>
                  <a:pt x="476" y="37"/>
                </a:cubicBezTo>
                <a:cubicBezTo>
                  <a:pt x="477" y="37"/>
                  <a:pt x="477" y="37"/>
                  <a:pt x="477" y="37"/>
                </a:cubicBezTo>
                <a:cubicBezTo>
                  <a:pt x="478" y="39"/>
                  <a:pt x="478" y="39"/>
                  <a:pt x="478" y="39"/>
                </a:cubicBezTo>
                <a:cubicBezTo>
                  <a:pt x="479" y="40"/>
                  <a:pt x="479" y="40"/>
                  <a:pt x="479" y="40"/>
                </a:cubicBezTo>
                <a:cubicBezTo>
                  <a:pt x="482" y="56"/>
                  <a:pt x="482" y="56"/>
                  <a:pt x="482" y="56"/>
                </a:cubicBezTo>
                <a:cubicBezTo>
                  <a:pt x="482" y="57"/>
                  <a:pt x="482" y="57"/>
                  <a:pt x="482" y="57"/>
                </a:cubicBezTo>
                <a:cubicBezTo>
                  <a:pt x="479" y="69"/>
                  <a:pt x="479" y="69"/>
                  <a:pt x="479" y="69"/>
                </a:cubicBezTo>
                <a:cubicBezTo>
                  <a:pt x="478" y="69"/>
                  <a:pt x="478" y="69"/>
                  <a:pt x="478" y="69"/>
                </a:cubicBezTo>
                <a:cubicBezTo>
                  <a:pt x="477" y="70"/>
                  <a:pt x="477" y="70"/>
                  <a:pt x="477" y="70"/>
                </a:cubicBezTo>
                <a:cubicBezTo>
                  <a:pt x="476" y="69"/>
                  <a:pt x="476" y="69"/>
                  <a:pt x="476" y="69"/>
                </a:cubicBezTo>
                <a:cubicBezTo>
                  <a:pt x="476" y="69"/>
                  <a:pt x="476" y="69"/>
                  <a:pt x="476" y="69"/>
                </a:cubicBezTo>
                <a:cubicBezTo>
                  <a:pt x="477" y="65"/>
                  <a:pt x="477" y="65"/>
                  <a:pt x="477" y="65"/>
                </a:cubicBezTo>
                <a:cubicBezTo>
                  <a:pt x="478" y="62"/>
                  <a:pt x="478" y="62"/>
                  <a:pt x="478" y="62"/>
                </a:cubicBezTo>
                <a:cubicBezTo>
                  <a:pt x="478" y="58"/>
                  <a:pt x="478" y="58"/>
                  <a:pt x="478" y="58"/>
                </a:cubicBezTo>
                <a:cubicBezTo>
                  <a:pt x="477" y="56"/>
                  <a:pt x="477" y="56"/>
                  <a:pt x="477" y="56"/>
                </a:cubicBezTo>
                <a:cubicBezTo>
                  <a:pt x="476" y="54"/>
                  <a:pt x="476" y="54"/>
                  <a:pt x="476" y="54"/>
                </a:cubicBezTo>
                <a:cubicBezTo>
                  <a:pt x="470" y="49"/>
                  <a:pt x="470" y="49"/>
                  <a:pt x="470" y="49"/>
                </a:cubicBezTo>
                <a:cubicBezTo>
                  <a:pt x="468" y="48"/>
                  <a:pt x="468" y="48"/>
                  <a:pt x="468" y="48"/>
                </a:cubicBezTo>
                <a:cubicBezTo>
                  <a:pt x="467" y="48"/>
                  <a:pt x="467" y="48"/>
                  <a:pt x="467" y="48"/>
                </a:cubicBezTo>
                <a:cubicBezTo>
                  <a:pt x="466" y="48"/>
                  <a:pt x="466" y="48"/>
                  <a:pt x="466" y="48"/>
                </a:cubicBezTo>
                <a:cubicBezTo>
                  <a:pt x="465" y="49"/>
                  <a:pt x="465" y="49"/>
                  <a:pt x="465" y="49"/>
                </a:cubicBezTo>
                <a:cubicBezTo>
                  <a:pt x="462" y="49"/>
                  <a:pt x="462" y="49"/>
                  <a:pt x="462" y="49"/>
                </a:cubicBezTo>
                <a:cubicBezTo>
                  <a:pt x="462" y="48"/>
                  <a:pt x="462" y="48"/>
                  <a:pt x="462" y="48"/>
                </a:cubicBezTo>
                <a:cubicBezTo>
                  <a:pt x="461" y="44"/>
                  <a:pt x="461" y="44"/>
                  <a:pt x="461" y="44"/>
                </a:cubicBezTo>
                <a:cubicBezTo>
                  <a:pt x="460" y="43"/>
                  <a:pt x="460" y="43"/>
                  <a:pt x="460" y="43"/>
                </a:cubicBezTo>
                <a:cubicBezTo>
                  <a:pt x="460" y="42"/>
                  <a:pt x="460" y="42"/>
                  <a:pt x="460" y="42"/>
                </a:cubicBezTo>
                <a:cubicBezTo>
                  <a:pt x="461" y="41"/>
                  <a:pt x="461" y="41"/>
                  <a:pt x="461" y="41"/>
                </a:cubicBezTo>
                <a:cubicBezTo>
                  <a:pt x="462" y="38"/>
                  <a:pt x="462" y="38"/>
                  <a:pt x="462" y="38"/>
                </a:cubicBezTo>
                <a:cubicBezTo>
                  <a:pt x="464" y="35"/>
                  <a:pt x="464" y="35"/>
                  <a:pt x="464" y="35"/>
                </a:cubicBezTo>
                <a:cubicBezTo>
                  <a:pt x="436" y="36"/>
                  <a:pt x="436" y="36"/>
                  <a:pt x="436" y="36"/>
                </a:cubicBezTo>
                <a:cubicBezTo>
                  <a:pt x="435" y="37"/>
                  <a:pt x="435" y="37"/>
                  <a:pt x="435" y="37"/>
                </a:cubicBezTo>
                <a:cubicBezTo>
                  <a:pt x="433" y="38"/>
                  <a:pt x="433" y="38"/>
                  <a:pt x="433" y="38"/>
                </a:cubicBezTo>
                <a:cubicBezTo>
                  <a:pt x="433" y="39"/>
                  <a:pt x="433" y="39"/>
                  <a:pt x="433" y="39"/>
                </a:cubicBezTo>
                <a:cubicBezTo>
                  <a:pt x="431" y="41"/>
                  <a:pt x="431" y="41"/>
                  <a:pt x="431" y="41"/>
                </a:cubicBezTo>
                <a:cubicBezTo>
                  <a:pt x="431" y="45"/>
                  <a:pt x="431" y="45"/>
                  <a:pt x="431" y="45"/>
                </a:cubicBezTo>
                <a:cubicBezTo>
                  <a:pt x="431" y="48"/>
                  <a:pt x="431" y="48"/>
                  <a:pt x="431" y="48"/>
                </a:cubicBezTo>
                <a:cubicBezTo>
                  <a:pt x="431" y="49"/>
                  <a:pt x="431" y="49"/>
                  <a:pt x="431" y="49"/>
                </a:cubicBezTo>
                <a:cubicBezTo>
                  <a:pt x="415" y="60"/>
                  <a:pt x="415" y="60"/>
                  <a:pt x="415" y="60"/>
                </a:cubicBezTo>
                <a:cubicBezTo>
                  <a:pt x="414" y="60"/>
                  <a:pt x="414" y="60"/>
                  <a:pt x="414" y="60"/>
                </a:cubicBezTo>
                <a:cubicBezTo>
                  <a:pt x="411" y="60"/>
                  <a:pt x="411" y="60"/>
                  <a:pt x="411" y="60"/>
                </a:cubicBezTo>
                <a:cubicBezTo>
                  <a:pt x="410" y="60"/>
                  <a:pt x="410" y="60"/>
                  <a:pt x="410" y="60"/>
                </a:cubicBezTo>
                <a:cubicBezTo>
                  <a:pt x="405" y="55"/>
                  <a:pt x="405" y="55"/>
                  <a:pt x="405" y="55"/>
                </a:cubicBezTo>
                <a:cubicBezTo>
                  <a:pt x="396" y="53"/>
                  <a:pt x="396" y="53"/>
                  <a:pt x="396" y="53"/>
                </a:cubicBezTo>
                <a:cubicBezTo>
                  <a:pt x="394" y="52"/>
                  <a:pt x="394" y="52"/>
                  <a:pt x="394" y="52"/>
                </a:cubicBezTo>
                <a:cubicBezTo>
                  <a:pt x="393" y="53"/>
                  <a:pt x="393" y="53"/>
                  <a:pt x="393" y="53"/>
                </a:cubicBezTo>
                <a:cubicBezTo>
                  <a:pt x="393" y="53"/>
                  <a:pt x="393" y="53"/>
                  <a:pt x="393" y="53"/>
                </a:cubicBezTo>
                <a:cubicBezTo>
                  <a:pt x="368" y="91"/>
                  <a:pt x="368" y="91"/>
                  <a:pt x="368" y="91"/>
                </a:cubicBezTo>
                <a:cubicBezTo>
                  <a:pt x="366" y="112"/>
                  <a:pt x="366" y="112"/>
                  <a:pt x="366" y="112"/>
                </a:cubicBezTo>
                <a:cubicBezTo>
                  <a:pt x="367" y="114"/>
                  <a:pt x="367" y="114"/>
                  <a:pt x="367" y="114"/>
                </a:cubicBezTo>
                <a:cubicBezTo>
                  <a:pt x="375" y="119"/>
                  <a:pt x="375" y="119"/>
                  <a:pt x="375" y="119"/>
                </a:cubicBezTo>
                <a:cubicBezTo>
                  <a:pt x="376" y="119"/>
                  <a:pt x="376" y="119"/>
                  <a:pt x="376" y="119"/>
                </a:cubicBezTo>
                <a:cubicBezTo>
                  <a:pt x="377" y="119"/>
                  <a:pt x="377" y="119"/>
                  <a:pt x="377" y="119"/>
                </a:cubicBezTo>
                <a:cubicBezTo>
                  <a:pt x="377" y="117"/>
                  <a:pt x="377" y="117"/>
                  <a:pt x="377" y="117"/>
                </a:cubicBezTo>
                <a:cubicBezTo>
                  <a:pt x="377" y="117"/>
                  <a:pt x="377" y="117"/>
                  <a:pt x="377" y="117"/>
                </a:cubicBezTo>
                <a:cubicBezTo>
                  <a:pt x="377" y="116"/>
                  <a:pt x="377" y="116"/>
                  <a:pt x="377" y="116"/>
                </a:cubicBezTo>
                <a:cubicBezTo>
                  <a:pt x="377" y="116"/>
                  <a:pt x="377" y="116"/>
                  <a:pt x="377" y="116"/>
                </a:cubicBezTo>
                <a:cubicBezTo>
                  <a:pt x="381" y="116"/>
                  <a:pt x="381" y="116"/>
                  <a:pt x="381" y="116"/>
                </a:cubicBezTo>
                <a:cubicBezTo>
                  <a:pt x="382" y="117"/>
                  <a:pt x="382" y="117"/>
                  <a:pt x="382" y="117"/>
                </a:cubicBezTo>
                <a:cubicBezTo>
                  <a:pt x="387" y="120"/>
                  <a:pt x="387" y="120"/>
                  <a:pt x="387" y="120"/>
                </a:cubicBezTo>
                <a:cubicBezTo>
                  <a:pt x="387" y="120"/>
                  <a:pt x="387" y="120"/>
                  <a:pt x="387" y="120"/>
                </a:cubicBezTo>
                <a:cubicBezTo>
                  <a:pt x="384" y="131"/>
                  <a:pt x="384" y="131"/>
                  <a:pt x="384" y="131"/>
                </a:cubicBezTo>
                <a:cubicBezTo>
                  <a:pt x="384" y="131"/>
                  <a:pt x="384" y="131"/>
                  <a:pt x="384" y="131"/>
                </a:cubicBezTo>
                <a:cubicBezTo>
                  <a:pt x="382" y="132"/>
                  <a:pt x="382" y="132"/>
                  <a:pt x="382" y="132"/>
                </a:cubicBezTo>
                <a:cubicBezTo>
                  <a:pt x="375" y="130"/>
                  <a:pt x="375" y="130"/>
                  <a:pt x="375" y="130"/>
                </a:cubicBezTo>
                <a:cubicBezTo>
                  <a:pt x="374" y="130"/>
                  <a:pt x="374" y="130"/>
                  <a:pt x="374" y="130"/>
                </a:cubicBezTo>
                <a:cubicBezTo>
                  <a:pt x="354" y="134"/>
                  <a:pt x="354" y="134"/>
                  <a:pt x="354" y="134"/>
                </a:cubicBezTo>
                <a:cubicBezTo>
                  <a:pt x="354" y="134"/>
                  <a:pt x="354" y="134"/>
                  <a:pt x="354" y="134"/>
                </a:cubicBezTo>
                <a:cubicBezTo>
                  <a:pt x="364" y="142"/>
                  <a:pt x="364" y="142"/>
                  <a:pt x="364" y="142"/>
                </a:cubicBezTo>
                <a:cubicBezTo>
                  <a:pt x="370" y="148"/>
                  <a:pt x="370" y="148"/>
                  <a:pt x="370" y="148"/>
                </a:cubicBezTo>
                <a:cubicBezTo>
                  <a:pt x="371" y="149"/>
                  <a:pt x="371" y="149"/>
                  <a:pt x="371" y="149"/>
                </a:cubicBezTo>
                <a:cubicBezTo>
                  <a:pt x="371" y="150"/>
                  <a:pt x="371" y="150"/>
                  <a:pt x="371" y="150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55" y="151"/>
                  <a:pt x="355" y="151"/>
                  <a:pt x="355" y="151"/>
                </a:cubicBezTo>
                <a:cubicBezTo>
                  <a:pt x="355" y="150"/>
                  <a:pt x="355" y="150"/>
                  <a:pt x="355" y="150"/>
                </a:cubicBezTo>
                <a:cubicBezTo>
                  <a:pt x="354" y="148"/>
                  <a:pt x="354" y="148"/>
                  <a:pt x="354" y="148"/>
                </a:cubicBezTo>
                <a:cubicBezTo>
                  <a:pt x="353" y="148"/>
                  <a:pt x="353" y="148"/>
                  <a:pt x="353" y="148"/>
                </a:cubicBezTo>
                <a:cubicBezTo>
                  <a:pt x="342" y="146"/>
                  <a:pt x="342" y="146"/>
                  <a:pt x="342" y="146"/>
                </a:cubicBezTo>
                <a:cubicBezTo>
                  <a:pt x="338" y="146"/>
                  <a:pt x="338" y="146"/>
                  <a:pt x="338" y="146"/>
                </a:cubicBezTo>
                <a:cubicBezTo>
                  <a:pt x="333" y="146"/>
                  <a:pt x="333" y="146"/>
                  <a:pt x="333" y="146"/>
                </a:cubicBezTo>
                <a:cubicBezTo>
                  <a:pt x="313" y="161"/>
                  <a:pt x="313" y="161"/>
                  <a:pt x="313" y="161"/>
                </a:cubicBezTo>
                <a:cubicBezTo>
                  <a:pt x="312" y="163"/>
                  <a:pt x="312" y="163"/>
                  <a:pt x="312" y="163"/>
                </a:cubicBezTo>
                <a:cubicBezTo>
                  <a:pt x="311" y="164"/>
                  <a:pt x="311" y="164"/>
                  <a:pt x="311" y="164"/>
                </a:cubicBezTo>
                <a:cubicBezTo>
                  <a:pt x="313" y="171"/>
                  <a:pt x="313" y="171"/>
                  <a:pt x="313" y="171"/>
                </a:cubicBezTo>
                <a:cubicBezTo>
                  <a:pt x="315" y="174"/>
                  <a:pt x="315" y="174"/>
                  <a:pt x="315" y="174"/>
                </a:cubicBezTo>
                <a:cubicBezTo>
                  <a:pt x="317" y="175"/>
                  <a:pt x="317" y="175"/>
                  <a:pt x="317" y="175"/>
                </a:cubicBezTo>
                <a:cubicBezTo>
                  <a:pt x="319" y="177"/>
                  <a:pt x="319" y="177"/>
                  <a:pt x="319" y="177"/>
                </a:cubicBezTo>
                <a:cubicBezTo>
                  <a:pt x="328" y="181"/>
                  <a:pt x="328" y="181"/>
                  <a:pt x="328" y="181"/>
                </a:cubicBezTo>
                <a:cubicBezTo>
                  <a:pt x="334" y="184"/>
                  <a:pt x="334" y="184"/>
                  <a:pt x="334" y="184"/>
                </a:cubicBezTo>
                <a:cubicBezTo>
                  <a:pt x="339" y="186"/>
                  <a:pt x="339" y="186"/>
                  <a:pt x="339" y="186"/>
                </a:cubicBezTo>
                <a:cubicBezTo>
                  <a:pt x="343" y="187"/>
                  <a:pt x="343" y="187"/>
                  <a:pt x="343" y="187"/>
                </a:cubicBezTo>
                <a:cubicBezTo>
                  <a:pt x="371" y="184"/>
                  <a:pt x="371" y="184"/>
                  <a:pt x="371" y="184"/>
                </a:cubicBezTo>
                <a:cubicBezTo>
                  <a:pt x="387" y="181"/>
                  <a:pt x="387" y="181"/>
                  <a:pt x="387" y="181"/>
                </a:cubicBezTo>
                <a:cubicBezTo>
                  <a:pt x="404" y="183"/>
                  <a:pt x="404" y="183"/>
                  <a:pt x="404" y="183"/>
                </a:cubicBezTo>
                <a:cubicBezTo>
                  <a:pt x="405" y="192"/>
                  <a:pt x="405" y="192"/>
                  <a:pt x="405" y="192"/>
                </a:cubicBezTo>
                <a:cubicBezTo>
                  <a:pt x="387" y="221"/>
                  <a:pt x="387" y="221"/>
                  <a:pt x="387" y="221"/>
                </a:cubicBezTo>
                <a:cubicBezTo>
                  <a:pt x="386" y="222"/>
                  <a:pt x="386" y="222"/>
                  <a:pt x="386" y="222"/>
                </a:cubicBezTo>
                <a:cubicBezTo>
                  <a:pt x="372" y="225"/>
                  <a:pt x="372" y="225"/>
                  <a:pt x="372" y="225"/>
                </a:cubicBezTo>
                <a:cubicBezTo>
                  <a:pt x="357" y="231"/>
                  <a:pt x="357" y="231"/>
                  <a:pt x="357" y="231"/>
                </a:cubicBezTo>
                <a:cubicBezTo>
                  <a:pt x="340" y="245"/>
                  <a:pt x="340" y="245"/>
                  <a:pt x="340" y="245"/>
                </a:cubicBezTo>
                <a:cubicBezTo>
                  <a:pt x="333" y="258"/>
                  <a:pt x="333" y="258"/>
                  <a:pt x="333" y="258"/>
                </a:cubicBezTo>
                <a:cubicBezTo>
                  <a:pt x="334" y="256"/>
                  <a:pt x="334" y="256"/>
                  <a:pt x="334" y="256"/>
                </a:cubicBezTo>
                <a:cubicBezTo>
                  <a:pt x="335" y="256"/>
                  <a:pt x="335" y="256"/>
                  <a:pt x="335" y="256"/>
                </a:cubicBezTo>
                <a:cubicBezTo>
                  <a:pt x="340" y="255"/>
                  <a:pt x="340" y="255"/>
                  <a:pt x="340" y="255"/>
                </a:cubicBezTo>
                <a:cubicBezTo>
                  <a:pt x="341" y="255"/>
                  <a:pt x="341" y="255"/>
                  <a:pt x="341" y="255"/>
                </a:cubicBezTo>
                <a:cubicBezTo>
                  <a:pt x="346" y="256"/>
                  <a:pt x="346" y="256"/>
                  <a:pt x="346" y="256"/>
                </a:cubicBezTo>
                <a:cubicBezTo>
                  <a:pt x="347" y="256"/>
                  <a:pt x="347" y="256"/>
                  <a:pt x="347" y="256"/>
                </a:cubicBezTo>
                <a:cubicBezTo>
                  <a:pt x="351" y="259"/>
                  <a:pt x="351" y="259"/>
                  <a:pt x="351" y="259"/>
                </a:cubicBezTo>
                <a:cubicBezTo>
                  <a:pt x="351" y="260"/>
                  <a:pt x="351" y="260"/>
                  <a:pt x="351" y="260"/>
                </a:cubicBezTo>
                <a:cubicBezTo>
                  <a:pt x="355" y="271"/>
                  <a:pt x="355" y="271"/>
                  <a:pt x="355" y="271"/>
                </a:cubicBezTo>
                <a:cubicBezTo>
                  <a:pt x="348" y="288"/>
                  <a:pt x="348" y="288"/>
                  <a:pt x="348" y="288"/>
                </a:cubicBezTo>
                <a:cubicBezTo>
                  <a:pt x="348" y="289"/>
                  <a:pt x="348" y="289"/>
                  <a:pt x="348" y="289"/>
                </a:cubicBezTo>
                <a:cubicBezTo>
                  <a:pt x="346" y="289"/>
                  <a:pt x="346" y="289"/>
                  <a:pt x="346" y="289"/>
                </a:cubicBezTo>
                <a:cubicBezTo>
                  <a:pt x="341" y="287"/>
                  <a:pt x="341" y="287"/>
                  <a:pt x="341" y="287"/>
                </a:cubicBezTo>
                <a:cubicBezTo>
                  <a:pt x="337" y="286"/>
                  <a:pt x="337" y="286"/>
                  <a:pt x="337" y="286"/>
                </a:cubicBezTo>
                <a:cubicBezTo>
                  <a:pt x="332" y="282"/>
                  <a:pt x="332" y="282"/>
                  <a:pt x="332" y="282"/>
                </a:cubicBezTo>
                <a:cubicBezTo>
                  <a:pt x="329" y="275"/>
                  <a:pt x="329" y="275"/>
                  <a:pt x="329" y="275"/>
                </a:cubicBezTo>
                <a:cubicBezTo>
                  <a:pt x="300" y="274"/>
                  <a:pt x="300" y="274"/>
                  <a:pt x="300" y="274"/>
                </a:cubicBezTo>
                <a:cubicBezTo>
                  <a:pt x="294" y="271"/>
                  <a:pt x="294" y="271"/>
                  <a:pt x="294" y="271"/>
                </a:cubicBezTo>
                <a:cubicBezTo>
                  <a:pt x="289" y="265"/>
                  <a:pt x="289" y="265"/>
                  <a:pt x="289" y="265"/>
                </a:cubicBezTo>
                <a:cubicBezTo>
                  <a:pt x="286" y="264"/>
                  <a:pt x="286" y="264"/>
                  <a:pt x="286" y="264"/>
                </a:cubicBezTo>
                <a:cubicBezTo>
                  <a:pt x="279" y="264"/>
                  <a:pt x="279" y="264"/>
                  <a:pt x="279" y="264"/>
                </a:cubicBezTo>
                <a:cubicBezTo>
                  <a:pt x="270" y="264"/>
                  <a:pt x="270" y="264"/>
                  <a:pt x="270" y="264"/>
                </a:cubicBezTo>
                <a:cubicBezTo>
                  <a:pt x="269" y="265"/>
                  <a:pt x="269" y="265"/>
                  <a:pt x="269" y="265"/>
                </a:cubicBezTo>
                <a:cubicBezTo>
                  <a:pt x="268" y="266"/>
                  <a:pt x="268" y="266"/>
                  <a:pt x="268" y="266"/>
                </a:cubicBezTo>
                <a:cubicBezTo>
                  <a:pt x="268" y="268"/>
                  <a:pt x="268" y="268"/>
                  <a:pt x="268" y="268"/>
                </a:cubicBezTo>
                <a:cubicBezTo>
                  <a:pt x="266" y="273"/>
                  <a:pt x="266" y="273"/>
                  <a:pt x="266" y="273"/>
                </a:cubicBezTo>
                <a:cubicBezTo>
                  <a:pt x="258" y="291"/>
                  <a:pt x="258" y="291"/>
                  <a:pt x="258" y="291"/>
                </a:cubicBezTo>
                <a:cubicBezTo>
                  <a:pt x="257" y="292"/>
                  <a:pt x="257" y="292"/>
                  <a:pt x="257" y="292"/>
                </a:cubicBezTo>
                <a:cubicBezTo>
                  <a:pt x="256" y="292"/>
                  <a:pt x="256" y="292"/>
                  <a:pt x="256" y="292"/>
                </a:cubicBezTo>
                <a:cubicBezTo>
                  <a:pt x="255" y="292"/>
                  <a:pt x="255" y="292"/>
                  <a:pt x="255" y="292"/>
                </a:cubicBezTo>
                <a:cubicBezTo>
                  <a:pt x="254" y="292"/>
                  <a:pt x="254" y="292"/>
                  <a:pt x="254" y="292"/>
                </a:cubicBezTo>
                <a:cubicBezTo>
                  <a:pt x="253" y="290"/>
                  <a:pt x="253" y="290"/>
                  <a:pt x="253" y="290"/>
                </a:cubicBezTo>
                <a:cubicBezTo>
                  <a:pt x="250" y="285"/>
                  <a:pt x="250" y="285"/>
                  <a:pt x="250" y="285"/>
                </a:cubicBezTo>
                <a:cubicBezTo>
                  <a:pt x="246" y="278"/>
                  <a:pt x="246" y="278"/>
                  <a:pt x="246" y="278"/>
                </a:cubicBezTo>
                <a:cubicBezTo>
                  <a:pt x="247" y="273"/>
                  <a:pt x="247" y="273"/>
                  <a:pt x="247" y="273"/>
                </a:cubicBezTo>
                <a:cubicBezTo>
                  <a:pt x="247" y="266"/>
                  <a:pt x="247" y="266"/>
                  <a:pt x="247" y="266"/>
                </a:cubicBezTo>
                <a:cubicBezTo>
                  <a:pt x="246" y="265"/>
                  <a:pt x="246" y="265"/>
                  <a:pt x="246" y="265"/>
                </a:cubicBezTo>
                <a:cubicBezTo>
                  <a:pt x="246" y="265"/>
                  <a:pt x="246" y="265"/>
                  <a:pt x="246" y="265"/>
                </a:cubicBezTo>
                <a:cubicBezTo>
                  <a:pt x="238" y="258"/>
                  <a:pt x="238" y="258"/>
                  <a:pt x="238" y="258"/>
                </a:cubicBezTo>
                <a:cubicBezTo>
                  <a:pt x="228" y="253"/>
                  <a:pt x="228" y="253"/>
                  <a:pt x="228" y="253"/>
                </a:cubicBezTo>
                <a:cubicBezTo>
                  <a:pt x="206" y="253"/>
                  <a:pt x="206" y="253"/>
                  <a:pt x="206" y="253"/>
                </a:cubicBezTo>
                <a:cubicBezTo>
                  <a:pt x="183" y="250"/>
                  <a:pt x="183" y="250"/>
                  <a:pt x="183" y="250"/>
                </a:cubicBezTo>
                <a:cubicBezTo>
                  <a:pt x="160" y="244"/>
                  <a:pt x="160" y="244"/>
                  <a:pt x="160" y="244"/>
                </a:cubicBezTo>
                <a:cubicBezTo>
                  <a:pt x="156" y="245"/>
                  <a:pt x="156" y="245"/>
                  <a:pt x="156" y="245"/>
                </a:cubicBezTo>
                <a:cubicBezTo>
                  <a:pt x="152" y="248"/>
                  <a:pt x="152" y="248"/>
                  <a:pt x="152" y="248"/>
                </a:cubicBezTo>
                <a:cubicBezTo>
                  <a:pt x="151" y="249"/>
                  <a:pt x="151" y="249"/>
                  <a:pt x="151" y="249"/>
                </a:cubicBezTo>
                <a:cubicBezTo>
                  <a:pt x="150" y="250"/>
                  <a:pt x="150" y="250"/>
                  <a:pt x="150" y="250"/>
                </a:cubicBezTo>
                <a:cubicBezTo>
                  <a:pt x="149" y="251"/>
                  <a:pt x="149" y="251"/>
                  <a:pt x="149" y="251"/>
                </a:cubicBezTo>
                <a:cubicBezTo>
                  <a:pt x="149" y="252"/>
                  <a:pt x="149" y="252"/>
                  <a:pt x="149" y="252"/>
                </a:cubicBezTo>
                <a:cubicBezTo>
                  <a:pt x="149" y="253"/>
                  <a:pt x="149" y="253"/>
                  <a:pt x="149" y="253"/>
                </a:cubicBezTo>
                <a:cubicBezTo>
                  <a:pt x="149" y="262"/>
                  <a:pt x="149" y="262"/>
                  <a:pt x="149" y="262"/>
                </a:cubicBezTo>
                <a:cubicBezTo>
                  <a:pt x="147" y="271"/>
                  <a:pt x="147" y="271"/>
                  <a:pt x="147" y="271"/>
                </a:cubicBezTo>
                <a:cubicBezTo>
                  <a:pt x="145" y="275"/>
                  <a:pt x="145" y="275"/>
                  <a:pt x="145" y="275"/>
                </a:cubicBezTo>
                <a:cubicBezTo>
                  <a:pt x="143" y="276"/>
                  <a:pt x="143" y="276"/>
                  <a:pt x="143" y="276"/>
                </a:cubicBezTo>
                <a:cubicBezTo>
                  <a:pt x="142" y="276"/>
                  <a:pt x="142" y="276"/>
                  <a:pt x="142" y="276"/>
                </a:cubicBezTo>
                <a:cubicBezTo>
                  <a:pt x="134" y="274"/>
                  <a:pt x="134" y="274"/>
                  <a:pt x="134" y="274"/>
                </a:cubicBezTo>
                <a:cubicBezTo>
                  <a:pt x="133" y="274"/>
                  <a:pt x="133" y="274"/>
                  <a:pt x="133" y="274"/>
                </a:cubicBezTo>
                <a:cubicBezTo>
                  <a:pt x="132" y="273"/>
                  <a:pt x="132" y="273"/>
                  <a:pt x="132" y="273"/>
                </a:cubicBezTo>
                <a:cubicBezTo>
                  <a:pt x="132" y="272"/>
                  <a:pt x="132" y="272"/>
                  <a:pt x="132" y="272"/>
                </a:cubicBezTo>
                <a:cubicBezTo>
                  <a:pt x="131" y="267"/>
                  <a:pt x="131" y="267"/>
                  <a:pt x="131" y="267"/>
                </a:cubicBezTo>
                <a:cubicBezTo>
                  <a:pt x="132" y="267"/>
                  <a:pt x="132" y="267"/>
                  <a:pt x="132" y="267"/>
                </a:cubicBezTo>
                <a:cubicBezTo>
                  <a:pt x="133" y="267"/>
                  <a:pt x="133" y="267"/>
                  <a:pt x="133" y="267"/>
                </a:cubicBezTo>
                <a:cubicBezTo>
                  <a:pt x="133" y="268"/>
                  <a:pt x="133" y="268"/>
                  <a:pt x="133" y="268"/>
                </a:cubicBezTo>
                <a:cubicBezTo>
                  <a:pt x="134" y="269"/>
                  <a:pt x="134" y="269"/>
                  <a:pt x="134" y="269"/>
                </a:cubicBezTo>
                <a:cubicBezTo>
                  <a:pt x="135" y="272"/>
                  <a:pt x="135" y="272"/>
                  <a:pt x="135" y="272"/>
                </a:cubicBezTo>
                <a:cubicBezTo>
                  <a:pt x="136" y="272"/>
                  <a:pt x="136" y="272"/>
                  <a:pt x="136" y="272"/>
                </a:cubicBezTo>
                <a:cubicBezTo>
                  <a:pt x="137" y="272"/>
                  <a:pt x="137" y="272"/>
                  <a:pt x="137" y="272"/>
                </a:cubicBezTo>
                <a:cubicBezTo>
                  <a:pt x="140" y="271"/>
                  <a:pt x="140" y="271"/>
                  <a:pt x="140" y="271"/>
                </a:cubicBezTo>
                <a:cubicBezTo>
                  <a:pt x="143" y="269"/>
                  <a:pt x="143" y="269"/>
                  <a:pt x="143" y="269"/>
                </a:cubicBezTo>
                <a:cubicBezTo>
                  <a:pt x="143" y="268"/>
                  <a:pt x="143" y="268"/>
                  <a:pt x="143" y="268"/>
                </a:cubicBezTo>
                <a:cubicBezTo>
                  <a:pt x="144" y="267"/>
                  <a:pt x="144" y="267"/>
                  <a:pt x="144" y="267"/>
                </a:cubicBezTo>
                <a:cubicBezTo>
                  <a:pt x="144" y="265"/>
                  <a:pt x="144" y="265"/>
                  <a:pt x="144" y="265"/>
                </a:cubicBezTo>
                <a:cubicBezTo>
                  <a:pt x="144" y="264"/>
                  <a:pt x="144" y="264"/>
                  <a:pt x="144" y="264"/>
                </a:cubicBezTo>
                <a:cubicBezTo>
                  <a:pt x="143" y="264"/>
                  <a:pt x="143" y="264"/>
                  <a:pt x="143" y="264"/>
                </a:cubicBezTo>
                <a:cubicBezTo>
                  <a:pt x="130" y="251"/>
                  <a:pt x="130" y="251"/>
                  <a:pt x="130" y="251"/>
                </a:cubicBezTo>
                <a:cubicBezTo>
                  <a:pt x="129" y="251"/>
                  <a:pt x="129" y="251"/>
                  <a:pt x="129" y="251"/>
                </a:cubicBezTo>
                <a:cubicBezTo>
                  <a:pt x="120" y="258"/>
                  <a:pt x="120" y="258"/>
                  <a:pt x="120" y="258"/>
                </a:cubicBezTo>
                <a:cubicBezTo>
                  <a:pt x="117" y="261"/>
                  <a:pt x="117" y="261"/>
                  <a:pt x="117" y="261"/>
                </a:cubicBezTo>
                <a:cubicBezTo>
                  <a:pt x="113" y="267"/>
                  <a:pt x="113" y="267"/>
                  <a:pt x="113" y="267"/>
                </a:cubicBezTo>
                <a:cubicBezTo>
                  <a:pt x="112" y="268"/>
                  <a:pt x="112" y="268"/>
                  <a:pt x="112" y="268"/>
                </a:cubicBezTo>
                <a:cubicBezTo>
                  <a:pt x="108" y="296"/>
                  <a:pt x="108" y="296"/>
                  <a:pt x="108" y="296"/>
                </a:cubicBezTo>
                <a:cubicBezTo>
                  <a:pt x="108" y="297"/>
                  <a:pt x="108" y="297"/>
                  <a:pt x="108" y="297"/>
                </a:cubicBezTo>
                <a:cubicBezTo>
                  <a:pt x="108" y="300"/>
                  <a:pt x="108" y="300"/>
                  <a:pt x="108" y="300"/>
                </a:cubicBezTo>
                <a:cubicBezTo>
                  <a:pt x="108" y="301"/>
                  <a:pt x="108" y="301"/>
                  <a:pt x="108" y="301"/>
                </a:cubicBezTo>
                <a:cubicBezTo>
                  <a:pt x="109" y="303"/>
                  <a:pt x="109" y="303"/>
                  <a:pt x="109" y="303"/>
                </a:cubicBezTo>
                <a:cubicBezTo>
                  <a:pt x="112" y="304"/>
                  <a:pt x="112" y="304"/>
                  <a:pt x="112" y="304"/>
                </a:cubicBezTo>
                <a:cubicBezTo>
                  <a:pt x="115" y="304"/>
                  <a:pt x="115" y="304"/>
                  <a:pt x="115" y="304"/>
                </a:cubicBezTo>
                <a:cubicBezTo>
                  <a:pt x="116" y="304"/>
                  <a:pt x="116" y="304"/>
                  <a:pt x="116" y="304"/>
                </a:cubicBezTo>
                <a:cubicBezTo>
                  <a:pt x="117" y="303"/>
                  <a:pt x="117" y="303"/>
                  <a:pt x="117" y="303"/>
                </a:cubicBezTo>
                <a:cubicBezTo>
                  <a:pt x="117" y="302"/>
                  <a:pt x="117" y="302"/>
                  <a:pt x="117" y="302"/>
                </a:cubicBezTo>
                <a:cubicBezTo>
                  <a:pt x="116" y="300"/>
                  <a:pt x="116" y="300"/>
                  <a:pt x="116" y="300"/>
                </a:cubicBezTo>
                <a:cubicBezTo>
                  <a:pt x="116" y="299"/>
                  <a:pt x="116" y="299"/>
                  <a:pt x="116" y="299"/>
                </a:cubicBezTo>
                <a:cubicBezTo>
                  <a:pt x="116" y="299"/>
                  <a:pt x="116" y="299"/>
                  <a:pt x="116" y="299"/>
                </a:cubicBezTo>
                <a:cubicBezTo>
                  <a:pt x="115" y="288"/>
                  <a:pt x="115" y="288"/>
                  <a:pt x="115" y="288"/>
                </a:cubicBezTo>
                <a:cubicBezTo>
                  <a:pt x="115" y="287"/>
                  <a:pt x="115" y="287"/>
                  <a:pt x="115" y="287"/>
                </a:cubicBezTo>
                <a:cubicBezTo>
                  <a:pt x="126" y="272"/>
                  <a:pt x="126" y="272"/>
                  <a:pt x="126" y="272"/>
                </a:cubicBezTo>
                <a:cubicBezTo>
                  <a:pt x="127" y="271"/>
                  <a:pt x="127" y="271"/>
                  <a:pt x="127" y="271"/>
                </a:cubicBezTo>
                <a:cubicBezTo>
                  <a:pt x="128" y="272"/>
                  <a:pt x="128" y="272"/>
                  <a:pt x="128" y="272"/>
                </a:cubicBezTo>
                <a:cubicBezTo>
                  <a:pt x="128" y="272"/>
                  <a:pt x="128" y="272"/>
                  <a:pt x="128" y="272"/>
                </a:cubicBezTo>
                <a:cubicBezTo>
                  <a:pt x="137" y="280"/>
                  <a:pt x="137" y="280"/>
                  <a:pt x="137" y="280"/>
                </a:cubicBezTo>
                <a:cubicBezTo>
                  <a:pt x="138" y="281"/>
                  <a:pt x="138" y="281"/>
                  <a:pt x="138" y="281"/>
                </a:cubicBezTo>
                <a:cubicBezTo>
                  <a:pt x="139" y="324"/>
                  <a:pt x="139" y="324"/>
                  <a:pt x="139" y="324"/>
                </a:cubicBezTo>
                <a:cubicBezTo>
                  <a:pt x="139" y="340"/>
                  <a:pt x="139" y="340"/>
                  <a:pt x="139" y="340"/>
                </a:cubicBezTo>
                <a:cubicBezTo>
                  <a:pt x="138" y="340"/>
                  <a:pt x="138" y="340"/>
                  <a:pt x="138" y="340"/>
                </a:cubicBezTo>
                <a:cubicBezTo>
                  <a:pt x="137" y="341"/>
                  <a:pt x="137" y="341"/>
                  <a:pt x="137" y="341"/>
                </a:cubicBezTo>
                <a:cubicBezTo>
                  <a:pt x="137" y="341"/>
                  <a:pt x="137" y="341"/>
                  <a:pt x="137" y="341"/>
                </a:cubicBezTo>
                <a:cubicBezTo>
                  <a:pt x="131" y="361"/>
                  <a:pt x="131" y="361"/>
                  <a:pt x="131" y="361"/>
                </a:cubicBezTo>
                <a:cubicBezTo>
                  <a:pt x="131" y="361"/>
                  <a:pt x="131" y="361"/>
                  <a:pt x="131" y="361"/>
                </a:cubicBezTo>
                <a:cubicBezTo>
                  <a:pt x="132" y="362"/>
                  <a:pt x="132" y="362"/>
                  <a:pt x="132" y="362"/>
                </a:cubicBezTo>
                <a:cubicBezTo>
                  <a:pt x="136" y="364"/>
                  <a:pt x="136" y="364"/>
                  <a:pt x="136" y="364"/>
                </a:cubicBezTo>
                <a:cubicBezTo>
                  <a:pt x="138" y="364"/>
                  <a:pt x="138" y="364"/>
                  <a:pt x="138" y="364"/>
                </a:cubicBezTo>
                <a:cubicBezTo>
                  <a:pt x="146" y="362"/>
                  <a:pt x="146" y="362"/>
                  <a:pt x="146" y="362"/>
                </a:cubicBezTo>
                <a:cubicBezTo>
                  <a:pt x="149" y="361"/>
                  <a:pt x="149" y="361"/>
                  <a:pt x="149" y="361"/>
                </a:cubicBezTo>
                <a:cubicBezTo>
                  <a:pt x="153" y="360"/>
                  <a:pt x="153" y="360"/>
                  <a:pt x="153" y="360"/>
                </a:cubicBezTo>
                <a:cubicBezTo>
                  <a:pt x="155" y="358"/>
                  <a:pt x="155" y="358"/>
                  <a:pt x="155" y="358"/>
                </a:cubicBezTo>
                <a:cubicBezTo>
                  <a:pt x="156" y="357"/>
                  <a:pt x="156" y="357"/>
                  <a:pt x="156" y="357"/>
                </a:cubicBezTo>
                <a:cubicBezTo>
                  <a:pt x="157" y="356"/>
                  <a:pt x="157" y="356"/>
                  <a:pt x="157" y="356"/>
                </a:cubicBezTo>
                <a:cubicBezTo>
                  <a:pt x="158" y="356"/>
                  <a:pt x="158" y="356"/>
                  <a:pt x="158" y="356"/>
                </a:cubicBezTo>
                <a:cubicBezTo>
                  <a:pt x="164" y="356"/>
                  <a:pt x="164" y="356"/>
                  <a:pt x="164" y="356"/>
                </a:cubicBezTo>
                <a:cubicBezTo>
                  <a:pt x="169" y="356"/>
                  <a:pt x="169" y="356"/>
                  <a:pt x="169" y="356"/>
                </a:cubicBezTo>
                <a:cubicBezTo>
                  <a:pt x="187" y="358"/>
                  <a:pt x="187" y="358"/>
                  <a:pt x="187" y="358"/>
                </a:cubicBezTo>
                <a:cubicBezTo>
                  <a:pt x="187" y="359"/>
                  <a:pt x="187" y="359"/>
                  <a:pt x="187" y="359"/>
                </a:cubicBezTo>
                <a:cubicBezTo>
                  <a:pt x="187" y="367"/>
                  <a:pt x="187" y="367"/>
                  <a:pt x="187" y="367"/>
                </a:cubicBezTo>
                <a:cubicBezTo>
                  <a:pt x="184" y="382"/>
                  <a:pt x="184" y="382"/>
                  <a:pt x="184" y="382"/>
                </a:cubicBezTo>
                <a:cubicBezTo>
                  <a:pt x="174" y="386"/>
                  <a:pt x="174" y="386"/>
                  <a:pt x="174" y="386"/>
                </a:cubicBezTo>
                <a:cubicBezTo>
                  <a:pt x="170" y="386"/>
                  <a:pt x="170" y="386"/>
                  <a:pt x="170" y="386"/>
                </a:cubicBezTo>
                <a:cubicBezTo>
                  <a:pt x="169" y="386"/>
                  <a:pt x="169" y="386"/>
                  <a:pt x="169" y="386"/>
                </a:cubicBezTo>
                <a:cubicBezTo>
                  <a:pt x="154" y="386"/>
                  <a:pt x="154" y="386"/>
                  <a:pt x="154" y="386"/>
                </a:cubicBezTo>
                <a:cubicBezTo>
                  <a:pt x="152" y="386"/>
                  <a:pt x="152" y="386"/>
                  <a:pt x="152" y="386"/>
                </a:cubicBezTo>
                <a:cubicBezTo>
                  <a:pt x="135" y="390"/>
                  <a:pt x="135" y="390"/>
                  <a:pt x="135" y="390"/>
                </a:cubicBezTo>
                <a:cubicBezTo>
                  <a:pt x="134" y="390"/>
                  <a:pt x="134" y="390"/>
                  <a:pt x="134" y="390"/>
                </a:cubicBezTo>
                <a:cubicBezTo>
                  <a:pt x="131" y="403"/>
                  <a:pt x="131" y="403"/>
                  <a:pt x="131" y="403"/>
                </a:cubicBezTo>
                <a:cubicBezTo>
                  <a:pt x="131" y="406"/>
                  <a:pt x="131" y="406"/>
                  <a:pt x="131" y="406"/>
                </a:cubicBezTo>
                <a:cubicBezTo>
                  <a:pt x="130" y="407"/>
                  <a:pt x="130" y="407"/>
                  <a:pt x="130" y="407"/>
                </a:cubicBezTo>
                <a:cubicBezTo>
                  <a:pt x="131" y="416"/>
                  <a:pt x="131" y="416"/>
                  <a:pt x="131" y="416"/>
                </a:cubicBezTo>
                <a:cubicBezTo>
                  <a:pt x="125" y="430"/>
                  <a:pt x="125" y="430"/>
                  <a:pt x="125" y="430"/>
                </a:cubicBezTo>
                <a:cubicBezTo>
                  <a:pt x="111" y="431"/>
                  <a:pt x="111" y="431"/>
                  <a:pt x="111" y="431"/>
                </a:cubicBezTo>
                <a:cubicBezTo>
                  <a:pt x="93" y="438"/>
                  <a:pt x="93" y="438"/>
                  <a:pt x="93" y="438"/>
                </a:cubicBezTo>
                <a:cubicBezTo>
                  <a:pt x="87" y="472"/>
                  <a:pt x="87" y="472"/>
                  <a:pt x="87" y="472"/>
                </a:cubicBezTo>
                <a:cubicBezTo>
                  <a:pt x="87" y="474"/>
                  <a:pt x="87" y="474"/>
                  <a:pt x="87" y="474"/>
                </a:cubicBezTo>
                <a:cubicBezTo>
                  <a:pt x="88" y="475"/>
                  <a:pt x="88" y="475"/>
                  <a:pt x="88" y="475"/>
                </a:cubicBezTo>
                <a:cubicBezTo>
                  <a:pt x="111" y="484"/>
                  <a:pt x="111" y="484"/>
                  <a:pt x="111" y="484"/>
                </a:cubicBezTo>
                <a:cubicBezTo>
                  <a:pt x="118" y="486"/>
                  <a:pt x="118" y="486"/>
                  <a:pt x="118" y="486"/>
                </a:cubicBezTo>
                <a:cubicBezTo>
                  <a:pt x="120" y="486"/>
                  <a:pt x="120" y="486"/>
                  <a:pt x="120" y="486"/>
                </a:cubicBezTo>
                <a:cubicBezTo>
                  <a:pt x="121" y="486"/>
                  <a:pt x="121" y="486"/>
                  <a:pt x="121" y="486"/>
                </a:cubicBezTo>
                <a:cubicBezTo>
                  <a:pt x="124" y="484"/>
                  <a:pt x="124" y="484"/>
                  <a:pt x="124" y="484"/>
                </a:cubicBezTo>
                <a:cubicBezTo>
                  <a:pt x="125" y="483"/>
                  <a:pt x="125" y="483"/>
                  <a:pt x="125" y="483"/>
                </a:cubicBezTo>
                <a:cubicBezTo>
                  <a:pt x="125" y="483"/>
                  <a:pt x="125" y="483"/>
                  <a:pt x="125" y="483"/>
                </a:cubicBezTo>
                <a:cubicBezTo>
                  <a:pt x="126" y="479"/>
                  <a:pt x="126" y="479"/>
                  <a:pt x="126" y="479"/>
                </a:cubicBezTo>
                <a:cubicBezTo>
                  <a:pt x="127" y="476"/>
                  <a:pt x="127" y="476"/>
                  <a:pt x="127" y="476"/>
                </a:cubicBezTo>
                <a:cubicBezTo>
                  <a:pt x="127" y="476"/>
                  <a:pt x="127" y="476"/>
                  <a:pt x="127" y="476"/>
                </a:cubicBezTo>
                <a:cubicBezTo>
                  <a:pt x="128" y="475"/>
                  <a:pt x="128" y="475"/>
                  <a:pt x="128" y="475"/>
                </a:cubicBezTo>
                <a:cubicBezTo>
                  <a:pt x="134" y="474"/>
                  <a:pt x="134" y="474"/>
                  <a:pt x="134" y="474"/>
                </a:cubicBezTo>
                <a:cubicBezTo>
                  <a:pt x="135" y="474"/>
                  <a:pt x="135" y="474"/>
                  <a:pt x="135" y="474"/>
                </a:cubicBezTo>
                <a:cubicBezTo>
                  <a:pt x="144" y="476"/>
                  <a:pt x="144" y="476"/>
                  <a:pt x="144" y="476"/>
                </a:cubicBezTo>
                <a:cubicBezTo>
                  <a:pt x="144" y="476"/>
                  <a:pt x="144" y="476"/>
                  <a:pt x="144" y="476"/>
                </a:cubicBezTo>
                <a:cubicBezTo>
                  <a:pt x="147" y="481"/>
                  <a:pt x="147" y="481"/>
                  <a:pt x="147" y="481"/>
                </a:cubicBezTo>
                <a:cubicBezTo>
                  <a:pt x="146" y="484"/>
                  <a:pt x="146" y="484"/>
                  <a:pt x="146" y="484"/>
                </a:cubicBezTo>
                <a:cubicBezTo>
                  <a:pt x="141" y="487"/>
                  <a:pt x="141" y="487"/>
                  <a:pt x="141" y="487"/>
                </a:cubicBezTo>
                <a:cubicBezTo>
                  <a:pt x="134" y="489"/>
                  <a:pt x="134" y="489"/>
                  <a:pt x="134" y="489"/>
                </a:cubicBezTo>
                <a:cubicBezTo>
                  <a:pt x="131" y="489"/>
                  <a:pt x="131" y="489"/>
                  <a:pt x="131" y="489"/>
                </a:cubicBezTo>
                <a:cubicBezTo>
                  <a:pt x="130" y="490"/>
                  <a:pt x="130" y="490"/>
                  <a:pt x="130" y="490"/>
                </a:cubicBezTo>
                <a:cubicBezTo>
                  <a:pt x="129" y="490"/>
                  <a:pt x="129" y="490"/>
                  <a:pt x="129" y="490"/>
                </a:cubicBezTo>
                <a:cubicBezTo>
                  <a:pt x="127" y="499"/>
                  <a:pt x="127" y="499"/>
                  <a:pt x="127" y="499"/>
                </a:cubicBezTo>
                <a:cubicBezTo>
                  <a:pt x="127" y="500"/>
                  <a:pt x="127" y="500"/>
                  <a:pt x="127" y="500"/>
                </a:cubicBezTo>
                <a:cubicBezTo>
                  <a:pt x="129" y="501"/>
                  <a:pt x="129" y="501"/>
                  <a:pt x="129" y="501"/>
                </a:cubicBezTo>
                <a:cubicBezTo>
                  <a:pt x="130" y="502"/>
                  <a:pt x="130" y="502"/>
                  <a:pt x="130" y="502"/>
                </a:cubicBezTo>
                <a:cubicBezTo>
                  <a:pt x="146" y="507"/>
                  <a:pt x="146" y="507"/>
                  <a:pt x="146" y="507"/>
                </a:cubicBezTo>
                <a:cubicBezTo>
                  <a:pt x="147" y="507"/>
                  <a:pt x="147" y="507"/>
                  <a:pt x="147" y="507"/>
                </a:cubicBezTo>
                <a:cubicBezTo>
                  <a:pt x="151" y="506"/>
                  <a:pt x="151" y="506"/>
                  <a:pt x="151" y="506"/>
                </a:cubicBezTo>
                <a:cubicBezTo>
                  <a:pt x="153" y="505"/>
                  <a:pt x="153" y="505"/>
                  <a:pt x="153" y="505"/>
                </a:cubicBezTo>
                <a:cubicBezTo>
                  <a:pt x="154" y="503"/>
                  <a:pt x="154" y="503"/>
                  <a:pt x="154" y="503"/>
                </a:cubicBezTo>
                <a:cubicBezTo>
                  <a:pt x="157" y="498"/>
                  <a:pt x="157" y="498"/>
                  <a:pt x="157" y="498"/>
                </a:cubicBezTo>
                <a:cubicBezTo>
                  <a:pt x="158" y="495"/>
                  <a:pt x="158" y="495"/>
                  <a:pt x="158" y="495"/>
                </a:cubicBezTo>
                <a:cubicBezTo>
                  <a:pt x="159" y="493"/>
                  <a:pt x="159" y="493"/>
                  <a:pt x="159" y="493"/>
                </a:cubicBezTo>
                <a:cubicBezTo>
                  <a:pt x="160" y="492"/>
                  <a:pt x="160" y="492"/>
                  <a:pt x="160" y="492"/>
                </a:cubicBezTo>
                <a:cubicBezTo>
                  <a:pt x="166" y="487"/>
                  <a:pt x="166" y="487"/>
                  <a:pt x="166" y="487"/>
                </a:cubicBezTo>
                <a:cubicBezTo>
                  <a:pt x="166" y="487"/>
                  <a:pt x="166" y="487"/>
                  <a:pt x="166" y="487"/>
                </a:cubicBezTo>
                <a:cubicBezTo>
                  <a:pt x="167" y="487"/>
                  <a:pt x="167" y="487"/>
                  <a:pt x="167" y="487"/>
                </a:cubicBezTo>
                <a:cubicBezTo>
                  <a:pt x="174" y="493"/>
                  <a:pt x="174" y="493"/>
                  <a:pt x="174" y="493"/>
                </a:cubicBezTo>
                <a:cubicBezTo>
                  <a:pt x="177" y="495"/>
                  <a:pt x="177" y="495"/>
                  <a:pt x="177" y="495"/>
                </a:cubicBezTo>
                <a:cubicBezTo>
                  <a:pt x="178" y="498"/>
                  <a:pt x="178" y="498"/>
                  <a:pt x="178" y="498"/>
                </a:cubicBezTo>
                <a:cubicBezTo>
                  <a:pt x="177" y="501"/>
                  <a:pt x="177" y="501"/>
                  <a:pt x="177" y="501"/>
                </a:cubicBezTo>
                <a:cubicBezTo>
                  <a:pt x="171" y="514"/>
                  <a:pt x="171" y="514"/>
                  <a:pt x="171" y="514"/>
                </a:cubicBezTo>
                <a:cubicBezTo>
                  <a:pt x="168" y="519"/>
                  <a:pt x="168" y="519"/>
                  <a:pt x="168" y="519"/>
                </a:cubicBezTo>
                <a:cubicBezTo>
                  <a:pt x="167" y="521"/>
                  <a:pt x="167" y="521"/>
                  <a:pt x="167" y="521"/>
                </a:cubicBezTo>
                <a:cubicBezTo>
                  <a:pt x="168" y="522"/>
                  <a:pt x="168" y="522"/>
                  <a:pt x="168" y="522"/>
                </a:cubicBezTo>
                <a:cubicBezTo>
                  <a:pt x="169" y="524"/>
                  <a:pt x="169" y="524"/>
                  <a:pt x="169" y="524"/>
                </a:cubicBezTo>
                <a:cubicBezTo>
                  <a:pt x="169" y="524"/>
                  <a:pt x="169" y="524"/>
                  <a:pt x="169" y="524"/>
                </a:cubicBezTo>
                <a:cubicBezTo>
                  <a:pt x="170" y="525"/>
                  <a:pt x="170" y="525"/>
                  <a:pt x="170" y="525"/>
                </a:cubicBezTo>
                <a:cubicBezTo>
                  <a:pt x="183" y="527"/>
                  <a:pt x="183" y="527"/>
                  <a:pt x="183" y="527"/>
                </a:cubicBezTo>
                <a:cubicBezTo>
                  <a:pt x="187" y="528"/>
                  <a:pt x="187" y="528"/>
                  <a:pt x="187" y="528"/>
                </a:cubicBezTo>
                <a:cubicBezTo>
                  <a:pt x="190" y="528"/>
                  <a:pt x="190" y="528"/>
                  <a:pt x="190" y="528"/>
                </a:cubicBezTo>
                <a:cubicBezTo>
                  <a:pt x="200" y="528"/>
                  <a:pt x="200" y="528"/>
                  <a:pt x="200" y="528"/>
                </a:cubicBezTo>
                <a:cubicBezTo>
                  <a:pt x="236" y="526"/>
                  <a:pt x="236" y="526"/>
                  <a:pt x="236" y="526"/>
                </a:cubicBezTo>
                <a:cubicBezTo>
                  <a:pt x="248" y="525"/>
                  <a:pt x="248" y="525"/>
                  <a:pt x="248" y="525"/>
                </a:cubicBezTo>
                <a:cubicBezTo>
                  <a:pt x="250" y="525"/>
                  <a:pt x="250" y="525"/>
                  <a:pt x="250" y="525"/>
                </a:cubicBezTo>
                <a:cubicBezTo>
                  <a:pt x="254" y="524"/>
                  <a:pt x="254" y="524"/>
                  <a:pt x="254" y="524"/>
                </a:cubicBezTo>
                <a:cubicBezTo>
                  <a:pt x="258" y="521"/>
                  <a:pt x="258" y="521"/>
                  <a:pt x="258" y="521"/>
                </a:cubicBezTo>
                <a:cubicBezTo>
                  <a:pt x="260" y="521"/>
                  <a:pt x="260" y="521"/>
                  <a:pt x="260" y="521"/>
                </a:cubicBezTo>
                <a:cubicBezTo>
                  <a:pt x="272" y="522"/>
                  <a:pt x="272" y="522"/>
                  <a:pt x="272" y="522"/>
                </a:cubicBezTo>
                <a:cubicBezTo>
                  <a:pt x="273" y="522"/>
                  <a:pt x="273" y="522"/>
                  <a:pt x="273" y="522"/>
                </a:cubicBezTo>
                <a:cubicBezTo>
                  <a:pt x="273" y="523"/>
                  <a:pt x="273" y="523"/>
                  <a:pt x="273" y="523"/>
                </a:cubicBezTo>
                <a:cubicBezTo>
                  <a:pt x="273" y="554"/>
                  <a:pt x="273" y="554"/>
                  <a:pt x="273" y="554"/>
                </a:cubicBezTo>
                <a:cubicBezTo>
                  <a:pt x="273" y="555"/>
                  <a:pt x="273" y="555"/>
                  <a:pt x="273" y="555"/>
                </a:cubicBezTo>
                <a:cubicBezTo>
                  <a:pt x="271" y="555"/>
                  <a:pt x="271" y="555"/>
                  <a:pt x="271" y="555"/>
                </a:cubicBezTo>
                <a:cubicBezTo>
                  <a:pt x="266" y="551"/>
                  <a:pt x="266" y="551"/>
                  <a:pt x="266" y="551"/>
                </a:cubicBezTo>
                <a:cubicBezTo>
                  <a:pt x="265" y="550"/>
                  <a:pt x="265" y="550"/>
                  <a:pt x="265" y="550"/>
                </a:cubicBezTo>
                <a:cubicBezTo>
                  <a:pt x="265" y="549"/>
                  <a:pt x="265" y="549"/>
                  <a:pt x="265" y="549"/>
                </a:cubicBezTo>
                <a:cubicBezTo>
                  <a:pt x="260" y="547"/>
                  <a:pt x="260" y="547"/>
                  <a:pt x="260" y="547"/>
                </a:cubicBezTo>
                <a:cubicBezTo>
                  <a:pt x="254" y="546"/>
                  <a:pt x="254" y="546"/>
                  <a:pt x="254" y="546"/>
                </a:cubicBezTo>
                <a:cubicBezTo>
                  <a:pt x="222" y="548"/>
                  <a:pt x="222" y="548"/>
                  <a:pt x="222" y="548"/>
                </a:cubicBezTo>
                <a:cubicBezTo>
                  <a:pt x="221" y="548"/>
                  <a:pt x="221" y="548"/>
                  <a:pt x="221" y="548"/>
                </a:cubicBezTo>
                <a:cubicBezTo>
                  <a:pt x="220" y="549"/>
                  <a:pt x="220" y="549"/>
                  <a:pt x="220" y="549"/>
                </a:cubicBezTo>
                <a:cubicBezTo>
                  <a:pt x="218" y="551"/>
                  <a:pt x="218" y="551"/>
                  <a:pt x="218" y="551"/>
                </a:cubicBezTo>
                <a:cubicBezTo>
                  <a:pt x="186" y="600"/>
                  <a:pt x="186" y="600"/>
                  <a:pt x="186" y="600"/>
                </a:cubicBezTo>
                <a:cubicBezTo>
                  <a:pt x="186" y="600"/>
                  <a:pt x="186" y="600"/>
                  <a:pt x="186" y="600"/>
                </a:cubicBezTo>
                <a:cubicBezTo>
                  <a:pt x="186" y="601"/>
                  <a:pt x="186" y="601"/>
                  <a:pt x="186" y="601"/>
                </a:cubicBezTo>
                <a:cubicBezTo>
                  <a:pt x="186" y="602"/>
                  <a:pt x="186" y="602"/>
                  <a:pt x="186" y="602"/>
                </a:cubicBezTo>
                <a:cubicBezTo>
                  <a:pt x="187" y="603"/>
                  <a:pt x="187" y="603"/>
                  <a:pt x="187" y="603"/>
                </a:cubicBezTo>
                <a:cubicBezTo>
                  <a:pt x="198" y="604"/>
                  <a:pt x="198" y="604"/>
                  <a:pt x="198" y="604"/>
                </a:cubicBezTo>
                <a:cubicBezTo>
                  <a:pt x="181" y="641"/>
                  <a:pt x="181" y="641"/>
                  <a:pt x="181" y="641"/>
                </a:cubicBezTo>
                <a:cubicBezTo>
                  <a:pt x="170" y="648"/>
                  <a:pt x="170" y="648"/>
                  <a:pt x="170" y="648"/>
                </a:cubicBezTo>
                <a:cubicBezTo>
                  <a:pt x="169" y="648"/>
                  <a:pt x="169" y="648"/>
                  <a:pt x="169" y="648"/>
                </a:cubicBezTo>
                <a:cubicBezTo>
                  <a:pt x="166" y="648"/>
                  <a:pt x="166" y="648"/>
                  <a:pt x="166" y="648"/>
                </a:cubicBezTo>
                <a:cubicBezTo>
                  <a:pt x="163" y="649"/>
                  <a:pt x="163" y="649"/>
                  <a:pt x="163" y="649"/>
                </a:cubicBezTo>
                <a:cubicBezTo>
                  <a:pt x="159" y="653"/>
                  <a:pt x="159" y="653"/>
                  <a:pt x="159" y="653"/>
                </a:cubicBezTo>
                <a:cubicBezTo>
                  <a:pt x="159" y="654"/>
                  <a:pt x="159" y="654"/>
                  <a:pt x="159" y="654"/>
                </a:cubicBezTo>
                <a:cubicBezTo>
                  <a:pt x="159" y="656"/>
                  <a:pt x="159" y="656"/>
                  <a:pt x="159" y="656"/>
                </a:cubicBezTo>
                <a:cubicBezTo>
                  <a:pt x="159" y="657"/>
                  <a:pt x="159" y="657"/>
                  <a:pt x="159" y="657"/>
                </a:cubicBezTo>
                <a:cubicBezTo>
                  <a:pt x="153" y="663"/>
                  <a:pt x="153" y="663"/>
                  <a:pt x="153" y="663"/>
                </a:cubicBezTo>
                <a:cubicBezTo>
                  <a:pt x="130" y="681"/>
                  <a:pt x="130" y="681"/>
                  <a:pt x="130" y="681"/>
                </a:cubicBezTo>
                <a:cubicBezTo>
                  <a:pt x="113" y="688"/>
                  <a:pt x="113" y="688"/>
                  <a:pt x="113" y="688"/>
                </a:cubicBezTo>
                <a:cubicBezTo>
                  <a:pt x="112" y="688"/>
                  <a:pt x="112" y="688"/>
                  <a:pt x="112" y="688"/>
                </a:cubicBezTo>
                <a:cubicBezTo>
                  <a:pt x="109" y="691"/>
                  <a:pt x="109" y="691"/>
                  <a:pt x="109" y="691"/>
                </a:cubicBezTo>
                <a:cubicBezTo>
                  <a:pt x="109" y="692"/>
                  <a:pt x="109" y="692"/>
                  <a:pt x="109" y="692"/>
                </a:cubicBezTo>
                <a:cubicBezTo>
                  <a:pt x="110" y="692"/>
                  <a:pt x="110" y="692"/>
                  <a:pt x="110" y="692"/>
                </a:cubicBezTo>
                <a:cubicBezTo>
                  <a:pt x="113" y="694"/>
                  <a:pt x="113" y="694"/>
                  <a:pt x="113" y="694"/>
                </a:cubicBezTo>
                <a:cubicBezTo>
                  <a:pt x="117" y="694"/>
                  <a:pt x="117" y="694"/>
                  <a:pt x="117" y="694"/>
                </a:cubicBezTo>
                <a:cubicBezTo>
                  <a:pt x="131" y="692"/>
                  <a:pt x="131" y="692"/>
                  <a:pt x="131" y="692"/>
                </a:cubicBezTo>
                <a:cubicBezTo>
                  <a:pt x="144" y="689"/>
                  <a:pt x="144" y="689"/>
                  <a:pt x="144" y="689"/>
                </a:cubicBezTo>
                <a:cubicBezTo>
                  <a:pt x="145" y="688"/>
                  <a:pt x="145" y="688"/>
                  <a:pt x="145" y="688"/>
                </a:cubicBezTo>
                <a:cubicBezTo>
                  <a:pt x="146" y="687"/>
                  <a:pt x="146" y="687"/>
                  <a:pt x="146" y="687"/>
                </a:cubicBezTo>
                <a:cubicBezTo>
                  <a:pt x="145" y="686"/>
                  <a:pt x="145" y="686"/>
                  <a:pt x="145" y="686"/>
                </a:cubicBezTo>
                <a:cubicBezTo>
                  <a:pt x="145" y="685"/>
                  <a:pt x="145" y="685"/>
                  <a:pt x="145" y="685"/>
                </a:cubicBezTo>
                <a:cubicBezTo>
                  <a:pt x="145" y="684"/>
                  <a:pt x="145" y="684"/>
                  <a:pt x="145" y="684"/>
                </a:cubicBezTo>
                <a:cubicBezTo>
                  <a:pt x="147" y="682"/>
                  <a:pt x="147" y="682"/>
                  <a:pt x="147" y="682"/>
                </a:cubicBezTo>
                <a:cubicBezTo>
                  <a:pt x="152" y="681"/>
                  <a:pt x="152" y="681"/>
                  <a:pt x="152" y="681"/>
                </a:cubicBezTo>
                <a:cubicBezTo>
                  <a:pt x="167" y="677"/>
                  <a:pt x="167" y="677"/>
                  <a:pt x="167" y="677"/>
                </a:cubicBezTo>
                <a:cubicBezTo>
                  <a:pt x="172" y="677"/>
                  <a:pt x="172" y="677"/>
                  <a:pt x="172" y="677"/>
                </a:cubicBezTo>
                <a:cubicBezTo>
                  <a:pt x="173" y="678"/>
                  <a:pt x="173" y="678"/>
                  <a:pt x="173" y="678"/>
                </a:cubicBezTo>
                <a:cubicBezTo>
                  <a:pt x="190" y="685"/>
                  <a:pt x="190" y="685"/>
                  <a:pt x="190" y="685"/>
                </a:cubicBezTo>
                <a:cubicBezTo>
                  <a:pt x="216" y="684"/>
                  <a:pt x="216" y="684"/>
                  <a:pt x="216" y="684"/>
                </a:cubicBezTo>
                <a:cubicBezTo>
                  <a:pt x="229" y="683"/>
                  <a:pt x="229" y="683"/>
                  <a:pt x="229" y="683"/>
                </a:cubicBezTo>
                <a:cubicBezTo>
                  <a:pt x="231" y="682"/>
                  <a:pt x="231" y="682"/>
                  <a:pt x="231" y="682"/>
                </a:cubicBezTo>
                <a:cubicBezTo>
                  <a:pt x="233" y="681"/>
                  <a:pt x="233" y="681"/>
                  <a:pt x="233" y="681"/>
                </a:cubicBezTo>
                <a:cubicBezTo>
                  <a:pt x="241" y="672"/>
                  <a:pt x="241" y="672"/>
                  <a:pt x="241" y="672"/>
                </a:cubicBezTo>
                <a:cubicBezTo>
                  <a:pt x="250" y="660"/>
                  <a:pt x="250" y="660"/>
                  <a:pt x="250" y="660"/>
                </a:cubicBezTo>
                <a:cubicBezTo>
                  <a:pt x="250" y="659"/>
                  <a:pt x="250" y="659"/>
                  <a:pt x="250" y="659"/>
                </a:cubicBezTo>
                <a:cubicBezTo>
                  <a:pt x="251" y="658"/>
                  <a:pt x="251" y="658"/>
                  <a:pt x="251" y="658"/>
                </a:cubicBezTo>
                <a:cubicBezTo>
                  <a:pt x="251" y="657"/>
                  <a:pt x="251" y="657"/>
                  <a:pt x="251" y="657"/>
                </a:cubicBezTo>
                <a:cubicBezTo>
                  <a:pt x="265" y="661"/>
                  <a:pt x="265" y="661"/>
                  <a:pt x="265" y="661"/>
                </a:cubicBezTo>
                <a:cubicBezTo>
                  <a:pt x="278" y="668"/>
                  <a:pt x="278" y="668"/>
                  <a:pt x="278" y="668"/>
                </a:cubicBezTo>
                <a:cubicBezTo>
                  <a:pt x="282" y="674"/>
                  <a:pt x="282" y="674"/>
                  <a:pt x="282" y="674"/>
                </a:cubicBezTo>
                <a:cubicBezTo>
                  <a:pt x="282" y="674"/>
                  <a:pt x="282" y="674"/>
                  <a:pt x="282" y="674"/>
                </a:cubicBezTo>
                <a:cubicBezTo>
                  <a:pt x="256" y="682"/>
                  <a:pt x="256" y="682"/>
                  <a:pt x="256" y="682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19" y="691"/>
                  <a:pt x="219" y="691"/>
                  <a:pt x="219" y="691"/>
                </a:cubicBezTo>
                <a:cubicBezTo>
                  <a:pt x="210" y="695"/>
                  <a:pt x="210" y="695"/>
                  <a:pt x="210" y="695"/>
                </a:cubicBezTo>
                <a:cubicBezTo>
                  <a:pt x="208" y="695"/>
                  <a:pt x="208" y="695"/>
                  <a:pt x="208" y="695"/>
                </a:cubicBezTo>
                <a:cubicBezTo>
                  <a:pt x="206" y="695"/>
                  <a:pt x="206" y="695"/>
                  <a:pt x="206" y="695"/>
                </a:cubicBezTo>
                <a:cubicBezTo>
                  <a:pt x="205" y="695"/>
                  <a:pt x="205" y="695"/>
                  <a:pt x="205" y="695"/>
                </a:cubicBezTo>
                <a:cubicBezTo>
                  <a:pt x="188" y="691"/>
                  <a:pt x="188" y="691"/>
                  <a:pt x="188" y="691"/>
                </a:cubicBezTo>
                <a:cubicBezTo>
                  <a:pt x="158" y="691"/>
                  <a:pt x="158" y="691"/>
                  <a:pt x="158" y="691"/>
                </a:cubicBezTo>
                <a:cubicBezTo>
                  <a:pt x="156" y="691"/>
                  <a:pt x="156" y="691"/>
                  <a:pt x="156" y="691"/>
                </a:cubicBezTo>
                <a:cubicBezTo>
                  <a:pt x="154" y="692"/>
                  <a:pt x="154" y="692"/>
                  <a:pt x="154" y="692"/>
                </a:cubicBezTo>
                <a:cubicBezTo>
                  <a:pt x="153" y="693"/>
                  <a:pt x="153" y="693"/>
                  <a:pt x="153" y="693"/>
                </a:cubicBezTo>
                <a:cubicBezTo>
                  <a:pt x="149" y="696"/>
                  <a:pt x="149" y="696"/>
                  <a:pt x="149" y="696"/>
                </a:cubicBezTo>
                <a:cubicBezTo>
                  <a:pt x="149" y="697"/>
                  <a:pt x="149" y="697"/>
                  <a:pt x="149" y="697"/>
                </a:cubicBezTo>
                <a:cubicBezTo>
                  <a:pt x="147" y="705"/>
                  <a:pt x="147" y="705"/>
                  <a:pt x="147" y="705"/>
                </a:cubicBezTo>
                <a:cubicBezTo>
                  <a:pt x="148" y="710"/>
                  <a:pt x="148" y="710"/>
                  <a:pt x="148" y="710"/>
                </a:cubicBezTo>
                <a:cubicBezTo>
                  <a:pt x="146" y="714"/>
                  <a:pt x="146" y="714"/>
                  <a:pt x="146" y="714"/>
                </a:cubicBezTo>
                <a:cubicBezTo>
                  <a:pt x="135" y="721"/>
                  <a:pt x="135" y="721"/>
                  <a:pt x="135" y="721"/>
                </a:cubicBezTo>
                <a:cubicBezTo>
                  <a:pt x="134" y="722"/>
                  <a:pt x="134" y="722"/>
                  <a:pt x="134" y="722"/>
                </a:cubicBezTo>
                <a:cubicBezTo>
                  <a:pt x="122" y="725"/>
                  <a:pt x="122" y="725"/>
                  <a:pt x="122" y="725"/>
                </a:cubicBezTo>
                <a:cubicBezTo>
                  <a:pt x="120" y="736"/>
                  <a:pt x="120" y="736"/>
                  <a:pt x="120" y="736"/>
                </a:cubicBezTo>
                <a:cubicBezTo>
                  <a:pt x="119" y="756"/>
                  <a:pt x="119" y="756"/>
                  <a:pt x="119" y="756"/>
                </a:cubicBezTo>
                <a:cubicBezTo>
                  <a:pt x="121" y="763"/>
                  <a:pt x="121" y="763"/>
                  <a:pt x="121" y="763"/>
                </a:cubicBezTo>
                <a:cubicBezTo>
                  <a:pt x="129" y="765"/>
                  <a:pt x="129" y="765"/>
                  <a:pt x="129" y="765"/>
                </a:cubicBezTo>
                <a:cubicBezTo>
                  <a:pt x="131" y="766"/>
                  <a:pt x="131" y="766"/>
                  <a:pt x="131" y="766"/>
                </a:cubicBezTo>
                <a:cubicBezTo>
                  <a:pt x="133" y="767"/>
                  <a:pt x="133" y="767"/>
                  <a:pt x="133" y="767"/>
                </a:cubicBezTo>
                <a:cubicBezTo>
                  <a:pt x="134" y="767"/>
                  <a:pt x="134" y="767"/>
                  <a:pt x="134" y="767"/>
                </a:cubicBezTo>
                <a:cubicBezTo>
                  <a:pt x="134" y="769"/>
                  <a:pt x="134" y="769"/>
                  <a:pt x="134" y="769"/>
                </a:cubicBezTo>
                <a:cubicBezTo>
                  <a:pt x="134" y="772"/>
                  <a:pt x="134" y="772"/>
                  <a:pt x="134" y="772"/>
                </a:cubicBezTo>
                <a:cubicBezTo>
                  <a:pt x="115" y="774"/>
                  <a:pt x="115" y="774"/>
                  <a:pt x="115" y="774"/>
                </a:cubicBezTo>
                <a:cubicBezTo>
                  <a:pt x="106" y="774"/>
                  <a:pt x="106" y="774"/>
                  <a:pt x="106" y="774"/>
                </a:cubicBezTo>
                <a:cubicBezTo>
                  <a:pt x="102" y="774"/>
                  <a:pt x="102" y="774"/>
                  <a:pt x="102" y="774"/>
                </a:cubicBezTo>
                <a:cubicBezTo>
                  <a:pt x="69" y="765"/>
                  <a:pt x="69" y="765"/>
                  <a:pt x="69" y="765"/>
                </a:cubicBezTo>
                <a:cubicBezTo>
                  <a:pt x="70" y="761"/>
                  <a:pt x="70" y="761"/>
                  <a:pt x="70" y="761"/>
                </a:cubicBezTo>
                <a:cubicBezTo>
                  <a:pt x="70" y="758"/>
                  <a:pt x="70" y="758"/>
                  <a:pt x="70" y="758"/>
                </a:cubicBezTo>
                <a:cubicBezTo>
                  <a:pt x="70" y="757"/>
                  <a:pt x="70" y="757"/>
                  <a:pt x="70" y="757"/>
                </a:cubicBezTo>
                <a:cubicBezTo>
                  <a:pt x="69" y="757"/>
                  <a:pt x="69" y="757"/>
                  <a:pt x="69" y="757"/>
                </a:cubicBezTo>
                <a:cubicBezTo>
                  <a:pt x="68" y="757"/>
                  <a:pt x="68" y="757"/>
                  <a:pt x="68" y="757"/>
                </a:cubicBezTo>
                <a:cubicBezTo>
                  <a:pt x="63" y="758"/>
                  <a:pt x="63" y="758"/>
                  <a:pt x="63" y="758"/>
                </a:cubicBezTo>
                <a:cubicBezTo>
                  <a:pt x="56" y="760"/>
                  <a:pt x="56" y="760"/>
                  <a:pt x="56" y="760"/>
                </a:cubicBezTo>
                <a:cubicBezTo>
                  <a:pt x="53" y="761"/>
                  <a:pt x="53" y="761"/>
                  <a:pt x="53" y="761"/>
                </a:cubicBezTo>
                <a:cubicBezTo>
                  <a:pt x="52" y="762"/>
                  <a:pt x="52" y="762"/>
                  <a:pt x="52" y="762"/>
                </a:cubicBezTo>
                <a:cubicBezTo>
                  <a:pt x="38" y="769"/>
                  <a:pt x="38" y="769"/>
                  <a:pt x="38" y="769"/>
                </a:cubicBezTo>
                <a:cubicBezTo>
                  <a:pt x="21" y="780"/>
                  <a:pt x="21" y="780"/>
                  <a:pt x="21" y="780"/>
                </a:cubicBezTo>
                <a:cubicBezTo>
                  <a:pt x="21" y="781"/>
                  <a:pt x="21" y="781"/>
                  <a:pt x="21" y="781"/>
                </a:cubicBezTo>
                <a:cubicBezTo>
                  <a:pt x="21" y="781"/>
                  <a:pt x="21" y="781"/>
                  <a:pt x="21" y="781"/>
                </a:cubicBezTo>
                <a:cubicBezTo>
                  <a:pt x="19" y="789"/>
                  <a:pt x="19" y="789"/>
                  <a:pt x="19" y="789"/>
                </a:cubicBezTo>
                <a:cubicBezTo>
                  <a:pt x="18" y="793"/>
                  <a:pt x="18" y="793"/>
                  <a:pt x="18" y="793"/>
                </a:cubicBezTo>
                <a:cubicBezTo>
                  <a:pt x="19" y="799"/>
                  <a:pt x="19" y="799"/>
                  <a:pt x="19" y="799"/>
                </a:cubicBezTo>
                <a:cubicBezTo>
                  <a:pt x="20" y="800"/>
                  <a:pt x="20" y="800"/>
                  <a:pt x="20" y="800"/>
                </a:cubicBezTo>
                <a:cubicBezTo>
                  <a:pt x="22" y="802"/>
                  <a:pt x="22" y="802"/>
                  <a:pt x="22" y="802"/>
                </a:cubicBezTo>
                <a:cubicBezTo>
                  <a:pt x="22" y="803"/>
                  <a:pt x="22" y="803"/>
                  <a:pt x="22" y="803"/>
                </a:cubicBezTo>
                <a:cubicBezTo>
                  <a:pt x="24" y="803"/>
                  <a:pt x="24" y="803"/>
                  <a:pt x="24" y="803"/>
                </a:cubicBezTo>
                <a:cubicBezTo>
                  <a:pt x="73" y="799"/>
                  <a:pt x="73" y="799"/>
                  <a:pt x="73" y="799"/>
                </a:cubicBezTo>
                <a:cubicBezTo>
                  <a:pt x="88" y="797"/>
                  <a:pt x="88" y="797"/>
                  <a:pt x="88" y="797"/>
                </a:cubicBezTo>
                <a:cubicBezTo>
                  <a:pt x="100" y="795"/>
                  <a:pt x="100" y="795"/>
                  <a:pt x="100" y="795"/>
                </a:cubicBezTo>
                <a:cubicBezTo>
                  <a:pt x="109" y="794"/>
                  <a:pt x="109" y="794"/>
                  <a:pt x="109" y="794"/>
                </a:cubicBezTo>
                <a:cubicBezTo>
                  <a:pt x="112" y="795"/>
                  <a:pt x="112" y="795"/>
                  <a:pt x="112" y="795"/>
                </a:cubicBezTo>
                <a:cubicBezTo>
                  <a:pt x="114" y="795"/>
                  <a:pt x="114" y="795"/>
                  <a:pt x="114" y="795"/>
                </a:cubicBezTo>
                <a:cubicBezTo>
                  <a:pt x="122" y="798"/>
                  <a:pt x="122" y="798"/>
                  <a:pt x="122" y="798"/>
                </a:cubicBezTo>
                <a:cubicBezTo>
                  <a:pt x="124" y="799"/>
                  <a:pt x="124" y="799"/>
                  <a:pt x="124" y="799"/>
                </a:cubicBezTo>
                <a:cubicBezTo>
                  <a:pt x="126" y="801"/>
                  <a:pt x="126" y="801"/>
                  <a:pt x="126" y="801"/>
                </a:cubicBezTo>
                <a:cubicBezTo>
                  <a:pt x="127" y="803"/>
                  <a:pt x="127" y="803"/>
                  <a:pt x="127" y="803"/>
                </a:cubicBezTo>
                <a:cubicBezTo>
                  <a:pt x="126" y="803"/>
                  <a:pt x="126" y="803"/>
                  <a:pt x="126" y="803"/>
                </a:cubicBezTo>
                <a:cubicBezTo>
                  <a:pt x="122" y="802"/>
                  <a:pt x="122" y="802"/>
                  <a:pt x="122" y="802"/>
                </a:cubicBezTo>
                <a:cubicBezTo>
                  <a:pt x="120" y="802"/>
                  <a:pt x="120" y="802"/>
                  <a:pt x="120" y="802"/>
                </a:cubicBezTo>
                <a:cubicBezTo>
                  <a:pt x="108" y="804"/>
                  <a:pt x="108" y="804"/>
                  <a:pt x="108" y="804"/>
                </a:cubicBezTo>
                <a:cubicBezTo>
                  <a:pt x="106" y="805"/>
                  <a:pt x="106" y="805"/>
                  <a:pt x="106" y="805"/>
                </a:cubicBezTo>
                <a:cubicBezTo>
                  <a:pt x="97" y="812"/>
                  <a:pt x="97" y="812"/>
                  <a:pt x="97" y="812"/>
                </a:cubicBezTo>
                <a:cubicBezTo>
                  <a:pt x="76" y="821"/>
                  <a:pt x="76" y="821"/>
                  <a:pt x="76" y="821"/>
                </a:cubicBezTo>
                <a:cubicBezTo>
                  <a:pt x="70" y="824"/>
                  <a:pt x="70" y="824"/>
                  <a:pt x="70" y="824"/>
                </a:cubicBezTo>
                <a:cubicBezTo>
                  <a:pt x="48" y="831"/>
                  <a:pt x="48" y="831"/>
                  <a:pt x="48" y="831"/>
                </a:cubicBezTo>
                <a:cubicBezTo>
                  <a:pt x="44" y="837"/>
                  <a:pt x="44" y="837"/>
                  <a:pt x="44" y="837"/>
                </a:cubicBezTo>
                <a:cubicBezTo>
                  <a:pt x="44" y="841"/>
                  <a:pt x="44" y="841"/>
                  <a:pt x="44" y="841"/>
                </a:cubicBezTo>
                <a:cubicBezTo>
                  <a:pt x="44" y="842"/>
                  <a:pt x="44" y="842"/>
                  <a:pt x="44" y="842"/>
                </a:cubicBezTo>
                <a:cubicBezTo>
                  <a:pt x="46" y="844"/>
                  <a:pt x="46" y="844"/>
                  <a:pt x="46" y="844"/>
                </a:cubicBezTo>
                <a:cubicBezTo>
                  <a:pt x="49" y="850"/>
                  <a:pt x="49" y="850"/>
                  <a:pt x="49" y="850"/>
                </a:cubicBezTo>
                <a:cubicBezTo>
                  <a:pt x="49" y="853"/>
                  <a:pt x="49" y="853"/>
                  <a:pt x="49" y="853"/>
                </a:cubicBezTo>
                <a:cubicBezTo>
                  <a:pt x="48" y="854"/>
                  <a:pt x="48" y="854"/>
                  <a:pt x="48" y="854"/>
                </a:cubicBezTo>
                <a:cubicBezTo>
                  <a:pt x="47" y="852"/>
                  <a:pt x="47" y="852"/>
                  <a:pt x="47" y="852"/>
                </a:cubicBezTo>
                <a:cubicBezTo>
                  <a:pt x="46" y="852"/>
                  <a:pt x="46" y="852"/>
                  <a:pt x="46" y="852"/>
                </a:cubicBezTo>
                <a:cubicBezTo>
                  <a:pt x="45" y="852"/>
                  <a:pt x="45" y="852"/>
                  <a:pt x="45" y="852"/>
                </a:cubicBezTo>
                <a:cubicBezTo>
                  <a:pt x="41" y="855"/>
                  <a:pt x="41" y="855"/>
                  <a:pt x="41" y="855"/>
                </a:cubicBezTo>
                <a:cubicBezTo>
                  <a:pt x="27" y="858"/>
                  <a:pt x="27" y="858"/>
                  <a:pt x="27" y="858"/>
                </a:cubicBezTo>
                <a:cubicBezTo>
                  <a:pt x="26" y="865"/>
                  <a:pt x="26" y="865"/>
                  <a:pt x="26" y="865"/>
                </a:cubicBezTo>
                <a:cubicBezTo>
                  <a:pt x="26" y="866"/>
                  <a:pt x="26" y="866"/>
                  <a:pt x="26" y="866"/>
                </a:cubicBezTo>
                <a:cubicBezTo>
                  <a:pt x="32" y="880"/>
                  <a:pt x="32" y="880"/>
                  <a:pt x="32" y="880"/>
                </a:cubicBezTo>
                <a:cubicBezTo>
                  <a:pt x="32" y="881"/>
                  <a:pt x="32" y="881"/>
                  <a:pt x="32" y="881"/>
                </a:cubicBezTo>
                <a:cubicBezTo>
                  <a:pt x="33" y="882"/>
                  <a:pt x="33" y="882"/>
                  <a:pt x="33" y="882"/>
                </a:cubicBezTo>
                <a:cubicBezTo>
                  <a:pt x="34" y="882"/>
                  <a:pt x="34" y="882"/>
                  <a:pt x="34" y="882"/>
                </a:cubicBezTo>
                <a:cubicBezTo>
                  <a:pt x="44" y="875"/>
                  <a:pt x="44" y="875"/>
                  <a:pt x="44" y="875"/>
                </a:cubicBezTo>
                <a:cubicBezTo>
                  <a:pt x="57" y="883"/>
                  <a:pt x="57" y="883"/>
                  <a:pt x="57" y="883"/>
                </a:cubicBezTo>
                <a:cubicBezTo>
                  <a:pt x="77" y="889"/>
                  <a:pt x="77" y="889"/>
                  <a:pt x="77" y="889"/>
                </a:cubicBezTo>
                <a:cubicBezTo>
                  <a:pt x="102" y="880"/>
                  <a:pt x="102" y="880"/>
                  <a:pt x="102" y="880"/>
                </a:cubicBezTo>
                <a:cubicBezTo>
                  <a:pt x="132" y="870"/>
                  <a:pt x="132" y="870"/>
                  <a:pt x="132" y="870"/>
                </a:cubicBezTo>
                <a:cubicBezTo>
                  <a:pt x="136" y="869"/>
                  <a:pt x="136" y="869"/>
                  <a:pt x="136" y="869"/>
                </a:cubicBezTo>
                <a:cubicBezTo>
                  <a:pt x="143" y="868"/>
                  <a:pt x="143" y="868"/>
                  <a:pt x="143" y="868"/>
                </a:cubicBezTo>
                <a:cubicBezTo>
                  <a:pt x="152" y="867"/>
                  <a:pt x="152" y="867"/>
                  <a:pt x="152" y="867"/>
                </a:cubicBezTo>
                <a:cubicBezTo>
                  <a:pt x="153" y="867"/>
                  <a:pt x="153" y="867"/>
                  <a:pt x="153" y="867"/>
                </a:cubicBezTo>
                <a:cubicBezTo>
                  <a:pt x="153" y="869"/>
                  <a:pt x="153" y="869"/>
                  <a:pt x="153" y="869"/>
                </a:cubicBezTo>
                <a:cubicBezTo>
                  <a:pt x="115" y="888"/>
                  <a:pt x="115" y="888"/>
                  <a:pt x="115" y="888"/>
                </a:cubicBezTo>
                <a:cubicBezTo>
                  <a:pt x="102" y="893"/>
                  <a:pt x="102" y="893"/>
                  <a:pt x="102" y="893"/>
                </a:cubicBezTo>
                <a:cubicBezTo>
                  <a:pt x="88" y="905"/>
                  <a:pt x="88" y="905"/>
                  <a:pt x="88" y="905"/>
                </a:cubicBezTo>
                <a:cubicBezTo>
                  <a:pt x="65" y="928"/>
                  <a:pt x="65" y="928"/>
                  <a:pt x="65" y="928"/>
                </a:cubicBezTo>
                <a:cubicBezTo>
                  <a:pt x="62" y="932"/>
                  <a:pt x="62" y="932"/>
                  <a:pt x="62" y="932"/>
                </a:cubicBezTo>
                <a:cubicBezTo>
                  <a:pt x="76" y="934"/>
                  <a:pt x="76" y="934"/>
                  <a:pt x="76" y="934"/>
                </a:cubicBezTo>
                <a:cubicBezTo>
                  <a:pt x="79" y="933"/>
                  <a:pt x="79" y="933"/>
                  <a:pt x="79" y="933"/>
                </a:cubicBezTo>
                <a:cubicBezTo>
                  <a:pt x="92" y="929"/>
                  <a:pt x="92" y="929"/>
                  <a:pt x="92" y="929"/>
                </a:cubicBezTo>
                <a:cubicBezTo>
                  <a:pt x="93" y="928"/>
                  <a:pt x="93" y="928"/>
                  <a:pt x="93" y="928"/>
                </a:cubicBezTo>
                <a:cubicBezTo>
                  <a:pt x="94" y="926"/>
                  <a:pt x="94" y="926"/>
                  <a:pt x="94" y="926"/>
                </a:cubicBezTo>
                <a:cubicBezTo>
                  <a:pt x="94" y="924"/>
                  <a:pt x="94" y="924"/>
                  <a:pt x="94" y="924"/>
                </a:cubicBezTo>
                <a:cubicBezTo>
                  <a:pt x="94" y="924"/>
                  <a:pt x="94" y="924"/>
                  <a:pt x="94" y="924"/>
                </a:cubicBezTo>
                <a:cubicBezTo>
                  <a:pt x="94" y="923"/>
                  <a:pt x="94" y="923"/>
                  <a:pt x="94" y="923"/>
                </a:cubicBezTo>
                <a:cubicBezTo>
                  <a:pt x="97" y="921"/>
                  <a:pt x="97" y="921"/>
                  <a:pt x="97" y="921"/>
                </a:cubicBezTo>
                <a:cubicBezTo>
                  <a:pt x="108" y="920"/>
                  <a:pt x="108" y="920"/>
                  <a:pt x="108" y="920"/>
                </a:cubicBezTo>
                <a:cubicBezTo>
                  <a:pt x="119" y="920"/>
                  <a:pt x="119" y="920"/>
                  <a:pt x="119" y="920"/>
                </a:cubicBezTo>
                <a:cubicBezTo>
                  <a:pt x="136" y="917"/>
                  <a:pt x="136" y="917"/>
                  <a:pt x="136" y="917"/>
                </a:cubicBezTo>
                <a:cubicBezTo>
                  <a:pt x="146" y="914"/>
                  <a:pt x="146" y="914"/>
                  <a:pt x="146" y="914"/>
                </a:cubicBezTo>
                <a:cubicBezTo>
                  <a:pt x="147" y="914"/>
                  <a:pt x="147" y="914"/>
                  <a:pt x="147" y="914"/>
                </a:cubicBezTo>
                <a:cubicBezTo>
                  <a:pt x="155" y="907"/>
                  <a:pt x="155" y="907"/>
                  <a:pt x="155" y="907"/>
                </a:cubicBezTo>
                <a:cubicBezTo>
                  <a:pt x="160" y="906"/>
                  <a:pt x="160" y="906"/>
                  <a:pt x="160" y="906"/>
                </a:cubicBezTo>
                <a:cubicBezTo>
                  <a:pt x="170" y="906"/>
                  <a:pt x="170" y="906"/>
                  <a:pt x="170" y="906"/>
                </a:cubicBezTo>
                <a:cubicBezTo>
                  <a:pt x="171" y="906"/>
                  <a:pt x="171" y="906"/>
                  <a:pt x="171" y="906"/>
                </a:cubicBezTo>
                <a:cubicBezTo>
                  <a:pt x="172" y="909"/>
                  <a:pt x="172" y="909"/>
                  <a:pt x="172" y="909"/>
                </a:cubicBezTo>
                <a:cubicBezTo>
                  <a:pt x="170" y="915"/>
                  <a:pt x="170" y="915"/>
                  <a:pt x="170" y="915"/>
                </a:cubicBezTo>
                <a:cubicBezTo>
                  <a:pt x="170" y="916"/>
                  <a:pt x="170" y="916"/>
                  <a:pt x="170" y="916"/>
                </a:cubicBezTo>
                <a:cubicBezTo>
                  <a:pt x="167" y="918"/>
                  <a:pt x="167" y="918"/>
                  <a:pt x="167" y="918"/>
                </a:cubicBezTo>
                <a:cubicBezTo>
                  <a:pt x="159" y="921"/>
                  <a:pt x="159" y="921"/>
                  <a:pt x="159" y="921"/>
                </a:cubicBezTo>
                <a:cubicBezTo>
                  <a:pt x="157" y="922"/>
                  <a:pt x="157" y="922"/>
                  <a:pt x="157" y="922"/>
                </a:cubicBezTo>
                <a:cubicBezTo>
                  <a:pt x="153" y="922"/>
                  <a:pt x="153" y="922"/>
                  <a:pt x="153" y="922"/>
                </a:cubicBezTo>
                <a:cubicBezTo>
                  <a:pt x="149" y="923"/>
                  <a:pt x="149" y="923"/>
                  <a:pt x="149" y="923"/>
                </a:cubicBezTo>
                <a:cubicBezTo>
                  <a:pt x="148" y="924"/>
                  <a:pt x="148" y="924"/>
                  <a:pt x="148" y="924"/>
                </a:cubicBezTo>
                <a:cubicBezTo>
                  <a:pt x="121" y="936"/>
                  <a:pt x="121" y="936"/>
                  <a:pt x="121" y="936"/>
                </a:cubicBezTo>
                <a:cubicBezTo>
                  <a:pt x="117" y="938"/>
                  <a:pt x="117" y="938"/>
                  <a:pt x="117" y="938"/>
                </a:cubicBezTo>
                <a:cubicBezTo>
                  <a:pt x="107" y="946"/>
                  <a:pt x="107" y="946"/>
                  <a:pt x="107" y="946"/>
                </a:cubicBezTo>
                <a:cubicBezTo>
                  <a:pt x="106" y="947"/>
                  <a:pt x="106" y="947"/>
                  <a:pt x="106" y="947"/>
                </a:cubicBezTo>
                <a:cubicBezTo>
                  <a:pt x="106" y="948"/>
                  <a:pt x="106" y="948"/>
                  <a:pt x="106" y="948"/>
                </a:cubicBezTo>
                <a:cubicBezTo>
                  <a:pt x="107" y="948"/>
                  <a:pt x="107" y="948"/>
                  <a:pt x="107" y="948"/>
                </a:cubicBezTo>
                <a:cubicBezTo>
                  <a:pt x="107" y="949"/>
                  <a:pt x="107" y="949"/>
                  <a:pt x="107" y="949"/>
                </a:cubicBezTo>
                <a:cubicBezTo>
                  <a:pt x="108" y="949"/>
                  <a:pt x="108" y="949"/>
                  <a:pt x="108" y="949"/>
                </a:cubicBezTo>
                <a:cubicBezTo>
                  <a:pt x="112" y="948"/>
                  <a:pt x="112" y="948"/>
                  <a:pt x="112" y="948"/>
                </a:cubicBezTo>
                <a:cubicBezTo>
                  <a:pt x="138" y="938"/>
                  <a:pt x="138" y="938"/>
                  <a:pt x="138" y="938"/>
                </a:cubicBezTo>
                <a:cubicBezTo>
                  <a:pt x="142" y="936"/>
                  <a:pt x="142" y="936"/>
                  <a:pt x="142" y="936"/>
                </a:cubicBezTo>
                <a:cubicBezTo>
                  <a:pt x="142" y="936"/>
                  <a:pt x="142" y="936"/>
                  <a:pt x="142" y="936"/>
                </a:cubicBezTo>
                <a:cubicBezTo>
                  <a:pt x="144" y="935"/>
                  <a:pt x="144" y="935"/>
                  <a:pt x="144" y="935"/>
                </a:cubicBezTo>
                <a:cubicBezTo>
                  <a:pt x="147" y="933"/>
                  <a:pt x="147" y="933"/>
                  <a:pt x="147" y="933"/>
                </a:cubicBezTo>
                <a:cubicBezTo>
                  <a:pt x="148" y="933"/>
                  <a:pt x="148" y="933"/>
                  <a:pt x="148" y="933"/>
                </a:cubicBezTo>
                <a:cubicBezTo>
                  <a:pt x="149" y="932"/>
                  <a:pt x="149" y="932"/>
                  <a:pt x="149" y="932"/>
                </a:cubicBezTo>
                <a:cubicBezTo>
                  <a:pt x="153" y="932"/>
                  <a:pt x="153" y="932"/>
                  <a:pt x="153" y="932"/>
                </a:cubicBezTo>
                <a:cubicBezTo>
                  <a:pt x="153" y="932"/>
                  <a:pt x="153" y="932"/>
                  <a:pt x="153" y="932"/>
                </a:cubicBezTo>
                <a:cubicBezTo>
                  <a:pt x="154" y="933"/>
                  <a:pt x="154" y="933"/>
                  <a:pt x="154" y="933"/>
                </a:cubicBezTo>
                <a:cubicBezTo>
                  <a:pt x="154" y="934"/>
                  <a:pt x="154" y="934"/>
                  <a:pt x="154" y="934"/>
                </a:cubicBezTo>
                <a:cubicBezTo>
                  <a:pt x="153" y="935"/>
                  <a:pt x="153" y="935"/>
                  <a:pt x="153" y="935"/>
                </a:cubicBezTo>
                <a:cubicBezTo>
                  <a:pt x="136" y="948"/>
                  <a:pt x="136" y="948"/>
                  <a:pt x="136" y="948"/>
                </a:cubicBezTo>
                <a:cubicBezTo>
                  <a:pt x="133" y="950"/>
                  <a:pt x="133" y="950"/>
                  <a:pt x="133" y="950"/>
                </a:cubicBezTo>
                <a:cubicBezTo>
                  <a:pt x="128" y="953"/>
                  <a:pt x="128" y="953"/>
                  <a:pt x="128" y="953"/>
                </a:cubicBezTo>
                <a:cubicBezTo>
                  <a:pt x="126" y="954"/>
                  <a:pt x="126" y="954"/>
                  <a:pt x="126" y="954"/>
                </a:cubicBezTo>
                <a:cubicBezTo>
                  <a:pt x="122" y="955"/>
                  <a:pt x="122" y="955"/>
                  <a:pt x="122" y="955"/>
                </a:cubicBezTo>
                <a:cubicBezTo>
                  <a:pt x="117" y="956"/>
                  <a:pt x="117" y="956"/>
                  <a:pt x="117" y="956"/>
                </a:cubicBezTo>
                <a:cubicBezTo>
                  <a:pt x="107" y="964"/>
                  <a:pt x="107" y="964"/>
                  <a:pt x="107" y="964"/>
                </a:cubicBezTo>
                <a:cubicBezTo>
                  <a:pt x="107" y="965"/>
                  <a:pt x="107" y="965"/>
                  <a:pt x="107" y="965"/>
                </a:cubicBezTo>
                <a:cubicBezTo>
                  <a:pt x="107" y="965"/>
                  <a:pt x="107" y="965"/>
                  <a:pt x="107" y="965"/>
                </a:cubicBezTo>
                <a:cubicBezTo>
                  <a:pt x="109" y="973"/>
                  <a:pt x="109" y="973"/>
                  <a:pt x="109" y="973"/>
                </a:cubicBezTo>
                <a:cubicBezTo>
                  <a:pt x="111" y="973"/>
                  <a:pt x="111" y="973"/>
                  <a:pt x="111" y="973"/>
                </a:cubicBezTo>
                <a:cubicBezTo>
                  <a:pt x="117" y="972"/>
                  <a:pt x="117" y="972"/>
                  <a:pt x="117" y="972"/>
                </a:cubicBezTo>
                <a:cubicBezTo>
                  <a:pt x="120" y="971"/>
                  <a:pt x="120" y="971"/>
                  <a:pt x="120" y="971"/>
                </a:cubicBezTo>
                <a:cubicBezTo>
                  <a:pt x="126" y="969"/>
                  <a:pt x="126" y="969"/>
                  <a:pt x="126" y="969"/>
                </a:cubicBezTo>
                <a:cubicBezTo>
                  <a:pt x="127" y="969"/>
                  <a:pt x="127" y="969"/>
                  <a:pt x="127" y="969"/>
                </a:cubicBezTo>
                <a:cubicBezTo>
                  <a:pt x="150" y="961"/>
                  <a:pt x="150" y="961"/>
                  <a:pt x="150" y="961"/>
                </a:cubicBezTo>
                <a:cubicBezTo>
                  <a:pt x="169" y="954"/>
                  <a:pt x="169" y="954"/>
                  <a:pt x="169" y="954"/>
                </a:cubicBezTo>
                <a:cubicBezTo>
                  <a:pt x="173" y="964"/>
                  <a:pt x="173" y="964"/>
                  <a:pt x="173" y="964"/>
                </a:cubicBezTo>
                <a:cubicBezTo>
                  <a:pt x="174" y="965"/>
                  <a:pt x="174" y="965"/>
                  <a:pt x="174" y="965"/>
                </a:cubicBezTo>
                <a:cubicBezTo>
                  <a:pt x="178" y="971"/>
                  <a:pt x="178" y="971"/>
                  <a:pt x="178" y="971"/>
                </a:cubicBezTo>
                <a:cubicBezTo>
                  <a:pt x="178" y="971"/>
                  <a:pt x="178" y="971"/>
                  <a:pt x="178" y="971"/>
                </a:cubicBezTo>
                <a:cubicBezTo>
                  <a:pt x="179" y="971"/>
                  <a:pt x="179" y="971"/>
                  <a:pt x="179" y="971"/>
                </a:cubicBezTo>
                <a:cubicBezTo>
                  <a:pt x="183" y="971"/>
                  <a:pt x="183" y="971"/>
                  <a:pt x="183" y="971"/>
                </a:cubicBezTo>
                <a:cubicBezTo>
                  <a:pt x="201" y="970"/>
                  <a:pt x="201" y="970"/>
                  <a:pt x="201" y="970"/>
                </a:cubicBezTo>
                <a:cubicBezTo>
                  <a:pt x="202" y="969"/>
                  <a:pt x="202" y="969"/>
                  <a:pt x="202" y="969"/>
                </a:cubicBezTo>
                <a:cubicBezTo>
                  <a:pt x="217" y="959"/>
                  <a:pt x="217" y="959"/>
                  <a:pt x="217" y="959"/>
                </a:cubicBezTo>
                <a:cubicBezTo>
                  <a:pt x="218" y="959"/>
                  <a:pt x="218" y="959"/>
                  <a:pt x="218" y="959"/>
                </a:cubicBezTo>
                <a:cubicBezTo>
                  <a:pt x="222" y="956"/>
                  <a:pt x="222" y="956"/>
                  <a:pt x="222" y="956"/>
                </a:cubicBezTo>
                <a:cubicBezTo>
                  <a:pt x="222" y="955"/>
                  <a:pt x="222" y="955"/>
                  <a:pt x="222" y="955"/>
                </a:cubicBezTo>
                <a:cubicBezTo>
                  <a:pt x="228" y="952"/>
                  <a:pt x="228" y="952"/>
                  <a:pt x="228" y="952"/>
                </a:cubicBezTo>
                <a:cubicBezTo>
                  <a:pt x="237" y="950"/>
                  <a:pt x="237" y="950"/>
                  <a:pt x="237" y="950"/>
                </a:cubicBezTo>
                <a:cubicBezTo>
                  <a:pt x="249" y="956"/>
                  <a:pt x="249" y="956"/>
                  <a:pt x="249" y="956"/>
                </a:cubicBezTo>
                <a:cubicBezTo>
                  <a:pt x="255" y="955"/>
                  <a:pt x="255" y="955"/>
                  <a:pt x="255" y="955"/>
                </a:cubicBezTo>
                <a:cubicBezTo>
                  <a:pt x="257" y="955"/>
                  <a:pt x="257" y="955"/>
                  <a:pt x="257" y="955"/>
                </a:cubicBezTo>
                <a:cubicBezTo>
                  <a:pt x="259" y="950"/>
                  <a:pt x="259" y="950"/>
                  <a:pt x="259" y="950"/>
                </a:cubicBezTo>
                <a:cubicBezTo>
                  <a:pt x="261" y="945"/>
                  <a:pt x="261" y="945"/>
                  <a:pt x="261" y="945"/>
                </a:cubicBezTo>
                <a:cubicBezTo>
                  <a:pt x="262" y="945"/>
                  <a:pt x="262" y="945"/>
                  <a:pt x="262" y="945"/>
                </a:cubicBezTo>
                <a:cubicBezTo>
                  <a:pt x="267" y="945"/>
                  <a:pt x="267" y="945"/>
                  <a:pt x="267" y="945"/>
                </a:cubicBezTo>
                <a:cubicBezTo>
                  <a:pt x="268" y="945"/>
                  <a:pt x="268" y="945"/>
                  <a:pt x="268" y="945"/>
                </a:cubicBezTo>
                <a:cubicBezTo>
                  <a:pt x="288" y="946"/>
                  <a:pt x="288" y="946"/>
                  <a:pt x="288" y="946"/>
                </a:cubicBezTo>
                <a:cubicBezTo>
                  <a:pt x="303" y="934"/>
                  <a:pt x="303" y="934"/>
                  <a:pt x="303" y="934"/>
                </a:cubicBezTo>
                <a:cubicBezTo>
                  <a:pt x="320" y="923"/>
                  <a:pt x="320" y="923"/>
                  <a:pt x="320" y="923"/>
                </a:cubicBezTo>
                <a:cubicBezTo>
                  <a:pt x="344" y="917"/>
                  <a:pt x="344" y="917"/>
                  <a:pt x="344" y="917"/>
                </a:cubicBezTo>
                <a:cubicBezTo>
                  <a:pt x="349" y="913"/>
                  <a:pt x="349" y="913"/>
                  <a:pt x="349" y="913"/>
                </a:cubicBezTo>
                <a:cubicBezTo>
                  <a:pt x="359" y="898"/>
                  <a:pt x="359" y="898"/>
                  <a:pt x="359" y="898"/>
                </a:cubicBezTo>
                <a:cubicBezTo>
                  <a:pt x="364" y="898"/>
                  <a:pt x="364" y="898"/>
                  <a:pt x="364" y="898"/>
                </a:cubicBezTo>
                <a:cubicBezTo>
                  <a:pt x="370" y="898"/>
                  <a:pt x="370" y="898"/>
                  <a:pt x="370" y="898"/>
                </a:cubicBezTo>
                <a:cubicBezTo>
                  <a:pt x="387" y="895"/>
                  <a:pt x="387" y="895"/>
                  <a:pt x="387" y="895"/>
                </a:cubicBezTo>
                <a:cubicBezTo>
                  <a:pt x="389" y="895"/>
                  <a:pt x="389" y="895"/>
                  <a:pt x="389" y="895"/>
                </a:cubicBezTo>
                <a:cubicBezTo>
                  <a:pt x="397" y="893"/>
                  <a:pt x="397" y="893"/>
                  <a:pt x="397" y="893"/>
                </a:cubicBezTo>
                <a:cubicBezTo>
                  <a:pt x="397" y="892"/>
                  <a:pt x="397" y="892"/>
                  <a:pt x="397" y="892"/>
                </a:cubicBezTo>
                <a:cubicBezTo>
                  <a:pt x="397" y="891"/>
                  <a:pt x="397" y="891"/>
                  <a:pt x="397" y="891"/>
                </a:cubicBezTo>
                <a:cubicBezTo>
                  <a:pt x="402" y="882"/>
                  <a:pt x="402" y="882"/>
                  <a:pt x="402" y="882"/>
                </a:cubicBezTo>
                <a:cubicBezTo>
                  <a:pt x="416" y="871"/>
                  <a:pt x="416" y="871"/>
                  <a:pt x="416" y="871"/>
                </a:cubicBezTo>
                <a:cubicBezTo>
                  <a:pt x="435" y="863"/>
                  <a:pt x="435" y="863"/>
                  <a:pt x="435" y="863"/>
                </a:cubicBezTo>
                <a:cubicBezTo>
                  <a:pt x="460" y="853"/>
                  <a:pt x="460" y="853"/>
                  <a:pt x="460" y="853"/>
                </a:cubicBezTo>
                <a:cubicBezTo>
                  <a:pt x="462" y="852"/>
                  <a:pt x="462" y="852"/>
                  <a:pt x="462" y="852"/>
                </a:cubicBezTo>
                <a:cubicBezTo>
                  <a:pt x="465" y="851"/>
                  <a:pt x="465" y="851"/>
                  <a:pt x="465" y="851"/>
                </a:cubicBezTo>
                <a:cubicBezTo>
                  <a:pt x="472" y="838"/>
                  <a:pt x="472" y="838"/>
                  <a:pt x="472" y="838"/>
                </a:cubicBezTo>
                <a:cubicBezTo>
                  <a:pt x="472" y="837"/>
                  <a:pt x="472" y="837"/>
                  <a:pt x="472" y="837"/>
                </a:cubicBezTo>
                <a:cubicBezTo>
                  <a:pt x="471" y="836"/>
                  <a:pt x="471" y="836"/>
                  <a:pt x="471" y="836"/>
                </a:cubicBezTo>
                <a:cubicBezTo>
                  <a:pt x="470" y="836"/>
                  <a:pt x="470" y="836"/>
                  <a:pt x="470" y="836"/>
                </a:cubicBezTo>
                <a:cubicBezTo>
                  <a:pt x="466" y="836"/>
                  <a:pt x="466" y="836"/>
                  <a:pt x="466" y="836"/>
                </a:cubicBezTo>
                <a:cubicBezTo>
                  <a:pt x="464" y="836"/>
                  <a:pt x="464" y="836"/>
                  <a:pt x="464" y="836"/>
                </a:cubicBezTo>
                <a:cubicBezTo>
                  <a:pt x="463" y="835"/>
                  <a:pt x="463" y="835"/>
                  <a:pt x="463" y="835"/>
                </a:cubicBezTo>
                <a:cubicBezTo>
                  <a:pt x="461" y="831"/>
                  <a:pt x="461" y="831"/>
                  <a:pt x="461" y="831"/>
                </a:cubicBezTo>
                <a:cubicBezTo>
                  <a:pt x="461" y="830"/>
                  <a:pt x="461" y="830"/>
                  <a:pt x="461" y="830"/>
                </a:cubicBezTo>
                <a:cubicBezTo>
                  <a:pt x="461" y="829"/>
                  <a:pt x="461" y="829"/>
                  <a:pt x="461" y="829"/>
                </a:cubicBezTo>
                <a:cubicBezTo>
                  <a:pt x="464" y="827"/>
                  <a:pt x="464" y="827"/>
                  <a:pt x="464" y="827"/>
                </a:cubicBezTo>
                <a:cubicBezTo>
                  <a:pt x="490" y="820"/>
                  <a:pt x="490" y="820"/>
                  <a:pt x="490" y="820"/>
                </a:cubicBezTo>
                <a:cubicBezTo>
                  <a:pt x="500" y="818"/>
                  <a:pt x="500" y="818"/>
                  <a:pt x="500" y="818"/>
                </a:cubicBezTo>
                <a:cubicBezTo>
                  <a:pt x="512" y="818"/>
                  <a:pt x="512" y="818"/>
                  <a:pt x="512" y="818"/>
                </a:cubicBezTo>
                <a:cubicBezTo>
                  <a:pt x="540" y="821"/>
                  <a:pt x="540" y="821"/>
                  <a:pt x="540" y="821"/>
                </a:cubicBezTo>
                <a:cubicBezTo>
                  <a:pt x="542" y="821"/>
                  <a:pt x="542" y="821"/>
                  <a:pt x="542" y="821"/>
                </a:cubicBezTo>
                <a:cubicBezTo>
                  <a:pt x="552" y="820"/>
                  <a:pt x="552" y="820"/>
                  <a:pt x="552" y="820"/>
                </a:cubicBezTo>
                <a:cubicBezTo>
                  <a:pt x="556" y="819"/>
                  <a:pt x="556" y="819"/>
                  <a:pt x="556" y="819"/>
                </a:cubicBezTo>
                <a:cubicBezTo>
                  <a:pt x="558" y="818"/>
                  <a:pt x="558" y="818"/>
                  <a:pt x="558" y="818"/>
                </a:cubicBezTo>
                <a:cubicBezTo>
                  <a:pt x="562" y="811"/>
                  <a:pt x="562" y="811"/>
                  <a:pt x="562" y="811"/>
                </a:cubicBezTo>
                <a:cubicBezTo>
                  <a:pt x="562" y="802"/>
                  <a:pt x="562" y="802"/>
                  <a:pt x="562" y="802"/>
                </a:cubicBezTo>
                <a:cubicBezTo>
                  <a:pt x="591" y="800"/>
                  <a:pt x="591" y="800"/>
                  <a:pt x="591" y="800"/>
                </a:cubicBezTo>
                <a:cubicBezTo>
                  <a:pt x="599" y="801"/>
                  <a:pt x="599" y="801"/>
                  <a:pt x="599" y="801"/>
                </a:cubicBezTo>
                <a:cubicBezTo>
                  <a:pt x="616" y="807"/>
                  <a:pt x="616" y="807"/>
                  <a:pt x="616" y="807"/>
                </a:cubicBezTo>
                <a:cubicBezTo>
                  <a:pt x="644" y="807"/>
                  <a:pt x="644" y="807"/>
                  <a:pt x="644" y="807"/>
                </a:cubicBezTo>
                <a:cubicBezTo>
                  <a:pt x="655" y="789"/>
                  <a:pt x="655" y="789"/>
                  <a:pt x="655" y="789"/>
                </a:cubicBezTo>
                <a:cubicBezTo>
                  <a:pt x="646" y="778"/>
                  <a:pt x="646" y="778"/>
                  <a:pt x="646" y="778"/>
                </a:cubicBezTo>
                <a:cubicBezTo>
                  <a:pt x="645" y="777"/>
                  <a:pt x="645" y="777"/>
                  <a:pt x="645" y="777"/>
                </a:cubicBezTo>
                <a:cubicBezTo>
                  <a:pt x="645" y="776"/>
                  <a:pt x="645" y="776"/>
                  <a:pt x="645" y="776"/>
                </a:cubicBezTo>
                <a:cubicBezTo>
                  <a:pt x="645" y="770"/>
                  <a:pt x="645" y="770"/>
                  <a:pt x="645" y="770"/>
                </a:cubicBezTo>
                <a:cubicBezTo>
                  <a:pt x="645" y="769"/>
                  <a:pt x="645" y="769"/>
                  <a:pt x="645" y="769"/>
                </a:cubicBezTo>
                <a:cubicBezTo>
                  <a:pt x="645" y="767"/>
                  <a:pt x="645" y="767"/>
                  <a:pt x="645" y="767"/>
                </a:cubicBezTo>
                <a:cubicBezTo>
                  <a:pt x="646" y="766"/>
                  <a:pt x="646" y="766"/>
                  <a:pt x="646" y="766"/>
                </a:cubicBezTo>
                <a:cubicBezTo>
                  <a:pt x="647" y="766"/>
                  <a:pt x="647" y="766"/>
                  <a:pt x="647" y="766"/>
                </a:cubicBezTo>
                <a:cubicBezTo>
                  <a:pt x="657" y="757"/>
                  <a:pt x="657" y="757"/>
                  <a:pt x="657" y="757"/>
                </a:cubicBezTo>
                <a:cubicBezTo>
                  <a:pt x="678" y="726"/>
                  <a:pt x="678" y="726"/>
                  <a:pt x="678" y="726"/>
                </a:cubicBezTo>
                <a:cubicBezTo>
                  <a:pt x="683" y="718"/>
                  <a:pt x="683" y="718"/>
                  <a:pt x="683" y="718"/>
                </a:cubicBezTo>
                <a:cubicBezTo>
                  <a:pt x="683" y="716"/>
                  <a:pt x="683" y="716"/>
                  <a:pt x="683" y="716"/>
                </a:cubicBezTo>
                <a:cubicBezTo>
                  <a:pt x="683" y="710"/>
                  <a:pt x="683" y="710"/>
                  <a:pt x="683" y="710"/>
                </a:cubicBezTo>
                <a:cubicBezTo>
                  <a:pt x="682" y="703"/>
                  <a:pt x="682" y="703"/>
                  <a:pt x="682" y="703"/>
                </a:cubicBezTo>
                <a:cubicBezTo>
                  <a:pt x="681" y="702"/>
                  <a:pt x="681" y="702"/>
                  <a:pt x="681" y="702"/>
                </a:cubicBezTo>
                <a:cubicBezTo>
                  <a:pt x="680" y="700"/>
                  <a:pt x="680" y="700"/>
                  <a:pt x="680" y="700"/>
                </a:cubicBezTo>
                <a:cubicBezTo>
                  <a:pt x="680" y="697"/>
                  <a:pt x="680" y="697"/>
                  <a:pt x="680" y="697"/>
                </a:cubicBezTo>
                <a:cubicBezTo>
                  <a:pt x="681" y="692"/>
                  <a:pt x="681" y="692"/>
                  <a:pt x="681" y="692"/>
                </a:cubicBezTo>
                <a:cubicBezTo>
                  <a:pt x="681" y="689"/>
                  <a:pt x="681" y="689"/>
                  <a:pt x="681" y="689"/>
                </a:cubicBezTo>
                <a:cubicBezTo>
                  <a:pt x="694" y="654"/>
                  <a:pt x="694" y="654"/>
                  <a:pt x="694" y="654"/>
                </a:cubicBezTo>
                <a:cubicBezTo>
                  <a:pt x="696" y="647"/>
                  <a:pt x="696" y="647"/>
                  <a:pt x="696" y="647"/>
                </a:cubicBezTo>
                <a:cubicBezTo>
                  <a:pt x="707" y="631"/>
                  <a:pt x="707" y="631"/>
                  <a:pt x="707" y="631"/>
                </a:cubicBezTo>
                <a:cubicBezTo>
                  <a:pt x="714" y="617"/>
                  <a:pt x="714" y="617"/>
                  <a:pt x="714" y="617"/>
                </a:cubicBezTo>
                <a:lnTo>
                  <a:pt x="711" y="57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Freeform 14">
            <a:extLst>
              <a:ext uri="{FF2B5EF4-FFF2-40B4-BE49-F238E27FC236}">
                <a16:creationId xmlns:a16="http://schemas.microsoft.com/office/drawing/2014/main" id="{DCBB2E60-7639-4392-9972-551547366DDB}"/>
              </a:ext>
            </a:extLst>
          </p:cNvPr>
          <p:cNvSpPr>
            <a:spLocks noEditPoints="1"/>
          </p:cNvSpPr>
          <p:nvPr/>
        </p:nvSpPr>
        <p:spPr bwMode="auto">
          <a:xfrm>
            <a:off x="3009852" y="3232447"/>
            <a:ext cx="956204" cy="714375"/>
          </a:xfrm>
          <a:custGeom>
            <a:avLst/>
            <a:gdLst>
              <a:gd name="T0" fmla="*/ 385 w 399"/>
              <a:gd name="T1" fmla="*/ 174 h 323"/>
              <a:gd name="T2" fmla="*/ 378 w 399"/>
              <a:gd name="T3" fmla="*/ 160 h 323"/>
              <a:gd name="T4" fmla="*/ 335 w 399"/>
              <a:gd name="T5" fmla="*/ 174 h 323"/>
              <a:gd name="T6" fmla="*/ 330 w 399"/>
              <a:gd name="T7" fmla="*/ 178 h 323"/>
              <a:gd name="T8" fmla="*/ 335 w 399"/>
              <a:gd name="T9" fmla="*/ 157 h 323"/>
              <a:gd name="T10" fmla="*/ 348 w 399"/>
              <a:gd name="T11" fmla="*/ 149 h 323"/>
              <a:gd name="T12" fmla="*/ 362 w 399"/>
              <a:gd name="T13" fmla="*/ 141 h 323"/>
              <a:gd name="T14" fmla="*/ 362 w 399"/>
              <a:gd name="T15" fmla="*/ 127 h 323"/>
              <a:gd name="T16" fmla="*/ 354 w 399"/>
              <a:gd name="T17" fmla="*/ 115 h 323"/>
              <a:gd name="T18" fmla="*/ 313 w 399"/>
              <a:gd name="T19" fmla="*/ 63 h 323"/>
              <a:gd name="T20" fmla="*/ 309 w 399"/>
              <a:gd name="T21" fmla="*/ 30 h 323"/>
              <a:gd name="T22" fmla="*/ 298 w 399"/>
              <a:gd name="T23" fmla="*/ 22 h 323"/>
              <a:gd name="T24" fmla="*/ 232 w 399"/>
              <a:gd name="T25" fmla="*/ 24 h 323"/>
              <a:gd name="T26" fmla="*/ 178 w 399"/>
              <a:gd name="T27" fmla="*/ 36 h 323"/>
              <a:gd name="T28" fmla="*/ 162 w 399"/>
              <a:gd name="T29" fmla="*/ 65 h 323"/>
              <a:gd name="T30" fmla="*/ 147 w 399"/>
              <a:gd name="T31" fmla="*/ 59 h 323"/>
              <a:gd name="T32" fmla="*/ 136 w 399"/>
              <a:gd name="T33" fmla="*/ 61 h 323"/>
              <a:gd name="T34" fmla="*/ 114 w 399"/>
              <a:gd name="T35" fmla="*/ 76 h 323"/>
              <a:gd name="T36" fmla="*/ 111 w 399"/>
              <a:gd name="T37" fmla="*/ 96 h 323"/>
              <a:gd name="T38" fmla="*/ 93 w 399"/>
              <a:gd name="T39" fmla="*/ 135 h 323"/>
              <a:gd name="T40" fmla="*/ 53 w 399"/>
              <a:gd name="T41" fmla="*/ 144 h 323"/>
              <a:gd name="T42" fmla="*/ 37 w 399"/>
              <a:gd name="T43" fmla="*/ 152 h 323"/>
              <a:gd name="T44" fmla="*/ 69 w 399"/>
              <a:gd name="T45" fmla="*/ 168 h 323"/>
              <a:gd name="T46" fmla="*/ 42 w 399"/>
              <a:gd name="T47" fmla="*/ 190 h 323"/>
              <a:gd name="T48" fmla="*/ 17 w 399"/>
              <a:gd name="T49" fmla="*/ 230 h 323"/>
              <a:gd name="T50" fmla="*/ 46 w 399"/>
              <a:gd name="T51" fmla="*/ 269 h 323"/>
              <a:gd name="T52" fmla="*/ 74 w 399"/>
              <a:gd name="T53" fmla="*/ 280 h 323"/>
              <a:gd name="T54" fmla="*/ 83 w 399"/>
              <a:gd name="T55" fmla="*/ 291 h 323"/>
              <a:gd name="T56" fmla="*/ 125 w 399"/>
              <a:gd name="T57" fmla="*/ 292 h 323"/>
              <a:gd name="T58" fmla="*/ 162 w 399"/>
              <a:gd name="T59" fmla="*/ 220 h 323"/>
              <a:gd name="T60" fmla="*/ 191 w 399"/>
              <a:gd name="T61" fmla="*/ 250 h 323"/>
              <a:gd name="T62" fmla="*/ 196 w 399"/>
              <a:gd name="T63" fmla="*/ 269 h 323"/>
              <a:gd name="T64" fmla="*/ 212 w 399"/>
              <a:gd name="T65" fmla="*/ 277 h 323"/>
              <a:gd name="T66" fmla="*/ 223 w 399"/>
              <a:gd name="T67" fmla="*/ 292 h 323"/>
              <a:gd name="T68" fmla="*/ 219 w 399"/>
              <a:gd name="T69" fmla="*/ 307 h 323"/>
              <a:gd name="T70" fmla="*/ 259 w 399"/>
              <a:gd name="T71" fmla="*/ 310 h 323"/>
              <a:gd name="T72" fmla="*/ 271 w 399"/>
              <a:gd name="T73" fmla="*/ 302 h 323"/>
              <a:gd name="T74" fmla="*/ 282 w 399"/>
              <a:gd name="T75" fmla="*/ 306 h 323"/>
              <a:gd name="T76" fmla="*/ 297 w 399"/>
              <a:gd name="T77" fmla="*/ 319 h 323"/>
              <a:gd name="T78" fmla="*/ 308 w 399"/>
              <a:gd name="T79" fmla="*/ 322 h 323"/>
              <a:gd name="T80" fmla="*/ 331 w 399"/>
              <a:gd name="T81" fmla="*/ 301 h 323"/>
              <a:gd name="T82" fmla="*/ 333 w 399"/>
              <a:gd name="T83" fmla="*/ 280 h 323"/>
              <a:gd name="T84" fmla="*/ 336 w 399"/>
              <a:gd name="T85" fmla="*/ 273 h 323"/>
              <a:gd name="T86" fmla="*/ 361 w 399"/>
              <a:gd name="T87" fmla="*/ 269 h 323"/>
              <a:gd name="T88" fmla="*/ 373 w 399"/>
              <a:gd name="T89" fmla="*/ 268 h 323"/>
              <a:gd name="T90" fmla="*/ 382 w 399"/>
              <a:gd name="T91" fmla="*/ 242 h 323"/>
              <a:gd name="T92" fmla="*/ 360 w 399"/>
              <a:gd name="T93" fmla="*/ 196 h 323"/>
              <a:gd name="T94" fmla="*/ 366 w 399"/>
              <a:gd name="T95" fmla="*/ 188 h 323"/>
              <a:gd name="T96" fmla="*/ 382 w 399"/>
              <a:gd name="T97" fmla="*/ 204 h 323"/>
              <a:gd name="T98" fmla="*/ 383 w 399"/>
              <a:gd name="T99" fmla="*/ 218 h 323"/>
              <a:gd name="T100" fmla="*/ 378 w 399"/>
              <a:gd name="T101" fmla="*/ 228 h 323"/>
              <a:gd name="T102" fmla="*/ 387 w 399"/>
              <a:gd name="T103" fmla="*/ 247 h 323"/>
              <a:gd name="T104" fmla="*/ 394 w 399"/>
              <a:gd name="T105" fmla="*/ 234 h 323"/>
              <a:gd name="T106" fmla="*/ 399 w 399"/>
              <a:gd name="T107" fmla="*/ 207 h 323"/>
              <a:gd name="T108" fmla="*/ 292 w 399"/>
              <a:gd name="T109" fmla="*/ 11 h 323"/>
              <a:gd name="T110" fmla="*/ 293 w 399"/>
              <a:gd name="T111" fmla="*/ 3 h 323"/>
              <a:gd name="T112" fmla="*/ 281 w 399"/>
              <a:gd name="T113" fmla="*/ 1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99" h="323">
                <a:moveTo>
                  <a:pt x="399" y="207"/>
                </a:moveTo>
                <a:cubicBezTo>
                  <a:pt x="393" y="194"/>
                  <a:pt x="393" y="194"/>
                  <a:pt x="393" y="194"/>
                </a:cubicBezTo>
                <a:cubicBezTo>
                  <a:pt x="386" y="178"/>
                  <a:pt x="386" y="178"/>
                  <a:pt x="386" y="178"/>
                </a:cubicBezTo>
                <a:cubicBezTo>
                  <a:pt x="385" y="176"/>
                  <a:pt x="385" y="176"/>
                  <a:pt x="385" y="176"/>
                </a:cubicBezTo>
                <a:cubicBezTo>
                  <a:pt x="385" y="174"/>
                  <a:pt x="385" y="174"/>
                  <a:pt x="385" y="174"/>
                </a:cubicBezTo>
                <a:cubicBezTo>
                  <a:pt x="385" y="172"/>
                  <a:pt x="385" y="172"/>
                  <a:pt x="385" y="172"/>
                </a:cubicBezTo>
                <a:cubicBezTo>
                  <a:pt x="385" y="167"/>
                  <a:pt x="385" y="167"/>
                  <a:pt x="385" y="167"/>
                </a:cubicBezTo>
                <a:cubicBezTo>
                  <a:pt x="384" y="166"/>
                  <a:pt x="384" y="166"/>
                  <a:pt x="384" y="166"/>
                </a:cubicBezTo>
                <a:cubicBezTo>
                  <a:pt x="379" y="160"/>
                  <a:pt x="379" y="160"/>
                  <a:pt x="379" y="160"/>
                </a:cubicBezTo>
                <a:cubicBezTo>
                  <a:pt x="378" y="160"/>
                  <a:pt x="378" y="160"/>
                  <a:pt x="378" y="160"/>
                </a:cubicBezTo>
                <a:cubicBezTo>
                  <a:pt x="371" y="159"/>
                  <a:pt x="371" y="159"/>
                  <a:pt x="371" y="159"/>
                </a:cubicBezTo>
                <a:cubicBezTo>
                  <a:pt x="353" y="160"/>
                  <a:pt x="353" y="160"/>
                  <a:pt x="353" y="160"/>
                </a:cubicBezTo>
                <a:cubicBezTo>
                  <a:pt x="345" y="164"/>
                  <a:pt x="345" y="164"/>
                  <a:pt x="345" y="164"/>
                </a:cubicBezTo>
                <a:cubicBezTo>
                  <a:pt x="337" y="169"/>
                  <a:pt x="337" y="169"/>
                  <a:pt x="337" y="169"/>
                </a:cubicBezTo>
                <a:cubicBezTo>
                  <a:pt x="335" y="174"/>
                  <a:pt x="335" y="174"/>
                  <a:pt x="335" y="174"/>
                </a:cubicBezTo>
                <a:cubicBezTo>
                  <a:pt x="334" y="176"/>
                  <a:pt x="334" y="176"/>
                  <a:pt x="334" y="176"/>
                </a:cubicBezTo>
                <a:cubicBezTo>
                  <a:pt x="333" y="178"/>
                  <a:pt x="333" y="178"/>
                  <a:pt x="333" y="178"/>
                </a:cubicBezTo>
                <a:cubicBezTo>
                  <a:pt x="333" y="178"/>
                  <a:pt x="333" y="178"/>
                  <a:pt x="333" y="178"/>
                </a:cubicBezTo>
                <a:cubicBezTo>
                  <a:pt x="331" y="179"/>
                  <a:pt x="331" y="179"/>
                  <a:pt x="331" y="179"/>
                </a:cubicBezTo>
                <a:cubicBezTo>
                  <a:pt x="330" y="178"/>
                  <a:pt x="330" y="178"/>
                  <a:pt x="330" y="178"/>
                </a:cubicBezTo>
                <a:cubicBezTo>
                  <a:pt x="330" y="177"/>
                  <a:pt x="330" y="177"/>
                  <a:pt x="330" y="177"/>
                </a:cubicBezTo>
                <a:cubicBezTo>
                  <a:pt x="327" y="171"/>
                  <a:pt x="327" y="171"/>
                  <a:pt x="327" y="171"/>
                </a:cubicBezTo>
                <a:cubicBezTo>
                  <a:pt x="327" y="170"/>
                  <a:pt x="327" y="170"/>
                  <a:pt x="327" y="170"/>
                </a:cubicBezTo>
                <a:cubicBezTo>
                  <a:pt x="332" y="161"/>
                  <a:pt x="332" y="161"/>
                  <a:pt x="332" y="161"/>
                </a:cubicBezTo>
                <a:cubicBezTo>
                  <a:pt x="335" y="157"/>
                  <a:pt x="335" y="157"/>
                  <a:pt x="335" y="157"/>
                </a:cubicBezTo>
                <a:cubicBezTo>
                  <a:pt x="336" y="156"/>
                  <a:pt x="336" y="156"/>
                  <a:pt x="336" y="156"/>
                </a:cubicBezTo>
                <a:cubicBezTo>
                  <a:pt x="336" y="156"/>
                  <a:pt x="336" y="156"/>
                  <a:pt x="336" y="156"/>
                </a:cubicBezTo>
                <a:cubicBezTo>
                  <a:pt x="342" y="152"/>
                  <a:pt x="342" y="152"/>
                  <a:pt x="342" y="152"/>
                </a:cubicBezTo>
                <a:cubicBezTo>
                  <a:pt x="343" y="151"/>
                  <a:pt x="343" y="151"/>
                  <a:pt x="343" y="151"/>
                </a:cubicBezTo>
                <a:cubicBezTo>
                  <a:pt x="348" y="149"/>
                  <a:pt x="348" y="149"/>
                  <a:pt x="348" y="149"/>
                </a:cubicBezTo>
                <a:cubicBezTo>
                  <a:pt x="354" y="148"/>
                  <a:pt x="354" y="148"/>
                  <a:pt x="354" y="148"/>
                </a:cubicBezTo>
                <a:cubicBezTo>
                  <a:pt x="355" y="148"/>
                  <a:pt x="355" y="148"/>
                  <a:pt x="355" y="148"/>
                </a:cubicBezTo>
                <a:cubicBezTo>
                  <a:pt x="359" y="144"/>
                  <a:pt x="359" y="144"/>
                  <a:pt x="359" y="144"/>
                </a:cubicBezTo>
                <a:cubicBezTo>
                  <a:pt x="360" y="143"/>
                  <a:pt x="360" y="143"/>
                  <a:pt x="360" y="143"/>
                </a:cubicBezTo>
                <a:cubicBezTo>
                  <a:pt x="362" y="141"/>
                  <a:pt x="362" y="141"/>
                  <a:pt x="362" y="141"/>
                </a:cubicBezTo>
                <a:cubicBezTo>
                  <a:pt x="362" y="140"/>
                  <a:pt x="362" y="140"/>
                  <a:pt x="362" y="140"/>
                </a:cubicBezTo>
                <a:cubicBezTo>
                  <a:pt x="362" y="139"/>
                  <a:pt x="362" y="139"/>
                  <a:pt x="362" y="139"/>
                </a:cubicBezTo>
                <a:cubicBezTo>
                  <a:pt x="362" y="137"/>
                  <a:pt x="362" y="137"/>
                  <a:pt x="362" y="137"/>
                </a:cubicBezTo>
                <a:cubicBezTo>
                  <a:pt x="362" y="134"/>
                  <a:pt x="362" y="134"/>
                  <a:pt x="362" y="134"/>
                </a:cubicBezTo>
                <a:cubicBezTo>
                  <a:pt x="362" y="127"/>
                  <a:pt x="362" y="127"/>
                  <a:pt x="362" y="127"/>
                </a:cubicBezTo>
                <a:cubicBezTo>
                  <a:pt x="362" y="126"/>
                  <a:pt x="362" y="126"/>
                  <a:pt x="362" y="126"/>
                </a:cubicBezTo>
                <a:cubicBezTo>
                  <a:pt x="359" y="120"/>
                  <a:pt x="359" y="120"/>
                  <a:pt x="359" y="120"/>
                </a:cubicBezTo>
                <a:cubicBezTo>
                  <a:pt x="356" y="116"/>
                  <a:pt x="356" y="116"/>
                  <a:pt x="356" y="116"/>
                </a:cubicBezTo>
                <a:cubicBezTo>
                  <a:pt x="355" y="116"/>
                  <a:pt x="355" y="116"/>
                  <a:pt x="355" y="116"/>
                </a:cubicBezTo>
                <a:cubicBezTo>
                  <a:pt x="354" y="115"/>
                  <a:pt x="354" y="115"/>
                  <a:pt x="354" y="115"/>
                </a:cubicBezTo>
                <a:cubicBezTo>
                  <a:pt x="350" y="114"/>
                  <a:pt x="350" y="114"/>
                  <a:pt x="350" y="114"/>
                </a:cubicBezTo>
                <a:cubicBezTo>
                  <a:pt x="349" y="115"/>
                  <a:pt x="349" y="115"/>
                  <a:pt x="349" y="115"/>
                </a:cubicBezTo>
                <a:cubicBezTo>
                  <a:pt x="348" y="115"/>
                  <a:pt x="348" y="115"/>
                  <a:pt x="348" y="115"/>
                </a:cubicBezTo>
                <a:cubicBezTo>
                  <a:pt x="347" y="116"/>
                  <a:pt x="347" y="116"/>
                  <a:pt x="347" y="116"/>
                </a:cubicBezTo>
                <a:cubicBezTo>
                  <a:pt x="313" y="63"/>
                  <a:pt x="313" y="63"/>
                  <a:pt x="313" y="63"/>
                </a:cubicBezTo>
                <a:cubicBezTo>
                  <a:pt x="312" y="52"/>
                  <a:pt x="312" y="52"/>
                  <a:pt x="312" y="52"/>
                </a:cubicBezTo>
                <a:cubicBezTo>
                  <a:pt x="313" y="39"/>
                  <a:pt x="313" y="39"/>
                  <a:pt x="313" y="39"/>
                </a:cubicBezTo>
                <a:cubicBezTo>
                  <a:pt x="313" y="39"/>
                  <a:pt x="313" y="39"/>
                  <a:pt x="313" y="39"/>
                </a:cubicBezTo>
                <a:cubicBezTo>
                  <a:pt x="313" y="37"/>
                  <a:pt x="313" y="37"/>
                  <a:pt x="313" y="37"/>
                </a:cubicBezTo>
                <a:cubicBezTo>
                  <a:pt x="309" y="30"/>
                  <a:pt x="309" y="30"/>
                  <a:pt x="309" y="30"/>
                </a:cubicBezTo>
                <a:cubicBezTo>
                  <a:pt x="309" y="29"/>
                  <a:pt x="309" y="29"/>
                  <a:pt x="309" y="29"/>
                </a:cubicBezTo>
                <a:cubicBezTo>
                  <a:pt x="307" y="27"/>
                  <a:pt x="307" y="27"/>
                  <a:pt x="307" y="27"/>
                </a:cubicBezTo>
                <a:cubicBezTo>
                  <a:pt x="304" y="25"/>
                  <a:pt x="304" y="25"/>
                  <a:pt x="304" y="25"/>
                </a:cubicBezTo>
                <a:cubicBezTo>
                  <a:pt x="303" y="25"/>
                  <a:pt x="303" y="25"/>
                  <a:pt x="303" y="25"/>
                </a:cubicBezTo>
                <a:cubicBezTo>
                  <a:pt x="298" y="22"/>
                  <a:pt x="298" y="22"/>
                  <a:pt x="298" y="22"/>
                </a:cubicBezTo>
                <a:cubicBezTo>
                  <a:pt x="268" y="17"/>
                  <a:pt x="268" y="17"/>
                  <a:pt x="268" y="17"/>
                </a:cubicBezTo>
                <a:cubicBezTo>
                  <a:pt x="264" y="17"/>
                  <a:pt x="264" y="17"/>
                  <a:pt x="264" y="17"/>
                </a:cubicBezTo>
                <a:cubicBezTo>
                  <a:pt x="263" y="17"/>
                  <a:pt x="263" y="17"/>
                  <a:pt x="263" y="17"/>
                </a:cubicBezTo>
                <a:cubicBezTo>
                  <a:pt x="244" y="17"/>
                  <a:pt x="244" y="17"/>
                  <a:pt x="244" y="17"/>
                </a:cubicBezTo>
                <a:cubicBezTo>
                  <a:pt x="232" y="24"/>
                  <a:pt x="232" y="24"/>
                  <a:pt x="232" y="24"/>
                </a:cubicBezTo>
                <a:cubicBezTo>
                  <a:pt x="207" y="32"/>
                  <a:pt x="207" y="32"/>
                  <a:pt x="207" y="32"/>
                </a:cubicBezTo>
                <a:cubicBezTo>
                  <a:pt x="199" y="33"/>
                  <a:pt x="199" y="33"/>
                  <a:pt x="199" y="33"/>
                </a:cubicBezTo>
                <a:cubicBezTo>
                  <a:pt x="193" y="33"/>
                  <a:pt x="193" y="33"/>
                  <a:pt x="193" y="33"/>
                </a:cubicBezTo>
                <a:cubicBezTo>
                  <a:pt x="190" y="33"/>
                  <a:pt x="190" y="33"/>
                  <a:pt x="190" y="33"/>
                </a:cubicBezTo>
                <a:cubicBezTo>
                  <a:pt x="178" y="36"/>
                  <a:pt x="178" y="36"/>
                  <a:pt x="178" y="36"/>
                </a:cubicBezTo>
                <a:cubicBezTo>
                  <a:pt x="174" y="47"/>
                  <a:pt x="174" y="47"/>
                  <a:pt x="174" y="47"/>
                </a:cubicBezTo>
                <a:cubicBezTo>
                  <a:pt x="170" y="57"/>
                  <a:pt x="170" y="57"/>
                  <a:pt x="170" y="57"/>
                </a:cubicBezTo>
                <a:cubicBezTo>
                  <a:pt x="169" y="59"/>
                  <a:pt x="169" y="59"/>
                  <a:pt x="169" y="59"/>
                </a:cubicBezTo>
                <a:cubicBezTo>
                  <a:pt x="165" y="63"/>
                  <a:pt x="165" y="63"/>
                  <a:pt x="165" y="63"/>
                </a:cubicBezTo>
                <a:cubicBezTo>
                  <a:pt x="162" y="65"/>
                  <a:pt x="162" y="65"/>
                  <a:pt x="162" y="65"/>
                </a:cubicBezTo>
                <a:cubicBezTo>
                  <a:pt x="159" y="65"/>
                  <a:pt x="159" y="65"/>
                  <a:pt x="159" y="65"/>
                </a:cubicBezTo>
                <a:cubicBezTo>
                  <a:pt x="156" y="64"/>
                  <a:pt x="156" y="64"/>
                  <a:pt x="156" y="64"/>
                </a:cubicBezTo>
                <a:cubicBezTo>
                  <a:pt x="152" y="63"/>
                  <a:pt x="152" y="63"/>
                  <a:pt x="152" y="63"/>
                </a:cubicBezTo>
                <a:cubicBezTo>
                  <a:pt x="149" y="60"/>
                  <a:pt x="149" y="60"/>
                  <a:pt x="149" y="60"/>
                </a:cubicBezTo>
                <a:cubicBezTo>
                  <a:pt x="147" y="59"/>
                  <a:pt x="147" y="59"/>
                  <a:pt x="147" y="59"/>
                </a:cubicBezTo>
                <a:cubicBezTo>
                  <a:pt x="145" y="60"/>
                  <a:pt x="145" y="60"/>
                  <a:pt x="145" y="60"/>
                </a:cubicBezTo>
                <a:cubicBezTo>
                  <a:pt x="140" y="61"/>
                  <a:pt x="140" y="61"/>
                  <a:pt x="140" y="61"/>
                </a:cubicBezTo>
                <a:cubicBezTo>
                  <a:pt x="137" y="62"/>
                  <a:pt x="137" y="62"/>
                  <a:pt x="137" y="62"/>
                </a:cubicBezTo>
                <a:cubicBezTo>
                  <a:pt x="136" y="61"/>
                  <a:pt x="136" y="61"/>
                  <a:pt x="136" y="61"/>
                </a:cubicBezTo>
                <a:cubicBezTo>
                  <a:pt x="136" y="61"/>
                  <a:pt x="136" y="61"/>
                  <a:pt x="136" y="61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3" y="62"/>
                  <a:pt x="133" y="62"/>
                  <a:pt x="133" y="62"/>
                </a:cubicBezTo>
                <a:cubicBezTo>
                  <a:pt x="122" y="64"/>
                  <a:pt x="122" y="64"/>
                  <a:pt x="122" y="64"/>
                </a:cubicBezTo>
                <a:cubicBezTo>
                  <a:pt x="120" y="67"/>
                  <a:pt x="120" y="67"/>
                  <a:pt x="120" y="67"/>
                </a:cubicBezTo>
                <a:cubicBezTo>
                  <a:pt x="114" y="76"/>
                  <a:pt x="114" y="76"/>
                  <a:pt x="114" y="76"/>
                </a:cubicBezTo>
                <a:cubicBezTo>
                  <a:pt x="114" y="76"/>
                  <a:pt x="114" y="76"/>
                  <a:pt x="114" y="76"/>
                </a:cubicBezTo>
                <a:cubicBezTo>
                  <a:pt x="113" y="87"/>
                  <a:pt x="113" y="87"/>
                  <a:pt x="113" y="87"/>
                </a:cubicBezTo>
                <a:cubicBezTo>
                  <a:pt x="112" y="92"/>
                  <a:pt x="112" y="92"/>
                  <a:pt x="112" y="92"/>
                </a:cubicBezTo>
                <a:cubicBezTo>
                  <a:pt x="112" y="92"/>
                  <a:pt x="112" y="92"/>
                  <a:pt x="112" y="92"/>
                </a:cubicBezTo>
                <a:cubicBezTo>
                  <a:pt x="112" y="93"/>
                  <a:pt x="111" y="95"/>
                  <a:pt x="111" y="96"/>
                </a:cubicBezTo>
                <a:cubicBezTo>
                  <a:pt x="111" y="96"/>
                  <a:pt x="111" y="96"/>
                  <a:pt x="111" y="96"/>
                </a:cubicBezTo>
                <a:cubicBezTo>
                  <a:pt x="110" y="98"/>
                  <a:pt x="110" y="98"/>
                  <a:pt x="110" y="98"/>
                </a:cubicBezTo>
                <a:cubicBezTo>
                  <a:pt x="109" y="103"/>
                  <a:pt x="109" y="103"/>
                  <a:pt x="109" y="103"/>
                </a:cubicBezTo>
                <a:cubicBezTo>
                  <a:pt x="106" y="110"/>
                  <a:pt x="106" y="110"/>
                  <a:pt x="106" y="110"/>
                </a:cubicBezTo>
                <a:cubicBezTo>
                  <a:pt x="93" y="135"/>
                  <a:pt x="93" y="135"/>
                  <a:pt x="93" y="135"/>
                </a:cubicBezTo>
                <a:cubicBezTo>
                  <a:pt x="61" y="148"/>
                  <a:pt x="61" y="148"/>
                  <a:pt x="61" y="148"/>
                </a:cubicBezTo>
                <a:cubicBezTo>
                  <a:pt x="59" y="148"/>
                  <a:pt x="59" y="148"/>
                  <a:pt x="59" y="148"/>
                </a:cubicBezTo>
                <a:cubicBezTo>
                  <a:pt x="56" y="146"/>
                  <a:pt x="56" y="146"/>
                  <a:pt x="56" y="146"/>
                </a:cubicBezTo>
                <a:cubicBezTo>
                  <a:pt x="54" y="145"/>
                  <a:pt x="54" y="145"/>
                  <a:pt x="54" y="145"/>
                </a:cubicBezTo>
                <a:cubicBezTo>
                  <a:pt x="53" y="144"/>
                  <a:pt x="53" y="144"/>
                  <a:pt x="53" y="144"/>
                </a:cubicBezTo>
                <a:cubicBezTo>
                  <a:pt x="47" y="139"/>
                  <a:pt x="47" y="139"/>
                  <a:pt x="47" y="139"/>
                </a:cubicBezTo>
                <a:cubicBezTo>
                  <a:pt x="46" y="139"/>
                  <a:pt x="46" y="139"/>
                  <a:pt x="46" y="139"/>
                </a:cubicBezTo>
                <a:cubicBezTo>
                  <a:pt x="45" y="139"/>
                  <a:pt x="45" y="139"/>
                  <a:pt x="45" y="139"/>
                </a:cubicBezTo>
                <a:cubicBezTo>
                  <a:pt x="39" y="149"/>
                  <a:pt x="39" y="149"/>
                  <a:pt x="39" y="149"/>
                </a:cubicBezTo>
                <a:cubicBezTo>
                  <a:pt x="37" y="152"/>
                  <a:pt x="37" y="152"/>
                  <a:pt x="37" y="152"/>
                </a:cubicBezTo>
                <a:cubicBezTo>
                  <a:pt x="44" y="161"/>
                  <a:pt x="44" y="161"/>
                  <a:pt x="44" y="161"/>
                </a:cubicBezTo>
                <a:cubicBezTo>
                  <a:pt x="53" y="162"/>
                  <a:pt x="53" y="162"/>
                  <a:pt x="53" y="162"/>
                </a:cubicBezTo>
                <a:cubicBezTo>
                  <a:pt x="67" y="164"/>
                  <a:pt x="67" y="164"/>
                  <a:pt x="67" y="164"/>
                </a:cubicBezTo>
                <a:cubicBezTo>
                  <a:pt x="68" y="168"/>
                  <a:pt x="68" y="168"/>
                  <a:pt x="68" y="168"/>
                </a:cubicBezTo>
                <a:cubicBezTo>
                  <a:pt x="69" y="168"/>
                  <a:pt x="69" y="168"/>
                  <a:pt x="69" y="168"/>
                </a:cubicBezTo>
                <a:cubicBezTo>
                  <a:pt x="70" y="171"/>
                  <a:pt x="69" y="172"/>
                  <a:pt x="68" y="172"/>
                </a:cubicBezTo>
                <a:cubicBezTo>
                  <a:pt x="68" y="172"/>
                  <a:pt x="68" y="172"/>
                  <a:pt x="68" y="171"/>
                </a:cubicBezTo>
                <a:cubicBezTo>
                  <a:pt x="48" y="187"/>
                  <a:pt x="48" y="187"/>
                  <a:pt x="48" y="187"/>
                </a:cubicBezTo>
                <a:cubicBezTo>
                  <a:pt x="44" y="190"/>
                  <a:pt x="44" y="190"/>
                  <a:pt x="44" y="190"/>
                </a:cubicBezTo>
                <a:cubicBezTo>
                  <a:pt x="42" y="190"/>
                  <a:pt x="42" y="190"/>
                  <a:pt x="42" y="190"/>
                </a:cubicBezTo>
                <a:cubicBezTo>
                  <a:pt x="28" y="190"/>
                  <a:pt x="28" y="190"/>
                  <a:pt x="28" y="190"/>
                </a:cubicBezTo>
                <a:cubicBezTo>
                  <a:pt x="0" y="206"/>
                  <a:pt x="0" y="206"/>
                  <a:pt x="0" y="206"/>
                </a:cubicBezTo>
                <a:cubicBezTo>
                  <a:pt x="1" y="210"/>
                  <a:pt x="1" y="210"/>
                  <a:pt x="1" y="210"/>
                </a:cubicBezTo>
                <a:cubicBezTo>
                  <a:pt x="15" y="228"/>
                  <a:pt x="15" y="228"/>
                  <a:pt x="15" y="228"/>
                </a:cubicBezTo>
                <a:cubicBezTo>
                  <a:pt x="17" y="230"/>
                  <a:pt x="17" y="230"/>
                  <a:pt x="17" y="230"/>
                </a:cubicBezTo>
                <a:cubicBezTo>
                  <a:pt x="26" y="239"/>
                  <a:pt x="26" y="239"/>
                  <a:pt x="26" y="239"/>
                </a:cubicBezTo>
                <a:cubicBezTo>
                  <a:pt x="34" y="249"/>
                  <a:pt x="34" y="249"/>
                  <a:pt x="34" y="249"/>
                </a:cubicBezTo>
                <a:cubicBezTo>
                  <a:pt x="40" y="264"/>
                  <a:pt x="40" y="264"/>
                  <a:pt x="40" y="264"/>
                </a:cubicBezTo>
                <a:cubicBezTo>
                  <a:pt x="41" y="268"/>
                  <a:pt x="41" y="268"/>
                  <a:pt x="41" y="268"/>
                </a:cubicBezTo>
                <a:cubicBezTo>
                  <a:pt x="46" y="269"/>
                  <a:pt x="46" y="269"/>
                  <a:pt x="46" y="269"/>
                </a:cubicBezTo>
                <a:cubicBezTo>
                  <a:pt x="56" y="270"/>
                  <a:pt x="56" y="270"/>
                  <a:pt x="56" y="270"/>
                </a:cubicBezTo>
                <a:cubicBezTo>
                  <a:pt x="62" y="271"/>
                  <a:pt x="62" y="271"/>
                  <a:pt x="62" y="271"/>
                </a:cubicBezTo>
                <a:cubicBezTo>
                  <a:pt x="65" y="272"/>
                  <a:pt x="65" y="272"/>
                  <a:pt x="65" y="272"/>
                </a:cubicBezTo>
                <a:cubicBezTo>
                  <a:pt x="71" y="276"/>
                  <a:pt x="71" y="276"/>
                  <a:pt x="71" y="276"/>
                </a:cubicBezTo>
                <a:cubicBezTo>
                  <a:pt x="74" y="280"/>
                  <a:pt x="74" y="280"/>
                  <a:pt x="74" y="280"/>
                </a:cubicBezTo>
                <a:cubicBezTo>
                  <a:pt x="74" y="282"/>
                  <a:pt x="74" y="282"/>
                  <a:pt x="74" y="282"/>
                </a:cubicBezTo>
                <a:cubicBezTo>
                  <a:pt x="74" y="284"/>
                  <a:pt x="74" y="284"/>
                  <a:pt x="74" y="284"/>
                </a:cubicBezTo>
                <a:cubicBezTo>
                  <a:pt x="75" y="285"/>
                  <a:pt x="75" y="285"/>
                  <a:pt x="75" y="285"/>
                </a:cubicBezTo>
                <a:cubicBezTo>
                  <a:pt x="76" y="287"/>
                  <a:pt x="76" y="287"/>
                  <a:pt x="76" y="287"/>
                </a:cubicBezTo>
                <a:cubicBezTo>
                  <a:pt x="83" y="291"/>
                  <a:pt x="83" y="291"/>
                  <a:pt x="83" y="291"/>
                </a:cubicBezTo>
                <a:cubicBezTo>
                  <a:pt x="92" y="293"/>
                  <a:pt x="92" y="293"/>
                  <a:pt x="92" y="293"/>
                </a:cubicBezTo>
                <a:cubicBezTo>
                  <a:pt x="116" y="295"/>
                  <a:pt x="116" y="295"/>
                  <a:pt x="116" y="295"/>
                </a:cubicBezTo>
                <a:cubicBezTo>
                  <a:pt x="118" y="295"/>
                  <a:pt x="118" y="295"/>
                  <a:pt x="118" y="295"/>
                </a:cubicBezTo>
                <a:cubicBezTo>
                  <a:pt x="122" y="295"/>
                  <a:pt x="122" y="295"/>
                  <a:pt x="122" y="295"/>
                </a:cubicBezTo>
                <a:cubicBezTo>
                  <a:pt x="125" y="292"/>
                  <a:pt x="125" y="292"/>
                  <a:pt x="125" y="292"/>
                </a:cubicBezTo>
                <a:cubicBezTo>
                  <a:pt x="142" y="269"/>
                  <a:pt x="142" y="269"/>
                  <a:pt x="142" y="269"/>
                </a:cubicBezTo>
                <a:cubicBezTo>
                  <a:pt x="142" y="262"/>
                  <a:pt x="142" y="262"/>
                  <a:pt x="142" y="262"/>
                </a:cubicBezTo>
                <a:cubicBezTo>
                  <a:pt x="139" y="256"/>
                  <a:pt x="139" y="256"/>
                  <a:pt x="139" y="256"/>
                </a:cubicBezTo>
                <a:cubicBezTo>
                  <a:pt x="144" y="241"/>
                  <a:pt x="144" y="241"/>
                  <a:pt x="144" y="241"/>
                </a:cubicBezTo>
                <a:cubicBezTo>
                  <a:pt x="162" y="220"/>
                  <a:pt x="162" y="220"/>
                  <a:pt x="162" y="220"/>
                </a:cubicBezTo>
                <a:cubicBezTo>
                  <a:pt x="166" y="221"/>
                  <a:pt x="166" y="221"/>
                  <a:pt x="166" y="221"/>
                </a:cubicBezTo>
                <a:cubicBezTo>
                  <a:pt x="175" y="226"/>
                  <a:pt x="175" y="226"/>
                  <a:pt x="175" y="226"/>
                </a:cubicBezTo>
                <a:cubicBezTo>
                  <a:pt x="182" y="233"/>
                  <a:pt x="182" y="233"/>
                  <a:pt x="182" y="233"/>
                </a:cubicBezTo>
                <a:cubicBezTo>
                  <a:pt x="186" y="238"/>
                  <a:pt x="186" y="238"/>
                  <a:pt x="186" y="238"/>
                </a:cubicBezTo>
                <a:cubicBezTo>
                  <a:pt x="191" y="250"/>
                  <a:pt x="191" y="250"/>
                  <a:pt x="191" y="250"/>
                </a:cubicBezTo>
                <a:cubicBezTo>
                  <a:pt x="191" y="252"/>
                  <a:pt x="191" y="252"/>
                  <a:pt x="191" y="252"/>
                </a:cubicBezTo>
                <a:cubicBezTo>
                  <a:pt x="191" y="253"/>
                  <a:pt x="191" y="253"/>
                  <a:pt x="191" y="253"/>
                </a:cubicBezTo>
                <a:cubicBezTo>
                  <a:pt x="190" y="255"/>
                  <a:pt x="190" y="255"/>
                  <a:pt x="190" y="255"/>
                </a:cubicBezTo>
                <a:cubicBezTo>
                  <a:pt x="191" y="257"/>
                  <a:pt x="191" y="257"/>
                  <a:pt x="191" y="257"/>
                </a:cubicBezTo>
                <a:cubicBezTo>
                  <a:pt x="196" y="269"/>
                  <a:pt x="196" y="269"/>
                  <a:pt x="196" y="269"/>
                </a:cubicBezTo>
                <a:cubicBezTo>
                  <a:pt x="198" y="273"/>
                  <a:pt x="198" y="273"/>
                  <a:pt x="198" y="273"/>
                </a:cubicBezTo>
                <a:cubicBezTo>
                  <a:pt x="205" y="280"/>
                  <a:pt x="205" y="280"/>
                  <a:pt x="205" y="280"/>
                </a:cubicBezTo>
                <a:cubicBezTo>
                  <a:pt x="207" y="277"/>
                  <a:pt x="207" y="277"/>
                  <a:pt x="207" y="277"/>
                </a:cubicBezTo>
                <a:cubicBezTo>
                  <a:pt x="209" y="276"/>
                  <a:pt x="209" y="276"/>
                  <a:pt x="209" y="276"/>
                </a:cubicBezTo>
                <a:cubicBezTo>
                  <a:pt x="212" y="277"/>
                  <a:pt x="212" y="277"/>
                  <a:pt x="212" y="277"/>
                </a:cubicBezTo>
                <a:cubicBezTo>
                  <a:pt x="215" y="279"/>
                  <a:pt x="215" y="279"/>
                  <a:pt x="215" y="279"/>
                </a:cubicBezTo>
                <a:cubicBezTo>
                  <a:pt x="215" y="279"/>
                  <a:pt x="220" y="283"/>
                  <a:pt x="221" y="285"/>
                </a:cubicBezTo>
                <a:cubicBezTo>
                  <a:pt x="222" y="286"/>
                  <a:pt x="222" y="286"/>
                  <a:pt x="222" y="286"/>
                </a:cubicBezTo>
                <a:cubicBezTo>
                  <a:pt x="223" y="291"/>
                  <a:pt x="223" y="291"/>
                  <a:pt x="223" y="291"/>
                </a:cubicBezTo>
                <a:cubicBezTo>
                  <a:pt x="223" y="292"/>
                  <a:pt x="223" y="292"/>
                  <a:pt x="223" y="292"/>
                </a:cubicBezTo>
                <a:cubicBezTo>
                  <a:pt x="223" y="296"/>
                  <a:pt x="223" y="296"/>
                  <a:pt x="223" y="296"/>
                </a:cubicBezTo>
                <a:cubicBezTo>
                  <a:pt x="219" y="303"/>
                  <a:pt x="219" y="303"/>
                  <a:pt x="219" y="303"/>
                </a:cubicBezTo>
                <a:cubicBezTo>
                  <a:pt x="219" y="304"/>
                  <a:pt x="219" y="304"/>
                  <a:pt x="219" y="304"/>
                </a:cubicBezTo>
                <a:cubicBezTo>
                  <a:pt x="219" y="306"/>
                  <a:pt x="219" y="306"/>
                  <a:pt x="219" y="306"/>
                </a:cubicBezTo>
                <a:cubicBezTo>
                  <a:pt x="219" y="307"/>
                  <a:pt x="219" y="307"/>
                  <a:pt x="219" y="307"/>
                </a:cubicBezTo>
                <a:cubicBezTo>
                  <a:pt x="220" y="308"/>
                  <a:pt x="220" y="308"/>
                  <a:pt x="220" y="308"/>
                </a:cubicBezTo>
                <a:cubicBezTo>
                  <a:pt x="225" y="316"/>
                  <a:pt x="225" y="316"/>
                  <a:pt x="225" y="316"/>
                </a:cubicBezTo>
                <a:cubicBezTo>
                  <a:pt x="227" y="316"/>
                  <a:pt x="227" y="316"/>
                  <a:pt x="227" y="316"/>
                </a:cubicBezTo>
                <a:cubicBezTo>
                  <a:pt x="254" y="312"/>
                  <a:pt x="254" y="312"/>
                  <a:pt x="254" y="312"/>
                </a:cubicBezTo>
                <a:cubicBezTo>
                  <a:pt x="259" y="310"/>
                  <a:pt x="259" y="310"/>
                  <a:pt x="259" y="310"/>
                </a:cubicBezTo>
                <a:cubicBezTo>
                  <a:pt x="259" y="307"/>
                  <a:pt x="259" y="307"/>
                  <a:pt x="259" y="307"/>
                </a:cubicBezTo>
                <a:cubicBezTo>
                  <a:pt x="261" y="305"/>
                  <a:pt x="261" y="305"/>
                  <a:pt x="261" y="305"/>
                </a:cubicBezTo>
                <a:cubicBezTo>
                  <a:pt x="262" y="304"/>
                  <a:pt x="262" y="304"/>
                  <a:pt x="262" y="304"/>
                </a:cubicBezTo>
                <a:cubicBezTo>
                  <a:pt x="270" y="303"/>
                  <a:pt x="270" y="303"/>
                  <a:pt x="270" y="303"/>
                </a:cubicBezTo>
                <a:cubicBezTo>
                  <a:pt x="271" y="302"/>
                  <a:pt x="271" y="302"/>
                  <a:pt x="271" y="302"/>
                </a:cubicBezTo>
                <a:cubicBezTo>
                  <a:pt x="275" y="303"/>
                  <a:pt x="275" y="303"/>
                  <a:pt x="275" y="303"/>
                </a:cubicBezTo>
                <a:cubicBezTo>
                  <a:pt x="277" y="305"/>
                  <a:pt x="277" y="305"/>
                  <a:pt x="277" y="305"/>
                </a:cubicBezTo>
                <a:cubicBezTo>
                  <a:pt x="277" y="306"/>
                  <a:pt x="277" y="306"/>
                  <a:pt x="277" y="306"/>
                </a:cubicBezTo>
                <a:cubicBezTo>
                  <a:pt x="281" y="306"/>
                  <a:pt x="281" y="306"/>
                  <a:pt x="281" y="306"/>
                </a:cubicBezTo>
                <a:cubicBezTo>
                  <a:pt x="282" y="306"/>
                  <a:pt x="282" y="306"/>
                  <a:pt x="282" y="306"/>
                </a:cubicBezTo>
                <a:cubicBezTo>
                  <a:pt x="284" y="307"/>
                  <a:pt x="284" y="307"/>
                  <a:pt x="284" y="307"/>
                </a:cubicBezTo>
                <a:cubicBezTo>
                  <a:pt x="297" y="314"/>
                  <a:pt x="297" y="314"/>
                  <a:pt x="297" y="314"/>
                </a:cubicBezTo>
                <a:cubicBezTo>
                  <a:pt x="298" y="318"/>
                  <a:pt x="298" y="318"/>
                  <a:pt x="298" y="318"/>
                </a:cubicBezTo>
                <a:cubicBezTo>
                  <a:pt x="297" y="318"/>
                  <a:pt x="297" y="318"/>
                  <a:pt x="297" y="318"/>
                </a:cubicBezTo>
                <a:cubicBezTo>
                  <a:pt x="297" y="319"/>
                  <a:pt x="297" y="319"/>
                  <a:pt x="297" y="319"/>
                </a:cubicBezTo>
                <a:cubicBezTo>
                  <a:pt x="297" y="320"/>
                  <a:pt x="297" y="320"/>
                  <a:pt x="297" y="320"/>
                </a:cubicBezTo>
                <a:cubicBezTo>
                  <a:pt x="298" y="321"/>
                  <a:pt x="298" y="321"/>
                  <a:pt x="298" y="321"/>
                </a:cubicBezTo>
                <a:cubicBezTo>
                  <a:pt x="302" y="323"/>
                  <a:pt x="302" y="323"/>
                  <a:pt x="302" y="323"/>
                </a:cubicBezTo>
                <a:cubicBezTo>
                  <a:pt x="304" y="323"/>
                  <a:pt x="304" y="323"/>
                  <a:pt x="304" y="323"/>
                </a:cubicBezTo>
                <a:cubicBezTo>
                  <a:pt x="308" y="322"/>
                  <a:pt x="308" y="322"/>
                  <a:pt x="308" y="322"/>
                </a:cubicBezTo>
                <a:cubicBezTo>
                  <a:pt x="312" y="319"/>
                  <a:pt x="312" y="319"/>
                  <a:pt x="312" y="319"/>
                </a:cubicBezTo>
                <a:cubicBezTo>
                  <a:pt x="326" y="309"/>
                  <a:pt x="326" y="309"/>
                  <a:pt x="326" y="309"/>
                </a:cubicBezTo>
                <a:cubicBezTo>
                  <a:pt x="329" y="306"/>
                  <a:pt x="329" y="306"/>
                  <a:pt x="329" y="306"/>
                </a:cubicBezTo>
                <a:cubicBezTo>
                  <a:pt x="330" y="305"/>
                  <a:pt x="330" y="305"/>
                  <a:pt x="330" y="305"/>
                </a:cubicBezTo>
                <a:cubicBezTo>
                  <a:pt x="331" y="301"/>
                  <a:pt x="331" y="301"/>
                  <a:pt x="331" y="301"/>
                </a:cubicBezTo>
                <a:cubicBezTo>
                  <a:pt x="334" y="291"/>
                  <a:pt x="334" y="291"/>
                  <a:pt x="334" y="291"/>
                </a:cubicBezTo>
                <a:cubicBezTo>
                  <a:pt x="335" y="287"/>
                  <a:pt x="335" y="287"/>
                  <a:pt x="335" y="287"/>
                </a:cubicBezTo>
                <a:cubicBezTo>
                  <a:pt x="335" y="284"/>
                  <a:pt x="335" y="284"/>
                  <a:pt x="335" y="284"/>
                </a:cubicBezTo>
                <a:cubicBezTo>
                  <a:pt x="335" y="283"/>
                  <a:pt x="335" y="283"/>
                  <a:pt x="335" y="283"/>
                </a:cubicBezTo>
                <a:cubicBezTo>
                  <a:pt x="333" y="280"/>
                  <a:pt x="333" y="280"/>
                  <a:pt x="333" y="280"/>
                </a:cubicBezTo>
                <a:cubicBezTo>
                  <a:pt x="333" y="279"/>
                  <a:pt x="333" y="279"/>
                  <a:pt x="333" y="279"/>
                </a:cubicBezTo>
                <a:cubicBezTo>
                  <a:pt x="333" y="278"/>
                  <a:pt x="333" y="278"/>
                  <a:pt x="333" y="278"/>
                </a:cubicBezTo>
                <a:cubicBezTo>
                  <a:pt x="333" y="276"/>
                  <a:pt x="333" y="276"/>
                  <a:pt x="333" y="276"/>
                </a:cubicBezTo>
                <a:cubicBezTo>
                  <a:pt x="335" y="274"/>
                  <a:pt x="335" y="274"/>
                  <a:pt x="335" y="274"/>
                </a:cubicBezTo>
                <a:cubicBezTo>
                  <a:pt x="336" y="273"/>
                  <a:pt x="336" y="273"/>
                  <a:pt x="336" y="273"/>
                </a:cubicBezTo>
                <a:cubicBezTo>
                  <a:pt x="340" y="270"/>
                  <a:pt x="340" y="270"/>
                  <a:pt x="340" y="270"/>
                </a:cubicBezTo>
                <a:cubicBezTo>
                  <a:pt x="341" y="270"/>
                  <a:pt x="341" y="270"/>
                  <a:pt x="341" y="270"/>
                </a:cubicBezTo>
                <a:cubicBezTo>
                  <a:pt x="353" y="268"/>
                  <a:pt x="353" y="268"/>
                  <a:pt x="353" y="268"/>
                </a:cubicBezTo>
                <a:cubicBezTo>
                  <a:pt x="359" y="269"/>
                  <a:pt x="359" y="269"/>
                  <a:pt x="359" y="269"/>
                </a:cubicBezTo>
                <a:cubicBezTo>
                  <a:pt x="361" y="269"/>
                  <a:pt x="361" y="269"/>
                  <a:pt x="361" y="269"/>
                </a:cubicBezTo>
                <a:cubicBezTo>
                  <a:pt x="363" y="271"/>
                  <a:pt x="363" y="271"/>
                  <a:pt x="363" y="271"/>
                </a:cubicBezTo>
                <a:cubicBezTo>
                  <a:pt x="364" y="273"/>
                  <a:pt x="364" y="273"/>
                  <a:pt x="364" y="273"/>
                </a:cubicBezTo>
                <a:cubicBezTo>
                  <a:pt x="366" y="274"/>
                  <a:pt x="366" y="274"/>
                  <a:pt x="366" y="274"/>
                </a:cubicBezTo>
                <a:cubicBezTo>
                  <a:pt x="367" y="273"/>
                  <a:pt x="367" y="273"/>
                  <a:pt x="367" y="273"/>
                </a:cubicBezTo>
                <a:cubicBezTo>
                  <a:pt x="373" y="268"/>
                  <a:pt x="373" y="268"/>
                  <a:pt x="373" y="268"/>
                </a:cubicBezTo>
                <a:cubicBezTo>
                  <a:pt x="376" y="264"/>
                  <a:pt x="376" y="264"/>
                  <a:pt x="376" y="264"/>
                </a:cubicBezTo>
                <a:cubicBezTo>
                  <a:pt x="380" y="259"/>
                  <a:pt x="380" y="259"/>
                  <a:pt x="380" y="259"/>
                </a:cubicBezTo>
                <a:cubicBezTo>
                  <a:pt x="384" y="252"/>
                  <a:pt x="384" y="252"/>
                  <a:pt x="384" y="252"/>
                </a:cubicBezTo>
                <a:cubicBezTo>
                  <a:pt x="384" y="252"/>
                  <a:pt x="384" y="252"/>
                  <a:pt x="384" y="252"/>
                </a:cubicBezTo>
                <a:cubicBezTo>
                  <a:pt x="382" y="242"/>
                  <a:pt x="382" y="242"/>
                  <a:pt x="382" y="242"/>
                </a:cubicBezTo>
                <a:cubicBezTo>
                  <a:pt x="381" y="238"/>
                  <a:pt x="381" y="238"/>
                  <a:pt x="381" y="238"/>
                </a:cubicBezTo>
                <a:cubicBezTo>
                  <a:pt x="378" y="234"/>
                  <a:pt x="378" y="234"/>
                  <a:pt x="378" y="234"/>
                </a:cubicBezTo>
                <a:cubicBezTo>
                  <a:pt x="370" y="224"/>
                  <a:pt x="370" y="224"/>
                  <a:pt x="370" y="224"/>
                </a:cubicBezTo>
                <a:cubicBezTo>
                  <a:pt x="362" y="205"/>
                  <a:pt x="362" y="205"/>
                  <a:pt x="362" y="205"/>
                </a:cubicBezTo>
                <a:cubicBezTo>
                  <a:pt x="360" y="196"/>
                  <a:pt x="360" y="196"/>
                  <a:pt x="360" y="196"/>
                </a:cubicBezTo>
                <a:cubicBezTo>
                  <a:pt x="360" y="187"/>
                  <a:pt x="360" y="187"/>
                  <a:pt x="360" y="187"/>
                </a:cubicBezTo>
                <a:cubicBezTo>
                  <a:pt x="360" y="186"/>
                  <a:pt x="360" y="186"/>
                  <a:pt x="360" y="186"/>
                </a:cubicBezTo>
                <a:cubicBezTo>
                  <a:pt x="361" y="185"/>
                  <a:pt x="361" y="185"/>
                  <a:pt x="361" y="185"/>
                </a:cubicBezTo>
                <a:cubicBezTo>
                  <a:pt x="363" y="186"/>
                  <a:pt x="363" y="186"/>
                  <a:pt x="363" y="186"/>
                </a:cubicBezTo>
                <a:cubicBezTo>
                  <a:pt x="366" y="188"/>
                  <a:pt x="366" y="188"/>
                  <a:pt x="366" y="188"/>
                </a:cubicBezTo>
                <a:cubicBezTo>
                  <a:pt x="369" y="189"/>
                  <a:pt x="369" y="189"/>
                  <a:pt x="369" y="189"/>
                </a:cubicBezTo>
                <a:cubicBezTo>
                  <a:pt x="375" y="194"/>
                  <a:pt x="375" y="194"/>
                  <a:pt x="375" y="194"/>
                </a:cubicBezTo>
                <a:cubicBezTo>
                  <a:pt x="379" y="198"/>
                  <a:pt x="379" y="198"/>
                  <a:pt x="379" y="198"/>
                </a:cubicBezTo>
                <a:cubicBezTo>
                  <a:pt x="380" y="200"/>
                  <a:pt x="380" y="200"/>
                  <a:pt x="380" y="200"/>
                </a:cubicBezTo>
                <a:cubicBezTo>
                  <a:pt x="382" y="204"/>
                  <a:pt x="382" y="204"/>
                  <a:pt x="382" y="204"/>
                </a:cubicBezTo>
                <a:cubicBezTo>
                  <a:pt x="382" y="205"/>
                  <a:pt x="382" y="205"/>
                  <a:pt x="382" y="205"/>
                </a:cubicBezTo>
                <a:cubicBezTo>
                  <a:pt x="383" y="210"/>
                  <a:pt x="383" y="210"/>
                  <a:pt x="383" y="210"/>
                </a:cubicBezTo>
                <a:cubicBezTo>
                  <a:pt x="383" y="216"/>
                  <a:pt x="383" y="216"/>
                  <a:pt x="383" y="216"/>
                </a:cubicBezTo>
                <a:cubicBezTo>
                  <a:pt x="383" y="216"/>
                  <a:pt x="383" y="216"/>
                  <a:pt x="383" y="216"/>
                </a:cubicBezTo>
                <a:cubicBezTo>
                  <a:pt x="383" y="218"/>
                  <a:pt x="383" y="218"/>
                  <a:pt x="383" y="218"/>
                </a:cubicBezTo>
                <a:cubicBezTo>
                  <a:pt x="382" y="219"/>
                  <a:pt x="382" y="219"/>
                  <a:pt x="382" y="219"/>
                </a:cubicBezTo>
                <a:cubicBezTo>
                  <a:pt x="381" y="221"/>
                  <a:pt x="381" y="221"/>
                  <a:pt x="381" y="221"/>
                </a:cubicBezTo>
                <a:cubicBezTo>
                  <a:pt x="379" y="224"/>
                  <a:pt x="379" y="224"/>
                  <a:pt x="379" y="224"/>
                </a:cubicBezTo>
                <a:cubicBezTo>
                  <a:pt x="378" y="225"/>
                  <a:pt x="378" y="225"/>
                  <a:pt x="378" y="225"/>
                </a:cubicBezTo>
                <a:cubicBezTo>
                  <a:pt x="378" y="228"/>
                  <a:pt x="378" y="228"/>
                  <a:pt x="378" y="228"/>
                </a:cubicBezTo>
                <a:cubicBezTo>
                  <a:pt x="378" y="231"/>
                  <a:pt x="378" y="231"/>
                  <a:pt x="378" y="231"/>
                </a:cubicBezTo>
                <a:cubicBezTo>
                  <a:pt x="378" y="232"/>
                  <a:pt x="378" y="232"/>
                  <a:pt x="378" y="232"/>
                </a:cubicBezTo>
                <a:cubicBezTo>
                  <a:pt x="385" y="246"/>
                  <a:pt x="385" y="246"/>
                  <a:pt x="385" y="246"/>
                </a:cubicBezTo>
                <a:cubicBezTo>
                  <a:pt x="386" y="246"/>
                  <a:pt x="386" y="246"/>
                  <a:pt x="386" y="246"/>
                </a:cubicBezTo>
                <a:cubicBezTo>
                  <a:pt x="387" y="247"/>
                  <a:pt x="387" y="247"/>
                  <a:pt x="387" y="247"/>
                </a:cubicBezTo>
                <a:cubicBezTo>
                  <a:pt x="388" y="247"/>
                  <a:pt x="388" y="247"/>
                  <a:pt x="388" y="247"/>
                </a:cubicBezTo>
                <a:cubicBezTo>
                  <a:pt x="389" y="247"/>
                  <a:pt x="389" y="247"/>
                  <a:pt x="389" y="247"/>
                </a:cubicBezTo>
                <a:cubicBezTo>
                  <a:pt x="389" y="246"/>
                  <a:pt x="389" y="246"/>
                  <a:pt x="389" y="246"/>
                </a:cubicBezTo>
                <a:cubicBezTo>
                  <a:pt x="391" y="242"/>
                  <a:pt x="391" y="242"/>
                  <a:pt x="391" y="242"/>
                </a:cubicBezTo>
                <a:cubicBezTo>
                  <a:pt x="394" y="234"/>
                  <a:pt x="394" y="234"/>
                  <a:pt x="394" y="234"/>
                </a:cubicBezTo>
                <a:cubicBezTo>
                  <a:pt x="395" y="234"/>
                  <a:pt x="395" y="234"/>
                  <a:pt x="395" y="234"/>
                </a:cubicBezTo>
                <a:cubicBezTo>
                  <a:pt x="399" y="215"/>
                  <a:pt x="399" y="215"/>
                  <a:pt x="399" y="215"/>
                </a:cubicBezTo>
                <a:cubicBezTo>
                  <a:pt x="399" y="209"/>
                  <a:pt x="399" y="209"/>
                  <a:pt x="399" y="209"/>
                </a:cubicBezTo>
                <a:cubicBezTo>
                  <a:pt x="399" y="208"/>
                  <a:pt x="399" y="208"/>
                  <a:pt x="399" y="208"/>
                </a:cubicBezTo>
                <a:lnTo>
                  <a:pt x="399" y="207"/>
                </a:lnTo>
                <a:close/>
                <a:moveTo>
                  <a:pt x="290" y="13"/>
                </a:moveTo>
                <a:cubicBezTo>
                  <a:pt x="291" y="13"/>
                  <a:pt x="291" y="13"/>
                  <a:pt x="291" y="13"/>
                </a:cubicBezTo>
                <a:cubicBezTo>
                  <a:pt x="291" y="13"/>
                  <a:pt x="291" y="13"/>
                  <a:pt x="291" y="13"/>
                </a:cubicBezTo>
                <a:cubicBezTo>
                  <a:pt x="292" y="12"/>
                  <a:pt x="292" y="12"/>
                  <a:pt x="292" y="12"/>
                </a:cubicBezTo>
                <a:cubicBezTo>
                  <a:pt x="292" y="11"/>
                  <a:pt x="292" y="11"/>
                  <a:pt x="292" y="11"/>
                </a:cubicBezTo>
                <a:cubicBezTo>
                  <a:pt x="293" y="5"/>
                  <a:pt x="293" y="5"/>
                  <a:pt x="293" y="5"/>
                </a:cubicBezTo>
                <a:cubicBezTo>
                  <a:pt x="293" y="5"/>
                  <a:pt x="293" y="5"/>
                  <a:pt x="293" y="5"/>
                </a:cubicBezTo>
                <a:cubicBezTo>
                  <a:pt x="294" y="5"/>
                  <a:pt x="294" y="5"/>
                  <a:pt x="294" y="5"/>
                </a:cubicBezTo>
                <a:cubicBezTo>
                  <a:pt x="293" y="4"/>
                  <a:pt x="293" y="4"/>
                  <a:pt x="293" y="4"/>
                </a:cubicBezTo>
                <a:cubicBezTo>
                  <a:pt x="293" y="3"/>
                  <a:pt x="293" y="3"/>
                  <a:pt x="293" y="3"/>
                </a:cubicBezTo>
                <a:cubicBezTo>
                  <a:pt x="292" y="3"/>
                  <a:pt x="292" y="3"/>
                  <a:pt x="292" y="3"/>
                </a:cubicBezTo>
                <a:cubicBezTo>
                  <a:pt x="289" y="1"/>
                  <a:pt x="289" y="1"/>
                  <a:pt x="289" y="1"/>
                </a:cubicBezTo>
                <a:cubicBezTo>
                  <a:pt x="282" y="0"/>
                  <a:pt x="282" y="0"/>
                  <a:pt x="282" y="0"/>
                </a:cubicBezTo>
                <a:cubicBezTo>
                  <a:pt x="282" y="0"/>
                  <a:pt x="282" y="0"/>
                  <a:pt x="282" y="0"/>
                </a:cubicBezTo>
                <a:cubicBezTo>
                  <a:pt x="281" y="1"/>
                  <a:pt x="281" y="1"/>
                  <a:pt x="281" y="1"/>
                </a:cubicBezTo>
                <a:cubicBezTo>
                  <a:pt x="278" y="3"/>
                  <a:pt x="278" y="3"/>
                  <a:pt x="278" y="3"/>
                </a:cubicBezTo>
                <a:cubicBezTo>
                  <a:pt x="278" y="4"/>
                  <a:pt x="278" y="4"/>
                  <a:pt x="278" y="4"/>
                </a:cubicBezTo>
                <a:cubicBezTo>
                  <a:pt x="278" y="4"/>
                  <a:pt x="278" y="4"/>
                  <a:pt x="278" y="4"/>
                </a:cubicBezTo>
                <a:lnTo>
                  <a:pt x="290" y="1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Freeform 15">
            <a:extLst>
              <a:ext uri="{FF2B5EF4-FFF2-40B4-BE49-F238E27FC236}">
                <a16:creationId xmlns:a16="http://schemas.microsoft.com/office/drawing/2014/main" id="{F119AC39-0187-4461-A739-76DCF4503081}"/>
              </a:ext>
            </a:extLst>
          </p:cNvPr>
          <p:cNvSpPr>
            <a:spLocks noEditPoints="1"/>
          </p:cNvSpPr>
          <p:nvPr/>
        </p:nvSpPr>
        <p:spPr bwMode="auto">
          <a:xfrm>
            <a:off x="3838793" y="2959394"/>
            <a:ext cx="2777463" cy="3262312"/>
          </a:xfrm>
          <a:custGeom>
            <a:avLst/>
            <a:gdLst>
              <a:gd name="T0" fmla="*/ 211 w 1159"/>
              <a:gd name="T1" fmla="*/ 349 h 1475"/>
              <a:gd name="T2" fmla="*/ 1137 w 1159"/>
              <a:gd name="T3" fmla="*/ 723 h 1475"/>
              <a:gd name="T4" fmla="*/ 916 w 1159"/>
              <a:gd name="T5" fmla="*/ 729 h 1475"/>
              <a:gd name="T6" fmla="*/ 926 w 1159"/>
              <a:gd name="T7" fmla="*/ 655 h 1475"/>
              <a:gd name="T8" fmla="*/ 835 w 1159"/>
              <a:gd name="T9" fmla="*/ 523 h 1475"/>
              <a:gd name="T10" fmla="*/ 801 w 1159"/>
              <a:gd name="T11" fmla="*/ 506 h 1475"/>
              <a:gd name="T12" fmla="*/ 886 w 1159"/>
              <a:gd name="T13" fmla="*/ 525 h 1475"/>
              <a:gd name="T14" fmla="*/ 847 w 1159"/>
              <a:gd name="T15" fmla="*/ 468 h 1475"/>
              <a:gd name="T16" fmla="*/ 794 w 1159"/>
              <a:gd name="T17" fmla="*/ 360 h 1475"/>
              <a:gd name="T18" fmla="*/ 626 w 1159"/>
              <a:gd name="T19" fmla="*/ 168 h 1475"/>
              <a:gd name="T20" fmla="*/ 547 w 1159"/>
              <a:gd name="T21" fmla="*/ 3 h 1475"/>
              <a:gd name="T22" fmla="*/ 529 w 1159"/>
              <a:gd name="T23" fmla="*/ 45 h 1475"/>
              <a:gd name="T24" fmla="*/ 542 w 1159"/>
              <a:gd name="T25" fmla="*/ 82 h 1475"/>
              <a:gd name="T26" fmla="*/ 516 w 1159"/>
              <a:gd name="T27" fmla="*/ 110 h 1475"/>
              <a:gd name="T28" fmla="*/ 467 w 1159"/>
              <a:gd name="T29" fmla="*/ 149 h 1475"/>
              <a:gd name="T30" fmla="*/ 436 w 1159"/>
              <a:gd name="T31" fmla="*/ 187 h 1475"/>
              <a:gd name="T32" fmla="*/ 405 w 1159"/>
              <a:gd name="T33" fmla="*/ 207 h 1475"/>
              <a:gd name="T34" fmla="*/ 348 w 1159"/>
              <a:gd name="T35" fmla="*/ 364 h 1475"/>
              <a:gd name="T36" fmla="*/ 381 w 1159"/>
              <a:gd name="T37" fmla="*/ 406 h 1475"/>
              <a:gd name="T38" fmla="*/ 428 w 1159"/>
              <a:gd name="T39" fmla="*/ 464 h 1475"/>
              <a:gd name="T40" fmla="*/ 421 w 1159"/>
              <a:gd name="T41" fmla="*/ 605 h 1475"/>
              <a:gd name="T42" fmla="*/ 420 w 1159"/>
              <a:gd name="T43" fmla="*/ 606 h 1475"/>
              <a:gd name="T44" fmla="*/ 423 w 1159"/>
              <a:gd name="T45" fmla="*/ 646 h 1475"/>
              <a:gd name="T46" fmla="*/ 441 w 1159"/>
              <a:gd name="T47" fmla="*/ 698 h 1475"/>
              <a:gd name="T48" fmla="*/ 447 w 1159"/>
              <a:gd name="T49" fmla="*/ 727 h 1475"/>
              <a:gd name="T50" fmla="*/ 413 w 1159"/>
              <a:gd name="T51" fmla="*/ 728 h 1475"/>
              <a:gd name="T52" fmla="*/ 417 w 1159"/>
              <a:gd name="T53" fmla="*/ 762 h 1475"/>
              <a:gd name="T54" fmla="*/ 407 w 1159"/>
              <a:gd name="T55" fmla="*/ 808 h 1475"/>
              <a:gd name="T56" fmla="*/ 425 w 1159"/>
              <a:gd name="T57" fmla="*/ 815 h 1475"/>
              <a:gd name="T58" fmla="*/ 392 w 1159"/>
              <a:gd name="T59" fmla="*/ 850 h 1475"/>
              <a:gd name="T60" fmla="*/ 434 w 1159"/>
              <a:gd name="T61" fmla="*/ 875 h 1475"/>
              <a:gd name="T62" fmla="*/ 412 w 1159"/>
              <a:gd name="T63" fmla="*/ 910 h 1475"/>
              <a:gd name="T64" fmla="*/ 416 w 1159"/>
              <a:gd name="T65" fmla="*/ 953 h 1475"/>
              <a:gd name="T66" fmla="*/ 454 w 1159"/>
              <a:gd name="T67" fmla="*/ 973 h 1475"/>
              <a:gd name="T68" fmla="*/ 489 w 1159"/>
              <a:gd name="T69" fmla="*/ 1000 h 1475"/>
              <a:gd name="T70" fmla="*/ 484 w 1159"/>
              <a:gd name="T71" fmla="*/ 1050 h 1475"/>
              <a:gd name="T72" fmla="*/ 431 w 1159"/>
              <a:gd name="T73" fmla="*/ 1141 h 1475"/>
              <a:gd name="T74" fmla="*/ 244 w 1159"/>
              <a:gd name="T75" fmla="*/ 1162 h 1475"/>
              <a:gd name="T76" fmla="*/ 183 w 1159"/>
              <a:gd name="T77" fmla="*/ 1269 h 1475"/>
              <a:gd name="T78" fmla="*/ 72 w 1159"/>
              <a:gd name="T79" fmla="*/ 1395 h 1475"/>
              <a:gd name="T80" fmla="*/ 29 w 1159"/>
              <a:gd name="T81" fmla="*/ 1445 h 1475"/>
              <a:gd name="T82" fmla="*/ 78 w 1159"/>
              <a:gd name="T83" fmla="*/ 1468 h 1475"/>
              <a:gd name="T84" fmla="*/ 118 w 1159"/>
              <a:gd name="T85" fmla="*/ 1426 h 1475"/>
              <a:gd name="T86" fmla="*/ 246 w 1159"/>
              <a:gd name="T87" fmla="*/ 1371 h 1475"/>
              <a:gd name="T88" fmla="*/ 341 w 1159"/>
              <a:gd name="T89" fmla="*/ 1383 h 1475"/>
              <a:gd name="T90" fmla="*/ 441 w 1159"/>
              <a:gd name="T91" fmla="*/ 1281 h 1475"/>
              <a:gd name="T92" fmla="*/ 612 w 1159"/>
              <a:gd name="T93" fmla="*/ 1292 h 1475"/>
              <a:gd name="T94" fmla="*/ 690 w 1159"/>
              <a:gd name="T95" fmla="*/ 1225 h 1475"/>
              <a:gd name="T96" fmla="*/ 729 w 1159"/>
              <a:gd name="T97" fmla="*/ 1237 h 1475"/>
              <a:gd name="T98" fmla="*/ 750 w 1159"/>
              <a:gd name="T99" fmla="*/ 1239 h 1475"/>
              <a:gd name="T100" fmla="*/ 762 w 1159"/>
              <a:gd name="T101" fmla="*/ 1236 h 1475"/>
              <a:gd name="T102" fmla="*/ 789 w 1159"/>
              <a:gd name="T103" fmla="*/ 1261 h 1475"/>
              <a:gd name="T104" fmla="*/ 920 w 1159"/>
              <a:gd name="T105" fmla="*/ 1239 h 1475"/>
              <a:gd name="T106" fmla="*/ 1037 w 1159"/>
              <a:gd name="T107" fmla="*/ 1192 h 1475"/>
              <a:gd name="T108" fmla="*/ 1129 w 1159"/>
              <a:gd name="T109" fmla="*/ 1128 h 1475"/>
              <a:gd name="T110" fmla="*/ 1052 w 1159"/>
              <a:gd name="T111" fmla="*/ 1087 h 1475"/>
              <a:gd name="T112" fmla="*/ 1016 w 1159"/>
              <a:gd name="T113" fmla="*/ 1070 h 1475"/>
              <a:gd name="T114" fmla="*/ 1017 w 1159"/>
              <a:gd name="T115" fmla="*/ 1060 h 1475"/>
              <a:gd name="T116" fmla="*/ 1041 w 1159"/>
              <a:gd name="T117" fmla="*/ 1031 h 1475"/>
              <a:gd name="T118" fmla="*/ 1036 w 1159"/>
              <a:gd name="T119" fmla="*/ 982 h 1475"/>
              <a:gd name="T120" fmla="*/ 1099 w 1159"/>
              <a:gd name="T121" fmla="*/ 951 h 1475"/>
              <a:gd name="T122" fmla="*/ 1116 w 1159"/>
              <a:gd name="T123" fmla="*/ 914 h 14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159" h="1475">
                <a:moveTo>
                  <a:pt x="150" y="440"/>
                </a:moveTo>
                <a:cubicBezTo>
                  <a:pt x="167" y="439"/>
                  <a:pt x="167" y="439"/>
                  <a:pt x="167" y="439"/>
                </a:cubicBezTo>
                <a:cubicBezTo>
                  <a:pt x="171" y="436"/>
                  <a:pt x="171" y="436"/>
                  <a:pt x="171" y="436"/>
                </a:cubicBezTo>
                <a:cubicBezTo>
                  <a:pt x="176" y="434"/>
                  <a:pt x="176" y="434"/>
                  <a:pt x="176" y="434"/>
                </a:cubicBezTo>
                <a:cubicBezTo>
                  <a:pt x="184" y="429"/>
                  <a:pt x="184" y="429"/>
                  <a:pt x="184" y="429"/>
                </a:cubicBezTo>
                <a:cubicBezTo>
                  <a:pt x="192" y="422"/>
                  <a:pt x="192" y="422"/>
                  <a:pt x="192" y="422"/>
                </a:cubicBezTo>
                <a:cubicBezTo>
                  <a:pt x="196" y="419"/>
                  <a:pt x="196" y="419"/>
                  <a:pt x="196" y="419"/>
                </a:cubicBezTo>
                <a:cubicBezTo>
                  <a:pt x="206" y="407"/>
                  <a:pt x="206" y="407"/>
                  <a:pt x="206" y="407"/>
                </a:cubicBezTo>
                <a:cubicBezTo>
                  <a:pt x="207" y="405"/>
                  <a:pt x="207" y="405"/>
                  <a:pt x="207" y="405"/>
                </a:cubicBezTo>
                <a:cubicBezTo>
                  <a:pt x="217" y="384"/>
                  <a:pt x="217" y="384"/>
                  <a:pt x="217" y="384"/>
                </a:cubicBezTo>
                <a:cubicBezTo>
                  <a:pt x="219" y="379"/>
                  <a:pt x="219" y="379"/>
                  <a:pt x="219" y="379"/>
                </a:cubicBezTo>
                <a:cubicBezTo>
                  <a:pt x="219" y="378"/>
                  <a:pt x="219" y="378"/>
                  <a:pt x="219" y="378"/>
                </a:cubicBezTo>
                <a:cubicBezTo>
                  <a:pt x="218" y="377"/>
                  <a:pt x="218" y="377"/>
                  <a:pt x="218" y="377"/>
                </a:cubicBezTo>
                <a:cubicBezTo>
                  <a:pt x="218" y="377"/>
                  <a:pt x="218" y="377"/>
                  <a:pt x="218" y="377"/>
                </a:cubicBezTo>
                <a:cubicBezTo>
                  <a:pt x="215" y="376"/>
                  <a:pt x="215" y="376"/>
                  <a:pt x="215" y="376"/>
                </a:cubicBezTo>
                <a:cubicBezTo>
                  <a:pt x="211" y="374"/>
                  <a:pt x="211" y="374"/>
                  <a:pt x="211" y="374"/>
                </a:cubicBezTo>
                <a:cubicBezTo>
                  <a:pt x="209" y="371"/>
                  <a:pt x="209" y="371"/>
                  <a:pt x="209" y="371"/>
                </a:cubicBezTo>
                <a:cubicBezTo>
                  <a:pt x="209" y="366"/>
                  <a:pt x="209" y="366"/>
                  <a:pt x="209" y="366"/>
                </a:cubicBezTo>
                <a:cubicBezTo>
                  <a:pt x="209" y="365"/>
                  <a:pt x="209" y="365"/>
                  <a:pt x="209" y="365"/>
                </a:cubicBezTo>
                <a:cubicBezTo>
                  <a:pt x="209" y="363"/>
                  <a:pt x="209" y="363"/>
                  <a:pt x="209" y="363"/>
                </a:cubicBezTo>
                <a:cubicBezTo>
                  <a:pt x="210" y="360"/>
                  <a:pt x="210" y="360"/>
                  <a:pt x="210" y="360"/>
                </a:cubicBezTo>
                <a:cubicBezTo>
                  <a:pt x="212" y="351"/>
                  <a:pt x="212" y="351"/>
                  <a:pt x="212" y="351"/>
                </a:cubicBezTo>
                <a:cubicBezTo>
                  <a:pt x="211" y="349"/>
                  <a:pt x="211" y="349"/>
                  <a:pt x="211" y="349"/>
                </a:cubicBezTo>
                <a:cubicBezTo>
                  <a:pt x="210" y="348"/>
                  <a:pt x="210" y="348"/>
                  <a:pt x="210" y="348"/>
                </a:cubicBezTo>
                <a:cubicBezTo>
                  <a:pt x="194" y="355"/>
                  <a:pt x="194" y="355"/>
                  <a:pt x="194" y="355"/>
                </a:cubicBezTo>
                <a:cubicBezTo>
                  <a:pt x="193" y="356"/>
                  <a:pt x="193" y="356"/>
                  <a:pt x="193" y="356"/>
                </a:cubicBezTo>
                <a:cubicBezTo>
                  <a:pt x="186" y="362"/>
                  <a:pt x="186" y="362"/>
                  <a:pt x="186" y="362"/>
                </a:cubicBezTo>
                <a:cubicBezTo>
                  <a:pt x="183" y="367"/>
                  <a:pt x="183" y="367"/>
                  <a:pt x="183" y="367"/>
                </a:cubicBezTo>
                <a:cubicBezTo>
                  <a:pt x="180" y="374"/>
                  <a:pt x="180" y="374"/>
                  <a:pt x="180" y="374"/>
                </a:cubicBezTo>
                <a:cubicBezTo>
                  <a:pt x="179" y="379"/>
                  <a:pt x="179" y="379"/>
                  <a:pt x="179" y="379"/>
                </a:cubicBezTo>
                <a:cubicBezTo>
                  <a:pt x="178" y="382"/>
                  <a:pt x="178" y="382"/>
                  <a:pt x="178" y="382"/>
                </a:cubicBezTo>
                <a:cubicBezTo>
                  <a:pt x="175" y="386"/>
                  <a:pt x="175" y="386"/>
                  <a:pt x="175" y="386"/>
                </a:cubicBezTo>
                <a:cubicBezTo>
                  <a:pt x="173" y="390"/>
                  <a:pt x="173" y="390"/>
                  <a:pt x="173" y="390"/>
                </a:cubicBezTo>
                <a:cubicBezTo>
                  <a:pt x="172" y="391"/>
                  <a:pt x="172" y="391"/>
                  <a:pt x="172" y="391"/>
                </a:cubicBezTo>
                <a:cubicBezTo>
                  <a:pt x="169" y="394"/>
                  <a:pt x="169" y="394"/>
                  <a:pt x="169" y="394"/>
                </a:cubicBezTo>
                <a:cubicBezTo>
                  <a:pt x="158" y="409"/>
                  <a:pt x="158" y="409"/>
                  <a:pt x="158" y="409"/>
                </a:cubicBezTo>
                <a:cubicBezTo>
                  <a:pt x="148" y="437"/>
                  <a:pt x="148" y="437"/>
                  <a:pt x="148" y="437"/>
                </a:cubicBezTo>
                <a:cubicBezTo>
                  <a:pt x="148" y="438"/>
                  <a:pt x="148" y="438"/>
                  <a:pt x="148" y="438"/>
                </a:cubicBezTo>
                <a:cubicBezTo>
                  <a:pt x="148" y="439"/>
                  <a:pt x="148" y="439"/>
                  <a:pt x="148" y="439"/>
                </a:cubicBezTo>
                <a:cubicBezTo>
                  <a:pt x="149" y="440"/>
                  <a:pt x="149" y="440"/>
                  <a:pt x="149" y="440"/>
                </a:cubicBezTo>
                <a:lnTo>
                  <a:pt x="150" y="440"/>
                </a:lnTo>
                <a:close/>
                <a:moveTo>
                  <a:pt x="1151" y="754"/>
                </a:moveTo>
                <a:cubicBezTo>
                  <a:pt x="1150" y="749"/>
                  <a:pt x="1150" y="749"/>
                  <a:pt x="1150" y="749"/>
                </a:cubicBezTo>
                <a:cubicBezTo>
                  <a:pt x="1142" y="730"/>
                  <a:pt x="1142" y="730"/>
                  <a:pt x="1142" y="730"/>
                </a:cubicBezTo>
                <a:cubicBezTo>
                  <a:pt x="1141" y="728"/>
                  <a:pt x="1141" y="728"/>
                  <a:pt x="1141" y="728"/>
                </a:cubicBezTo>
                <a:cubicBezTo>
                  <a:pt x="1137" y="723"/>
                  <a:pt x="1137" y="723"/>
                  <a:pt x="1137" y="723"/>
                </a:cubicBezTo>
                <a:cubicBezTo>
                  <a:pt x="1134" y="719"/>
                  <a:pt x="1134" y="719"/>
                  <a:pt x="1134" y="719"/>
                </a:cubicBezTo>
                <a:cubicBezTo>
                  <a:pt x="1132" y="717"/>
                  <a:pt x="1132" y="717"/>
                  <a:pt x="1132" y="717"/>
                </a:cubicBezTo>
                <a:cubicBezTo>
                  <a:pt x="1097" y="694"/>
                  <a:pt x="1097" y="694"/>
                  <a:pt x="1097" y="694"/>
                </a:cubicBezTo>
                <a:cubicBezTo>
                  <a:pt x="1093" y="691"/>
                  <a:pt x="1093" y="691"/>
                  <a:pt x="1093" y="691"/>
                </a:cubicBezTo>
                <a:cubicBezTo>
                  <a:pt x="1088" y="688"/>
                  <a:pt x="1088" y="688"/>
                  <a:pt x="1088" y="688"/>
                </a:cubicBezTo>
                <a:cubicBezTo>
                  <a:pt x="1084" y="686"/>
                  <a:pt x="1084" y="686"/>
                  <a:pt x="1084" y="686"/>
                </a:cubicBezTo>
                <a:cubicBezTo>
                  <a:pt x="1073" y="683"/>
                  <a:pt x="1073" y="683"/>
                  <a:pt x="1073" y="683"/>
                </a:cubicBezTo>
                <a:cubicBezTo>
                  <a:pt x="1057" y="681"/>
                  <a:pt x="1057" y="681"/>
                  <a:pt x="1057" y="681"/>
                </a:cubicBezTo>
                <a:cubicBezTo>
                  <a:pt x="1029" y="681"/>
                  <a:pt x="1029" y="681"/>
                  <a:pt x="1029" y="681"/>
                </a:cubicBezTo>
                <a:cubicBezTo>
                  <a:pt x="965" y="683"/>
                  <a:pt x="965" y="683"/>
                  <a:pt x="965" y="683"/>
                </a:cubicBezTo>
                <a:cubicBezTo>
                  <a:pt x="964" y="682"/>
                  <a:pt x="964" y="682"/>
                  <a:pt x="964" y="682"/>
                </a:cubicBezTo>
                <a:cubicBezTo>
                  <a:pt x="962" y="682"/>
                  <a:pt x="962" y="682"/>
                  <a:pt x="962" y="682"/>
                </a:cubicBezTo>
                <a:cubicBezTo>
                  <a:pt x="960" y="683"/>
                  <a:pt x="960" y="683"/>
                  <a:pt x="960" y="683"/>
                </a:cubicBezTo>
                <a:cubicBezTo>
                  <a:pt x="953" y="691"/>
                  <a:pt x="953" y="691"/>
                  <a:pt x="953" y="691"/>
                </a:cubicBezTo>
                <a:cubicBezTo>
                  <a:pt x="952" y="693"/>
                  <a:pt x="952" y="693"/>
                  <a:pt x="952" y="693"/>
                </a:cubicBezTo>
                <a:cubicBezTo>
                  <a:pt x="949" y="705"/>
                  <a:pt x="949" y="705"/>
                  <a:pt x="949" y="705"/>
                </a:cubicBezTo>
                <a:cubicBezTo>
                  <a:pt x="947" y="716"/>
                  <a:pt x="947" y="716"/>
                  <a:pt x="947" y="716"/>
                </a:cubicBezTo>
                <a:cubicBezTo>
                  <a:pt x="946" y="719"/>
                  <a:pt x="946" y="719"/>
                  <a:pt x="946" y="719"/>
                </a:cubicBezTo>
                <a:cubicBezTo>
                  <a:pt x="944" y="721"/>
                  <a:pt x="944" y="721"/>
                  <a:pt x="944" y="721"/>
                </a:cubicBezTo>
                <a:cubicBezTo>
                  <a:pt x="939" y="729"/>
                  <a:pt x="939" y="729"/>
                  <a:pt x="939" y="729"/>
                </a:cubicBezTo>
                <a:cubicBezTo>
                  <a:pt x="936" y="731"/>
                  <a:pt x="936" y="731"/>
                  <a:pt x="936" y="731"/>
                </a:cubicBezTo>
                <a:cubicBezTo>
                  <a:pt x="918" y="729"/>
                  <a:pt x="918" y="729"/>
                  <a:pt x="918" y="729"/>
                </a:cubicBezTo>
                <a:cubicBezTo>
                  <a:pt x="916" y="729"/>
                  <a:pt x="916" y="729"/>
                  <a:pt x="916" y="729"/>
                </a:cubicBezTo>
                <a:cubicBezTo>
                  <a:pt x="913" y="725"/>
                  <a:pt x="913" y="725"/>
                  <a:pt x="913" y="725"/>
                </a:cubicBezTo>
                <a:cubicBezTo>
                  <a:pt x="911" y="721"/>
                  <a:pt x="911" y="721"/>
                  <a:pt x="911" y="721"/>
                </a:cubicBezTo>
                <a:cubicBezTo>
                  <a:pt x="905" y="713"/>
                  <a:pt x="905" y="713"/>
                  <a:pt x="905" y="713"/>
                </a:cubicBezTo>
                <a:cubicBezTo>
                  <a:pt x="904" y="712"/>
                  <a:pt x="904" y="712"/>
                  <a:pt x="904" y="712"/>
                </a:cubicBezTo>
                <a:cubicBezTo>
                  <a:pt x="892" y="707"/>
                  <a:pt x="892" y="707"/>
                  <a:pt x="892" y="707"/>
                </a:cubicBezTo>
                <a:cubicBezTo>
                  <a:pt x="890" y="707"/>
                  <a:pt x="890" y="707"/>
                  <a:pt x="890" y="707"/>
                </a:cubicBezTo>
                <a:cubicBezTo>
                  <a:pt x="890" y="707"/>
                  <a:pt x="890" y="707"/>
                  <a:pt x="890" y="707"/>
                </a:cubicBezTo>
                <a:cubicBezTo>
                  <a:pt x="887" y="708"/>
                  <a:pt x="887" y="708"/>
                  <a:pt x="887" y="708"/>
                </a:cubicBezTo>
                <a:cubicBezTo>
                  <a:pt x="884" y="710"/>
                  <a:pt x="884" y="710"/>
                  <a:pt x="884" y="710"/>
                </a:cubicBezTo>
                <a:cubicBezTo>
                  <a:pt x="881" y="711"/>
                  <a:pt x="881" y="711"/>
                  <a:pt x="881" y="711"/>
                </a:cubicBezTo>
                <a:cubicBezTo>
                  <a:pt x="880" y="711"/>
                  <a:pt x="880" y="711"/>
                  <a:pt x="880" y="711"/>
                </a:cubicBezTo>
                <a:cubicBezTo>
                  <a:pt x="879" y="710"/>
                  <a:pt x="879" y="710"/>
                  <a:pt x="879" y="710"/>
                </a:cubicBezTo>
                <a:cubicBezTo>
                  <a:pt x="880" y="710"/>
                  <a:pt x="880" y="710"/>
                  <a:pt x="880" y="710"/>
                </a:cubicBezTo>
                <a:cubicBezTo>
                  <a:pt x="881" y="707"/>
                  <a:pt x="881" y="707"/>
                  <a:pt x="881" y="707"/>
                </a:cubicBezTo>
                <a:cubicBezTo>
                  <a:pt x="883" y="703"/>
                  <a:pt x="883" y="703"/>
                  <a:pt x="883" y="703"/>
                </a:cubicBezTo>
                <a:cubicBezTo>
                  <a:pt x="901" y="679"/>
                  <a:pt x="901" y="679"/>
                  <a:pt x="901" y="679"/>
                </a:cubicBezTo>
                <a:cubicBezTo>
                  <a:pt x="903" y="676"/>
                  <a:pt x="903" y="676"/>
                  <a:pt x="903" y="676"/>
                </a:cubicBezTo>
                <a:cubicBezTo>
                  <a:pt x="918" y="660"/>
                  <a:pt x="918" y="660"/>
                  <a:pt x="918" y="660"/>
                </a:cubicBezTo>
                <a:cubicBezTo>
                  <a:pt x="921" y="657"/>
                  <a:pt x="921" y="657"/>
                  <a:pt x="921" y="657"/>
                </a:cubicBezTo>
                <a:cubicBezTo>
                  <a:pt x="921" y="657"/>
                  <a:pt x="921" y="657"/>
                  <a:pt x="921" y="657"/>
                </a:cubicBezTo>
                <a:cubicBezTo>
                  <a:pt x="923" y="656"/>
                  <a:pt x="923" y="656"/>
                  <a:pt x="923" y="656"/>
                </a:cubicBezTo>
                <a:cubicBezTo>
                  <a:pt x="924" y="656"/>
                  <a:pt x="924" y="656"/>
                  <a:pt x="924" y="656"/>
                </a:cubicBezTo>
                <a:cubicBezTo>
                  <a:pt x="926" y="655"/>
                  <a:pt x="926" y="655"/>
                  <a:pt x="926" y="655"/>
                </a:cubicBezTo>
                <a:cubicBezTo>
                  <a:pt x="927" y="654"/>
                  <a:pt x="927" y="654"/>
                  <a:pt x="927" y="654"/>
                </a:cubicBezTo>
                <a:cubicBezTo>
                  <a:pt x="927" y="652"/>
                  <a:pt x="927" y="652"/>
                  <a:pt x="927" y="652"/>
                </a:cubicBezTo>
                <a:cubicBezTo>
                  <a:pt x="928" y="651"/>
                  <a:pt x="928" y="651"/>
                  <a:pt x="928" y="651"/>
                </a:cubicBezTo>
                <a:cubicBezTo>
                  <a:pt x="929" y="639"/>
                  <a:pt x="929" y="639"/>
                  <a:pt x="929" y="639"/>
                </a:cubicBezTo>
                <a:cubicBezTo>
                  <a:pt x="929" y="636"/>
                  <a:pt x="929" y="636"/>
                  <a:pt x="929" y="636"/>
                </a:cubicBezTo>
                <a:cubicBezTo>
                  <a:pt x="928" y="633"/>
                  <a:pt x="928" y="633"/>
                  <a:pt x="928" y="633"/>
                </a:cubicBezTo>
                <a:cubicBezTo>
                  <a:pt x="928" y="629"/>
                  <a:pt x="928" y="629"/>
                  <a:pt x="928" y="629"/>
                </a:cubicBezTo>
                <a:cubicBezTo>
                  <a:pt x="927" y="627"/>
                  <a:pt x="927" y="627"/>
                  <a:pt x="927" y="627"/>
                </a:cubicBezTo>
                <a:cubicBezTo>
                  <a:pt x="925" y="617"/>
                  <a:pt x="925" y="617"/>
                  <a:pt x="925" y="617"/>
                </a:cubicBezTo>
                <a:cubicBezTo>
                  <a:pt x="924" y="617"/>
                  <a:pt x="924" y="617"/>
                  <a:pt x="924" y="617"/>
                </a:cubicBezTo>
                <a:cubicBezTo>
                  <a:pt x="913" y="592"/>
                  <a:pt x="913" y="592"/>
                  <a:pt x="913" y="592"/>
                </a:cubicBezTo>
                <a:cubicBezTo>
                  <a:pt x="912" y="590"/>
                  <a:pt x="912" y="590"/>
                  <a:pt x="912" y="590"/>
                </a:cubicBezTo>
                <a:cubicBezTo>
                  <a:pt x="907" y="580"/>
                  <a:pt x="907" y="580"/>
                  <a:pt x="907" y="580"/>
                </a:cubicBezTo>
                <a:cubicBezTo>
                  <a:pt x="903" y="572"/>
                  <a:pt x="903" y="572"/>
                  <a:pt x="903" y="572"/>
                </a:cubicBezTo>
                <a:cubicBezTo>
                  <a:pt x="894" y="562"/>
                  <a:pt x="894" y="562"/>
                  <a:pt x="894" y="562"/>
                </a:cubicBezTo>
                <a:cubicBezTo>
                  <a:pt x="891" y="559"/>
                  <a:pt x="891" y="559"/>
                  <a:pt x="891" y="559"/>
                </a:cubicBezTo>
                <a:cubicBezTo>
                  <a:pt x="890" y="558"/>
                  <a:pt x="890" y="558"/>
                  <a:pt x="890" y="558"/>
                </a:cubicBezTo>
                <a:cubicBezTo>
                  <a:pt x="888" y="559"/>
                  <a:pt x="888" y="559"/>
                  <a:pt x="888" y="559"/>
                </a:cubicBezTo>
                <a:cubicBezTo>
                  <a:pt x="887" y="559"/>
                  <a:pt x="887" y="559"/>
                  <a:pt x="887" y="559"/>
                </a:cubicBezTo>
                <a:cubicBezTo>
                  <a:pt x="880" y="555"/>
                  <a:pt x="880" y="555"/>
                  <a:pt x="880" y="555"/>
                </a:cubicBezTo>
                <a:cubicBezTo>
                  <a:pt x="853" y="537"/>
                  <a:pt x="853" y="537"/>
                  <a:pt x="853" y="537"/>
                </a:cubicBezTo>
                <a:cubicBezTo>
                  <a:pt x="849" y="534"/>
                  <a:pt x="849" y="534"/>
                  <a:pt x="849" y="534"/>
                </a:cubicBezTo>
                <a:cubicBezTo>
                  <a:pt x="835" y="523"/>
                  <a:pt x="835" y="523"/>
                  <a:pt x="835" y="523"/>
                </a:cubicBezTo>
                <a:cubicBezTo>
                  <a:pt x="833" y="520"/>
                  <a:pt x="833" y="520"/>
                  <a:pt x="833" y="520"/>
                </a:cubicBezTo>
                <a:cubicBezTo>
                  <a:pt x="829" y="513"/>
                  <a:pt x="829" y="513"/>
                  <a:pt x="829" y="513"/>
                </a:cubicBezTo>
                <a:cubicBezTo>
                  <a:pt x="825" y="508"/>
                  <a:pt x="825" y="508"/>
                  <a:pt x="825" y="508"/>
                </a:cubicBezTo>
                <a:cubicBezTo>
                  <a:pt x="822" y="506"/>
                  <a:pt x="822" y="506"/>
                  <a:pt x="822" y="506"/>
                </a:cubicBezTo>
                <a:cubicBezTo>
                  <a:pt x="821" y="505"/>
                  <a:pt x="821" y="505"/>
                  <a:pt x="821" y="505"/>
                </a:cubicBezTo>
                <a:cubicBezTo>
                  <a:pt x="819" y="506"/>
                  <a:pt x="819" y="506"/>
                  <a:pt x="819" y="506"/>
                </a:cubicBezTo>
                <a:cubicBezTo>
                  <a:pt x="803" y="511"/>
                  <a:pt x="803" y="511"/>
                  <a:pt x="803" y="511"/>
                </a:cubicBezTo>
                <a:cubicBezTo>
                  <a:pt x="780" y="515"/>
                  <a:pt x="780" y="515"/>
                  <a:pt x="780" y="515"/>
                </a:cubicBezTo>
                <a:cubicBezTo>
                  <a:pt x="762" y="516"/>
                  <a:pt x="762" y="516"/>
                  <a:pt x="762" y="516"/>
                </a:cubicBezTo>
                <a:cubicBezTo>
                  <a:pt x="758" y="513"/>
                  <a:pt x="758" y="513"/>
                  <a:pt x="758" y="513"/>
                </a:cubicBezTo>
                <a:cubicBezTo>
                  <a:pt x="757" y="512"/>
                  <a:pt x="757" y="512"/>
                  <a:pt x="757" y="512"/>
                </a:cubicBezTo>
                <a:cubicBezTo>
                  <a:pt x="757" y="512"/>
                  <a:pt x="757" y="512"/>
                  <a:pt x="757" y="512"/>
                </a:cubicBezTo>
                <a:cubicBezTo>
                  <a:pt x="758" y="511"/>
                  <a:pt x="758" y="511"/>
                  <a:pt x="758" y="511"/>
                </a:cubicBezTo>
                <a:cubicBezTo>
                  <a:pt x="768" y="505"/>
                  <a:pt x="768" y="505"/>
                  <a:pt x="768" y="505"/>
                </a:cubicBezTo>
                <a:cubicBezTo>
                  <a:pt x="771" y="504"/>
                  <a:pt x="771" y="504"/>
                  <a:pt x="771" y="504"/>
                </a:cubicBezTo>
                <a:cubicBezTo>
                  <a:pt x="773" y="504"/>
                  <a:pt x="773" y="504"/>
                  <a:pt x="773" y="504"/>
                </a:cubicBezTo>
                <a:cubicBezTo>
                  <a:pt x="776" y="505"/>
                  <a:pt x="776" y="505"/>
                  <a:pt x="776" y="505"/>
                </a:cubicBezTo>
                <a:cubicBezTo>
                  <a:pt x="780" y="507"/>
                  <a:pt x="780" y="507"/>
                  <a:pt x="780" y="507"/>
                </a:cubicBezTo>
                <a:cubicBezTo>
                  <a:pt x="780" y="507"/>
                  <a:pt x="780" y="507"/>
                  <a:pt x="780" y="507"/>
                </a:cubicBezTo>
                <a:cubicBezTo>
                  <a:pt x="781" y="508"/>
                  <a:pt x="781" y="508"/>
                  <a:pt x="781" y="508"/>
                </a:cubicBezTo>
                <a:cubicBezTo>
                  <a:pt x="782" y="509"/>
                  <a:pt x="782" y="509"/>
                  <a:pt x="782" y="509"/>
                </a:cubicBezTo>
                <a:cubicBezTo>
                  <a:pt x="783" y="509"/>
                  <a:pt x="783" y="509"/>
                  <a:pt x="783" y="509"/>
                </a:cubicBezTo>
                <a:cubicBezTo>
                  <a:pt x="801" y="506"/>
                  <a:pt x="801" y="506"/>
                  <a:pt x="801" y="506"/>
                </a:cubicBezTo>
                <a:cubicBezTo>
                  <a:pt x="808" y="503"/>
                  <a:pt x="808" y="503"/>
                  <a:pt x="808" y="503"/>
                </a:cubicBezTo>
                <a:cubicBezTo>
                  <a:pt x="816" y="500"/>
                  <a:pt x="816" y="500"/>
                  <a:pt x="816" y="500"/>
                </a:cubicBezTo>
                <a:cubicBezTo>
                  <a:pt x="819" y="499"/>
                  <a:pt x="819" y="499"/>
                  <a:pt x="819" y="499"/>
                </a:cubicBezTo>
                <a:cubicBezTo>
                  <a:pt x="821" y="499"/>
                  <a:pt x="821" y="499"/>
                  <a:pt x="821" y="499"/>
                </a:cubicBezTo>
                <a:cubicBezTo>
                  <a:pt x="823" y="499"/>
                  <a:pt x="823" y="499"/>
                  <a:pt x="823" y="499"/>
                </a:cubicBezTo>
                <a:cubicBezTo>
                  <a:pt x="827" y="500"/>
                  <a:pt x="827" y="500"/>
                  <a:pt x="827" y="500"/>
                </a:cubicBezTo>
                <a:cubicBezTo>
                  <a:pt x="828" y="501"/>
                  <a:pt x="828" y="501"/>
                  <a:pt x="828" y="501"/>
                </a:cubicBezTo>
                <a:cubicBezTo>
                  <a:pt x="829" y="501"/>
                  <a:pt x="829" y="501"/>
                  <a:pt x="829" y="501"/>
                </a:cubicBezTo>
                <a:cubicBezTo>
                  <a:pt x="830" y="504"/>
                  <a:pt x="830" y="504"/>
                  <a:pt x="830" y="504"/>
                </a:cubicBezTo>
                <a:cubicBezTo>
                  <a:pt x="832" y="507"/>
                  <a:pt x="832" y="507"/>
                  <a:pt x="832" y="507"/>
                </a:cubicBezTo>
                <a:cubicBezTo>
                  <a:pt x="833" y="508"/>
                  <a:pt x="833" y="508"/>
                  <a:pt x="833" y="508"/>
                </a:cubicBezTo>
                <a:cubicBezTo>
                  <a:pt x="842" y="516"/>
                  <a:pt x="842" y="516"/>
                  <a:pt x="842" y="516"/>
                </a:cubicBezTo>
                <a:cubicBezTo>
                  <a:pt x="850" y="522"/>
                  <a:pt x="850" y="522"/>
                  <a:pt x="850" y="522"/>
                </a:cubicBezTo>
                <a:cubicBezTo>
                  <a:pt x="853" y="524"/>
                  <a:pt x="853" y="524"/>
                  <a:pt x="853" y="524"/>
                </a:cubicBezTo>
                <a:cubicBezTo>
                  <a:pt x="856" y="524"/>
                  <a:pt x="856" y="524"/>
                  <a:pt x="856" y="524"/>
                </a:cubicBezTo>
                <a:cubicBezTo>
                  <a:pt x="859" y="524"/>
                  <a:pt x="859" y="524"/>
                  <a:pt x="859" y="524"/>
                </a:cubicBezTo>
                <a:cubicBezTo>
                  <a:pt x="861" y="523"/>
                  <a:pt x="861" y="523"/>
                  <a:pt x="861" y="523"/>
                </a:cubicBezTo>
                <a:cubicBezTo>
                  <a:pt x="868" y="519"/>
                  <a:pt x="868" y="519"/>
                  <a:pt x="868" y="519"/>
                </a:cubicBezTo>
                <a:cubicBezTo>
                  <a:pt x="871" y="518"/>
                  <a:pt x="871" y="518"/>
                  <a:pt x="871" y="518"/>
                </a:cubicBezTo>
                <a:cubicBezTo>
                  <a:pt x="873" y="518"/>
                  <a:pt x="873" y="518"/>
                  <a:pt x="873" y="518"/>
                </a:cubicBezTo>
                <a:cubicBezTo>
                  <a:pt x="879" y="521"/>
                  <a:pt x="879" y="521"/>
                  <a:pt x="879" y="521"/>
                </a:cubicBezTo>
                <a:cubicBezTo>
                  <a:pt x="882" y="522"/>
                  <a:pt x="882" y="522"/>
                  <a:pt x="882" y="522"/>
                </a:cubicBezTo>
                <a:cubicBezTo>
                  <a:pt x="886" y="525"/>
                  <a:pt x="886" y="525"/>
                  <a:pt x="886" y="525"/>
                </a:cubicBezTo>
                <a:cubicBezTo>
                  <a:pt x="886" y="526"/>
                  <a:pt x="886" y="526"/>
                  <a:pt x="886" y="526"/>
                </a:cubicBezTo>
                <a:cubicBezTo>
                  <a:pt x="887" y="527"/>
                  <a:pt x="887" y="527"/>
                  <a:pt x="887" y="527"/>
                </a:cubicBezTo>
                <a:cubicBezTo>
                  <a:pt x="888" y="528"/>
                  <a:pt x="888" y="528"/>
                  <a:pt x="888" y="528"/>
                </a:cubicBezTo>
                <a:cubicBezTo>
                  <a:pt x="887" y="531"/>
                  <a:pt x="887" y="531"/>
                  <a:pt x="887" y="531"/>
                </a:cubicBezTo>
                <a:cubicBezTo>
                  <a:pt x="885" y="534"/>
                  <a:pt x="885" y="534"/>
                  <a:pt x="885" y="534"/>
                </a:cubicBezTo>
                <a:cubicBezTo>
                  <a:pt x="884" y="536"/>
                  <a:pt x="884" y="536"/>
                  <a:pt x="884" y="536"/>
                </a:cubicBezTo>
                <a:cubicBezTo>
                  <a:pt x="884" y="537"/>
                  <a:pt x="884" y="537"/>
                  <a:pt x="884" y="537"/>
                </a:cubicBezTo>
                <a:cubicBezTo>
                  <a:pt x="885" y="536"/>
                  <a:pt x="885" y="536"/>
                  <a:pt x="885" y="536"/>
                </a:cubicBezTo>
                <a:cubicBezTo>
                  <a:pt x="886" y="536"/>
                  <a:pt x="886" y="536"/>
                  <a:pt x="886" y="536"/>
                </a:cubicBezTo>
                <a:cubicBezTo>
                  <a:pt x="888" y="532"/>
                  <a:pt x="888" y="532"/>
                  <a:pt x="888" y="532"/>
                </a:cubicBezTo>
                <a:cubicBezTo>
                  <a:pt x="889" y="531"/>
                  <a:pt x="889" y="531"/>
                  <a:pt x="889" y="531"/>
                </a:cubicBezTo>
                <a:cubicBezTo>
                  <a:pt x="890" y="529"/>
                  <a:pt x="890" y="529"/>
                  <a:pt x="890" y="529"/>
                </a:cubicBezTo>
                <a:cubicBezTo>
                  <a:pt x="890" y="527"/>
                  <a:pt x="890" y="527"/>
                  <a:pt x="890" y="527"/>
                </a:cubicBezTo>
                <a:cubicBezTo>
                  <a:pt x="890" y="526"/>
                  <a:pt x="890" y="526"/>
                  <a:pt x="890" y="526"/>
                </a:cubicBezTo>
                <a:cubicBezTo>
                  <a:pt x="889" y="523"/>
                  <a:pt x="889" y="523"/>
                  <a:pt x="889" y="523"/>
                </a:cubicBezTo>
                <a:cubicBezTo>
                  <a:pt x="888" y="521"/>
                  <a:pt x="888" y="521"/>
                  <a:pt x="888" y="521"/>
                </a:cubicBezTo>
                <a:cubicBezTo>
                  <a:pt x="886" y="517"/>
                  <a:pt x="886" y="517"/>
                  <a:pt x="886" y="517"/>
                </a:cubicBezTo>
                <a:cubicBezTo>
                  <a:pt x="885" y="516"/>
                  <a:pt x="885" y="516"/>
                  <a:pt x="885" y="516"/>
                </a:cubicBezTo>
                <a:cubicBezTo>
                  <a:pt x="875" y="502"/>
                  <a:pt x="875" y="502"/>
                  <a:pt x="875" y="502"/>
                </a:cubicBezTo>
                <a:cubicBezTo>
                  <a:pt x="865" y="490"/>
                  <a:pt x="865" y="490"/>
                  <a:pt x="865" y="490"/>
                </a:cubicBezTo>
                <a:cubicBezTo>
                  <a:pt x="863" y="488"/>
                  <a:pt x="863" y="488"/>
                  <a:pt x="863" y="488"/>
                </a:cubicBezTo>
                <a:cubicBezTo>
                  <a:pt x="855" y="478"/>
                  <a:pt x="855" y="478"/>
                  <a:pt x="855" y="478"/>
                </a:cubicBezTo>
                <a:cubicBezTo>
                  <a:pt x="847" y="468"/>
                  <a:pt x="847" y="468"/>
                  <a:pt x="847" y="468"/>
                </a:cubicBezTo>
                <a:cubicBezTo>
                  <a:pt x="843" y="464"/>
                  <a:pt x="843" y="464"/>
                  <a:pt x="843" y="464"/>
                </a:cubicBezTo>
                <a:cubicBezTo>
                  <a:pt x="836" y="451"/>
                  <a:pt x="836" y="451"/>
                  <a:pt x="836" y="451"/>
                </a:cubicBezTo>
                <a:cubicBezTo>
                  <a:pt x="835" y="449"/>
                  <a:pt x="835" y="449"/>
                  <a:pt x="835" y="449"/>
                </a:cubicBezTo>
                <a:cubicBezTo>
                  <a:pt x="828" y="428"/>
                  <a:pt x="828" y="428"/>
                  <a:pt x="828" y="428"/>
                </a:cubicBezTo>
                <a:cubicBezTo>
                  <a:pt x="827" y="424"/>
                  <a:pt x="827" y="424"/>
                  <a:pt x="827" y="424"/>
                </a:cubicBezTo>
                <a:cubicBezTo>
                  <a:pt x="827" y="423"/>
                  <a:pt x="827" y="423"/>
                  <a:pt x="827" y="423"/>
                </a:cubicBezTo>
                <a:cubicBezTo>
                  <a:pt x="828" y="418"/>
                  <a:pt x="828" y="418"/>
                  <a:pt x="828" y="418"/>
                </a:cubicBezTo>
                <a:cubicBezTo>
                  <a:pt x="829" y="416"/>
                  <a:pt x="829" y="416"/>
                  <a:pt x="829" y="416"/>
                </a:cubicBezTo>
                <a:cubicBezTo>
                  <a:pt x="832" y="409"/>
                  <a:pt x="832" y="409"/>
                  <a:pt x="832" y="409"/>
                </a:cubicBezTo>
                <a:cubicBezTo>
                  <a:pt x="834" y="407"/>
                  <a:pt x="834" y="407"/>
                  <a:pt x="834" y="407"/>
                </a:cubicBezTo>
                <a:cubicBezTo>
                  <a:pt x="838" y="405"/>
                  <a:pt x="838" y="405"/>
                  <a:pt x="838" y="405"/>
                </a:cubicBezTo>
                <a:cubicBezTo>
                  <a:pt x="841" y="404"/>
                  <a:pt x="841" y="404"/>
                  <a:pt x="841" y="404"/>
                </a:cubicBezTo>
                <a:cubicBezTo>
                  <a:pt x="846" y="402"/>
                  <a:pt x="846" y="402"/>
                  <a:pt x="846" y="402"/>
                </a:cubicBezTo>
                <a:cubicBezTo>
                  <a:pt x="847" y="400"/>
                  <a:pt x="847" y="400"/>
                  <a:pt x="847" y="400"/>
                </a:cubicBezTo>
                <a:cubicBezTo>
                  <a:pt x="846" y="399"/>
                  <a:pt x="846" y="399"/>
                  <a:pt x="846" y="399"/>
                </a:cubicBezTo>
                <a:cubicBezTo>
                  <a:pt x="840" y="396"/>
                  <a:pt x="840" y="396"/>
                  <a:pt x="840" y="396"/>
                </a:cubicBezTo>
                <a:cubicBezTo>
                  <a:pt x="835" y="394"/>
                  <a:pt x="835" y="394"/>
                  <a:pt x="835" y="394"/>
                </a:cubicBezTo>
                <a:cubicBezTo>
                  <a:pt x="823" y="391"/>
                  <a:pt x="823" y="391"/>
                  <a:pt x="823" y="391"/>
                </a:cubicBezTo>
                <a:cubicBezTo>
                  <a:pt x="821" y="389"/>
                  <a:pt x="821" y="389"/>
                  <a:pt x="821" y="389"/>
                </a:cubicBezTo>
                <a:cubicBezTo>
                  <a:pt x="818" y="387"/>
                  <a:pt x="818" y="387"/>
                  <a:pt x="818" y="387"/>
                </a:cubicBezTo>
                <a:cubicBezTo>
                  <a:pt x="797" y="365"/>
                  <a:pt x="797" y="365"/>
                  <a:pt x="797" y="365"/>
                </a:cubicBezTo>
                <a:cubicBezTo>
                  <a:pt x="795" y="361"/>
                  <a:pt x="795" y="361"/>
                  <a:pt x="795" y="361"/>
                </a:cubicBezTo>
                <a:cubicBezTo>
                  <a:pt x="794" y="360"/>
                  <a:pt x="794" y="360"/>
                  <a:pt x="794" y="360"/>
                </a:cubicBezTo>
                <a:cubicBezTo>
                  <a:pt x="793" y="356"/>
                  <a:pt x="793" y="356"/>
                  <a:pt x="793" y="356"/>
                </a:cubicBezTo>
                <a:cubicBezTo>
                  <a:pt x="792" y="352"/>
                  <a:pt x="792" y="352"/>
                  <a:pt x="792" y="352"/>
                </a:cubicBezTo>
                <a:cubicBezTo>
                  <a:pt x="792" y="350"/>
                  <a:pt x="792" y="350"/>
                  <a:pt x="792" y="350"/>
                </a:cubicBezTo>
                <a:cubicBezTo>
                  <a:pt x="791" y="348"/>
                  <a:pt x="791" y="348"/>
                  <a:pt x="791" y="348"/>
                </a:cubicBezTo>
                <a:cubicBezTo>
                  <a:pt x="787" y="338"/>
                  <a:pt x="787" y="338"/>
                  <a:pt x="787" y="338"/>
                </a:cubicBezTo>
                <a:cubicBezTo>
                  <a:pt x="776" y="321"/>
                  <a:pt x="776" y="321"/>
                  <a:pt x="776" y="321"/>
                </a:cubicBezTo>
                <a:cubicBezTo>
                  <a:pt x="775" y="320"/>
                  <a:pt x="775" y="320"/>
                  <a:pt x="775" y="320"/>
                </a:cubicBezTo>
                <a:cubicBezTo>
                  <a:pt x="768" y="312"/>
                  <a:pt x="768" y="312"/>
                  <a:pt x="768" y="312"/>
                </a:cubicBezTo>
                <a:cubicBezTo>
                  <a:pt x="736" y="295"/>
                  <a:pt x="736" y="295"/>
                  <a:pt x="736" y="295"/>
                </a:cubicBezTo>
                <a:cubicBezTo>
                  <a:pt x="735" y="295"/>
                  <a:pt x="735" y="295"/>
                  <a:pt x="735" y="295"/>
                </a:cubicBezTo>
                <a:cubicBezTo>
                  <a:pt x="726" y="292"/>
                  <a:pt x="726" y="292"/>
                  <a:pt x="726" y="292"/>
                </a:cubicBezTo>
                <a:cubicBezTo>
                  <a:pt x="716" y="290"/>
                  <a:pt x="716" y="290"/>
                  <a:pt x="716" y="290"/>
                </a:cubicBezTo>
                <a:cubicBezTo>
                  <a:pt x="701" y="287"/>
                  <a:pt x="701" y="287"/>
                  <a:pt x="701" y="287"/>
                </a:cubicBezTo>
                <a:cubicBezTo>
                  <a:pt x="683" y="278"/>
                  <a:pt x="683" y="278"/>
                  <a:pt x="683" y="278"/>
                </a:cubicBezTo>
                <a:cubicBezTo>
                  <a:pt x="664" y="256"/>
                  <a:pt x="664" y="256"/>
                  <a:pt x="664" y="256"/>
                </a:cubicBezTo>
                <a:cubicBezTo>
                  <a:pt x="657" y="247"/>
                  <a:pt x="657" y="247"/>
                  <a:pt x="657" y="247"/>
                </a:cubicBezTo>
                <a:cubicBezTo>
                  <a:pt x="656" y="245"/>
                  <a:pt x="656" y="245"/>
                  <a:pt x="656" y="245"/>
                </a:cubicBezTo>
                <a:cubicBezTo>
                  <a:pt x="656" y="244"/>
                  <a:pt x="656" y="244"/>
                  <a:pt x="656" y="244"/>
                </a:cubicBezTo>
                <a:cubicBezTo>
                  <a:pt x="647" y="215"/>
                  <a:pt x="647" y="215"/>
                  <a:pt x="647" y="215"/>
                </a:cubicBezTo>
                <a:cubicBezTo>
                  <a:pt x="645" y="207"/>
                  <a:pt x="645" y="207"/>
                  <a:pt x="645" y="207"/>
                </a:cubicBezTo>
                <a:cubicBezTo>
                  <a:pt x="642" y="194"/>
                  <a:pt x="642" y="194"/>
                  <a:pt x="642" y="194"/>
                </a:cubicBezTo>
                <a:cubicBezTo>
                  <a:pt x="636" y="187"/>
                  <a:pt x="636" y="187"/>
                  <a:pt x="636" y="187"/>
                </a:cubicBezTo>
                <a:cubicBezTo>
                  <a:pt x="626" y="168"/>
                  <a:pt x="626" y="168"/>
                  <a:pt x="626" y="168"/>
                </a:cubicBezTo>
                <a:cubicBezTo>
                  <a:pt x="625" y="166"/>
                  <a:pt x="625" y="166"/>
                  <a:pt x="625" y="166"/>
                </a:cubicBezTo>
                <a:cubicBezTo>
                  <a:pt x="611" y="119"/>
                  <a:pt x="611" y="119"/>
                  <a:pt x="611" y="119"/>
                </a:cubicBezTo>
                <a:cubicBezTo>
                  <a:pt x="606" y="94"/>
                  <a:pt x="606" y="94"/>
                  <a:pt x="606" y="94"/>
                </a:cubicBezTo>
                <a:cubicBezTo>
                  <a:pt x="605" y="92"/>
                  <a:pt x="605" y="92"/>
                  <a:pt x="605" y="92"/>
                </a:cubicBezTo>
                <a:cubicBezTo>
                  <a:pt x="606" y="91"/>
                  <a:pt x="606" y="91"/>
                  <a:pt x="606" y="91"/>
                </a:cubicBezTo>
                <a:cubicBezTo>
                  <a:pt x="607" y="89"/>
                  <a:pt x="607" y="89"/>
                  <a:pt x="607" y="89"/>
                </a:cubicBezTo>
                <a:cubicBezTo>
                  <a:pt x="608" y="87"/>
                  <a:pt x="608" y="87"/>
                  <a:pt x="608" y="87"/>
                </a:cubicBezTo>
                <a:cubicBezTo>
                  <a:pt x="609" y="85"/>
                  <a:pt x="609" y="85"/>
                  <a:pt x="609" y="85"/>
                </a:cubicBezTo>
                <a:cubicBezTo>
                  <a:pt x="609" y="82"/>
                  <a:pt x="609" y="82"/>
                  <a:pt x="609" y="82"/>
                </a:cubicBezTo>
                <a:cubicBezTo>
                  <a:pt x="605" y="66"/>
                  <a:pt x="605" y="66"/>
                  <a:pt x="605" y="66"/>
                </a:cubicBezTo>
                <a:cubicBezTo>
                  <a:pt x="600" y="51"/>
                  <a:pt x="600" y="51"/>
                  <a:pt x="600" y="51"/>
                </a:cubicBezTo>
                <a:cubicBezTo>
                  <a:pt x="598" y="44"/>
                  <a:pt x="598" y="44"/>
                  <a:pt x="598" y="44"/>
                </a:cubicBezTo>
                <a:cubicBezTo>
                  <a:pt x="598" y="43"/>
                  <a:pt x="598" y="43"/>
                  <a:pt x="598" y="43"/>
                </a:cubicBezTo>
                <a:cubicBezTo>
                  <a:pt x="576" y="27"/>
                  <a:pt x="576" y="27"/>
                  <a:pt x="576" y="27"/>
                </a:cubicBezTo>
                <a:cubicBezTo>
                  <a:pt x="575" y="27"/>
                  <a:pt x="575" y="27"/>
                  <a:pt x="575" y="27"/>
                </a:cubicBezTo>
                <a:cubicBezTo>
                  <a:pt x="575" y="27"/>
                  <a:pt x="575" y="27"/>
                  <a:pt x="575" y="27"/>
                </a:cubicBezTo>
                <a:cubicBezTo>
                  <a:pt x="562" y="17"/>
                  <a:pt x="562" y="17"/>
                  <a:pt x="562" y="17"/>
                </a:cubicBezTo>
                <a:cubicBezTo>
                  <a:pt x="555" y="11"/>
                  <a:pt x="555" y="11"/>
                  <a:pt x="555" y="11"/>
                </a:cubicBezTo>
                <a:cubicBezTo>
                  <a:pt x="551" y="5"/>
                  <a:pt x="551" y="5"/>
                  <a:pt x="551" y="5"/>
                </a:cubicBezTo>
                <a:cubicBezTo>
                  <a:pt x="548" y="0"/>
                  <a:pt x="548" y="0"/>
                  <a:pt x="548" y="0"/>
                </a:cubicBezTo>
                <a:cubicBezTo>
                  <a:pt x="548" y="1"/>
                  <a:pt x="548" y="1"/>
                  <a:pt x="548" y="1"/>
                </a:cubicBezTo>
                <a:cubicBezTo>
                  <a:pt x="547" y="2"/>
                  <a:pt x="547" y="2"/>
                  <a:pt x="547" y="2"/>
                </a:cubicBezTo>
                <a:cubicBezTo>
                  <a:pt x="547" y="3"/>
                  <a:pt x="547" y="3"/>
                  <a:pt x="547" y="3"/>
                </a:cubicBezTo>
                <a:cubicBezTo>
                  <a:pt x="547" y="3"/>
                  <a:pt x="547" y="4"/>
                  <a:pt x="547" y="5"/>
                </a:cubicBezTo>
                <a:cubicBezTo>
                  <a:pt x="547" y="6"/>
                  <a:pt x="547" y="7"/>
                  <a:pt x="546" y="9"/>
                </a:cubicBezTo>
                <a:cubicBezTo>
                  <a:pt x="545" y="10"/>
                  <a:pt x="545" y="10"/>
                  <a:pt x="545" y="10"/>
                </a:cubicBezTo>
                <a:cubicBezTo>
                  <a:pt x="544" y="13"/>
                  <a:pt x="540" y="15"/>
                  <a:pt x="540" y="15"/>
                </a:cubicBezTo>
                <a:cubicBezTo>
                  <a:pt x="539" y="16"/>
                  <a:pt x="537" y="17"/>
                  <a:pt x="537" y="18"/>
                </a:cubicBezTo>
                <a:cubicBezTo>
                  <a:pt x="536" y="19"/>
                  <a:pt x="536" y="20"/>
                  <a:pt x="535" y="20"/>
                </a:cubicBezTo>
                <a:cubicBezTo>
                  <a:pt x="535" y="20"/>
                  <a:pt x="535" y="20"/>
                  <a:pt x="533" y="22"/>
                </a:cubicBezTo>
                <a:cubicBezTo>
                  <a:pt x="532" y="23"/>
                  <a:pt x="531" y="24"/>
                  <a:pt x="530" y="24"/>
                </a:cubicBezTo>
                <a:cubicBezTo>
                  <a:pt x="530" y="24"/>
                  <a:pt x="530" y="24"/>
                  <a:pt x="530" y="24"/>
                </a:cubicBezTo>
                <a:cubicBezTo>
                  <a:pt x="529" y="25"/>
                  <a:pt x="528" y="26"/>
                  <a:pt x="527" y="26"/>
                </a:cubicBezTo>
                <a:cubicBezTo>
                  <a:pt x="526" y="26"/>
                  <a:pt x="525" y="28"/>
                  <a:pt x="525" y="29"/>
                </a:cubicBezTo>
                <a:cubicBezTo>
                  <a:pt x="524" y="29"/>
                  <a:pt x="524" y="29"/>
                  <a:pt x="524" y="29"/>
                </a:cubicBezTo>
                <a:cubicBezTo>
                  <a:pt x="523" y="30"/>
                  <a:pt x="523" y="30"/>
                  <a:pt x="523" y="30"/>
                </a:cubicBezTo>
                <a:cubicBezTo>
                  <a:pt x="524" y="31"/>
                  <a:pt x="524" y="32"/>
                  <a:pt x="523" y="33"/>
                </a:cubicBezTo>
                <a:cubicBezTo>
                  <a:pt x="522" y="35"/>
                  <a:pt x="521" y="36"/>
                  <a:pt x="519" y="37"/>
                </a:cubicBezTo>
                <a:cubicBezTo>
                  <a:pt x="519" y="37"/>
                  <a:pt x="519" y="37"/>
                  <a:pt x="519" y="37"/>
                </a:cubicBezTo>
                <a:cubicBezTo>
                  <a:pt x="519" y="37"/>
                  <a:pt x="519" y="37"/>
                  <a:pt x="519" y="37"/>
                </a:cubicBezTo>
                <a:cubicBezTo>
                  <a:pt x="520" y="37"/>
                  <a:pt x="520" y="37"/>
                  <a:pt x="520" y="37"/>
                </a:cubicBezTo>
                <a:cubicBezTo>
                  <a:pt x="520" y="37"/>
                  <a:pt x="521" y="37"/>
                  <a:pt x="521" y="38"/>
                </a:cubicBezTo>
                <a:cubicBezTo>
                  <a:pt x="521" y="38"/>
                  <a:pt x="524" y="39"/>
                  <a:pt x="527" y="41"/>
                </a:cubicBezTo>
                <a:cubicBezTo>
                  <a:pt x="528" y="42"/>
                  <a:pt x="528" y="42"/>
                  <a:pt x="528" y="42"/>
                </a:cubicBezTo>
                <a:cubicBezTo>
                  <a:pt x="529" y="43"/>
                  <a:pt x="529" y="43"/>
                  <a:pt x="529" y="44"/>
                </a:cubicBezTo>
                <a:cubicBezTo>
                  <a:pt x="529" y="45"/>
                  <a:pt x="529" y="45"/>
                  <a:pt x="529" y="45"/>
                </a:cubicBezTo>
                <a:cubicBezTo>
                  <a:pt x="529" y="46"/>
                  <a:pt x="529" y="47"/>
                  <a:pt x="529" y="48"/>
                </a:cubicBezTo>
                <a:cubicBezTo>
                  <a:pt x="529" y="49"/>
                  <a:pt x="530" y="51"/>
                  <a:pt x="531" y="51"/>
                </a:cubicBezTo>
                <a:cubicBezTo>
                  <a:pt x="533" y="53"/>
                  <a:pt x="533" y="53"/>
                  <a:pt x="533" y="53"/>
                </a:cubicBezTo>
                <a:cubicBezTo>
                  <a:pt x="535" y="56"/>
                  <a:pt x="535" y="56"/>
                  <a:pt x="535" y="56"/>
                </a:cubicBezTo>
                <a:cubicBezTo>
                  <a:pt x="535" y="56"/>
                  <a:pt x="535" y="56"/>
                  <a:pt x="536" y="57"/>
                </a:cubicBezTo>
                <a:cubicBezTo>
                  <a:pt x="537" y="62"/>
                  <a:pt x="537" y="62"/>
                  <a:pt x="537" y="62"/>
                </a:cubicBezTo>
                <a:cubicBezTo>
                  <a:pt x="537" y="63"/>
                  <a:pt x="537" y="63"/>
                  <a:pt x="538" y="64"/>
                </a:cubicBezTo>
                <a:cubicBezTo>
                  <a:pt x="538" y="64"/>
                  <a:pt x="538" y="64"/>
                  <a:pt x="538" y="64"/>
                </a:cubicBezTo>
                <a:cubicBezTo>
                  <a:pt x="538" y="64"/>
                  <a:pt x="538" y="64"/>
                  <a:pt x="538" y="64"/>
                </a:cubicBezTo>
                <a:cubicBezTo>
                  <a:pt x="538" y="64"/>
                  <a:pt x="538" y="64"/>
                  <a:pt x="538" y="64"/>
                </a:cubicBezTo>
                <a:cubicBezTo>
                  <a:pt x="538" y="64"/>
                  <a:pt x="538" y="64"/>
                  <a:pt x="538" y="64"/>
                </a:cubicBezTo>
                <a:cubicBezTo>
                  <a:pt x="538" y="65"/>
                  <a:pt x="538" y="65"/>
                  <a:pt x="538" y="65"/>
                </a:cubicBezTo>
                <a:cubicBezTo>
                  <a:pt x="538" y="65"/>
                  <a:pt x="538" y="65"/>
                  <a:pt x="538" y="65"/>
                </a:cubicBezTo>
                <a:cubicBezTo>
                  <a:pt x="539" y="65"/>
                  <a:pt x="539" y="66"/>
                  <a:pt x="539" y="66"/>
                </a:cubicBezTo>
                <a:cubicBezTo>
                  <a:pt x="540" y="68"/>
                  <a:pt x="540" y="69"/>
                  <a:pt x="540" y="71"/>
                </a:cubicBezTo>
                <a:cubicBezTo>
                  <a:pt x="540" y="71"/>
                  <a:pt x="539" y="71"/>
                  <a:pt x="539" y="72"/>
                </a:cubicBezTo>
                <a:cubicBezTo>
                  <a:pt x="539" y="72"/>
                  <a:pt x="539" y="72"/>
                  <a:pt x="539" y="72"/>
                </a:cubicBezTo>
                <a:cubicBezTo>
                  <a:pt x="540" y="72"/>
                  <a:pt x="540" y="72"/>
                  <a:pt x="540" y="72"/>
                </a:cubicBezTo>
                <a:cubicBezTo>
                  <a:pt x="540" y="72"/>
                  <a:pt x="541" y="73"/>
                  <a:pt x="542" y="74"/>
                </a:cubicBezTo>
                <a:cubicBezTo>
                  <a:pt x="543" y="74"/>
                  <a:pt x="543" y="74"/>
                  <a:pt x="543" y="74"/>
                </a:cubicBezTo>
                <a:cubicBezTo>
                  <a:pt x="544" y="75"/>
                  <a:pt x="545" y="75"/>
                  <a:pt x="546" y="76"/>
                </a:cubicBezTo>
                <a:cubicBezTo>
                  <a:pt x="546" y="78"/>
                  <a:pt x="545" y="81"/>
                  <a:pt x="544" y="81"/>
                </a:cubicBezTo>
                <a:cubicBezTo>
                  <a:pt x="544" y="82"/>
                  <a:pt x="543" y="83"/>
                  <a:pt x="542" y="82"/>
                </a:cubicBezTo>
                <a:cubicBezTo>
                  <a:pt x="541" y="82"/>
                  <a:pt x="541" y="82"/>
                  <a:pt x="540" y="82"/>
                </a:cubicBezTo>
                <a:cubicBezTo>
                  <a:pt x="541" y="82"/>
                  <a:pt x="541" y="84"/>
                  <a:pt x="540" y="85"/>
                </a:cubicBezTo>
                <a:cubicBezTo>
                  <a:pt x="540" y="86"/>
                  <a:pt x="539" y="87"/>
                  <a:pt x="538" y="88"/>
                </a:cubicBezTo>
                <a:cubicBezTo>
                  <a:pt x="537" y="89"/>
                  <a:pt x="537" y="89"/>
                  <a:pt x="537" y="89"/>
                </a:cubicBezTo>
                <a:cubicBezTo>
                  <a:pt x="536" y="90"/>
                  <a:pt x="536" y="90"/>
                  <a:pt x="535" y="91"/>
                </a:cubicBezTo>
                <a:cubicBezTo>
                  <a:pt x="535" y="91"/>
                  <a:pt x="534" y="92"/>
                  <a:pt x="533" y="92"/>
                </a:cubicBezTo>
                <a:cubicBezTo>
                  <a:pt x="532" y="93"/>
                  <a:pt x="532" y="93"/>
                  <a:pt x="532" y="93"/>
                </a:cubicBezTo>
                <a:cubicBezTo>
                  <a:pt x="531" y="94"/>
                  <a:pt x="531" y="94"/>
                  <a:pt x="531" y="94"/>
                </a:cubicBezTo>
                <a:cubicBezTo>
                  <a:pt x="529" y="96"/>
                  <a:pt x="527" y="96"/>
                  <a:pt x="526" y="95"/>
                </a:cubicBezTo>
                <a:cubicBezTo>
                  <a:pt x="525" y="95"/>
                  <a:pt x="525" y="95"/>
                  <a:pt x="525" y="95"/>
                </a:cubicBezTo>
                <a:cubicBezTo>
                  <a:pt x="524" y="95"/>
                  <a:pt x="524" y="95"/>
                  <a:pt x="522" y="96"/>
                </a:cubicBezTo>
                <a:cubicBezTo>
                  <a:pt x="522" y="97"/>
                  <a:pt x="521" y="98"/>
                  <a:pt x="520" y="99"/>
                </a:cubicBezTo>
                <a:cubicBezTo>
                  <a:pt x="519" y="100"/>
                  <a:pt x="519" y="100"/>
                  <a:pt x="518" y="100"/>
                </a:cubicBezTo>
                <a:cubicBezTo>
                  <a:pt x="518" y="101"/>
                  <a:pt x="518" y="101"/>
                  <a:pt x="518" y="101"/>
                </a:cubicBezTo>
                <a:cubicBezTo>
                  <a:pt x="518" y="102"/>
                  <a:pt x="518" y="102"/>
                  <a:pt x="518" y="103"/>
                </a:cubicBezTo>
                <a:cubicBezTo>
                  <a:pt x="518" y="103"/>
                  <a:pt x="518" y="103"/>
                  <a:pt x="518" y="103"/>
                </a:cubicBezTo>
                <a:cubicBezTo>
                  <a:pt x="518" y="103"/>
                  <a:pt x="518" y="103"/>
                  <a:pt x="518" y="103"/>
                </a:cubicBezTo>
                <a:cubicBezTo>
                  <a:pt x="518" y="103"/>
                  <a:pt x="518" y="103"/>
                  <a:pt x="518" y="103"/>
                </a:cubicBezTo>
                <a:cubicBezTo>
                  <a:pt x="518" y="103"/>
                  <a:pt x="518" y="103"/>
                  <a:pt x="518" y="103"/>
                </a:cubicBezTo>
                <a:cubicBezTo>
                  <a:pt x="517" y="103"/>
                  <a:pt x="517" y="103"/>
                  <a:pt x="517" y="103"/>
                </a:cubicBezTo>
                <a:cubicBezTo>
                  <a:pt x="517" y="104"/>
                  <a:pt x="517" y="104"/>
                  <a:pt x="517" y="104"/>
                </a:cubicBezTo>
                <a:cubicBezTo>
                  <a:pt x="517" y="105"/>
                  <a:pt x="518" y="106"/>
                  <a:pt x="517" y="107"/>
                </a:cubicBezTo>
                <a:cubicBezTo>
                  <a:pt x="517" y="108"/>
                  <a:pt x="517" y="109"/>
                  <a:pt x="516" y="110"/>
                </a:cubicBezTo>
                <a:cubicBezTo>
                  <a:pt x="514" y="110"/>
                  <a:pt x="513" y="110"/>
                  <a:pt x="513" y="109"/>
                </a:cubicBezTo>
                <a:cubicBezTo>
                  <a:pt x="512" y="109"/>
                  <a:pt x="512" y="109"/>
                  <a:pt x="512" y="109"/>
                </a:cubicBezTo>
                <a:cubicBezTo>
                  <a:pt x="511" y="109"/>
                  <a:pt x="511" y="109"/>
                  <a:pt x="511" y="109"/>
                </a:cubicBezTo>
                <a:cubicBezTo>
                  <a:pt x="510" y="109"/>
                  <a:pt x="510" y="109"/>
                  <a:pt x="508" y="109"/>
                </a:cubicBezTo>
                <a:cubicBezTo>
                  <a:pt x="507" y="109"/>
                  <a:pt x="507" y="109"/>
                  <a:pt x="507" y="109"/>
                </a:cubicBezTo>
                <a:cubicBezTo>
                  <a:pt x="507" y="109"/>
                  <a:pt x="507" y="109"/>
                  <a:pt x="506" y="109"/>
                </a:cubicBezTo>
                <a:cubicBezTo>
                  <a:pt x="500" y="109"/>
                  <a:pt x="500" y="109"/>
                  <a:pt x="500" y="109"/>
                </a:cubicBezTo>
                <a:cubicBezTo>
                  <a:pt x="499" y="109"/>
                  <a:pt x="498" y="110"/>
                  <a:pt x="498" y="110"/>
                </a:cubicBezTo>
                <a:cubicBezTo>
                  <a:pt x="497" y="111"/>
                  <a:pt x="497" y="111"/>
                  <a:pt x="496" y="111"/>
                </a:cubicBezTo>
                <a:cubicBezTo>
                  <a:pt x="495" y="112"/>
                  <a:pt x="494" y="113"/>
                  <a:pt x="492" y="115"/>
                </a:cubicBezTo>
                <a:cubicBezTo>
                  <a:pt x="491" y="116"/>
                  <a:pt x="490" y="117"/>
                  <a:pt x="489" y="117"/>
                </a:cubicBezTo>
                <a:cubicBezTo>
                  <a:pt x="485" y="124"/>
                  <a:pt x="485" y="124"/>
                  <a:pt x="485" y="124"/>
                </a:cubicBezTo>
                <a:cubicBezTo>
                  <a:pt x="485" y="128"/>
                  <a:pt x="485" y="128"/>
                  <a:pt x="485" y="128"/>
                </a:cubicBezTo>
                <a:cubicBezTo>
                  <a:pt x="484" y="131"/>
                  <a:pt x="483" y="132"/>
                  <a:pt x="482" y="132"/>
                </a:cubicBezTo>
                <a:cubicBezTo>
                  <a:pt x="481" y="133"/>
                  <a:pt x="480" y="133"/>
                  <a:pt x="478" y="134"/>
                </a:cubicBezTo>
                <a:cubicBezTo>
                  <a:pt x="476" y="135"/>
                  <a:pt x="474" y="136"/>
                  <a:pt x="473" y="137"/>
                </a:cubicBezTo>
                <a:cubicBezTo>
                  <a:pt x="473" y="137"/>
                  <a:pt x="473" y="137"/>
                  <a:pt x="473" y="137"/>
                </a:cubicBezTo>
                <a:cubicBezTo>
                  <a:pt x="474" y="138"/>
                  <a:pt x="474" y="140"/>
                  <a:pt x="474" y="143"/>
                </a:cubicBezTo>
                <a:cubicBezTo>
                  <a:pt x="473" y="146"/>
                  <a:pt x="473" y="147"/>
                  <a:pt x="471" y="147"/>
                </a:cubicBezTo>
                <a:cubicBezTo>
                  <a:pt x="471" y="147"/>
                  <a:pt x="471" y="147"/>
                  <a:pt x="471" y="147"/>
                </a:cubicBezTo>
                <a:cubicBezTo>
                  <a:pt x="470" y="148"/>
                  <a:pt x="470" y="149"/>
                  <a:pt x="468" y="149"/>
                </a:cubicBezTo>
                <a:cubicBezTo>
                  <a:pt x="468" y="148"/>
                  <a:pt x="468" y="148"/>
                  <a:pt x="468" y="148"/>
                </a:cubicBezTo>
                <a:cubicBezTo>
                  <a:pt x="467" y="148"/>
                  <a:pt x="467" y="148"/>
                  <a:pt x="467" y="149"/>
                </a:cubicBezTo>
                <a:cubicBezTo>
                  <a:pt x="467" y="150"/>
                  <a:pt x="467" y="150"/>
                  <a:pt x="467" y="150"/>
                </a:cubicBezTo>
                <a:cubicBezTo>
                  <a:pt x="467" y="150"/>
                  <a:pt x="467" y="152"/>
                  <a:pt x="467" y="154"/>
                </a:cubicBezTo>
                <a:cubicBezTo>
                  <a:pt x="466" y="155"/>
                  <a:pt x="466" y="156"/>
                  <a:pt x="467" y="156"/>
                </a:cubicBezTo>
                <a:cubicBezTo>
                  <a:pt x="467" y="157"/>
                  <a:pt x="467" y="157"/>
                  <a:pt x="467" y="158"/>
                </a:cubicBezTo>
                <a:cubicBezTo>
                  <a:pt x="467" y="162"/>
                  <a:pt x="467" y="162"/>
                  <a:pt x="467" y="162"/>
                </a:cubicBezTo>
                <a:cubicBezTo>
                  <a:pt x="467" y="162"/>
                  <a:pt x="467" y="162"/>
                  <a:pt x="467" y="162"/>
                </a:cubicBezTo>
                <a:cubicBezTo>
                  <a:pt x="467" y="162"/>
                  <a:pt x="467" y="162"/>
                  <a:pt x="467" y="162"/>
                </a:cubicBezTo>
                <a:cubicBezTo>
                  <a:pt x="467" y="162"/>
                  <a:pt x="468" y="162"/>
                  <a:pt x="468" y="163"/>
                </a:cubicBezTo>
                <a:cubicBezTo>
                  <a:pt x="467" y="165"/>
                  <a:pt x="467" y="166"/>
                  <a:pt x="466" y="168"/>
                </a:cubicBezTo>
                <a:cubicBezTo>
                  <a:pt x="465" y="167"/>
                  <a:pt x="465" y="167"/>
                  <a:pt x="465" y="166"/>
                </a:cubicBezTo>
                <a:cubicBezTo>
                  <a:pt x="463" y="166"/>
                  <a:pt x="463" y="166"/>
                  <a:pt x="463" y="166"/>
                </a:cubicBezTo>
                <a:cubicBezTo>
                  <a:pt x="463" y="167"/>
                  <a:pt x="461" y="168"/>
                  <a:pt x="457" y="169"/>
                </a:cubicBezTo>
                <a:cubicBezTo>
                  <a:pt x="456" y="170"/>
                  <a:pt x="456" y="170"/>
                  <a:pt x="455" y="170"/>
                </a:cubicBezTo>
                <a:cubicBezTo>
                  <a:pt x="455" y="171"/>
                  <a:pt x="455" y="171"/>
                  <a:pt x="455" y="171"/>
                </a:cubicBezTo>
                <a:cubicBezTo>
                  <a:pt x="454" y="173"/>
                  <a:pt x="454" y="173"/>
                  <a:pt x="454" y="173"/>
                </a:cubicBezTo>
                <a:cubicBezTo>
                  <a:pt x="453" y="175"/>
                  <a:pt x="452" y="176"/>
                  <a:pt x="451" y="176"/>
                </a:cubicBezTo>
                <a:cubicBezTo>
                  <a:pt x="451" y="176"/>
                  <a:pt x="451" y="176"/>
                  <a:pt x="451" y="176"/>
                </a:cubicBezTo>
                <a:cubicBezTo>
                  <a:pt x="450" y="177"/>
                  <a:pt x="449" y="178"/>
                  <a:pt x="449" y="177"/>
                </a:cubicBezTo>
                <a:cubicBezTo>
                  <a:pt x="449" y="177"/>
                  <a:pt x="448" y="177"/>
                  <a:pt x="447" y="177"/>
                </a:cubicBezTo>
                <a:cubicBezTo>
                  <a:pt x="446" y="178"/>
                  <a:pt x="444" y="179"/>
                  <a:pt x="442" y="180"/>
                </a:cubicBezTo>
                <a:cubicBezTo>
                  <a:pt x="441" y="181"/>
                  <a:pt x="441" y="181"/>
                  <a:pt x="441" y="181"/>
                </a:cubicBezTo>
                <a:cubicBezTo>
                  <a:pt x="441" y="181"/>
                  <a:pt x="441" y="183"/>
                  <a:pt x="440" y="184"/>
                </a:cubicBezTo>
                <a:cubicBezTo>
                  <a:pt x="438" y="186"/>
                  <a:pt x="437" y="187"/>
                  <a:pt x="436" y="187"/>
                </a:cubicBezTo>
                <a:cubicBezTo>
                  <a:pt x="434" y="188"/>
                  <a:pt x="434" y="188"/>
                  <a:pt x="434" y="188"/>
                </a:cubicBezTo>
                <a:cubicBezTo>
                  <a:pt x="432" y="189"/>
                  <a:pt x="432" y="189"/>
                  <a:pt x="432" y="189"/>
                </a:cubicBezTo>
                <a:cubicBezTo>
                  <a:pt x="432" y="190"/>
                  <a:pt x="432" y="190"/>
                  <a:pt x="432" y="190"/>
                </a:cubicBezTo>
                <a:cubicBezTo>
                  <a:pt x="432" y="191"/>
                  <a:pt x="431" y="192"/>
                  <a:pt x="430" y="192"/>
                </a:cubicBezTo>
                <a:cubicBezTo>
                  <a:pt x="430" y="192"/>
                  <a:pt x="430" y="192"/>
                  <a:pt x="429" y="193"/>
                </a:cubicBezTo>
                <a:cubicBezTo>
                  <a:pt x="429" y="195"/>
                  <a:pt x="428" y="195"/>
                  <a:pt x="427" y="195"/>
                </a:cubicBezTo>
                <a:cubicBezTo>
                  <a:pt x="426" y="195"/>
                  <a:pt x="425" y="195"/>
                  <a:pt x="424" y="194"/>
                </a:cubicBezTo>
                <a:cubicBezTo>
                  <a:pt x="417" y="194"/>
                  <a:pt x="417" y="194"/>
                  <a:pt x="417" y="194"/>
                </a:cubicBezTo>
                <a:cubicBezTo>
                  <a:pt x="416" y="195"/>
                  <a:pt x="414" y="195"/>
                  <a:pt x="413" y="196"/>
                </a:cubicBezTo>
                <a:cubicBezTo>
                  <a:pt x="413" y="197"/>
                  <a:pt x="414" y="198"/>
                  <a:pt x="413" y="198"/>
                </a:cubicBezTo>
                <a:cubicBezTo>
                  <a:pt x="413" y="199"/>
                  <a:pt x="413" y="199"/>
                  <a:pt x="413" y="200"/>
                </a:cubicBezTo>
                <a:cubicBezTo>
                  <a:pt x="414" y="201"/>
                  <a:pt x="414" y="202"/>
                  <a:pt x="413" y="203"/>
                </a:cubicBezTo>
                <a:cubicBezTo>
                  <a:pt x="413" y="204"/>
                  <a:pt x="412" y="205"/>
                  <a:pt x="411" y="206"/>
                </a:cubicBezTo>
                <a:cubicBezTo>
                  <a:pt x="411" y="207"/>
                  <a:pt x="411" y="207"/>
                  <a:pt x="411" y="207"/>
                </a:cubicBezTo>
                <a:cubicBezTo>
                  <a:pt x="411" y="207"/>
                  <a:pt x="411" y="208"/>
                  <a:pt x="410" y="208"/>
                </a:cubicBezTo>
                <a:cubicBezTo>
                  <a:pt x="410" y="208"/>
                  <a:pt x="410" y="208"/>
                  <a:pt x="409" y="208"/>
                </a:cubicBezTo>
                <a:cubicBezTo>
                  <a:pt x="409" y="209"/>
                  <a:pt x="409" y="209"/>
                  <a:pt x="409" y="209"/>
                </a:cubicBezTo>
                <a:cubicBezTo>
                  <a:pt x="409" y="209"/>
                  <a:pt x="409" y="209"/>
                  <a:pt x="409" y="209"/>
                </a:cubicBezTo>
                <a:cubicBezTo>
                  <a:pt x="409" y="209"/>
                  <a:pt x="409" y="209"/>
                  <a:pt x="409" y="209"/>
                </a:cubicBezTo>
                <a:cubicBezTo>
                  <a:pt x="409" y="209"/>
                  <a:pt x="409" y="209"/>
                  <a:pt x="409" y="209"/>
                </a:cubicBezTo>
                <a:cubicBezTo>
                  <a:pt x="405" y="209"/>
                  <a:pt x="405" y="209"/>
                  <a:pt x="405" y="209"/>
                </a:cubicBezTo>
                <a:cubicBezTo>
                  <a:pt x="405" y="207"/>
                  <a:pt x="405" y="207"/>
                  <a:pt x="405" y="207"/>
                </a:cubicBezTo>
                <a:cubicBezTo>
                  <a:pt x="405" y="207"/>
                  <a:pt x="405" y="207"/>
                  <a:pt x="405" y="207"/>
                </a:cubicBezTo>
                <a:cubicBezTo>
                  <a:pt x="404" y="212"/>
                  <a:pt x="404" y="212"/>
                  <a:pt x="404" y="212"/>
                </a:cubicBezTo>
                <a:cubicBezTo>
                  <a:pt x="403" y="213"/>
                  <a:pt x="403" y="213"/>
                  <a:pt x="403" y="213"/>
                </a:cubicBezTo>
                <a:cubicBezTo>
                  <a:pt x="394" y="218"/>
                  <a:pt x="394" y="218"/>
                  <a:pt x="394" y="218"/>
                </a:cubicBezTo>
                <a:cubicBezTo>
                  <a:pt x="388" y="217"/>
                  <a:pt x="388" y="217"/>
                  <a:pt x="388" y="217"/>
                </a:cubicBezTo>
                <a:cubicBezTo>
                  <a:pt x="386" y="215"/>
                  <a:pt x="386" y="215"/>
                  <a:pt x="386" y="215"/>
                </a:cubicBezTo>
                <a:cubicBezTo>
                  <a:pt x="380" y="212"/>
                  <a:pt x="380" y="212"/>
                  <a:pt x="380" y="212"/>
                </a:cubicBezTo>
                <a:cubicBezTo>
                  <a:pt x="380" y="211"/>
                  <a:pt x="380" y="211"/>
                  <a:pt x="380" y="211"/>
                </a:cubicBezTo>
                <a:cubicBezTo>
                  <a:pt x="377" y="211"/>
                  <a:pt x="377" y="211"/>
                  <a:pt x="377" y="211"/>
                </a:cubicBezTo>
                <a:cubicBezTo>
                  <a:pt x="375" y="212"/>
                  <a:pt x="375" y="212"/>
                  <a:pt x="375" y="212"/>
                </a:cubicBezTo>
                <a:cubicBezTo>
                  <a:pt x="371" y="215"/>
                  <a:pt x="371" y="215"/>
                  <a:pt x="371" y="215"/>
                </a:cubicBezTo>
                <a:cubicBezTo>
                  <a:pt x="367" y="218"/>
                  <a:pt x="367" y="218"/>
                  <a:pt x="367" y="218"/>
                </a:cubicBezTo>
                <a:cubicBezTo>
                  <a:pt x="352" y="233"/>
                  <a:pt x="352" y="233"/>
                  <a:pt x="352" y="233"/>
                </a:cubicBezTo>
                <a:cubicBezTo>
                  <a:pt x="345" y="248"/>
                  <a:pt x="345" y="248"/>
                  <a:pt x="345" y="248"/>
                </a:cubicBezTo>
                <a:cubicBezTo>
                  <a:pt x="326" y="290"/>
                  <a:pt x="326" y="290"/>
                  <a:pt x="326" y="290"/>
                </a:cubicBezTo>
                <a:cubicBezTo>
                  <a:pt x="324" y="307"/>
                  <a:pt x="324" y="307"/>
                  <a:pt x="324" y="307"/>
                </a:cubicBezTo>
                <a:cubicBezTo>
                  <a:pt x="318" y="322"/>
                  <a:pt x="318" y="322"/>
                  <a:pt x="318" y="322"/>
                </a:cubicBezTo>
                <a:cubicBezTo>
                  <a:pt x="317" y="323"/>
                  <a:pt x="317" y="323"/>
                  <a:pt x="317" y="323"/>
                </a:cubicBezTo>
                <a:cubicBezTo>
                  <a:pt x="318" y="324"/>
                  <a:pt x="318" y="324"/>
                  <a:pt x="318" y="324"/>
                </a:cubicBezTo>
                <a:cubicBezTo>
                  <a:pt x="321" y="329"/>
                  <a:pt x="321" y="329"/>
                  <a:pt x="321" y="329"/>
                </a:cubicBezTo>
                <a:cubicBezTo>
                  <a:pt x="331" y="342"/>
                  <a:pt x="331" y="342"/>
                  <a:pt x="331" y="342"/>
                </a:cubicBezTo>
                <a:cubicBezTo>
                  <a:pt x="335" y="345"/>
                  <a:pt x="335" y="345"/>
                  <a:pt x="335" y="345"/>
                </a:cubicBezTo>
                <a:cubicBezTo>
                  <a:pt x="339" y="350"/>
                  <a:pt x="339" y="350"/>
                  <a:pt x="339" y="350"/>
                </a:cubicBezTo>
                <a:cubicBezTo>
                  <a:pt x="348" y="364"/>
                  <a:pt x="348" y="364"/>
                  <a:pt x="348" y="364"/>
                </a:cubicBezTo>
                <a:cubicBezTo>
                  <a:pt x="351" y="376"/>
                  <a:pt x="351" y="376"/>
                  <a:pt x="351" y="376"/>
                </a:cubicBezTo>
                <a:cubicBezTo>
                  <a:pt x="351" y="378"/>
                  <a:pt x="351" y="378"/>
                  <a:pt x="351" y="378"/>
                </a:cubicBezTo>
                <a:cubicBezTo>
                  <a:pt x="351" y="380"/>
                  <a:pt x="351" y="380"/>
                  <a:pt x="351" y="380"/>
                </a:cubicBezTo>
                <a:cubicBezTo>
                  <a:pt x="352" y="382"/>
                  <a:pt x="352" y="382"/>
                  <a:pt x="352" y="382"/>
                </a:cubicBezTo>
                <a:cubicBezTo>
                  <a:pt x="356" y="390"/>
                  <a:pt x="356" y="390"/>
                  <a:pt x="356" y="390"/>
                </a:cubicBezTo>
                <a:cubicBezTo>
                  <a:pt x="358" y="391"/>
                  <a:pt x="358" y="391"/>
                  <a:pt x="358" y="391"/>
                </a:cubicBezTo>
                <a:cubicBezTo>
                  <a:pt x="360" y="393"/>
                  <a:pt x="360" y="393"/>
                  <a:pt x="360" y="393"/>
                </a:cubicBezTo>
                <a:cubicBezTo>
                  <a:pt x="364" y="401"/>
                  <a:pt x="364" y="401"/>
                  <a:pt x="364" y="401"/>
                </a:cubicBezTo>
                <a:cubicBezTo>
                  <a:pt x="366" y="403"/>
                  <a:pt x="366" y="403"/>
                  <a:pt x="366" y="403"/>
                </a:cubicBezTo>
                <a:cubicBezTo>
                  <a:pt x="368" y="404"/>
                  <a:pt x="368" y="404"/>
                  <a:pt x="368" y="404"/>
                </a:cubicBezTo>
                <a:cubicBezTo>
                  <a:pt x="369" y="404"/>
                  <a:pt x="369" y="404"/>
                  <a:pt x="369" y="404"/>
                </a:cubicBezTo>
                <a:cubicBezTo>
                  <a:pt x="377" y="402"/>
                  <a:pt x="377" y="402"/>
                  <a:pt x="377" y="402"/>
                </a:cubicBezTo>
                <a:cubicBezTo>
                  <a:pt x="378" y="400"/>
                  <a:pt x="378" y="400"/>
                  <a:pt x="378" y="400"/>
                </a:cubicBezTo>
                <a:cubicBezTo>
                  <a:pt x="378" y="393"/>
                  <a:pt x="378" y="393"/>
                  <a:pt x="378" y="393"/>
                </a:cubicBezTo>
                <a:cubicBezTo>
                  <a:pt x="378" y="391"/>
                  <a:pt x="378" y="391"/>
                  <a:pt x="378" y="391"/>
                </a:cubicBezTo>
                <a:cubicBezTo>
                  <a:pt x="378" y="388"/>
                  <a:pt x="378" y="388"/>
                  <a:pt x="378" y="388"/>
                </a:cubicBezTo>
                <a:cubicBezTo>
                  <a:pt x="379" y="386"/>
                  <a:pt x="379" y="386"/>
                  <a:pt x="379" y="386"/>
                </a:cubicBezTo>
                <a:cubicBezTo>
                  <a:pt x="380" y="384"/>
                  <a:pt x="380" y="384"/>
                  <a:pt x="380" y="384"/>
                </a:cubicBezTo>
                <a:cubicBezTo>
                  <a:pt x="381" y="385"/>
                  <a:pt x="381" y="385"/>
                  <a:pt x="381" y="385"/>
                </a:cubicBezTo>
                <a:cubicBezTo>
                  <a:pt x="381" y="385"/>
                  <a:pt x="381" y="385"/>
                  <a:pt x="381" y="385"/>
                </a:cubicBezTo>
                <a:cubicBezTo>
                  <a:pt x="383" y="393"/>
                  <a:pt x="383" y="393"/>
                  <a:pt x="383" y="393"/>
                </a:cubicBezTo>
                <a:cubicBezTo>
                  <a:pt x="383" y="394"/>
                  <a:pt x="383" y="394"/>
                  <a:pt x="383" y="394"/>
                </a:cubicBezTo>
                <a:cubicBezTo>
                  <a:pt x="381" y="406"/>
                  <a:pt x="381" y="406"/>
                  <a:pt x="381" y="406"/>
                </a:cubicBezTo>
                <a:cubicBezTo>
                  <a:pt x="381" y="407"/>
                  <a:pt x="381" y="407"/>
                  <a:pt x="381" y="407"/>
                </a:cubicBezTo>
                <a:cubicBezTo>
                  <a:pt x="380" y="408"/>
                  <a:pt x="380" y="408"/>
                  <a:pt x="380" y="408"/>
                </a:cubicBezTo>
                <a:cubicBezTo>
                  <a:pt x="379" y="411"/>
                  <a:pt x="379" y="411"/>
                  <a:pt x="379" y="411"/>
                </a:cubicBezTo>
                <a:cubicBezTo>
                  <a:pt x="378" y="417"/>
                  <a:pt x="378" y="417"/>
                  <a:pt x="378" y="417"/>
                </a:cubicBezTo>
                <a:cubicBezTo>
                  <a:pt x="377" y="418"/>
                  <a:pt x="377" y="418"/>
                  <a:pt x="377" y="418"/>
                </a:cubicBezTo>
                <a:cubicBezTo>
                  <a:pt x="378" y="423"/>
                  <a:pt x="378" y="423"/>
                  <a:pt x="378" y="423"/>
                </a:cubicBezTo>
                <a:cubicBezTo>
                  <a:pt x="378" y="425"/>
                  <a:pt x="378" y="425"/>
                  <a:pt x="378" y="425"/>
                </a:cubicBezTo>
                <a:cubicBezTo>
                  <a:pt x="380" y="426"/>
                  <a:pt x="380" y="426"/>
                  <a:pt x="380" y="426"/>
                </a:cubicBezTo>
                <a:cubicBezTo>
                  <a:pt x="387" y="429"/>
                  <a:pt x="387" y="429"/>
                  <a:pt x="387" y="429"/>
                </a:cubicBezTo>
                <a:cubicBezTo>
                  <a:pt x="390" y="430"/>
                  <a:pt x="390" y="430"/>
                  <a:pt x="390" y="430"/>
                </a:cubicBezTo>
                <a:cubicBezTo>
                  <a:pt x="400" y="421"/>
                  <a:pt x="400" y="421"/>
                  <a:pt x="400" y="421"/>
                </a:cubicBezTo>
                <a:cubicBezTo>
                  <a:pt x="400" y="420"/>
                  <a:pt x="400" y="420"/>
                  <a:pt x="400" y="420"/>
                </a:cubicBezTo>
                <a:cubicBezTo>
                  <a:pt x="401" y="419"/>
                  <a:pt x="401" y="419"/>
                  <a:pt x="401" y="419"/>
                </a:cubicBezTo>
                <a:cubicBezTo>
                  <a:pt x="403" y="415"/>
                  <a:pt x="403" y="415"/>
                  <a:pt x="403" y="415"/>
                </a:cubicBezTo>
                <a:cubicBezTo>
                  <a:pt x="430" y="401"/>
                  <a:pt x="430" y="401"/>
                  <a:pt x="430" y="401"/>
                </a:cubicBezTo>
                <a:cubicBezTo>
                  <a:pt x="431" y="401"/>
                  <a:pt x="431" y="401"/>
                  <a:pt x="431" y="401"/>
                </a:cubicBezTo>
                <a:cubicBezTo>
                  <a:pt x="436" y="399"/>
                  <a:pt x="436" y="399"/>
                  <a:pt x="436" y="399"/>
                </a:cubicBezTo>
                <a:cubicBezTo>
                  <a:pt x="438" y="399"/>
                  <a:pt x="438" y="399"/>
                  <a:pt x="438" y="399"/>
                </a:cubicBezTo>
                <a:cubicBezTo>
                  <a:pt x="439" y="400"/>
                  <a:pt x="439" y="400"/>
                  <a:pt x="439" y="400"/>
                </a:cubicBezTo>
                <a:cubicBezTo>
                  <a:pt x="439" y="400"/>
                  <a:pt x="439" y="400"/>
                  <a:pt x="439" y="400"/>
                </a:cubicBezTo>
                <a:cubicBezTo>
                  <a:pt x="439" y="401"/>
                  <a:pt x="439" y="401"/>
                  <a:pt x="439" y="401"/>
                </a:cubicBezTo>
                <a:cubicBezTo>
                  <a:pt x="443" y="419"/>
                  <a:pt x="443" y="419"/>
                  <a:pt x="443" y="419"/>
                </a:cubicBezTo>
                <a:cubicBezTo>
                  <a:pt x="428" y="464"/>
                  <a:pt x="428" y="464"/>
                  <a:pt x="428" y="464"/>
                </a:cubicBezTo>
                <a:cubicBezTo>
                  <a:pt x="425" y="464"/>
                  <a:pt x="425" y="464"/>
                  <a:pt x="425" y="464"/>
                </a:cubicBezTo>
                <a:cubicBezTo>
                  <a:pt x="409" y="468"/>
                  <a:pt x="409" y="468"/>
                  <a:pt x="409" y="468"/>
                </a:cubicBezTo>
                <a:cubicBezTo>
                  <a:pt x="408" y="469"/>
                  <a:pt x="408" y="469"/>
                  <a:pt x="408" y="469"/>
                </a:cubicBezTo>
                <a:cubicBezTo>
                  <a:pt x="408" y="471"/>
                  <a:pt x="408" y="471"/>
                  <a:pt x="408" y="471"/>
                </a:cubicBezTo>
                <a:cubicBezTo>
                  <a:pt x="407" y="473"/>
                  <a:pt x="407" y="473"/>
                  <a:pt x="407" y="473"/>
                </a:cubicBezTo>
                <a:cubicBezTo>
                  <a:pt x="406" y="501"/>
                  <a:pt x="406" y="501"/>
                  <a:pt x="406" y="501"/>
                </a:cubicBezTo>
                <a:cubicBezTo>
                  <a:pt x="406" y="503"/>
                  <a:pt x="406" y="503"/>
                  <a:pt x="406" y="503"/>
                </a:cubicBezTo>
                <a:cubicBezTo>
                  <a:pt x="407" y="508"/>
                  <a:pt x="407" y="508"/>
                  <a:pt x="407" y="508"/>
                </a:cubicBezTo>
                <a:cubicBezTo>
                  <a:pt x="407" y="512"/>
                  <a:pt x="407" y="512"/>
                  <a:pt x="407" y="512"/>
                </a:cubicBezTo>
                <a:cubicBezTo>
                  <a:pt x="409" y="514"/>
                  <a:pt x="409" y="514"/>
                  <a:pt x="409" y="514"/>
                </a:cubicBezTo>
                <a:cubicBezTo>
                  <a:pt x="412" y="517"/>
                  <a:pt x="412" y="517"/>
                  <a:pt x="412" y="517"/>
                </a:cubicBezTo>
                <a:cubicBezTo>
                  <a:pt x="413" y="518"/>
                  <a:pt x="413" y="518"/>
                  <a:pt x="413" y="518"/>
                </a:cubicBezTo>
                <a:cubicBezTo>
                  <a:pt x="412" y="541"/>
                  <a:pt x="412" y="541"/>
                  <a:pt x="412" y="541"/>
                </a:cubicBezTo>
                <a:cubicBezTo>
                  <a:pt x="409" y="546"/>
                  <a:pt x="409" y="546"/>
                  <a:pt x="409" y="546"/>
                </a:cubicBezTo>
                <a:cubicBezTo>
                  <a:pt x="407" y="549"/>
                  <a:pt x="407" y="549"/>
                  <a:pt x="407" y="549"/>
                </a:cubicBezTo>
                <a:cubicBezTo>
                  <a:pt x="403" y="558"/>
                  <a:pt x="403" y="558"/>
                  <a:pt x="403" y="558"/>
                </a:cubicBezTo>
                <a:cubicBezTo>
                  <a:pt x="401" y="561"/>
                  <a:pt x="401" y="561"/>
                  <a:pt x="401" y="561"/>
                </a:cubicBezTo>
                <a:cubicBezTo>
                  <a:pt x="401" y="562"/>
                  <a:pt x="401" y="562"/>
                  <a:pt x="401" y="562"/>
                </a:cubicBezTo>
                <a:cubicBezTo>
                  <a:pt x="401" y="564"/>
                  <a:pt x="401" y="564"/>
                  <a:pt x="401" y="564"/>
                </a:cubicBezTo>
                <a:cubicBezTo>
                  <a:pt x="402" y="565"/>
                  <a:pt x="402" y="565"/>
                  <a:pt x="402" y="565"/>
                </a:cubicBezTo>
                <a:cubicBezTo>
                  <a:pt x="418" y="600"/>
                  <a:pt x="418" y="600"/>
                  <a:pt x="418" y="600"/>
                </a:cubicBezTo>
                <a:cubicBezTo>
                  <a:pt x="420" y="603"/>
                  <a:pt x="420" y="603"/>
                  <a:pt x="420" y="603"/>
                </a:cubicBezTo>
                <a:cubicBezTo>
                  <a:pt x="421" y="605"/>
                  <a:pt x="421" y="605"/>
                  <a:pt x="421" y="605"/>
                </a:cubicBezTo>
                <a:cubicBezTo>
                  <a:pt x="423" y="607"/>
                  <a:pt x="423" y="607"/>
                  <a:pt x="423" y="607"/>
                </a:cubicBezTo>
                <a:cubicBezTo>
                  <a:pt x="439" y="617"/>
                  <a:pt x="439" y="617"/>
                  <a:pt x="439" y="617"/>
                </a:cubicBezTo>
                <a:cubicBezTo>
                  <a:pt x="441" y="619"/>
                  <a:pt x="441" y="619"/>
                  <a:pt x="441" y="619"/>
                </a:cubicBezTo>
                <a:cubicBezTo>
                  <a:pt x="450" y="619"/>
                  <a:pt x="450" y="619"/>
                  <a:pt x="450" y="619"/>
                </a:cubicBezTo>
                <a:cubicBezTo>
                  <a:pt x="452" y="618"/>
                  <a:pt x="452" y="618"/>
                  <a:pt x="452" y="618"/>
                </a:cubicBezTo>
                <a:cubicBezTo>
                  <a:pt x="456" y="615"/>
                  <a:pt x="456" y="615"/>
                  <a:pt x="456" y="615"/>
                </a:cubicBezTo>
                <a:cubicBezTo>
                  <a:pt x="458" y="614"/>
                  <a:pt x="458" y="614"/>
                  <a:pt x="458" y="614"/>
                </a:cubicBezTo>
                <a:cubicBezTo>
                  <a:pt x="458" y="615"/>
                  <a:pt x="458" y="615"/>
                  <a:pt x="458" y="615"/>
                </a:cubicBezTo>
                <a:cubicBezTo>
                  <a:pt x="459" y="615"/>
                  <a:pt x="459" y="615"/>
                  <a:pt x="459" y="615"/>
                </a:cubicBezTo>
                <a:cubicBezTo>
                  <a:pt x="456" y="624"/>
                  <a:pt x="456" y="624"/>
                  <a:pt x="456" y="624"/>
                </a:cubicBezTo>
                <a:cubicBezTo>
                  <a:pt x="456" y="624"/>
                  <a:pt x="456" y="624"/>
                  <a:pt x="456" y="624"/>
                </a:cubicBezTo>
                <a:cubicBezTo>
                  <a:pt x="449" y="630"/>
                  <a:pt x="449" y="630"/>
                  <a:pt x="449" y="630"/>
                </a:cubicBezTo>
                <a:cubicBezTo>
                  <a:pt x="445" y="631"/>
                  <a:pt x="445" y="631"/>
                  <a:pt x="445" y="631"/>
                </a:cubicBezTo>
                <a:cubicBezTo>
                  <a:pt x="444" y="631"/>
                  <a:pt x="444" y="631"/>
                  <a:pt x="444" y="631"/>
                </a:cubicBezTo>
                <a:cubicBezTo>
                  <a:pt x="442" y="631"/>
                  <a:pt x="442" y="631"/>
                  <a:pt x="442" y="631"/>
                </a:cubicBezTo>
                <a:cubicBezTo>
                  <a:pt x="437" y="629"/>
                  <a:pt x="437" y="629"/>
                  <a:pt x="437" y="629"/>
                </a:cubicBezTo>
                <a:cubicBezTo>
                  <a:pt x="435" y="629"/>
                  <a:pt x="435" y="629"/>
                  <a:pt x="435" y="629"/>
                </a:cubicBezTo>
                <a:cubicBezTo>
                  <a:pt x="433" y="627"/>
                  <a:pt x="433" y="627"/>
                  <a:pt x="433" y="627"/>
                </a:cubicBezTo>
                <a:cubicBezTo>
                  <a:pt x="430" y="625"/>
                  <a:pt x="430" y="625"/>
                  <a:pt x="430" y="625"/>
                </a:cubicBezTo>
                <a:cubicBezTo>
                  <a:pt x="427" y="622"/>
                  <a:pt x="427" y="622"/>
                  <a:pt x="427" y="622"/>
                </a:cubicBezTo>
                <a:cubicBezTo>
                  <a:pt x="420" y="609"/>
                  <a:pt x="420" y="609"/>
                  <a:pt x="420" y="609"/>
                </a:cubicBezTo>
                <a:cubicBezTo>
                  <a:pt x="419" y="608"/>
                  <a:pt x="419" y="608"/>
                  <a:pt x="419" y="608"/>
                </a:cubicBezTo>
                <a:cubicBezTo>
                  <a:pt x="420" y="606"/>
                  <a:pt x="420" y="606"/>
                  <a:pt x="420" y="606"/>
                </a:cubicBezTo>
                <a:cubicBezTo>
                  <a:pt x="419" y="605"/>
                  <a:pt x="419" y="605"/>
                  <a:pt x="419" y="605"/>
                </a:cubicBezTo>
                <a:cubicBezTo>
                  <a:pt x="415" y="595"/>
                  <a:pt x="415" y="595"/>
                  <a:pt x="415" y="595"/>
                </a:cubicBezTo>
                <a:cubicBezTo>
                  <a:pt x="414" y="594"/>
                  <a:pt x="414" y="594"/>
                  <a:pt x="414" y="594"/>
                </a:cubicBezTo>
                <a:cubicBezTo>
                  <a:pt x="412" y="594"/>
                  <a:pt x="412" y="594"/>
                  <a:pt x="412" y="594"/>
                </a:cubicBezTo>
                <a:cubicBezTo>
                  <a:pt x="408" y="594"/>
                  <a:pt x="408" y="594"/>
                  <a:pt x="408" y="594"/>
                </a:cubicBezTo>
                <a:cubicBezTo>
                  <a:pt x="393" y="601"/>
                  <a:pt x="393" y="601"/>
                  <a:pt x="393" y="601"/>
                </a:cubicBezTo>
                <a:cubicBezTo>
                  <a:pt x="391" y="603"/>
                  <a:pt x="391" y="603"/>
                  <a:pt x="391" y="603"/>
                </a:cubicBezTo>
                <a:cubicBezTo>
                  <a:pt x="390" y="604"/>
                  <a:pt x="390" y="604"/>
                  <a:pt x="390" y="604"/>
                </a:cubicBezTo>
                <a:cubicBezTo>
                  <a:pt x="390" y="605"/>
                  <a:pt x="390" y="605"/>
                  <a:pt x="390" y="605"/>
                </a:cubicBezTo>
                <a:cubicBezTo>
                  <a:pt x="389" y="606"/>
                  <a:pt x="389" y="606"/>
                  <a:pt x="389" y="606"/>
                </a:cubicBezTo>
                <a:cubicBezTo>
                  <a:pt x="389" y="607"/>
                  <a:pt x="389" y="607"/>
                  <a:pt x="389" y="607"/>
                </a:cubicBezTo>
                <a:cubicBezTo>
                  <a:pt x="390" y="608"/>
                  <a:pt x="390" y="608"/>
                  <a:pt x="390" y="608"/>
                </a:cubicBezTo>
                <a:cubicBezTo>
                  <a:pt x="391" y="610"/>
                  <a:pt x="391" y="610"/>
                  <a:pt x="391" y="610"/>
                </a:cubicBezTo>
                <a:cubicBezTo>
                  <a:pt x="396" y="617"/>
                  <a:pt x="396" y="617"/>
                  <a:pt x="396" y="617"/>
                </a:cubicBezTo>
                <a:cubicBezTo>
                  <a:pt x="402" y="621"/>
                  <a:pt x="402" y="621"/>
                  <a:pt x="402" y="621"/>
                </a:cubicBezTo>
                <a:cubicBezTo>
                  <a:pt x="405" y="626"/>
                  <a:pt x="405" y="626"/>
                  <a:pt x="405" y="626"/>
                </a:cubicBezTo>
                <a:cubicBezTo>
                  <a:pt x="409" y="636"/>
                  <a:pt x="409" y="636"/>
                  <a:pt x="409" y="636"/>
                </a:cubicBezTo>
                <a:cubicBezTo>
                  <a:pt x="409" y="639"/>
                  <a:pt x="409" y="639"/>
                  <a:pt x="409" y="639"/>
                </a:cubicBezTo>
                <a:cubicBezTo>
                  <a:pt x="410" y="639"/>
                  <a:pt x="410" y="639"/>
                  <a:pt x="410" y="639"/>
                </a:cubicBezTo>
                <a:cubicBezTo>
                  <a:pt x="414" y="641"/>
                  <a:pt x="414" y="641"/>
                  <a:pt x="414" y="641"/>
                </a:cubicBezTo>
                <a:cubicBezTo>
                  <a:pt x="415" y="641"/>
                  <a:pt x="415" y="641"/>
                  <a:pt x="415" y="641"/>
                </a:cubicBezTo>
                <a:cubicBezTo>
                  <a:pt x="415" y="641"/>
                  <a:pt x="417" y="643"/>
                  <a:pt x="419" y="645"/>
                </a:cubicBezTo>
                <a:cubicBezTo>
                  <a:pt x="421" y="646"/>
                  <a:pt x="423" y="646"/>
                  <a:pt x="423" y="646"/>
                </a:cubicBezTo>
                <a:cubicBezTo>
                  <a:pt x="425" y="647"/>
                  <a:pt x="425" y="647"/>
                  <a:pt x="425" y="647"/>
                </a:cubicBezTo>
                <a:cubicBezTo>
                  <a:pt x="426" y="647"/>
                  <a:pt x="427" y="648"/>
                  <a:pt x="428" y="649"/>
                </a:cubicBezTo>
                <a:cubicBezTo>
                  <a:pt x="428" y="649"/>
                  <a:pt x="428" y="649"/>
                  <a:pt x="428" y="649"/>
                </a:cubicBezTo>
                <a:cubicBezTo>
                  <a:pt x="429" y="650"/>
                  <a:pt x="430" y="651"/>
                  <a:pt x="431" y="653"/>
                </a:cubicBezTo>
                <a:cubicBezTo>
                  <a:pt x="432" y="655"/>
                  <a:pt x="432" y="656"/>
                  <a:pt x="431" y="657"/>
                </a:cubicBezTo>
                <a:cubicBezTo>
                  <a:pt x="431" y="657"/>
                  <a:pt x="431" y="657"/>
                  <a:pt x="431" y="657"/>
                </a:cubicBezTo>
                <a:cubicBezTo>
                  <a:pt x="432" y="658"/>
                  <a:pt x="432" y="659"/>
                  <a:pt x="431" y="662"/>
                </a:cubicBezTo>
                <a:cubicBezTo>
                  <a:pt x="430" y="663"/>
                  <a:pt x="430" y="663"/>
                  <a:pt x="430" y="663"/>
                </a:cubicBezTo>
                <a:cubicBezTo>
                  <a:pt x="429" y="664"/>
                  <a:pt x="428" y="664"/>
                  <a:pt x="428" y="664"/>
                </a:cubicBezTo>
                <a:cubicBezTo>
                  <a:pt x="427" y="665"/>
                  <a:pt x="426" y="665"/>
                  <a:pt x="425" y="665"/>
                </a:cubicBezTo>
                <a:cubicBezTo>
                  <a:pt x="425" y="665"/>
                  <a:pt x="424" y="665"/>
                  <a:pt x="424" y="666"/>
                </a:cubicBezTo>
                <a:cubicBezTo>
                  <a:pt x="425" y="667"/>
                  <a:pt x="425" y="667"/>
                  <a:pt x="425" y="667"/>
                </a:cubicBezTo>
                <a:cubicBezTo>
                  <a:pt x="425" y="668"/>
                  <a:pt x="425" y="668"/>
                  <a:pt x="425" y="668"/>
                </a:cubicBezTo>
                <a:cubicBezTo>
                  <a:pt x="427" y="668"/>
                  <a:pt x="427" y="668"/>
                  <a:pt x="427" y="668"/>
                </a:cubicBezTo>
                <a:cubicBezTo>
                  <a:pt x="428" y="668"/>
                  <a:pt x="428" y="668"/>
                  <a:pt x="428" y="669"/>
                </a:cubicBezTo>
                <a:cubicBezTo>
                  <a:pt x="430" y="669"/>
                  <a:pt x="430" y="669"/>
                  <a:pt x="430" y="669"/>
                </a:cubicBezTo>
                <a:cubicBezTo>
                  <a:pt x="431" y="669"/>
                  <a:pt x="432" y="670"/>
                  <a:pt x="432" y="671"/>
                </a:cubicBezTo>
                <a:cubicBezTo>
                  <a:pt x="436" y="671"/>
                  <a:pt x="436" y="671"/>
                  <a:pt x="436" y="671"/>
                </a:cubicBezTo>
                <a:cubicBezTo>
                  <a:pt x="437" y="671"/>
                  <a:pt x="438" y="672"/>
                  <a:pt x="438" y="673"/>
                </a:cubicBezTo>
                <a:cubicBezTo>
                  <a:pt x="438" y="680"/>
                  <a:pt x="438" y="680"/>
                  <a:pt x="438" y="680"/>
                </a:cubicBezTo>
                <a:cubicBezTo>
                  <a:pt x="439" y="680"/>
                  <a:pt x="439" y="680"/>
                  <a:pt x="439" y="680"/>
                </a:cubicBezTo>
                <a:cubicBezTo>
                  <a:pt x="440" y="680"/>
                  <a:pt x="441" y="681"/>
                  <a:pt x="441" y="682"/>
                </a:cubicBezTo>
                <a:cubicBezTo>
                  <a:pt x="441" y="698"/>
                  <a:pt x="441" y="698"/>
                  <a:pt x="441" y="698"/>
                </a:cubicBezTo>
                <a:cubicBezTo>
                  <a:pt x="443" y="700"/>
                  <a:pt x="443" y="700"/>
                  <a:pt x="443" y="700"/>
                </a:cubicBezTo>
                <a:cubicBezTo>
                  <a:pt x="443" y="700"/>
                  <a:pt x="443" y="700"/>
                  <a:pt x="443" y="700"/>
                </a:cubicBezTo>
                <a:cubicBezTo>
                  <a:pt x="447" y="700"/>
                  <a:pt x="447" y="700"/>
                  <a:pt x="447" y="700"/>
                </a:cubicBezTo>
                <a:cubicBezTo>
                  <a:pt x="448" y="700"/>
                  <a:pt x="448" y="700"/>
                  <a:pt x="448" y="700"/>
                </a:cubicBezTo>
                <a:cubicBezTo>
                  <a:pt x="451" y="702"/>
                  <a:pt x="451" y="702"/>
                  <a:pt x="451" y="702"/>
                </a:cubicBezTo>
                <a:cubicBezTo>
                  <a:pt x="456" y="702"/>
                  <a:pt x="456" y="702"/>
                  <a:pt x="456" y="702"/>
                </a:cubicBezTo>
                <a:cubicBezTo>
                  <a:pt x="457" y="702"/>
                  <a:pt x="458" y="702"/>
                  <a:pt x="458" y="703"/>
                </a:cubicBezTo>
                <a:cubicBezTo>
                  <a:pt x="459" y="703"/>
                  <a:pt x="459" y="703"/>
                  <a:pt x="459" y="703"/>
                </a:cubicBezTo>
                <a:cubicBezTo>
                  <a:pt x="460" y="703"/>
                  <a:pt x="462" y="703"/>
                  <a:pt x="464" y="704"/>
                </a:cubicBezTo>
                <a:cubicBezTo>
                  <a:pt x="464" y="706"/>
                  <a:pt x="465" y="708"/>
                  <a:pt x="465" y="711"/>
                </a:cubicBezTo>
                <a:cubicBezTo>
                  <a:pt x="465" y="711"/>
                  <a:pt x="465" y="711"/>
                  <a:pt x="464" y="711"/>
                </a:cubicBezTo>
                <a:cubicBezTo>
                  <a:pt x="464" y="718"/>
                  <a:pt x="464" y="718"/>
                  <a:pt x="464" y="718"/>
                </a:cubicBezTo>
                <a:cubicBezTo>
                  <a:pt x="464" y="720"/>
                  <a:pt x="464" y="721"/>
                  <a:pt x="464" y="722"/>
                </a:cubicBezTo>
                <a:cubicBezTo>
                  <a:pt x="464" y="723"/>
                  <a:pt x="463" y="723"/>
                  <a:pt x="463" y="723"/>
                </a:cubicBezTo>
                <a:cubicBezTo>
                  <a:pt x="463" y="724"/>
                  <a:pt x="463" y="724"/>
                  <a:pt x="462" y="724"/>
                </a:cubicBezTo>
                <a:cubicBezTo>
                  <a:pt x="461" y="725"/>
                  <a:pt x="460" y="725"/>
                  <a:pt x="460" y="725"/>
                </a:cubicBezTo>
                <a:cubicBezTo>
                  <a:pt x="459" y="726"/>
                  <a:pt x="456" y="727"/>
                  <a:pt x="456" y="727"/>
                </a:cubicBezTo>
                <a:cubicBezTo>
                  <a:pt x="455" y="727"/>
                  <a:pt x="455" y="727"/>
                  <a:pt x="455" y="727"/>
                </a:cubicBezTo>
                <a:cubicBezTo>
                  <a:pt x="455" y="728"/>
                  <a:pt x="454" y="728"/>
                  <a:pt x="453" y="729"/>
                </a:cubicBezTo>
                <a:cubicBezTo>
                  <a:pt x="452" y="729"/>
                  <a:pt x="452" y="730"/>
                  <a:pt x="451" y="730"/>
                </a:cubicBezTo>
                <a:cubicBezTo>
                  <a:pt x="451" y="730"/>
                  <a:pt x="451" y="730"/>
                  <a:pt x="451" y="730"/>
                </a:cubicBezTo>
                <a:cubicBezTo>
                  <a:pt x="449" y="729"/>
                  <a:pt x="449" y="729"/>
                  <a:pt x="449" y="729"/>
                </a:cubicBezTo>
                <a:cubicBezTo>
                  <a:pt x="447" y="729"/>
                  <a:pt x="447" y="728"/>
                  <a:pt x="447" y="727"/>
                </a:cubicBezTo>
                <a:cubicBezTo>
                  <a:pt x="447" y="726"/>
                  <a:pt x="447" y="726"/>
                  <a:pt x="447" y="726"/>
                </a:cubicBezTo>
                <a:cubicBezTo>
                  <a:pt x="446" y="725"/>
                  <a:pt x="446" y="725"/>
                  <a:pt x="445" y="724"/>
                </a:cubicBezTo>
                <a:cubicBezTo>
                  <a:pt x="445" y="723"/>
                  <a:pt x="445" y="723"/>
                  <a:pt x="445" y="722"/>
                </a:cubicBezTo>
                <a:cubicBezTo>
                  <a:pt x="444" y="721"/>
                  <a:pt x="444" y="721"/>
                  <a:pt x="444" y="721"/>
                </a:cubicBezTo>
                <a:cubicBezTo>
                  <a:pt x="441" y="720"/>
                  <a:pt x="441" y="720"/>
                  <a:pt x="441" y="720"/>
                </a:cubicBezTo>
                <a:cubicBezTo>
                  <a:pt x="441" y="720"/>
                  <a:pt x="441" y="720"/>
                  <a:pt x="440" y="719"/>
                </a:cubicBezTo>
                <a:cubicBezTo>
                  <a:pt x="439" y="717"/>
                  <a:pt x="439" y="717"/>
                  <a:pt x="439" y="717"/>
                </a:cubicBezTo>
                <a:cubicBezTo>
                  <a:pt x="438" y="717"/>
                  <a:pt x="438" y="717"/>
                  <a:pt x="438" y="717"/>
                </a:cubicBezTo>
                <a:cubicBezTo>
                  <a:pt x="432" y="717"/>
                  <a:pt x="432" y="717"/>
                  <a:pt x="432" y="717"/>
                </a:cubicBezTo>
                <a:cubicBezTo>
                  <a:pt x="431" y="717"/>
                  <a:pt x="431" y="717"/>
                  <a:pt x="431" y="717"/>
                </a:cubicBezTo>
                <a:cubicBezTo>
                  <a:pt x="431" y="718"/>
                  <a:pt x="430" y="718"/>
                  <a:pt x="430" y="718"/>
                </a:cubicBezTo>
                <a:cubicBezTo>
                  <a:pt x="427" y="718"/>
                  <a:pt x="427" y="718"/>
                  <a:pt x="427" y="718"/>
                </a:cubicBezTo>
                <a:cubicBezTo>
                  <a:pt x="427" y="718"/>
                  <a:pt x="427" y="718"/>
                  <a:pt x="426" y="718"/>
                </a:cubicBezTo>
                <a:cubicBezTo>
                  <a:pt x="424" y="717"/>
                  <a:pt x="424" y="717"/>
                  <a:pt x="424" y="717"/>
                </a:cubicBezTo>
                <a:cubicBezTo>
                  <a:pt x="422" y="717"/>
                  <a:pt x="422" y="717"/>
                  <a:pt x="422" y="717"/>
                </a:cubicBezTo>
                <a:cubicBezTo>
                  <a:pt x="422" y="717"/>
                  <a:pt x="421" y="719"/>
                  <a:pt x="421" y="720"/>
                </a:cubicBezTo>
                <a:cubicBezTo>
                  <a:pt x="420" y="720"/>
                  <a:pt x="420" y="721"/>
                  <a:pt x="419" y="721"/>
                </a:cubicBezTo>
                <a:cubicBezTo>
                  <a:pt x="419" y="722"/>
                  <a:pt x="419" y="722"/>
                  <a:pt x="419" y="723"/>
                </a:cubicBezTo>
                <a:cubicBezTo>
                  <a:pt x="419" y="724"/>
                  <a:pt x="419" y="724"/>
                  <a:pt x="419" y="724"/>
                </a:cubicBezTo>
                <a:cubicBezTo>
                  <a:pt x="418" y="726"/>
                  <a:pt x="417" y="726"/>
                  <a:pt x="416" y="726"/>
                </a:cubicBezTo>
                <a:cubicBezTo>
                  <a:pt x="415" y="726"/>
                  <a:pt x="414" y="726"/>
                  <a:pt x="414" y="726"/>
                </a:cubicBezTo>
                <a:cubicBezTo>
                  <a:pt x="413" y="726"/>
                  <a:pt x="413" y="726"/>
                  <a:pt x="413" y="726"/>
                </a:cubicBezTo>
                <a:cubicBezTo>
                  <a:pt x="413" y="728"/>
                  <a:pt x="413" y="728"/>
                  <a:pt x="413" y="728"/>
                </a:cubicBezTo>
                <a:cubicBezTo>
                  <a:pt x="413" y="730"/>
                  <a:pt x="412" y="731"/>
                  <a:pt x="410" y="731"/>
                </a:cubicBezTo>
                <a:cubicBezTo>
                  <a:pt x="409" y="732"/>
                  <a:pt x="409" y="732"/>
                  <a:pt x="409" y="732"/>
                </a:cubicBezTo>
                <a:cubicBezTo>
                  <a:pt x="409" y="733"/>
                  <a:pt x="408" y="733"/>
                  <a:pt x="408" y="733"/>
                </a:cubicBezTo>
                <a:cubicBezTo>
                  <a:pt x="406" y="733"/>
                  <a:pt x="406" y="733"/>
                  <a:pt x="406" y="733"/>
                </a:cubicBezTo>
                <a:cubicBezTo>
                  <a:pt x="405" y="733"/>
                  <a:pt x="404" y="734"/>
                  <a:pt x="403" y="735"/>
                </a:cubicBezTo>
                <a:cubicBezTo>
                  <a:pt x="402" y="736"/>
                  <a:pt x="401" y="736"/>
                  <a:pt x="400" y="736"/>
                </a:cubicBezTo>
                <a:cubicBezTo>
                  <a:pt x="400" y="736"/>
                  <a:pt x="400" y="736"/>
                  <a:pt x="400" y="736"/>
                </a:cubicBezTo>
                <a:cubicBezTo>
                  <a:pt x="401" y="736"/>
                  <a:pt x="401" y="737"/>
                  <a:pt x="401" y="738"/>
                </a:cubicBezTo>
                <a:cubicBezTo>
                  <a:pt x="401" y="740"/>
                  <a:pt x="401" y="740"/>
                  <a:pt x="401" y="740"/>
                </a:cubicBezTo>
                <a:cubicBezTo>
                  <a:pt x="401" y="741"/>
                  <a:pt x="401" y="742"/>
                  <a:pt x="400" y="742"/>
                </a:cubicBezTo>
                <a:cubicBezTo>
                  <a:pt x="396" y="744"/>
                  <a:pt x="396" y="744"/>
                  <a:pt x="396" y="744"/>
                </a:cubicBezTo>
                <a:cubicBezTo>
                  <a:pt x="398" y="745"/>
                  <a:pt x="398" y="745"/>
                  <a:pt x="398" y="745"/>
                </a:cubicBezTo>
                <a:cubicBezTo>
                  <a:pt x="400" y="746"/>
                  <a:pt x="400" y="746"/>
                  <a:pt x="400" y="746"/>
                </a:cubicBezTo>
                <a:cubicBezTo>
                  <a:pt x="402" y="748"/>
                  <a:pt x="401" y="750"/>
                  <a:pt x="401" y="751"/>
                </a:cubicBezTo>
                <a:cubicBezTo>
                  <a:pt x="401" y="751"/>
                  <a:pt x="401" y="751"/>
                  <a:pt x="401" y="751"/>
                </a:cubicBezTo>
                <a:cubicBezTo>
                  <a:pt x="402" y="751"/>
                  <a:pt x="402" y="751"/>
                  <a:pt x="402" y="751"/>
                </a:cubicBezTo>
                <a:cubicBezTo>
                  <a:pt x="403" y="751"/>
                  <a:pt x="404" y="752"/>
                  <a:pt x="404" y="753"/>
                </a:cubicBezTo>
                <a:cubicBezTo>
                  <a:pt x="404" y="759"/>
                  <a:pt x="404" y="759"/>
                  <a:pt x="404" y="759"/>
                </a:cubicBezTo>
                <a:cubicBezTo>
                  <a:pt x="405" y="759"/>
                  <a:pt x="405" y="759"/>
                  <a:pt x="405" y="759"/>
                </a:cubicBezTo>
                <a:cubicBezTo>
                  <a:pt x="414" y="759"/>
                  <a:pt x="414" y="759"/>
                  <a:pt x="414" y="759"/>
                </a:cubicBezTo>
                <a:cubicBezTo>
                  <a:pt x="415" y="760"/>
                  <a:pt x="415" y="760"/>
                  <a:pt x="415" y="760"/>
                </a:cubicBezTo>
                <a:cubicBezTo>
                  <a:pt x="417" y="762"/>
                  <a:pt x="417" y="762"/>
                  <a:pt x="417" y="762"/>
                </a:cubicBezTo>
                <a:cubicBezTo>
                  <a:pt x="417" y="762"/>
                  <a:pt x="417" y="762"/>
                  <a:pt x="417" y="762"/>
                </a:cubicBezTo>
                <a:cubicBezTo>
                  <a:pt x="418" y="762"/>
                  <a:pt x="418" y="762"/>
                  <a:pt x="419" y="763"/>
                </a:cubicBezTo>
                <a:cubicBezTo>
                  <a:pt x="421" y="765"/>
                  <a:pt x="421" y="765"/>
                  <a:pt x="421" y="765"/>
                </a:cubicBezTo>
                <a:cubicBezTo>
                  <a:pt x="424" y="767"/>
                  <a:pt x="424" y="767"/>
                  <a:pt x="424" y="767"/>
                </a:cubicBezTo>
                <a:cubicBezTo>
                  <a:pt x="425" y="767"/>
                  <a:pt x="425" y="768"/>
                  <a:pt x="425" y="769"/>
                </a:cubicBezTo>
                <a:cubicBezTo>
                  <a:pt x="425" y="770"/>
                  <a:pt x="425" y="770"/>
                  <a:pt x="425" y="770"/>
                </a:cubicBezTo>
                <a:cubicBezTo>
                  <a:pt x="426" y="770"/>
                  <a:pt x="426" y="770"/>
                  <a:pt x="426" y="770"/>
                </a:cubicBezTo>
                <a:cubicBezTo>
                  <a:pt x="428" y="773"/>
                  <a:pt x="428" y="773"/>
                  <a:pt x="428" y="773"/>
                </a:cubicBezTo>
                <a:cubicBezTo>
                  <a:pt x="428" y="773"/>
                  <a:pt x="429" y="774"/>
                  <a:pt x="428" y="774"/>
                </a:cubicBezTo>
                <a:cubicBezTo>
                  <a:pt x="428" y="775"/>
                  <a:pt x="428" y="775"/>
                  <a:pt x="427" y="776"/>
                </a:cubicBezTo>
                <a:cubicBezTo>
                  <a:pt x="424" y="777"/>
                  <a:pt x="423" y="777"/>
                  <a:pt x="423" y="777"/>
                </a:cubicBezTo>
                <a:cubicBezTo>
                  <a:pt x="420" y="777"/>
                  <a:pt x="420" y="777"/>
                  <a:pt x="420" y="777"/>
                </a:cubicBezTo>
                <a:cubicBezTo>
                  <a:pt x="420" y="778"/>
                  <a:pt x="420" y="778"/>
                  <a:pt x="419" y="779"/>
                </a:cubicBezTo>
                <a:cubicBezTo>
                  <a:pt x="419" y="780"/>
                  <a:pt x="418" y="781"/>
                  <a:pt x="418" y="782"/>
                </a:cubicBezTo>
                <a:cubicBezTo>
                  <a:pt x="418" y="782"/>
                  <a:pt x="417" y="784"/>
                  <a:pt x="417" y="785"/>
                </a:cubicBezTo>
                <a:cubicBezTo>
                  <a:pt x="417" y="786"/>
                  <a:pt x="417" y="786"/>
                  <a:pt x="417" y="786"/>
                </a:cubicBezTo>
                <a:cubicBezTo>
                  <a:pt x="413" y="795"/>
                  <a:pt x="413" y="795"/>
                  <a:pt x="413" y="795"/>
                </a:cubicBezTo>
                <a:cubicBezTo>
                  <a:pt x="412" y="799"/>
                  <a:pt x="412" y="799"/>
                  <a:pt x="412" y="799"/>
                </a:cubicBezTo>
                <a:cubicBezTo>
                  <a:pt x="412" y="799"/>
                  <a:pt x="412" y="799"/>
                  <a:pt x="412" y="799"/>
                </a:cubicBezTo>
                <a:cubicBezTo>
                  <a:pt x="410" y="804"/>
                  <a:pt x="410" y="804"/>
                  <a:pt x="410" y="804"/>
                </a:cubicBezTo>
                <a:cubicBezTo>
                  <a:pt x="410" y="805"/>
                  <a:pt x="409" y="805"/>
                  <a:pt x="408" y="805"/>
                </a:cubicBezTo>
                <a:cubicBezTo>
                  <a:pt x="408" y="805"/>
                  <a:pt x="408" y="805"/>
                  <a:pt x="408" y="805"/>
                </a:cubicBezTo>
                <a:cubicBezTo>
                  <a:pt x="408" y="806"/>
                  <a:pt x="407" y="807"/>
                  <a:pt x="407" y="807"/>
                </a:cubicBezTo>
                <a:cubicBezTo>
                  <a:pt x="407" y="808"/>
                  <a:pt x="407" y="808"/>
                  <a:pt x="407" y="808"/>
                </a:cubicBezTo>
                <a:cubicBezTo>
                  <a:pt x="408" y="809"/>
                  <a:pt x="407" y="810"/>
                  <a:pt x="405" y="811"/>
                </a:cubicBezTo>
                <a:cubicBezTo>
                  <a:pt x="401" y="812"/>
                  <a:pt x="401" y="812"/>
                  <a:pt x="401" y="812"/>
                </a:cubicBezTo>
                <a:cubicBezTo>
                  <a:pt x="401" y="812"/>
                  <a:pt x="401" y="812"/>
                  <a:pt x="401" y="812"/>
                </a:cubicBezTo>
                <a:cubicBezTo>
                  <a:pt x="400" y="812"/>
                  <a:pt x="400" y="812"/>
                  <a:pt x="400" y="812"/>
                </a:cubicBezTo>
                <a:cubicBezTo>
                  <a:pt x="400" y="819"/>
                  <a:pt x="400" y="819"/>
                  <a:pt x="400" y="819"/>
                </a:cubicBezTo>
                <a:cubicBezTo>
                  <a:pt x="401" y="821"/>
                  <a:pt x="401" y="821"/>
                  <a:pt x="401" y="821"/>
                </a:cubicBezTo>
                <a:cubicBezTo>
                  <a:pt x="402" y="821"/>
                  <a:pt x="402" y="821"/>
                  <a:pt x="402" y="821"/>
                </a:cubicBezTo>
                <a:cubicBezTo>
                  <a:pt x="402" y="821"/>
                  <a:pt x="403" y="821"/>
                  <a:pt x="403" y="820"/>
                </a:cubicBezTo>
                <a:cubicBezTo>
                  <a:pt x="403" y="820"/>
                  <a:pt x="403" y="820"/>
                  <a:pt x="404" y="820"/>
                </a:cubicBezTo>
                <a:cubicBezTo>
                  <a:pt x="404" y="820"/>
                  <a:pt x="405" y="819"/>
                  <a:pt x="406" y="819"/>
                </a:cubicBezTo>
                <a:cubicBezTo>
                  <a:pt x="407" y="818"/>
                  <a:pt x="408" y="817"/>
                  <a:pt x="408" y="817"/>
                </a:cubicBezTo>
                <a:cubicBezTo>
                  <a:pt x="408" y="816"/>
                  <a:pt x="409" y="816"/>
                  <a:pt x="409" y="815"/>
                </a:cubicBezTo>
                <a:cubicBezTo>
                  <a:pt x="410" y="815"/>
                  <a:pt x="411" y="814"/>
                  <a:pt x="411" y="814"/>
                </a:cubicBezTo>
                <a:cubicBezTo>
                  <a:pt x="413" y="812"/>
                  <a:pt x="413" y="812"/>
                  <a:pt x="413" y="812"/>
                </a:cubicBezTo>
                <a:cubicBezTo>
                  <a:pt x="415" y="811"/>
                  <a:pt x="415" y="811"/>
                  <a:pt x="415" y="811"/>
                </a:cubicBezTo>
                <a:cubicBezTo>
                  <a:pt x="415" y="811"/>
                  <a:pt x="415" y="811"/>
                  <a:pt x="415" y="811"/>
                </a:cubicBezTo>
                <a:cubicBezTo>
                  <a:pt x="418" y="810"/>
                  <a:pt x="418" y="810"/>
                  <a:pt x="418" y="810"/>
                </a:cubicBezTo>
                <a:cubicBezTo>
                  <a:pt x="419" y="810"/>
                  <a:pt x="419" y="810"/>
                  <a:pt x="419" y="810"/>
                </a:cubicBezTo>
                <a:cubicBezTo>
                  <a:pt x="421" y="811"/>
                  <a:pt x="421" y="811"/>
                  <a:pt x="421" y="811"/>
                </a:cubicBezTo>
                <a:cubicBezTo>
                  <a:pt x="421" y="811"/>
                  <a:pt x="421" y="811"/>
                  <a:pt x="421" y="811"/>
                </a:cubicBezTo>
                <a:cubicBezTo>
                  <a:pt x="424" y="812"/>
                  <a:pt x="424" y="812"/>
                  <a:pt x="424" y="812"/>
                </a:cubicBezTo>
                <a:cubicBezTo>
                  <a:pt x="424" y="813"/>
                  <a:pt x="425" y="813"/>
                  <a:pt x="425" y="814"/>
                </a:cubicBezTo>
                <a:cubicBezTo>
                  <a:pt x="425" y="815"/>
                  <a:pt x="425" y="815"/>
                  <a:pt x="425" y="815"/>
                </a:cubicBezTo>
                <a:cubicBezTo>
                  <a:pt x="425" y="815"/>
                  <a:pt x="425" y="815"/>
                  <a:pt x="426" y="815"/>
                </a:cubicBezTo>
                <a:cubicBezTo>
                  <a:pt x="427" y="817"/>
                  <a:pt x="425" y="819"/>
                  <a:pt x="424" y="820"/>
                </a:cubicBezTo>
                <a:cubicBezTo>
                  <a:pt x="423" y="822"/>
                  <a:pt x="423" y="822"/>
                  <a:pt x="423" y="822"/>
                </a:cubicBezTo>
                <a:cubicBezTo>
                  <a:pt x="422" y="824"/>
                  <a:pt x="422" y="824"/>
                  <a:pt x="421" y="824"/>
                </a:cubicBezTo>
                <a:cubicBezTo>
                  <a:pt x="419" y="825"/>
                  <a:pt x="418" y="825"/>
                  <a:pt x="417" y="825"/>
                </a:cubicBezTo>
                <a:cubicBezTo>
                  <a:pt x="416" y="826"/>
                  <a:pt x="416" y="826"/>
                  <a:pt x="416" y="826"/>
                </a:cubicBezTo>
                <a:cubicBezTo>
                  <a:pt x="415" y="827"/>
                  <a:pt x="415" y="827"/>
                  <a:pt x="415" y="827"/>
                </a:cubicBezTo>
                <a:cubicBezTo>
                  <a:pt x="414" y="827"/>
                  <a:pt x="414" y="827"/>
                  <a:pt x="414" y="827"/>
                </a:cubicBezTo>
                <a:cubicBezTo>
                  <a:pt x="412" y="829"/>
                  <a:pt x="412" y="829"/>
                  <a:pt x="412" y="829"/>
                </a:cubicBezTo>
                <a:cubicBezTo>
                  <a:pt x="412" y="830"/>
                  <a:pt x="411" y="830"/>
                  <a:pt x="411" y="830"/>
                </a:cubicBezTo>
                <a:cubicBezTo>
                  <a:pt x="402" y="830"/>
                  <a:pt x="402" y="830"/>
                  <a:pt x="402" y="830"/>
                </a:cubicBezTo>
                <a:cubicBezTo>
                  <a:pt x="401" y="830"/>
                  <a:pt x="401" y="830"/>
                  <a:pt x="401" y="830"/>
                </a:cubicBezTo>
                <a:cubicBezTo>
                  <a:pt x="399" y="832"/>
                  <a:pt x="397" y="833"/>
                  <a:pt x="397" y="833"/>
                </a:cubicBezTo>
                <a:cubicBezTo>
                  <a:pt x="392" y="835"/>
                  <a:pt x="392" y="835"/>
                  <a:pt x="392" y="835"/>
                </a:cubicBezTo>
                <a:cubicBezTo>
                  <a:pt x="390" y="837"/>
                  <a:pt x="390" y="837"/>
                  <a:pt x="390" y="837"/>
                </a:cubicBezTo>
                <a:cubicBezTo>
                  <a:pt x="390" y="838"/>
                  <a:pt x="390" y="838"/>
                  <a:pt x="390" y="838"/>
                </a:cubicBezTo>
                <a:cubicBezTo>
                  <a:pt x="387" y="839"/>
                  <a:pt x="387" y="839"/>
                  <a:pt x="387" y="839"/>
                </a:cubicBezTo>
                <a:cubicBezTo>
                  <a:pt x="387" y="840"/>
                  <a:pt x="387" y="840"/>
                  <a:pt x="386" y="840"/>
                </a:cubicBezTo>
                <a:cubicBezTo>
                  <a:pt x="388" y="840"/>
                  <a:pt x="388" y="840"/>
                  <a:pt x="388" y="840"/>
                </a:cubicBezTo>
                <a:cubicBezTo>
                  <a:pt x="385" y="844"/>
                  <a:pt x="383" y="848"/>
                  <a:pt x="390" y="849"/>
                </a:cubicBezTo>
                <a:cubicBezTo>
                  <a:pt x="390" y="849"/>
                  <a:pt x="390" y="849"/>
                  <a:pt x="390" y="850"/>
                </a:cubicBezTo>
                <a:cubicBezTo>
                  <a:pt x="391" y="850"/>
                  <a:pt x="391" y="850"/>
                  <a:pt x="391" y="850"/>
                </a:cubicBezTo>
                <a:cubicBezTo>
                  <a:pt x="392" y="850"/>
                  <a:pt x="392" y="850"/>
                  <a:pt x="392" y="850"/>
                </a:cubicBezTo>
                <a:cubicBezTo>
                  <a:pt x="394" y="851"/>
                  <a:pt x="394" y="851"/>
                  <a:pt x="394" y="851"/>
                </a:cubicBezTo>
                <a:cubicBezTo>
                  <a:pt x="394" y="851"/>
                  <a:pt x="394" y="851"/>
                  <a:pt x="395" y="851"/>
                </a:cubicBezTo>
                <a:cubicBezTo>
                  <a:pt x="396" y="853"/>
                  <a:pt x="396" y="853"/>
                  <a:pt x="396" y="853"/>
                </a:cubicBezTo>
                <a:cubicBezTo>
                  <a:pt x="397" y="853"/>
                  <a:pt x="397" y="853"/>
                  <a:pt x="397" y="853"/>
                </a:cubicBezTo>
                <a:cubicBezTo>
                  <a:pt x="398" y="853"/>
                  <a:pt x="399" y="853"/>
                  <a:pt x="399" y="854"/>
                </a:cubicBezTo>
                <a:cubicBezTo>
                  <a:pt x="400" y="857"/>
                  <a:pt x="400" y="857"/>
                  <a:pt x="400" y="857"/>
                </a:cubicBezTo>
                <a:cubicBezTo>
                  <a:pt x="402" y="858"/>
                  <a:pt x="402" y="858"/>
                  <a:pt x="402" y="858"/>
                </a:cubicBezTo>
                <a:cubicBezTo>
                  <a:pt x="402" y="858"/>
                  <a:pt x="402" y="858"/>
                  <a:pt x="402" y="858"/>
                </a:cubicBezTo>
                <a:cubicBezTo>
                  <a:pt x="403" y="860"/>
                  <a:pt x="403" y="860"/>
                  <a:pt x="403" y="860"/>
                </a:cubicBezTo>
                <a:cubicBezTo>
                  <a:pt x="405" y="860"/>
                  <a:pt x="406" y="861"/>
                  <a:pt x="406" y="861"/>
                </a:cubicBezTo>
                <a:cubicBezTo>
                  <a:pt x="407" y="861"/>
                  <a:pt x="407" y="861"/>
                  <a:pt x="407" y="862"/>
                </a:cubicBezTo>
                <a:cubicBezTo>
                  <a:pt x="408" y="863"/>
                  <a:pt x="408" y="863"/>
                  <a:pt x="408" y="863"/>
                </a:cubicBezTo>
                <a:cubicBezTo>
                  <a:pt x="409" y="863"/>
                  <a:pt x="409" y="863"/>
                  <a:pt x="409" y="863"/>
                </a:cubicBezTo>
                <a:cubicBezTo>
                  <a:pt x="412" y="865"/>
                  <a:pt x="412" y="865"/>
                  <a:pt x="412" y="865"/>
                </a:cubicBezTo>
                <a:cubicBezTo>
                  <a:pt x="412" y="865"/>
                  <a:pt x="412" y="865"/>
                  <a:pt x="412" y="865"/>
                </a:cubicBezTo>
                <a:cubicBezTo>
                  <a:pt x="415" y="865"/>
                  <a:pt x="417" y="865"/>
                  <a:pt x="417" y="865"/>
                </a:cubicBezTo>
                <a:cubicBezTo>
                  <a:pt x="419" y="866"/>
                  <a:pt x="419" y="866"/>
                  <a:pt x="419" y="866"/>
                </a:cubicBezTo>
                <a:cubicBezTo>
                  <a:pt x="426" y="866"/>
                  <a:pt x="426" y="866"/>
                  <a:pt x="426" y="866"/>
                </a:cubicBezTo>
                <a:cubicBezTo>
                  <a:pt x="434" y="871"/>
                  <a:pt x="440" y="870"/>
                  <a:pt x="440" y="870"/>
                </a:cubicBezTo>
                <a:cubicBezTo>
                  <a:pt x="439" y="870"/>
                  <a:pt x="439" y="870"/>
                  <a:pt x="438" y="871"/>
                </a:cubicBezTo>
                <a:cubicBezTo>
                  <a:pt x="437" y="872"/>
                  <a:pt x="436" y="873"/>
                  <a:pt x="436" y="873"/>
                </a:cubicBezTo>
                <a:cubicBezTo>
                  <a:pt x="436" y="873"/>
                  <a:pt x="436" y="873"/>
                  <a:pt x="436" y="873"/>
                </a:cubicBezTo>
                <a:cubicBezTo>
                  <a:pt x="435" y="874"/>
                  <a:pt x="435" y="875"/>
                  <a:pt x="434" y="875"/>
                </a:cubicBezTo>
                <a:cubicBezTo>
                  <a:pt x="433" y="877"/>
                  <a:pt x="432" y="877"/>
                  <a:pt x="432" y="877"/>
                </a:cubicBezTo>
                <a:cubicBezTo>
                  <a:pt x="431" y="877"/>
                  <a:pt x="431" y="877"/>
                  <a:pt x="431" y="877"/>
                </a:cubicBezTo>
                <a:cubicBezTo>
                  <a:pt x="431" y="877"/>
                  <a:pt x="431" y="877"/>
                  <a:pt x="430" y="877"/>
                </a:cubicBezTo>
                <a:cubicBezTo>
                  <a:pt x="429" y="879"/>
                  <a:pt x="429" y="879"/>
                  <a:pt x="429" y="879"/>
                </a:cubicBezTo>
                <a:cubicBezTo>
                  <a:pt x="429" y="879"/>
                  <a:pt x="429" y="879"/>
                  <a:pt x="429" y="880"/>
                </a:cubicBezTo>
                <a:cubicBezTo>
                  <a:pt x="429" y="880"/>
                  <a:pt x="429" y="880"/>
                  <a:pt x="428" y="881"/>
                </a:cubicBezTo>
                <a:cubicBezTo>
                  <a:pt x="429" y="882"/>
                  <a:pt x="430" y="883"/>
                  <a:pt x="431" y="884"/>
                </a:cubicBezTo>
                <a:cubicBezTo>
                  <a:pt x="432" y="883"/>
                  <a:pt x="432" y="883"/>
                  <a:pt x="433" y="883"/>
                </a:cubicBezTo>
                <a:cubicBezTo>
                  <a:pt x="434" y="883"/>
                  <a:pt x="435" y="883"/>
                  <a:pt x="436" y="884"/>
                </a:cubicBezTo>
                <a:cubicBezTo>
                  <a:pt x="436" y="884"/>
                  <a:pt x="437" y="884"/>
                  <a:pt x="437" y="885"/>
                </a:cubicBezTo>
                <a:cubicBezTo>
                  <a:pt x="438" y="885"/>
                  <a:pt x="438" y="886"/>
                  <a:pt x="438" y="887"/>
                </a:cubicBezTo>
                <a:cubicBezTo>
                  <a:pt x="438" y="887"/>
                  <a:pt x="438" y="888"/>
                  <a:pt x="437" y="888"/>
                </a:cubicBezTo>
                <a:cubicBezTo>
                  <a:pt x="435" y="890"/>
                  <a:pt x="435" y="890"/>
                  <a:pt x="435" y="890"/>
                </a:cubicBezTo>
                <a:cubicBezTo>
                  <a:pt x="434" y="891"/>
                  <a:pt x="432" y="892"/>
                  <a:pt x="431" y="892"/>
                </a:cubicBezTo>
                <a:cubicBezTo>
                  <a:pt x="430" y="892"/>
                  <a:pt x="430" y="892"/>
                  <a:pt x="430" y="892"/>
                </a:cubicBezTo>
                <a:cubicBezTo>
                  <a:pt x="429" y="892"/>
                  <a:pt x="426" y="893"/>
                  <a:pt x="423" y="894"/>
                </a:cubicBezTo>
                <a:cubicBezTo>
                  <a:pt x="418" y="895"/>
                  <a:pt x="418" y="895"/>
                  <a:pt x="418" y="895"/>
                </a:cubicBezTo>
                <a:cubicBezTo>
                  <a:pt x="418" y="897"/>
                  <a:pt x="418" y="897"/>
                  <a:pt x="418" y="897"/>
                </a:cubicBezTo>
                <a:cubicBezTo>
                  <a:pt x="417" y="899"/>
                  <a:pt x="417" y="899"/>
                  <a:pt x="417" y="899"/>
                </a:cubicBezTo>
                <a:cubicBezTo>
                  <a:pt x="417" y="900"/>
                  <a:pt x="416" y="900"/>
                  <a:pt x="416" y="900"/>
                </a:cubicBezTo>
                <a:cubicBezTo>
                  <a:pt x="415" y="902"/>
                  <a:pt x="415" y="903"/>
                  <a:pt x="415" y="903"/>
                </a:cubicBezTo>
                <a:cubicBezTo>
                  <a:pt x="415" y="903"/>
                  <a:pt x="415" y="903"/>
                  <a:pt x="414" y="904"/>
                </a:cubicBezTo>
                <a:cubicBezTo>
                  <a:pt x="412" y="910"/>
                  <a:pt x="412" y="910"/>
                  <a:pt x="412" y="910"/>
                </a:cubicBezTo>
                <a:cubicBezTo>
                  <a:pt x="413" y="911"/>
                  <a:pt x="414" y="911"/>
                  <a:pt x="416" y="912"/>
                </a:cubicBezTo>
                <a:cubicBezTo>
                  <a:pt x="417" y="913"/>
                  <a:pt x="418" y="914"/>
                  <a:pt x="417" y="915"/>
                </a:cubicBezTo>
                <a:cubicBezTo>
                  <a:pt x="417" y="916"/>
                  <a:pt x="417" y="916"/>
                  <a:pt x="417" y="916"/>
                </a:cubicBezTo>
                <a:cubicBezTo>
                  <a:pt x="417" y="917"/>
                  <a:pt x="416" y="918"/>
                  <a:pt x="416" y="918"/>
                </a:cubicBezTo>
                <a:cubicBezTo>
                  <a:pt x="415" y="919"/>
                  <a:pt x="415" y="919"/>
                  <a:pt x="414" y="919"/>
                </a:cubicBezTo>
                <a:cubicBezTo>
                  <a:pt x="413" y="921"/>
                  <a:pt x="413" y="921"/>
                  <a:pt x="413" y="921"/>
                </a:cubicBezTo>
                <a:cubicBezTo>
                  <a:pt x="412" y="921"/>
                  <a:pt x="412" y="921"/>
                  <a:pt x="411" y="921"/>
                </a:cubicBezTo>
                <a:cubicBezTo>
                  <a:pt x="409" y="921"/>
                  <a:pt x="409" y="921"/>
                  <a:pt x="409" y="921"/>
                </a:cubicBezTo>
                <a:cubicBezTo>
                  <a:pt x="409" y="922"/>
                  <a:pt x="409" y="922"/>
                  <a:pt x="409" y="922"/>
                </a:cubicBezTo>
                <a:cubicBezTo>
                  <a:pt x="410" y="923"/>
                  <a:pt x="411" y="924"/>
                  <a:pt x="410" y="925"/>
                </a:cubicBezTo>
                <a:cubicBezTo>
                  <a:pt x="410" y="925"/>
                  <a:pt x="410" y="925"/>
                  <a:pt x="410" y="926"/>
                </a:cubicBezTo>
                <a:cubicBezTo>
                  <a:pt x="410" y="927"/>
                  <a:pt x="410" y="927"/>
                  <a:pt x="410" y="928"/>
                </a:cubicBezTo>
                <a:cubicBezTo>
                  <a:pt x="410" y="928"/>
                  <a:pt x="410" y="928"/>
                  <a:pt x="409" y="929"/>
                </a:cubicBezTo>
                <a:cubicBezTo>
                  <a:pt x="409" y="929"/>
                  <a:pt x="409" y="931"/>
                  <a:pt x="409" y="932"/>
                </a:cubicBezTo>
                <a:cubicBezTo>
                  <a:pt x="409" y="933"/>
                  <a:pt x="409" y="933"/>
                  <a:pt x="409" y="934"/>
                </a:cubicBezTo>
                <a:cubicBezTo>
                  <a:pt x="410" y="935"/>
                  <a:pt x="410" y="936"/>
                  <a:pt x="411" y="938"/>
                </a:cubicBezTo>
                <a:cubicBezTo>
                  <a:pt x="411" y="938"/>
                  <a:pt x="411" y="938"/>
                  <a:pt x="411" y="938"/>
                </a:cubicBezTo>
                <a:cubicBezTo>
                  <a:pt x="411" y="938"/>
                  <a:pt x="411" y="938"/>
                  <a:pt x="411" y="939"/>
                </a:cubicBezTo>
                <a:cubicBezTo>
                  <a:pt x="412" y="939"/>
                  <a:pt x="412" y="940"/>
                  <a:pt x="412" y="940"/>
                </a:cubicBezTo>
                <a:cubicBezTo>
                  <a:pt x="413" y="940"/>
                  <a:pt x="413" y="941"/>
                  <a:pt x="414" y="942"/>
                </a:cubicBezTo>
                <a:cubicBezTo>
                  <a:pt x="414" y="943"/>
                  <a:pt x="414" y="944"/>
                  <a:pt x="414" y="945"/>
                </a:cubicBezTo>
                <a:cubicBezTo>
                  <a:pt x="414" y="950"/>
                  <a:pt x="414" y="950"/>
                  <a:pt x="414" y="950"/>
                </a:cubicBezTo>
                <a:cubicBezTo>
                  <a:pt x="414" y="950"/>
                  <a:pt x="415" y="952"/>
                  <a:pt x="416" y="953"/>
                </a:cubicBezTo>
                <a:cubicBezTo>
                  <a:pt x="416" y="953"/>
                  <a:pt x="417" y="955"/>
                  <a:pt x="419" y="958"/>
                </a:cubicBezTo>
                <a:cubicBezTo>
                  <a:pt x="419" y="959"/>
                  <a:pt x="422" y="961"/>
                  <a:pt x="422" y="961"/>
                </a:cubicBezTo>
                <a:cubicBezTo>
                  <a:pt x="422" y="961"/>
                  <a:pt x="422" y="961"/>
                  <a:pt x="422" y="961"/>
                </a:cubicBezTo>
                <a:cubicBezTo>
                  <a:pt x="424" y="963"/>
                  <a:pt x="424" y="963"/>
                  <a:pt x="424" y="963"/>
                </a:cubicBezTo>
                <a:cubicBezTo>
                  <a:pt x="424" y="965"/>
                  <a:pt x="425" y="965"/>
                  <a:pt x="425" y="965"/>
                </a:cubicBezTo>
                <a:cubicBezTo>
                  <a:pt x="426" y="965"/>
                  <a:pt x="427" y="966"/>
                  <a:pt x="427" y="967"/>
                </a:cubicBezTo>
                <a:cubicBezTo>
                  <a:pt x="427" y="968"/>
                  <a:pt x="427" y="968"/>
                  <a:pt x="427" y="968"/>
                </a:cubicBezTo>
                <a:cubicBezTo>
                  <a:pt x="428" y="969"/>
                  <a:pt x="428" y="969"/>
                  <a:pt x="428" y="969"/>
                </a:cubicBezTo>
                <a:cubicBezTo>
                  <a:pt x="428" y="969"/>
                  <a:pt x="428" y="969"/>
                  <a:pt x="428" y="969"/>
                </a:cubicBezTo>
                <a:cubicBezTo>
                  <a:pt x="428" y="969"/>
                  <a:pt x="429" y="970"/>
                  <a:pt x="429" y="971"/>
                </a:cubicBezTo>
                <a:cubicBezTo>
                  <a:pt x="429" y="971"/>
                  <a:pt x="429" y="971"/>
                  <a:pt x="429" y="971"/>
                </a:cubicBezTo>
                <a:cubicBezTo>
                  <a:pt x="431" y="971"/>
                  <a:pt x="431" y="971"/>
                  <a:pt x="431" y="971"/>
                </a:cubicBezTo>
                <a:cubicBezTo>
                  <a:pt x="432" y="971"/>
                  <a:pt x="433" y="971"/>
                  <a:pt x="433" y="972"/>
                </a:cubicBezTo>
                <a:cubicBezTo>
                  <a:pt x="433" y="973"/>
                  <a:pt x="434" y="974"/>
                  <a:pt x="434" y="974"/>
                </a:cubicBezTo>
                <a:cubicBezTo>
                  <a:pt x="435" y="974"/>
                  <a:pt x="435" y="974"/>
                  <a:pt x="435" y="974"/>
                </a:cubicBezTo>
                <a:cubicBezTo>
                  <a:pt x="438" y="974"/>
                  <a:pt x="438" y="974"/>
                  <a:pt x="438" y="974"/>
                </a:cubicBezTo>
                <a:cubicBezTo>
                  <a:pt x="438" y="973"/>
                  <a:pt x="440" y="973"/>
                  <a:pt x="442" y="972"/>
                </a:cubicBezTo>
                <a:cubicBezTo>
                  <a:pt x="443" y="972"/>
                  <a:pt x="443" y="972"/>
                  <a:pt x="443" y="972"/>
                </a:cubicBezTo>
                <a:cubicBezTo>
                  <a:pt x="443" y="971"/>
                  <a:pt x="443" y="971"/>
                  <a:pt x="443" y="971"/>
                </a:cubicBezTo>
                <a:cubicBezTo>
                  <a:pt x="444" y="971"/>
                  <a:pt x="444" y="971"/>
                  <a:pt x="445" y="971"/>
                </a:cubicBezTo>
                <a:cubicBezTo>
                  <a:pt x="450" y="971"/>
                  <a:pt x="450" y="971"/>
                  <a:pt x="450" y="971"/>
                </a:cubicBezTo>
                <a:cubicBezTo>
                  <a:pt x="450" y="971"/>
                  <a:pt x="450" y="971"/>
                  <a:pt x="451" y="971"/>
                </a:cubicBezTo>
                <a:cubicBezTo>
                  <a:pt x="451" y="971"/>
                  <a:pt x="452" y="972"/>
                  <a:pt x="454" y="973"/>
                </a:cubicBezTo>
                <a:cubicBezTo>
                  <a:pt x="455" y="974"/>
                  <a:pt x="455" y="974"/>
                  <a:pt x="455" y="974"/>
                </a:cubicBezTo>
                <a:cubicBezTo>
                  <a:pt x="456" y="974"/>
                  <a:pt x="456" y="974"/>
                  <a:pt x="456" y="974"/>
                </a:cubicBezTo>
                <a:cubicBezTo>
                  <a:pt x="456" y="974"/>
                  <a:pt x="457" y="974"/>
                  <a:pt x="457" y="975"/>
                </a:cubicBezTo>
                <a:cubicBezTo>
                  <a:pt x="457" y="975"/>
                  <a:pt x="457" y="975"/>
                  <a:pt x="458" y="975"/>
                </a:cubicBezTo>
                <a:cubicBezTo>
                  <a:pt x="459" y="976"/>
                  <a:pt x="460" y="977"/>
                  <a:pt x="460" y="977"/>
                </a:cubicBezTo>
                <a:cubicBezTo>
                  <a:pt x="460" y="977"/>
                  <a:pt x="463" y="979"/>
                  <a:pt x="464" y="981"/>
                </a:cubicBezTo>
                <a:cubicBezTo>
                  <a:pt x="465" y="981"/>
                  <a:pt x="465" y="981"/>
                  <a:pt x="465" y="981"/>
                </a:cubicBezTo>
                <a:cubicBezTo>
                  <a:pt x="467" y="982"/>
                  <a:pt x="467" y="984"/>
                  <a:pt x="467" y="984"/>
                </a:cubicBezTo>
                <a:cubicBezTo>
                  <a:pt x="467" y="985"/>
                  <a:pt x="467" y="986"/>
                  <a:pt x="468" y="986"/>
                </a:cubicBezTo>
                <a:cubicBezTo>
                  <a:pt x="469" y="988"/>
                  <a:pt x="469" y="989"/>
                  <a:pt x="468" y="990"/>
                </a:cubicBezTo>
                <a:cubicBezTo>
                  <a:pt x="469" y="991"/>
                  <a:pt x="469" y="991"/>
                  <a:pt x="469" y="991"/>
                </a:cubicBezTo>
                <a:cubicBezTo>
                  <a:pt x="470" y="992"/>
                  <a:pt x="470" y="992"/>
                  <a:pt x="471" y="992"/>
                </a:cubicBezTo>
                <a:cubicBezTo>
                  <a:pt x="471" y="992"/>
                  <a:pt x="471" y="992"/>
                  <a:pt x="471" y="992"/>
                </a:cubicBezTo>
                <a:cubicBezTo>
                  <a:pt x="471" y="992"/>
                  <a:pt x="472" y="992"/>
                  <a:pt x="473" y="992"/>
                </a:cubicBezTo>
                <a:cubicBezTo>
                  <a:pt x="474" y="992"/>
                  <a:pt x="474" y="992"/>
                  <a:pt x="475" y="992"/>
                </a:cubicBezTo>
                <a:cubicBezTo>
                  <a:pt x="475" y="992"/>
                  <a:pt x="476" y="992"/>
                  <a:pt x="478" y="992"/>
                </a:cubicBezTo>
                <a:cubicBezTo>
                  <a:pt x="479" y="993"/>
                  <a:pt x="479" y="993"/>
                  <a:pt x="480" y="993"/>
                </a:cubicBezTo>
                <a:cubicBezTo>
                  <a:pt x="481" y="994"/>
                  <a:pt x="481" y="994"/>
                  <a:pt x="481" y="994"/>
                </a:cubicBezTo>
                <a:cubicBezTo>
                  <a:pt x="481" y="995"/>
                  <a:pt x="481" y="995"/>
                  <a:pt x="481" y="995"/>
                </a:cubicBezTo>
                <a:cubicBezTo>
                  <a:pt x="481" y="995"/>
                  <a:pt x="481" y="995"/>
                  <a:pt x="482" y="995"/>
                </a:cubicBezTo>
                <a:cubicBezTo>
                  <a:pt x="482" y="996"/>
                  <a:pt x="482" y="996"/>
                  <a:pt x="482" y="996"/>
                </a:cubicBezTo>
                <a:cubicBezTo>
                  <a:pt x="483" y="996"/>
                  <a:pt x="483" y="995"/>
                  <a:pt x="483" y="995"/>
                </a:cubicBezTo>
                <a:cubicBezTo>
                  <a:pt x="485" y="997"/>
                  <a:pt x="487" y="999"/>
                  <a:pt x="489" y="1000"/>
                </a:cubicBezTo>
                <a:cubicBezTo>
                  <a:pt x="488" y="1001"/>
                  <a:pt x="488" y="1001"/>
                  <a:pt x="488" y="1001"/>
                </a:cubicBezTo>
                <a:cubicBezTo>
                  <a:pt x="487" y="1003"/>
                  <a:pt x="485" y="1003"/>
                  <a:pt x="484" y="1003"/>
                </a:cubicBezTo>
                <a:cubicBezTo>
                  <a:pt x="484" y="1004"/>
                  <a:pt x="483" y="1006"/>
                  <a:pt x="482" y="1007"/>
                </a:cubicBezTo>
                <a:cubicBezTo>
                  <a:pt x="481" y="1008"/>
                  <a:pt x="482" y="1010"/>
                  <a:pt x="482" y="1012"/>
                </a:cubicBezTo>
                <a:cubicBezTo>
                  <a:pt x="482" y="1012"/>
                  <a:pt x="482" y="1012"/>
                  <a:pt x="482" y="1012"/>
                </a:cubicBezTo>
                <a:cubicBezTo>
                  <a:pt x="482" y="1013"/>
                  <a:pt x="482" y="1016"/>
                  <a:pt x="481" y="1018"/>
                </a:cubicBezTo>
                <a:cubicBezTo>
                  <a:pt x="481" y="1019"/>
                  <a:pt x="481" y="1019"/>
                  <a:pt x="481" y="1019"/>
                </a:cubicBezTo>
                <a:cubicBezTo>
                  <a:pt x="481" y="1020"/>
                  <a:pt x="481" y="1020"/>
                  <a:pt x="481" y="1020"/>
                </a:cubicBezTo>
                <a:cubicBezTo>
                  <a:pt x="481" y="1020"/>
                  <a:pt x="481" y="1023"/>
                  <a:pt x="481" y="1026"/>
                </a:cubicBezTo>
                <a:cubicBezTo>
                  <a:pt x="481" y="1027"/>
                  <a:pt x="481" y="1028"/>
                  <a:pt x="481" y="1028"/>
                </a:cubicBezTo>
                <a:cubicBezTo>
                  <a:pt x="481" y="1029"/>
                  <a:pt x="481" y="1029"/>
                  <a:pt x="481" y="1029"/>
                </a:cubicBezTo>
                <a:cubicBezTo>
                  <a:pt x="481" y="1030"/>
                  <a:pt x="481" y="1031"/>
                  <a:pt x="481" y="1031"/>
                </a:cubicBezTo>
                <a:cubicBezTo>
                  <a:pt x="481" y="1032"/>
                  <a:pt x="481" y="1032"/>
                  <a:pt x="481" y="1032"/>
                </a:cubicBezTo>
                <a:cubicBezTo>
                  <a:pt x="481" y="1033"/>
                  <a:pt x="481" y="1034"/>
                  <a:pt x="481" y="1035"/>
                </a:cubicBezTo>
                <a:cubicBezTo>
                  <a:pt x="481" y="1036"/>
                  <a:pt x="481" y="1037"/>
                  <a:pt x="481" y="1039"/>
                </a:cubicBezTo>
                <a:cubicBezTo>
                  <a:pt x="481" y="1039"/>
                  <a:pt x="481" y="1039"/>
                  <a:pt x="481" y="1039"/>
                </a:cubicBezTo>
                <a:cubicBezTo>
                  <a:pt x="482" y="1040"/>
                  <a:pt x="482" y="1040"/>
                  <a:pt x="482" y="1041"/>
                </a:cubicBezTo>
                <a:cubicBezTo>
                  <a:pt x="482" y="1041"/>
                  <a:pt x="482" y="1041"/>
                  <a:pt x="482" y="1041"/>
                </a:cubicBezTo>
                <a:cubicBezTo>
                  <a:pt x="482" y="1048"/>
                  <a:pt x="482" y="1048"/>
                  <a:pt x="482" y="1048"/>
                </a:cubicBezTo>
                <a:cubicBezTo>
                  <a:pt x="483" y="1049"/>
                  <a:pt x="484" y="1049"/>
                  <a:pt x="484" y="1050"/>
                </a:cubicBezTo>
                <a:cubicBezTo>
                  <a:pt x="483" y="1051"/>
                  <a:pt x="483" y="1051"/>
                  <a:pt x="483" y="1051"/>
                </a:cubicBezTo>
                <a:cubicBezTo>
                  <a:pt x="483" y="1051"/>
                  <a:pt x="483" y="1051"/>
                  <a:pt x="483" y="1051"/>
                </a:cubicBezTo>
                <a:cubicBezTo>
                  <a:pt x="484" y="1050"/>
                  <a:pt x="484" y="1050"/>
                  <a:pt x="484" y="1050"/>
                </a:cubicBezTo>
                <a:cubicBezTo>
                  <a:pt x="488" y="1043"/>
                  <a:pt x="488" y="1043"/>
                  <a:pt x="488" y="1043"/>
                </a:cubicBezTo>
                <a:cubicBezTo>
                  <a:pt x="510" y="1020"/>
                  <a:pt x="510" y="1020"/>
                  <a:pt x="510" y="1020"/>
                </a:cubicBezTo>
                <a:cubicBezTo>
                  <a:pt x="513" y="1017"/>
                  <a:pt x="513" y="1017"/>
                  <a:pt x="513" y="1017"/>
                </a:cubicBezTo>
                <a:cubicBezTo>
                  <a:pt x="524" y="1008"/>
                  <a:pt x="524" y="1008"/>
                  <a:pt x="524" y="1008"/>
                </a:cubicBezTo>
                <a:cubicBezTo>
                  <a:pt x="525" y="1009"/>
                  <a:pt x="525" y="1009"/>
                  <a:pt x="525" y="1009"/>
                </a:cubicBezTo>
                <a:cubicBezTo>
                  <a:pt x="526" y="1010"/>
                  <a:pt x="526" y="1010"/>
                  <a:pt x="526" y="1010"/>
                </a:cubicBezTo>
                <a:cubicBezTo>
                  <a:pt x="527" y="1012"/>
                  <a:pt x="527" y="1012"/>
                  <a:pt x="527" y="1012"/>
                </a:cubicBezTo>
                <a:cubicBezTo>
                  <a:pt x="527" y="1013"/>
                  <a:pt x="527" y="1013"/>
                  <a:pt x="527" y="1013"/>
                </a:cubicBezTo>
                <a:cubicBezTo>
                  <a:pt x="526" y="1015"/>
                  <a:pt x="526" y="1015"/>
                  <a:pt x="526" y="1015"/>
                </a:cubicBezTo>
                <a:cubicBezTo>
                  <a:pt x="525" y="1016"/>
                  <a:pt x="525" y="1016"/>
                  <a:pt x="525" y="1016"/>
                </a:cubicBezTo>
                <a:cubicBezTo>
                  <a:pt x="523" y="1017"/>
                  <a:pt x="523" y="1017"/>
                  <a:pt x="523" y="1017"/>
                </a:cubicBezTo>
                <a:cubicBezTo>
                  <a:pt x="519" y="1018"/>
                  <a:pt x="519" y="1018"/>
                  <a:pt x="519" y="1018"/>
                </a:cubicBezTo>
                <a:cubicBezTo>
                  <a:pt x="516" y="1019"/>
                  <a:pt x="516" y="1019"/>
                  <a:pt x="516" y="1019"/>
                </a:cubicBezTo>
                <a:cubicBezTo>
                  <a:pt x="515" y="1020"/>
                  <a:pt x="515" y="1020"/>
                  <a:pt x="515" y="1020"/>
                </a:cubicBezTo>
                <a:cubicBezTo>
                  <a:pt x="512" y="1022"/>
                  <a:pt x="512" y="1022"/>
                  <a:pt x="512" y="1022"/>
                </a:cubicBezTo>
                <a:cubicBezTo>
                  <a:pt x="501" y="1039"/>
                  <a:pt x="501" y="1039"/>
                  <a:pt x="501" y="1039"/>
                </a:cubicBezTo>
                <a:cubicBezTo>
                  <a:pt x="488" y="1059"/>
                  <a:pt x="488" y="1059"/>
                  <a:pt x="488" y="1059"/>
                </a:cubicBezTo>
                <a:cubicBezTo>
                  <a:pt x="466" y="1084"/>
                  <a:pt x="466" y="1084"/>
                  <a:pt x="466" y="1084"/>
                </a:cubicBezTo>
                <a:cubicBezTo>
                  <a:pt x="438" y="1116"/>
                  <a:pt x="438" y="1116"/>
                  <a:pt x="438" y="1116"/>
                </a:cubicBezTo>
                <a:cubicBezTo>
                  <a:pt x="434" y="1120"/>
                  <a:pt x="434" y="1120"/>
                  <a:pt x="434" y="1120"/>
                </a:cubicBezTo>
                <a:cubicBezTo>
                  <a:pt x="432" y="1130"/>
                  <a:pt x="432" y="1130"/>
                  <a:pt x="432" y="1130"/>
                </a:cubicBezTo>
                <a:cubicBezTo>
                  <a:pt x="431" y="1137"/>
                  <a:pt x="431" y="1137"/>
                  <a:pt x="431" y="1137"/>
                </a:cubicBezTo>
                <a:cubicBezTo>
                  <a:pt x="431" y="1141"/>
                  <a:pt x="431" y="1141"/>
                  <a:pt x="431" y="1141"/>
                </a:cubicBezTo>
                <a:cubicBezTo>
                  <a:pt x="431" y="1143"/>
                  <a:pt x="431" y="1143"/>
                  <a:pt x="431" y="1143"/>
                </a:cubicBezTo>
                <a:cubicBezTo>
                  <a:pt x="434" y="1146"/>
                  <a:pt x="434" y="1146"/>
                  <a:pt x="434" y="1146"/>
                </a:cubicBezTo>
                <a:cubicBezTo>
                  <a:pt x="434" y="1147"/>
                  <a:pt x="434" y="1147"/>
                  <a:pt x="434" y="1147"/>
                </a:cubicBezTo>
                <a:cubicBezTo>
                  <a:pt x="434" y="1148"/>
                  <a:pt x="434" y="1148"/>
                  <a:pt x="434" y="1148"/>
                </a:cubicBezTo>
                <a:cubicBezTo>
                  <a:pt x="434" y="1151"/>
                  <a:pt x="434" y="1151"/>
                  <a:pt x="434" y="1151"/>
                </a:cubicBezTo>
                <a:cubicBezTo>
                  <a:pt x="433" y="1153"/>
                  <a:pt x="433" y="1153"/>
                  <a:pt x="433" y="1153"/>
                </a:cubicBezTo>
                <a:cubicBezTo>
                  <a:pt x="432" y="1155"/>
                  <a:pt x="432" y="1155"/>
                  <a:pt x="432" y="1155"/>
                </a:cubicBezTo>
                <a:cubicBezTo>
                  <a:pt x="432" y="1155"/>
                  <a:pt x="432" y="1155"/>
                  <a:pt x="432" y="1155"/>
                </a:cubicBezTo>
                <a:cubicBezTo>
                  <a:pt x="425" y="1158"/>
                  <a:pt x="425" y="1158"/>
                  <a:pt x="425" y="1158"/>
                </a:cubicBezTo>
                <a:cubicBezTo>
                  <a:pt x="423" y="1158"/>
                  <a:pt x="423" y="1158"/>
                  <a:pt x="423" y="1158"/>
                </a:cubicBezTo>
                <a:cubicBezTo>
                  <a:pt x="390" y="1165"/>
                  <a:pt x="390" y="1165"/>
                  <a:pt x="390" y="1165"/>
                </a:cubicBezTo>
                <a:cubicBezTo>
                  <a:pt x="371" y="1164"/>
                  <a:pt x="371" y="1164"/>
                  <a:pt x="371" y="1164"/>
                </a:cubicBezTo>
                <a:cubicBezTo>
                  <a:pt x="370" y="1164"/>
                  <a:pt x="370" y="1164"/>
                  <a:pt x="370" y="1164"/>
                </a:cubicBezTo>
                <a:cubicBezTo>
                  <a:pt x="369" y="1164"/>
                  <a:pt x="369" y="1164"/>
                  <a:pt x="369" y="1164"/>
                </a:cubicBezTo>
                <a:cubicBezTo>
                  <a:pt x="368" y="1162"/>
                  <a:pt x="368" y="1162"/>
                  <a:pt x="368" y="1162"/>
                </a:cubicBezTo>
                <a:cubicBezTo>
                  <a:pt x="364" y="1159"/>
                  <a:pt x="364" y="1159"/>
                  <a:pt x="364" y="1159"/>
                </a:cubicBezTo>
                <a:cubicBezTo>
                  <a:pt x="358" y="1155"/>
                  <a:pt x="358" y="1155"/>
                  <a:pt x="358" y="1155"/>
                </a:cubicBezTo>
                <a:cubicBezTo>
                  <a:pt x="344" y="1152"/>
                  <a:pt x="344" y="1152"/>
                  <a:pt x="344" y="1152"/>
                </a:cubicBezTo>
                <a:cubicBezTo>
                  <a:pt x="310" y="1152"/>
                  <a:pt x="310" y="1152"/>
                  <a:pt x="310" y="1152"/>
                </a:cubicBezTo>
                <a:cubicBezTo>
                  <a:pt x="309" y="1152"/>
                  <a:pt x="309" y="1152"/>
                  <a:pt x="309" y="1152"/>
                </a:cubicBezTo>
                <a:cubicBezTo>
                  <a:pt x="255" y="1159"/>
                  <a:pt x="255" y="1159"/>
                  <a:pt x="255" y="1159"/>
                </a:cubicBezTo>
                <a:cubicBezTo>
                  <a:pt x="245" y="1162"/>
                  <a:pt x="245" y="1162"/>
                  <a:pt x="245" y="1162"/>
                </a:cubicBezTo>
                <a:cubicBezTo>
                  <a:pt x="244" y="1162"/>
                  <a:pt x="244" y="1162"/>
                  <a:pt x="244" y="1162"/>
                </a:cubicBezTo>
                <a:cubicBezTo>
                  <a:pt x="241" y="1165"/>
                  <a:pt x="241" y="1165"/>
                  <a:pt x="241" y="1165"/>
                </a:cubicBezTo>
                <a:cubicBezTo>
                  <a:pt x="241" y="1166"/>
                  <a:pt x="241" y="1166"/>
                  <a:pt x="241" y="1166"/>
                </a:cubicBezTo>
                <a:cubicBezTo>
                  <a:pt x="242" y="1174"/>
                  <a:pt x="242" y="1174"/>
                  <a:pt x="242" y="1174"/>
                </a:cubicBezTo>
                <a:cubicBezTo>
                  <a:pt x="242" y="1191"/>
                  <a:pt x="242" y="1191"/>
                  <a:pt x="242" y="1191"/>
                </a:cubicBezTo>
                <a:cubicBezTo>
                  <a:pt x="242" y="1195"/>
                  <a:pt x="242" y="1195"/>
                  <a:pt x="242" y="1195"/>
                </a:cubicBezTo>
                <a:cubicBezTo>
                  <a:pt x="239" y="1201"/>
                  <a:pt x="239" y="1201"/>
                  <a:pt x="239" y="1201"/>
                </a:cubicBezTo>
                <a:cubicBezTo>
                  <a:pt x="239" y="1202"/>
                  <a:pt x="239" y="1202"/>
                  <a:pt x="239" y="1202"/>
                </a:cubicBezTo>
                <a:cubicBezTo>
                  <a:pt x="227" y="1212"/>
                  <a:pt x="227" y="1212"/>
                  <a:pt x="227" y="1212"/>
                </a:cubicBezTo>
                <a:cubicBezTo>
                  <a:pt x="225" y="1214"/>
                  <a:pt x="225" y="1214"/>
                  <a:pt x="225" y="1214"/>
                </a:cubicBezTo>
                <a:cubicBezTo>
                  <a:pt x="222" y="1215"/>
                  <a:pt x="222" y="1215"/>
                  <a:pt x="222" y="1215"/>
                </a:cubicBezTo>
                <a:cubicBezTo>
                  <a:pt x="219" y="1215"/>
                  <a:pt x="219" y="1215"/>
                  <a:pt x="219" y="1215"/>
                </a:cubicBezTo>
                <a:cubicBezTo>
                  <a:pt x="216" y="1214"/>
                  <a:pt x="216" y="1214"/>
                  <a:pt x="216" y="1214"/>
                </a:cubicBezTo>
                <a:cubicBezTo>
                  <a:pt x="211" y="1213"/>
                  <a:pt x="211" y="1213"/>
                  <a:pt x="211" y="1213"/>
                </a:cubicBezTo>
                <a:cubicBezTo>
                  <a:pt x="209" y="1210"/>
                  <a:pt x="209" y="1210"/>
                  <a:pt x="209" y="1210"/>
                </a:cubicBezTo>
                <a:cubicBezTo>
                  <a:pt x="205" y="1209"/>
                  <a:pt x="205" y="1209"/>
                  <a:pt x="205" y="1209"/>
                </a:cubicBezTo>
                <a:cubicBezTo>
                  <a:pt x="201" y="1207"/>
                  <a:pt x="201" y="1207"/>
                  <a:pt x="201" y="1207"/>
                </a:cubicBezTo>
                <a:cubicBezTo>
                  <a:pt x="193" y="1207"/>
                  <a:pt x="193" y="1207"/>
                  <a:pt x="193" y="1207"/>
                </a:cubicBezTo>
                <a:cubicBezTo>
                  <a:pt x="193" y="1207"/>
                  <a:pt x="193" y="1207"/>
                  <a:pt x="193" y="1207"/>
                </a:cubicBezTo>
                <a:cubicBezTo>
                  <a:pt x="192" y="1208"/>
                  <a:pt x="192" y="1208"/>
                  <a:pt x="192" y="1208"/>
                </a:cubicBezTo>
                <a:cubicBezTo>
                  <a:pt x="192" y="1209"/>
                  <a:pt x="192" y="1209"/>
                  <a:pt x="192" y="1209"/>
                </a:cubicBezTo>
                <a:cubicBezTo>
                  <a:pt x="189" y="1229"/>
                  <a:pt x="189" y="1229"/>
                  <a:pt x="189" y="1229"/>
                </a:cubicBezTo>
                <a:cubicBezTo>
                  <a:pt x="189" y="1246"/>
                  <a:pt x="189" y="1246"/>
                  <a:pt x="189" y="1246"/>
                </a:cubicBezTo>
                <a:cubicBezTo>
                  <a:pt x="183" y="1269"/>
                  <a:pt x="183" y="1269"/>
                  <a:pt x="183" y="1269"/>
                </a:cubicBezTo>
                <a:cubicBezTo>
                  <a:pt x="179" y="1272"/>
                  <a:pt x="179" y="1272"/>
                  <a:pt x="179" y="1272"/>
                </a:cubicBezTo>
                <a:cubicBezTo>
                  <a:pt x="162" y="1291"/>
                  <a:pt x="162" y="1291"/>
                  <a:pt x="162" y="1291"/>
                </a:cubicBezTo>
                <a:cubicBezTo>
                  <a:pt x="156" y="1300"/>
                  <a:pt x="156" y="1300"/>
                  <a:pt x="156" y="1300"/>
                </a:cubicBezTo>
                <a:cubicBezTo>
                  <a:pt x="156" y="1303"/>
                  <a:pt x="156" y="1303"/>
                  <a:pt x="156" y="1303"/>
                </a:cubicBezTo>
                <a:cubicBezTo>
                  <a:pt x="155" y="1308"/>
                  <a:pt x="155" y="1308"/>
                  <a:pt x="155" y="1308"/>
                </a:cubicBezTo>
                <a:cubicBezTo>
                  <a:pt x="153" y="1312"/>
                  <a:pt x="153" y="1312"/>
                  <a:pt x="153" y="1312"/>
                </a:cubicBezTo>
                <a:cubicBezTo>
                  <a:pt x="152" y="1314"/>
                  <a:pt x="152" y="1314"/>
                  <a:pt x="152" y="1314"/>
                </a:cubicBezTo>
                <a:cubicBezTo>
                  <a:pt x="148" y="1315"/>
                  <a:pt x="148" y="1315"/>
                  <a:pt x="148" y="1315"/>
                </a:cubicBezTo>
                <a:cubicBezTo>
                  <a:pt x="136" y="1318"/>
                  <a:pt x="136" y="1318"/>
                  <a:pt x="136" y="1318"/>
                </a:cubicBezTo>
                <a:cubicBezTo>
                  <a:pt x="131" y="1319"/>
                  <a:pt x="131" y="1319"/>
                  <a:pt x="131" y="1319"/>
                </a:cubicBezTo>
                <a:cubicBezTo>
                  <a:pt x="115" y="1326"/>
                  <a:pt x="115" y="1326"/>
                  <a:pt x="115" y="1326"/>
                </a:cubicBezTo>
                <a:cubicBezTo>
                  <a:pt x="114" y="1326"/>
                  <a:pt x="114" y="1326"/>
                  <a:pt x="114" y="1326"/>
                </a:cubicBezTo>
                <a:cubicBezTo>
                  <a:pt x="114" y="1326"/>
                  <a:pt x="114" y="1326"/>
                  <a:pt x="114" y="1326"/>
                </a:cubicBezTo>
                <a:cubicBezTo>
                  <a:pt x="113" y="1327"/>
                  <a:pt x="113" y="1327"/>
                  <a:pt x="113" y="1327"/>
                </a:cubicBezTo>
                <a:cubicBezTo>
                  <a:pt x="111" y="1337"/>
                  <a:pt x="111" y="1337"/>
                  <a:pt x="111" y="1337"/>
                </a:cubicBezTo>
                <a:cubicBezTo>
                  <a:pt x="110" y="1339"/>
                  <a:pt x="110" y="1339"/>
                  <a:pt x="110" y="1339"/>
                </a:cubicBezTo>
                <a:cubicBezTo>
                  <a:pt x="112" y="1342"/>
                  <a:pt x="112" y="1342"/>
                  <a:pt x="112" y="1342"/>
                </a:cubicBezTo>
                <a:cubicBezTo>
                  <a:pt x="113" y="1345"/>
                  <a:pt x="113" y="1345"/>
                  <a:pt x="113" y="1345"/>
                </a:cubicBezTo>
                <a:cubicBezTo>
                  <a:pt x="113" y="1346"/>
                  <a:pt x="113" y="1346"/>
                  <a:pt x="113" y="1346"/>
                </a:cubicBezTo>
                <a:cubicBezTo>
                  <a:pt x="110" y="1354"/>
                  <a:pt x="110" y="1354"/>
                  <a:pt x="110" y="1354"/>
                </a:cubicBezTo>
                <a:cubicBezTo>
                  <a:pt x="109" y="1357"/>
                  <a:pt x="109" y="1357"/>
                  <a:pt x="109" y="1357"/>
                </a:cubicBezTo>
                <a:cubicBezTo>
                  <a:pt x="92" y="1376"/>
                  <a:pt x="92" y="1376"/>
                  <a:pt x="92" y="1376"/>
                </a:cubicBezTo>
                <a:cubicBezTo>
                  <a:pt x="72" y="1395"/>
                  <a:pt x="72" y="1395"/>
                  <a:pt x="72" y="1395"/>
                </a:cubicBezTo>
                <a:cubicBezTo>
                  <a:pt x="51" y="1410"/>
                  <a:pt x="51" y="1410"/>
                  <a:pt x="51" y="1410"/>
                </a:cubicBezTo>
                <a:cubicBezTo>
                  <a:pt x="39" y="1409"/>
                  <a:pt x="39" y="1409"/>
                  <a:pt x="39" y="1409"/>
                </a:cubicBezTo>
                <a:cubicBezTo>
                  <a:pt x="38" y="1409"/>
                  <a:pt x="38" y="1409"/>
                  <a:pt x="38" y="1409"/>
                </a:cubicBezTo>
                <a:cubicBezTo>
                  <a:pt x="35" y="1409"/>
                  <a:pt x="35" y="1409"/>
                  <a:pt x="35" y="1409"/>
                </a:cubicBezTo>
                <a:cubicBezTo>
                  <a:pt x="34" y="1409"/>
                  <a:pt x="34" y="1409"/>
                  <a:pt x="34" y="1409"/>
                </a:cubicBezTo>
                <a:cubicBezTo>
                  <a:pt x="28" y="1411"/>
                  <a:pt x="28" y="1411"/>
                  <a:pt x="28" y="1411"/>
                </a:cubicBezTo>
                <a:cubicBezTo>
                  <a:pt x="5" y="1423"/>
                  <a:pt x="5" y="1423"/>
                  <a:pt x="5" y="1423"/>
                </a:cubicBezTo>
                <a:cubicBezTo>
                  <a:pt x="4" y="1424"/>
                  <a:pt x="4" y="1424"/>
                  <a:pt x="4" y="1424"/>
                </a:cubicBezTo>
                <a:cubicBezTo>
                  <a:pt x="2" y="1430"/>
                  <a:pt x="2" y="1430"/>
                  <a:pt x="2" y="1430"/>
                </a:cubicBezTo>
                <a:cubicBezTo>
                  <a:pt x="0" y="1446"/>
                  <a:pt x="0" y="1446"/>
                  <a:pt x="0" y="1446"/>
                </a:cubicBezTo>
                <a:cubicBezTo>
                  <a:pt x="0" y="1447"/>
                  <a:pt x="0" y="1447"/>
                  <a:pt x="0" y="1447"/>
                </a:cubicBezTo>
                <a:cubicBezTo>
                  <a:pt x="0" y="1448"/>
                  <a:pt x="0" y="1448"/>
                  <a:pt x="0" y="1448"/>
                </a:cubicBezTo>
                <a:cubicBezTo>
                  <a:pt x="1" y="1449"/>
                  <a:pt x="1" y="1449"/>
                  <a:pt x="1" y="1449"/>
                </a:cubicBezTo>
                <a:cubicBezTo>
                  <a:pt x="2" y="1450"/>
                  <a:pt x="2" y="1450"/>
                  <a:pt x="2" y="1450"/>
                </a:cubicBezTo>
                <a:cubicBezTo>
                  <a:pt x="5" y="1452"/>
                  <a:pt x="5" y="1452"/>
                  <a:pt x="5" y="1452"/>
                </a:cubicBezTo>
                <a:cubicBezTo>
                  <a:pt x="7" y="1453"/>
                  <a:pt x="7" y="1453"/>
                  <a:pt x="7" y="1453"/>
                </a:cubicBezTo>
                <a:cubicBezTo>
                  <a:pt x="8" y="1454"/>
                  <a:pt x="8" y="1454"/>
                  <a:pt x="8" y="1454"/>
                </a:cubicBezTo>
                <a:cubicBezTo>
                  <a:pt x="11" y="1454"/>
                  <a:pt x="11" y="1454"/>
                  <a:pt x="11" y="1454"/>
                </a:cubicBezTo>
                <a:cubicBezTo>
                  <a:pt x="22" y="1451"/>
                  <a:pt x="22" y="1451"/>
                  <a:pt x="22" y="1451"/>
                </a:cubicBezTo>
                <a:cubicBezTo>
                  <a:pt x="25" y="1450"/>
                  <a:pt x="25" y="1450"/>
                  <a:pt x="25" y="1450"/>
                </a:cubicBezTo>
                <a:cubicBezTo>
                  <a:pt x="27" y="1448"/>
                  <a:pt x="27" y="1448"/>
                  <a:pt x="27" y="1448"/>
                </a:cubicBezTo>
                <a:cubicBezTo>
                  <a:pt x="28" y="1446"/>
                  <a:pt x="28" y="1446"/>
                  <a:pt x="28" y="1446"/>
                </a:cubicBezTo>
                <a:cubicBezTo>
                  <a:pt x="29" y="1445"/>
                  <a:pt x="29" y="1445"/>
                  <a:pt x="29" y="1445"/>
                </a:cubicBezTo>
                <a:cubicBezTo>
                  <a:pt x="29" y="1442"/>
                  <a:pt x="29" y="1442"/>
                  <a:pt x="29" y="1442"/>
                </a:cubicBezTo>
                <a:cubicBezTo>
                  <a:pt x="29" y="1442"/>
                  <a:pt x="29" y="1442"/>
                  <a:pt x="29" y="1442"/>
                </a:cubicBezTo>
                <a:cubicBezTo>
                  <a:pt x="29" y="1439"/>
                  <a:pt x="29" y="1439"/>
                  <a:pt x="29" y="1439"/>
                </a:cubicBezTo>
                <a:cubicBezTo>
                  <a:pt x="29" y="1436"/>
                  <a:pt x="29" y="1436"/>
                  <a:pt x="29" y="1436"/>
                </a:cubicBezTo>
                <a:cubicBezTo>
                  <a:pt x="30" y="1435"/>
                  <a:pt x="30" y="1435"/>
                  <a:pt x="30" y="1435"/>
                </a:cubicBezTo>
                <a:cubicBezTo>
                  <a:pt x="30" y="1434"/>
                  <a:pt x="30" y="1434"/>
                  <a:pt x="30" y="1434"/>
                </a:cubicBezTo>
                <a:cubicBezTo>
                  <a:pt x="31" y="1433"/>
                  <a:pt x="31" y="1433"/>
                  <a:pt x="31" y="1433"/>
                </a:cubicBezTo>
                <a:cubicBezTo>
                  <a:pt x="35" y="1431"/>
                  <a:pt x="35" y="1431"/>
                  <a:pt x="35" y="1431"/>
                </a:cubicBezTo>
                <a:cubicBezTo>
                  <a:pt x="37" y="1431"/>
                  <a:pt x="37" y="1431"/>
                  <a:pt x="37" y="1431"/>
                </a:cubicBezTo>
                <a:cubicBezTo>
                  <a:pt x="39" y="1431"/>
                  <a:pt x="39" y="1431"/>
                  <a:pt x="39" y="1431"/>
                </a:cubicBezTo>
                <a:cubicBezTo>
                  <a:pt x="55" y="1437"/>
                  <a:pt x="55" y="1437"/>
                  <a:pt x="55" y="1437"/>
                </a:cubicBezTo>
                <a:cubicBezTo>
                  <a:pt x="63" y="1440"/>
                  <a:pt x="63" y="1440"/>
                  <a:pt x="63" y="1440"/>
                </a:cubicBezTo>
                <a:cubicBezTo>
                  <a:pt x="65" y="1442"/>
                  <a:pt x="65" y="1442"/>
                  <a:pt x="65" y="1442"/>
                </a:cubicBezTo>
                <a:cubicBezTo>
                  <a:pt x="70" y="1446"/>
                  <a:pt x="70" y="1446"/>
                  <a:pt x="70" y="1446"/>
                </a:cubicBezTo>
                <a:cubicBezTo>
                  <a:pt x="72" y="1448"/>
                  <a:pt x="72" y="1448"/>
                  <a:pt x="72" y="1448"/>
                </a:cubicBezTo>
                <a:cubicBezTo>
                  <a:pt x="75" y="1456"/>
                  <a:pt x="75" y="1456"/>
                  <a:pt x="75" y="1456"/>
                </a:cubicBezTo>
                <a:cubicBezTo>
                  <a:pt x="76" y="1458"/>
                  <a:pt x="76" y="1458"/>
                  <a:pt x="76" y="1458"/>
                </a:cubicBezTo>
                <a:cubicBezTo>
                  <a:pt x="76" y="1459"/>
                  <a:pt x="76" y="1459"/>
                  <a:pt x="76" y="1459"/>
                </a:cubicBezTo>
                <a:cubicBezTo>
                  <a:pt x="76" y="1460"/>
                  <a:pt x="76" y="1460"/>
                  <a:pt x="76" y="1460"/>
                </a:cubicBezTo>
                <a:cubicBezTo>
                  <a:pt x="75" y="1462"/>
                  <a:pt x="75" y="1462"/>
                  <a:pt x="75" y="1462"/>
                </a:cubicBezTo>
                <a:cubicBezTo>
                  <a:pt x="75" y="1462"/>
                  <a:pt x="75" y="1462"/>
                  <a:pt x="75" y="1462"/>
                </a:cubicBezTo>
                <a:cubicBezTo>
                  <a:pt x="75" y="1463"/>
                  <a:pt x="75" y="1463"/>
                  <a:pt x="75" y="1463"/>
                </a:cubicBezTo>
                <a:cubicBezTo>
                  <a:pt x="78" y="1468"/>
                  <a:pt x="78" y="1468"/>
                  <a:pt x="78" y="1468"/>
                </a:cubicBezTo>
                <a:cubicBezTo>
                  <a:pt x="80" y="1471"/>
                  <a:pt x="80" y="1471"/>
                  <a:pt x="80" y="1471"/>
                </a:cubicBezTo>
                <a:cubicBezTo>
                  <a:pt x="84" y="1474"/>
                  <a:pt x="84" y="1474"/>
                  <a:pt x="84" y="1474"/>
                </a:cubicBezTo>
                <a:cubicBezTo>
                  <a:pt x="84" y="1475"/>
                  <a:pt x="84" y="1475"/>
                  <a:pt x="84" y="1475"/>
                </a:cubicBezTo>
                <a:cubicBezTo>
                  <a:pt x="85" y="1475"/>
                  <a:pt x="85" y="1475"/>
                  <a:pt x="85" y="1475"/>
                </a:cubicBezTo>
                <a:cubicBezTo>
                  <a:pt x="102" y="1461"/>
                  <a:pt x="102" y="1461"/>
                  <a:pt x="102" y="1461"/>
                </a:cubicBezTo>
                <a:cubicBezTo>
                  <a:pt x="102" y="1461"/>
                  <a:pt x="102" y="1461"/>
                  <a:pt x="102" y="1461"/>
                </a:cubicBezTo>
                <a:cubicBezTo>
                  <a:pt x="107" y="1453"/>
                  <a:pt x="107" y="1453"/>
                  <a:pt x="107" y="1453"/>
                </a:cubicBezTo>
                <a:cubicBezTo>
                  <a:pt x="108" y="1450"/>
                  <a:pt x="108" y="1450"/>
                  <a:pt x="108" y="1450"/>
                </a:cubicBezTo>
                <a:cubicBezTo>
                  <a:pt x="108" y="1448"/>
                  <a:pt x="108" y="1448"/>
                  <a:pt x="108" y="1448"/>
                </a:cubicBezTo>
                <a:cubicBezTo>
                  <a:pt x="106" y="1443"/>
                  <a:pt x="106" y="1443"/>
                  <a:pt x="106" y="1443"/>
                </a:cubicBezTo>
                <a:cubicBezTo>
                  <a:pt x="105" y="1443"/>
                  <a:pt x="105" y="1443"/>
                  <a:pt x="105" y="1443"/>
                </a:cubicBezTo>
                <a:cubicBezTo>
                  <a:pt x="104" y="1442"/>
                  <a:pt x="104" y="1442"/>
                  <a:pt x="104" y="1442"/>
                </a:cubicBezTo>
                <a:cubicBezTo>
                  <a:pt x="105" y="1429"/>
                  <a:pt x="105" y="1429"/>
                  <a:pt x="105" y="1429"/>
                </a:cubicBezTo>
                <a:cubicBezTo>
                  <a:pt x="109" y="1414"/>
                  <a:pt x="109" y="1414"/>
                  <a:pt x="109" y="1414"/>
                </a:cubicBezTo>
                <a:cubicBezTo>
                  <a:pt x="112" y="1408"/>
                  <a:pt x="112" y="1408"/>
                  <a:pt x="112" y="1408"/>
                </a:cubicBezTo>
                <a:cubicBezTo>
                  <a:pt x="113" y="1408"/>
                  <a:pt x="113" y="1408"/>
                  <a:pt x="113" y="1408"/>
                </a:cubicBezTo>
                <a:cubicBezTo>
                  <a:pt x="114" y="1408"/>
                  <a:pt x="114" y="1408"/>
                  <a:pt x="114" y="1408"/>
                </a:cubicBezTo>
                <a:cubicBezTo>
                  <a:pt x="114" y="1409"/>
                  <a:pt x="114" y="1409"/>
                  <a:pt x="114" y="1409"/>
                </a:cubicBezTo>
                <a:cubicBezTo>
                  <a:pt x="113" y="1414"/>
                  <a:pt x="113" y="1414"/>
                  <a:pt x="113" y="1414"/>
                </a:cubicBezTo>
                <a:cubicBezTo>
                  <a:pt x="113" y="1415"/>
                  <a:pt x="113" y="1415"/>
                  <a:pt x="113" y="1415"/>
                </a:cubicBezTo>
                <a:cubicBezTo>
                  <a:pt x="115" y="1428"/>
                  <a:pt x="115" y="1428"/>
                  <a:pt x="115" y="1428"/>
                </a:cubicBezTo>
                <a:cubicBezTo>
                  <a:pt x="115" y="1428"/>
                  <a:pt x="115" y="1428"/>
                  <a:pt x="115" y="1428"/>
                </a:cubicBezTo>
                <a:cubicBezTo>
                  <a:pt x="118" y="1426"/>
                  <a:pt x="118" y="1426"/>
                  <a:pt x="118" y="1426"/>
                </a:cubicBezTo>
                <a:cubicBezTo>
                  <a:pt x="120" y="1425"/>
                  <a:pt x="120" y="1425"/>
                  <a:pt x="120" y="1425"/>
                </a:cubicBezTo>
                <a:cubicBezTo>
                  <a:pt x="121" y="1424"/>
                  <a:pt x="121" y="1424"/>
                  <a:pt x="121" y="1424"/>
                </a:cubicBezTo>
                <a:cubicBezTo>
                  <a:pt x="121" y="1420"/>
                  <a:pt x="121" y="1420"/>
                  <a:pt x="121" y="1420"/>
                </a:cubicBezTo>
                <a:cubicBezTo>
                  <a:pt x="121" y="1419"/>
                  <a:pt x="121" y="1419"/>
                  <a:pt x="121" y="1419"/>
                </a:cubicBezTo>
                <a:cubicBezTo>
                  <a:pt x="122" y="1416"/>
                  <a:pt x="122" y="1416"/>
                  <a:pt x="122" y="1416"/>
                </a:cubicBezTo>
                <a:cubicBezTo>
                  <a:pt x="125" y="1414"/>
                  <a:pt x="125" y="1414"/>
                  <a:pt x="125" y="1414"/>
                </a:cubicBezTo>
                <a:cubicBezTo>
                  <a:pt x="141" y="1405"/>
                  <a:pt x="141" y="1405"/>
                  <a:pt x="141" y="1405"/>
                </a:cubicBezTo>
                <a:cubicBezTo>
                  <a:pt x="152" y="1396"/>
                  <a:pt x="152" y="1396"/>
                  <a:pt x="152" y="1396"/>
                </a:cubicBezTo>
                <a:cubicBezTo>
                  <a:pt x="152" y="1394"/>
                  <a:pt x="152" y="1394"/>
                  <a:pt x="152" y="1394"/>
                </a:cubicBezTo>
                <a:cubicBezTo>
                  <a:pt x="155" y="1382"/>
                  <a:pt x="155" y="1382"/>
                  <a:pt x="155" y="1382"/>
                </a:cubicBezTo>
                <a:cubicBezTo>
                  <a:pt x="156" y="1381"/>
                  <a:pt x="156" y="1381"/>
                  <a:pt x="156" y="1381"/>
                </a:cubicBezTo>
                <a:cubicBezTo>
                  <a:pt x="165" y="1378"/>
                  <a:pt x="165" y="1378"/>
                  <a:pt x="165" y="1378"/>
                </a:cubicBezTo>
                <a:cubicBezTo>
                  <a:pt x="168" y="1378"/>
                  <a:pt x="168" y="1378"/>
                  <a:pt x="168" y="1378"/>
                </a:cubicBezTo>
                <a:cubicBezTo>
                  <a:pt x="174" y="1381"/>
                  <a:pt x="174" y="1381"/>
                  <a:pt x="174" y="1381"/>
                </a:cubicBezTo>
                <a:cubicBezTo>
                  <a:pt x="195" y="1382"/>
                  <a:pt x="195" y="1382"/>
                  <a:pt x="195" y="1382"/>
                </a:cubicBezTo>
                <a:cubicBezTo>
                  <a:pt x="200" y="1381"/>
                  <a:pt x="200" y="1381"/>
                  <a:pt x="200" y="1381"/>
                </a:cubicBezTo>
                <a:cubicBezTo>
                  <a:pt x="202" y="1381"/>
                  <a:pt x="202" y="1381"/>
                  <a:pt x="202" y="1381"/>
                </a:cubicBezTo>
                <a:cubicBezTo>
                  <a:pt x="204" y="1379"/>
                  <a:pt x="204" y="1379"/>
                  <a:pt x="204" y="1379"/>
                </a:cubicBezTo>
                <a:cubicBezTo>
                  <a:pt x="206" y="1377"/>
                  <a:pt x="206" y="1377"/>
                  <a:pt x="206" y="1377"/>
                </a:cubicBezTo>
                <a:cubicBezTo>
                  <a:pt x="206" y="1377"/>
                  <a:pt x="206" y="1377"/>
                  <a:pt x="206" y="1377"/>
                </a:cubicBezTo>
                <a:cubicBezTo>
                  <a:pt x="208" y="1375"/>
                  <a:pt x="208" y="1375"/>
                  <a:pt x="208" y="1375"/>
                </a:cubicBezTo>
                <a:cubicBezTo>
                  <a:pt x="210" y="1374"/>
                  <a:pt x="210" y="1374"/>
                  <a:pt x="210" y="1374"/>
                </a:cubicBezTo>
                <a:cubicBezTo>
                  <a:pt x="246" y="1371"/>
                  <a:pt x="246" y="1371"/>
                  <a:pt x="246" y="1371"/>
                </a:cubicBezTo>
                <a:cubicBezTo>
                  <a:pt x="257" y="1373"/>
                  <a:pt x="257" y="1373"/>
                  <a:pt x="257" y="1373"/>
                </a:cubicBezTo>
                <a:cubicBezTo>
                  <a:pt x="296" y="1391"/>
                  <a:pt x="296" y="1391"/>
                  <a:pt x="296" y="1391"/>
                </a:cubicBezTo>
                <a:cubicBezTo>
                  <a:pt x="298" y="1392"/>
                  <a:pt x="298" y="1392"/>
                  <a:pt x="298" y="1392"/>
                </a:cubicBezTo>
                <a:cubicBezTo>
                  <a:pt x="301" y="1396"/>
                  <a:pt x="301" y="1396"/>
                  <a:pt x="301" y="1396"/>
                </a:cubicBezTo>
                <a:cubicBezTo>
                  <a:pt x="302" y="1398"/>
                  <a:pt x="302" y="1398"/>
                  <a:pt x="302" y="1398"/>
                </a:cubicBezTo>
                <a:cubicBezTo>
                  <a:pt x="303" y="1402"/>
                  <a:pt x="303" y="1402"/>
                  <a:pt x="303" y="1402"/>
                </a:cubicBezTo>
                <a:cubicBezTo>
                  <a:pt x="304" y="1403"/>
                  <a:pt x="304" y="1403"/>
                  <a:pt x="304" y="1403"/>
                </a:cubicBezTo>
                <a:cubicBezTo>
                  <a:pt x="305" y="1405"/>
                  <a:pt x="305" y="1405"/>
                  <a:pt x="305" y="1405"/>
                </a:cubicBezTo>
                <a:cubicBezTo>
                  <a:pt x="306" y="1406"/>
                  <a:pt x="306" y="1406"/>
                  <a:pt x="306" y="1406"/>
                </a:cubicBezTo>
                <a:cubicBezTo>
                  <a:pt x="311" y="1408"/>
                  <a:pt x="311" y="1408"/>
                  <a:pt x="311" y="1408"/>
                </a:cubicBezTo>
                <a:cubicBezTo>
                  <a:pt x="313" y="1408"/>
                  <a:pt x="313" y="1408"/>
                  <a:pt x="313" y="1408"/>
                </a:cubicBezTo>
                <a:cubicBezTo>
                  <a:pt x="323" y="1409"/>
                  <a:pt x="323" y="1409"/>
                  <a:pt x="323" y="1409"/>
                </a:cubicBezTo>
                <a:cubicBezTo>
                  <a:pt x="325" y="1409"/>
                  <a:pt x="325" y="1409"/>
                  <a:pt x="325" y="1409"/>
                </a:cubicBezTo>
                <a:cubicBezTo>
                  <a:pt x="331" y="1406"/>
                  <a:pt x="331" y="1406"/>
                  <a:pt x="331" y="1406"/>
                </a:cubicBezTo>
                <a:cubicBezTo>
                  <a:pt x="335" y="1403"/>
                  <a:pt x="335" y="1403"/>
                  <a:pt x="335" y="1403"/>
                </a:cubicBezTo>
                <a:cubicBezTo>
                  <a:pt x="334" y="1402"/>
                  <a:pt x="334" y="1402"/>
                  <a:pt x="334" y="1402"/>
                </a:cubicBezTo>
                <a:cubicBezTo>
                  <a:pt x="334" y="1400"/>
                  <a:pt x="334" y="1400"/>
                  <a:pt x="334" y="1400"/>
                </a:cubicBezTo>
                <a:cubicBezTo>
                  <a:pt x="335" y="1396"/>
                  <a:pt x="335" y="1396"/>
                  <a:pt x="335" y="1396"/>
                </a:cubicBezTo>
                <a:cubicBezTo>
                  <a:pt x="336" y="1391"/>
                  <a:pt x="336" y="1391"/>
                  <a:pt x="336" y="1391"/>
                </a:cubicBezTo>
                <a:cubicBezTo>
                  <a:pt x="337" y="1388"/>
                  <a:pt x="337" y="1388"/>
                  <a:pt x="337" y="1388"/>
                </a:cubicBezTo>
                <a:cubicBezTo>
                  <a:pt x="339" y="1386"/>
                  <a:pt x="339" y="1386"/>
                  <a:pt x="339" y="1386"/>
                </a:cubicBezTo>
                <a:cubicBezTo>
                  <a:pt x="340" y="1384"/>
                  <a:pt x="340" y="1384"/>
                  <a:pt x="340" y="1384"/>
                </a:cubicBezTo>
                <a:cubicBezTo>
                  <a:pt x="341" y="1383"/>
                  <a:pt x="341" y="1383"/>
                  <a:pt x="341" y="1383"/>
                </a:cubicBezTo>
                <a:cubicBezTo>
                  <a:pt x="345" y="1381"/>
                  <a:pt x="345" y="1381"/>
                  <a:pt x="345" y="1381"/>
                </a:cubicBezTo>
                <a:cubicBezTo>
                  <a:pt x="349" y="1380"/>
                  <a:pt x="349" y="1380"/>
                  <a:pt x="349" y="1380"/>
                </a:cubicBezTo>
                <a:cubicBezTo>
                  <a:pt x="357" y="1375"/>
                  <a:pt x="357" y="1375"/>
                  <a:pt x="357" y="1375"/>
                </a:cubicBezTo>
                <a:cubicBezTo>
                  <a:pt x="358" y="1365"/>
                  <a:pt x="358" y="1365"/>
                  <a:pt x="358" y="1365"/>
                </a:cubicBezTo>
                <a:cubicBezTo>
                  <a:pt x="358" y="1362"/>
                  <a:pt x="358" y="1362"/>
                  <a:pt x="358" y="1362"/>
                </a:cubicBezTo>
                <a:cubicBezTo>
                  <a:pt x="357" y="1361"/>
                  <a:pt x="357" y="1361"/>
                  <a:pt x="357" y="1361"/>
                </a:cubicBezTo>
                <a:cubicBezTo>
                  <a:pt x="352" y="1359"/>
                  <a:pt x="352" y="1359"/>
                  <a:pt x="352" y="1359"/>
                </a:cubicBezTo>
                <a:cubicBezTo>
                  <a:pt x="351" y="1358"/>
                  <a:pt x="351" y="1358"/>
                  <a:pt x="351" y="1358"/>
                </a:cubicBezTo>
                <a:cubicBezTo>
                  <a:pt x="351" y="1357"/>
                  <a:pt x="351" y="1357"/>
                  <a:pt x="351" y="1357"/>
                </a:cubicBezTo>
                <a:cubicBezTo>
                  <a:pt x="350" y="1350"/>
                  <a:pt x="350" y="1350"/>
                  <a:pt x="350" y="1350"/>
                </a:cubicBezTo>
                <a:cubicBezTo>
                  <a:pt x="351" y="1349"/>
                  <a:pt x="351" y="1349"/>
                  <a:pt x="351" y="1349"/>
                </a:cubicBezTo>
                <a:cubicBezTo>
                  <a:pt x="358" y="1328"/>
                  <a:pt x="358" y="1328"/>
                  <a:pt x="358" y="1328"/>
                </a:cubicBezTo>
                <a:cubicBezTo>
                  <a:pt x="359" y="1326"/>
                  <a:pt x="359" y="1326"/>
                  <a:pt x="359" y="1326"/>
                </a:cubicBezTo>
                <a:cubicBezTo>
                  <a:pt x="368" y="1311"/>
                  <a:pt x="368" y="1311"/>
                  <a:pt x="368" y="1311"/>
                </a:cubicBezTo>
                <a:cubicBezTo>
                  <a:pt x="371" y="1306"/>
                  <a:pt x="371" y="1306"/>
                  <a:pt x="371" y="1306"/>
                </a:cubicBezTo>
                <a:cubicBezTo>
                  <a:pt x="398" y="1290"/>
                  <a:pt x="398" y="1290"/>
                  <a:pt x="398" y="1290"/>
                </a:cubicBezTo>
                <a:cubicBezTo>
                  <a:pt x="402" y="1289"/>
                  <a:pt x="402" y="1289"/>
                  <a:pt x="402" y="1289"/>
                </a:cubicBezTo>
                <a:cubicBezTo>
                  <a:pt x="404" y="1288"/>
                  <a:pt x="404" y="1288"/>
                  <a:pt x="404" y="1288"/>
                </a:cubicBezTo>
                <a:cubicBezTo>
                  <a:pt x="409" y="1288"/>
                  <a:pt x="409" y="1288"/>
                  <a:pt x="409" y="1288"/>
                </a:cubicBezTo>
                <a:cubicBezTo>
                  <a:pt x="411" y="1287"/>
                  <a:pt x="411" y="1287"/>
                  <a:pt x="411" y="1287"/>
                </a:cubicBezTo>
                <a:cubicBezTo>
                  <a:pt x="418" y="1288"/>
                  <a:pt x="418" y="1288"/>
                  <a:pt x="418" y="1288"/>
                </a:cubicBezTo>
                <a:cubicBezTo>
                  <a:pt x="436" y="1285"/>
                  <a:pt x="436" y="1285"/>
                  <a:pt x="436" y="1285"/>
                </a:cubicBezTo>
                <a:cubicBezTo>
                  <a:pt x="441" y="1281"/>
                  <a:pt x="441" y="1281"/>
                  <a:pt x="441" y="1281"/>
                </a:cubicBezTo>
                <a:cubicBezTo>
                  <a:pt x="447" y="1278"/>
                  <a:pt x="447" y="1278"/>
                  <a:pt x="447" y="1278"/>
                </a:cubicBezTo>
                <a:cubicBezTo>
                  <a:pt x="449" y="1277"/>
                  <a:pt x="449" y="1277"/>
                  <a:pt x="449" y="1277"/>
                </a:cubicBezTo>
                <a:cubicBezTo>
                  <a:pt x="451" y="1276"/>
                  <a:pt x="451" y="1276"/>
                  <a:pt x="451" y="1276"/>
                </a:cubicBezTo>
                <a:cubicBezTo>
                  <a:pt x="454" y="1276"/>
                  <a:pt x="454" y="1276"/>
                  <a:pt x="454" y="1276"/>
                </a:cubicBezTo>
                <a:cubicBezTo>
                  <a:pt x="457" y="1276"/>
                  <a:pt x="457" y="1276"/>
                  <a:pt x="457" y="1276"/>
                </a:cubicBezTo>
                <a:cubicBezTo>
                  <a:pt x="472" y="1279"/>
                  <a:pt x="472" y="1279"/>
                  <a:pt x="472" y="1279"/>
                </a:cubicBezTo>
                <a:cubicBezTo>
                  <a:pt x="474" y="1280"/>
                  <a:pt x="474" y="1280"/>
                  <a:pt x="474" y="1280"/>
                </a:cubicBezTo>
                <a:cubicBezTo>
                  <a:pt x="475" y="1281"/>
                  <a:pt x="475" y="1281"/>
                  <a:pt x="475" y="1281"/>
                </a:cubicBezTo>
                <a:cubicBezTo>
                  <a:pt x="505" y="1299"/>
                  <a:pt x="505" y="1299"/>
                  <a:pt x="505" y="1299"/>
                </a:cubicBezTo>
                <a:cubicBezTo>
                  <a:pt x="525" y="1310"/>
                  <a:pt x="525" y="1310"/>
                  <a:pt x="525" y="1310"/>
                </a:cubicBezTo>
                <a:cubicBezTo>
                  <a:pt x="525" y="1309"/>
                  <a:pt x="525" y="1309"/>
                  <a:pt x="525" y="1309"/>
                </a:cubicBezTo>
                <a:cubicBezTo>
                  <a:pt x="527" y="1301"/>
                  <a:pt x="527" y="1301"/>
                  <a:pt x="527" y="1301"/>
                </a:cubicBezTo>
                <a:cubicBezTo>
                  <a:pt x="528" y="1300"/>
                  <a:pt x="528" y="1300"/>
                  <a:pt x="528" y="1300"/>
                </a:cubicBezTo>
                <a:cubicBezTo>
                  <a:pt x="529" y="1299"/>
                  <a:pt x="529" y="1299"/>
                  <a:pt x="529" y="1299"/>
                </a:cubicBezTo>
                <a:cubicBezTo>
                  <a:pt x="535" y="1297"/>
                  <a:pt x="535" y="1297"/>
                  <a:pt x="535" y="1297"/>
                </a:cubicBezTo>
                <a:cubicBezTo>
                  <a:pt x="562" y="1300"/>
                  <a:pt x="562" y="1300"/>
                  <a:pt x="562" y="1300"/>
                </a:cubicBezTo>
                <a:cubicBezTo>
                  <a:pt x="587" y="1305"/>
                  <a:pt x="587" y="1305"/>
                  <a:pt x="587" y="1305"/>
                </a:cubicBezTo>
                <a:cubicBezTo>
                  <a:pt x="605" y="1306"/>
                  <a:pt x="605" y="1306"/>
                  <a:pt x="605" y="1306"/>
                </a:cubicBezTo>
                <a:cubicBezTo>
                  <a:pt x="605" y="1306"/>
                  <a:pt x="605" y="1306"/>
                  <a:pt x="605" y="1306"/>
                </a:cubicBezTo>
                <a:cubicBezTo>
                  <a:pt x="606" y="1305"/>
                  <a:pt x="606" y="1305"/>
                  <a:pt x="606" y="1305"/>
                </a:cubicBezTo>
                <a:cubicBezTo>
                  <a:pt x="607" y="1304"/>
                  <a:pt x="607" y="1304"/>
                  <a:pt x="607" y="1304"/>
                </a:cubicBezTo>
                <a:cubicBezTo>
                  <a:pt x="612" y="1294"/>
                  <a:pt x="612" y="1294"/>
                  <a:pt x="612" y="1294"/>
                </a:cubicBezTo>
                <a:cubicBezTo>
                  <a:pt x="612" y="1292"/>
                  <a:pt x="612" y="1292"/>
                  <a:pt x="612" y="1292"/>
                </a:cubicBezTo>
                <a:cubicBezTo>
                  <a:pt x="612" y="1292"/>
                  <a:pt x="612" y="1292"/>
                  <a:pt x="612" y="1292"/>
                </a:cubicBezTo>
                <a:cubicBezTo>
                  <a:pt x="609" y="1285"/>
                  <a:pt x="609" y="1285"/>
                  <a:pt x="609" y="1285"/>
                </a:cubicBezTo>
                <a:cubicBezTo>
                  <a:pt x="609" y="1285"/>
                  <a:pt x="609" y="1285"/>
                  <a:pt x="609" y="1285"/>
                </a:cubicBezTo>
                <a:cubicBezTo>
                  <a:pt x="607" y="1284"/>
                  <a:pt x="607" y="1284"/>
                  <a:pt x="607" y="1284"/>
                </a:cubicBezTo>
                <a:cubicBezTo>
                  <a:pt x="598" y="1281"/>
                  <a:pt x="598" y="1281"/>
                  <a:pt x="598" y="1281"/>
                </a:cubicBezTo>
                <a:cubicBezTo>
                  <a:pt x="593" y="1281"/>
                  <a:pt x="593" y="1281"/>
                  <a:pt x="593" y="1281"/>
                </a:cubicBezTo>
                <a:cubicBezTo>
                  <a:pt x="599" y="1275"/>
                  <a:pt x="599" y="1275"/>
                  <a:pt x="599" y="1275"/>
                </a:cubicBezTo>
                <a:cubicBezTo>
                  <a:pt x="623" y="1272"/>
                  <a:pt x="623" y="1272"/>
                  <a:pt x="623" y="1272"/>
                </a:cubicBezTo>
                <a:cubicBezTo>
                  <a:pt x="645" y="1265"/>
                  <a:pt x="645" y="1265"/>
                  <a:pt x="645" y="1265"/>
                </a:cubicBezTo>
                <a:cubicBezTo>
                  <a:pt x="646" y="1265"/>
                  <a:pt x="646" y="1265"/>
                  <a:pt x="646" y="1265"/>
                </a:cubicBezTo>
                <a:cubicBezTo>
                  <a:pt x="650" y="1265"/>
                  <a:pt x="650" y="1265"/>
                  <a:pt x="650" y="1265"/>
                </a:cubicBezTo>
                <a:cubicBezTo>
                  <a:pt x="655" y="1266"/>
                  <a:pt x="655" y="1266"/>
                  <a:pt x="655" y="1266"/>
                </a:cubicBezTo>
                <a:cubicBezTo>
                  <a:pt x="660" y="1268"/>
                  <a:pt x="660" y="1268"/>
                  <a:pt x="660" y="1268"/>
                </a:cubicBezTo>
                <a:cubicBezTo>
                  <a:pt x="661" y="1268"/>
                  <a:pt x="661" y="1268"/>
                  <a:pt x="661" y="1268"/>
                </a:cubicBezTo>
                <a:cubicBezTo>
                  <a:pt x="670" y="1268"/>
                  <a:pt x="670" y="1268"/>
                  <a:pt x="670" y="1268"/>
                </a:cubicBezTo>
                <a:cubicBezTo>
                  <a:pt x="700" y="1252"/>
                  <a:pt x="700" y="1252"/>
                  <a:pt x="700" y="1252"/>
                </a:cubicBezTo>
                <a:cubicBezTo>
                  <a:pt x="702" y="1250"/>
                  <a:pt x="702" y="1250"/>
                  <a:pt x="702" y="1250"/>
                </a:cubicBezTo>
                <a:cubicBezTo>
                  <a:pt x="706" y="1245"/>
                  <a:pt x="706" y="1245"/>
                  <a:pt x="706" y="1245"/>
                </a:cubicBezTo>
                <a:cubicBezTo>
                  <a:pt x="707" y="1243"/>
                  <a:pt x="707" y="1243"/>
                  <a:pt x="707" y="1243"/>
                </a:cubicBezTo>
                <a:cubicBezTo>
                  <a:pt x="706" y="1242"/>
                  <a:pt x="706" y="1242"/>
                  <a:pt x="706" y="1242"/>
                </a:cubicBezTo>
                <a:cubicBezTo>
                  <a:pt x="706" y="1242"/>
                  <a:pt x="706" y="1242"/>
                  <a:pt x="706" y="1242"/>
                </a:cubicBezTo>
                <a:cubicBezTo>
                  <a:pt x="700" y="1235"/>
                  <a:pt x="700" y="1235"/>
                  <a:pt x="700" y="1235"/>
                </a:cubicBezTo>
                <a:cubicBezTo>
                  <a:pt x="690" y="1225"/>
                  <a:pt x="690" y="1225"/>
                  <a:pt x="690" y="1225"/>
                </a:cubicBezTo>
                <a:cubicBezTo>
                  <a:pt x="688" y="1225"/>
                  <a:pt x="688" y="1225"/>
                  <a:pt x="688" y="1225"/>
                </a:cubicBezTo>
                <a:cubicBezTo>
                  <a:pt x="680" y="1222"/>
                  <a:pt x="680" y="1222"/>
                  <a:pt x="680" y="1222"/>
                </a:cubicBezTo>
                <a:cubicBezTo>
                  <a:pt x="679" y="1221"/>
                  <a:pt x="679" y="1221"/>
                  <a:pt x="679" y="1221"/>
                </a:cubicBezTo>
                <a:cubicBezTo>
                  <a:pt x="679" y="1220"/>
                  <a:pt x="679" y="1220"/>
                  <a:pt x="679" y="1220"/>
                </a:cubicBezTo>
                <a:cubicBezTo>
                  <a:pt x="679" y="1219"/>
                  <a:pt x="679" y="1219"/>
                  <a:pt x="679" y="1219"/>
                </a:cubicBezTo>
                <a:cubicBezTo>
                  <a:pt x="682" y="1219"/>
                  <a:pt x="682" y="1219"/>
                  <a:pt x="682" y="1219"/>
                </a:cubicBezTo>
                <a:cubicBezTo>
                  <a:pt x="687" y="1221"/>
                  <a:pt x="687" y="1221"/>
                  <a:pt x="687" y="1221"/>
                </a:cubicBezTo>
                <a:cubicBezTo>
                  <a:pt x="695" y="1226"/>
                  <a:pt x="695" y="1226"/>
                  <a:pt x="695" y="1226"/>
                </a:cubicBezTo>
                <a:cubicBezTo>
                  <a:pt x="698" y="1228"/>
                  <a:pt x="698" y="1228"/>
                  <a:pt x="698" y="1228"/>
                </a:cubicBezTo>
                <a:cubicBezTo>
                  <a:pt x="702" y="1232"/>
                  <a:pt x="702" y="1232"/>
                  <a:pt x="702" y="1232"/>
                </a:cubicBezTo>
                <a:cubicBezTo>
                  <a:pt x="713" y="1239"/>
                  <a:pt x="713" y="1239"/>
                  <a:pt x="713" y="1239"/>
                </a:cubicBezTo>
                <a:cubicBezTo>
                  <a:pt x="727" y="1249"/>
                  <a:pt x="727" y="1249"/>
                  <a:pt x="727" y="1249"/>
                </a:cubicBezTo>
                <a:cubicBezTo>
                  <a:pt x="730" y="1251"/>
                  <a:pt x="730" y="1251"/>
                  <a:pt x="730" y="1251"/>
                </a:cubicBezTo>
                <a:cubicBezTo>
                  <a:pt x="731" y="1251"/>
                  <a:pt x="731" y="1251"/>
                  <a:pt x="731" y="1251"/>
                </a:cubicBezTo>
                <a:cubicBezTo>
                  <a:pt x="733" y="1251"/>
                  <a:pt x="733" y="1251"/>
                  <a:pt x="733" y="1251"/>
                </a:cubicBezTo>
                <a:cubicBezTo>
                  <a:pt x="734" y="1251"/>
                  <a:pt x="734" y="1251"/>
                  <a:pt x="734" y="1251"/>
                </a:cubicBezTo>
                <a:cubicBezTo>
                  <a:pt x="735" y="1250"/>
                  <a:pt x="735" y="1250"/>
                  <a:pt x="735" y="1250"/>
                </a:cubicBezTo>
                <a:cubicBezTo>
                  <a:pt x="736" y="1250"/>
                  <a:pt x="736" y="1250"/>
                  <a:pt x="736" y="1250"/>
                </a:cubicBezTo>
                <a:cubicBezTo>
                  <a:pt x="737" y="1245"/>
                  <a:pt x="737" y="1245"/>
                  <a:pt x="737" y="1245"/>
                </a:cubicBezTo>
                <a:cubicBezTo>
                  <a:pt x="737" y="1242"/>
                  <a:pt x="737" y="1242"/>
                  <a:pt x="737" y="1242"/>
                </a:cubicBezTo>
                <a:cubicBezTo>
                  <a:pt x="736" y="1242"/>
                  <a:pt x="736" y="1242"/>
                  <a:pt x="736" y="1242"/>
                </a:cubicBezTo>
                <a:cubicBezTo>
                  <a:pt x="733" y="1239"/>
                  <a:pt x="733" y="1239"/>
                  <a:pt x="733" y="1239"/>
                </a:cubicBezTo>
                <a:cubicBezTo>
                  <a:pt x="729" y="1237"/>
                  <a:pt x="729" y="1237"/>
                  <a:pt x="729" y="1237"/>
                </a:cubicBezTo>
                <a:cubicBezTo>
                  <a:pt x="729" y="1236"/>
                  <a:pt x="729" y="1236"/>
                  <a:pt x="729" y="1236"/>
                </a:cubicBezTo>
                <a:cubicBezTo>
                  <a:pt x="729" y="1235"/>
                  <a:pt x="729" y="1235"/>
                  <a:pt x="729" y="1235"/>
                </a:cubicBezTo>
                <a:cubicBezTo>
                  <a:pt x="730" y="1235"/>
                  <a:pt x="730" y="1235"/>
                  <a:pt x="730" y="1235"/>
                </a:cubicBezTo>
                <a:cubicBezTo>
                  <a:pt x="731" y="1234"/>
                  <a:pt x="731" y="1234"/>
                  <a:pt x="731" y="1234"/>
                </a:cubicBezTo>
                <a:cubicBezTo>
                  <a:pt x="741" y="1233"/>
                  <a:pt x="741" y="1233"/>
                  <a:pt x="741" y="1233"/>
                </a:cubicBezTo>
                <a:cubicBezTo>
                  <a:pt x="742" y="1234"/>
                  <a:pt x="742" y="1234"/>
                  <a:pt x="742" y="1234"/>
                </a:cubicBezTo>
                <a:cubicBezTo>
                  <a:pt x="744" y="1235"/>
                  <a:pt x="744" y="1235"/>
                  <a:pt x="744" y="1235"/>
                </a:cubicBezTo>
                <a:cubicBezTo>
                  <a:pt x="745" y="1236"/>
                  <a:pt x="745" y="1236"/>
                  <a:pt x="745" y="1236"/>
                </a:cubicBezTo>
                <a:cubicBezTo>
                  <a:pt x="744" y="1237"/>
                  <a:pt x="744" y="1237"/>
                  <a:pt x="744" y="1237"/>
                </a:cubicBezTo>
                <a:cubicBezTo>
                  <a:pt x="744" y="1238"/>
                  <a:pt x="744" y="1238"/>
                  <a:pt x="744" y="1238"/>
                </a:cubicBezTo>
                <a:cubicBezTo>
                  <a:pt x="742" y="1238"/>
                  <a:pt x="742" y="1238"/>
                  <a:pt x="742" y="1238"/>
                </a:cubicBezTo>
                <a:cubicBezTo>
                  <a:pt x="739" y="1245"/>
                  <a:pt x="739" y="1245"/>
                  <a:pt x="739" y="1245"/>
                </a:cubicBezTo>
                <a:cubicBezTo>
                  <a:pt x="739" y="1246"/>
                  <a:pt x="739" y="1246"/>
                  <a:pt x="739" y="1246"/>
                </a:cubicBezTo>
                <a:cubicBezTo>
                  <a:pt x="739" y="1248"/>
                  <a:pt x="739" y="1248"/>
                  <a:pt x="739" y="1248"/>
                </a:cubicBezTo>
                <a:cubicBezTo>
                  <a:pt x="741" y="1250"/>
                  <a:pt x="741" y="1250"/>
                  <a:pt x="741" y="1250"/>
                </a:cubicBezTo>
                <a:cubicBezTo>
                  <a:pt x="741" y="1250"/>
                  <a:pt x="741" y="1250"/>
                  <a:pt x="741" y="1250"/>
                </a:cubicBezTo>
                <a:cubicBezTo>
                  <a:pt x="743" y="1251"/>
                  <a:pt x="743" y="1251"/>
                  <a:pt x="743" y="1251"/>
                </a:cubicBezTo>
                <a:cubicBezTo>
                  <a:pt x="745" y="1250"/>
                  <a:pt x="745" y="1250"/>
                  <a:pt x="745" y="1250"/>
                </a:cubicBezTo>
                <a:cubicBezTo>
                  <a:pt x="749" y="1247"/>
                  <a:pt x="749" y="1247"/>
                  <a:pt x="749" y="1247"/>
                </a:cubicBezTo>
                <a:cubicBezTo>
                  <a:pt x="750" y="1247"/>
                  <a:pt x="750" y="1247"/>
                  <a:pt x="750" y="1247"/>
                </a:cubicBezTo>
                <a:cubicBezTo>
                  <a:pt x="750" y="1246"/>
                  <a:pt x="750" y="1246"/>
                  <a:pt x="750" y="1246"/>
                </a:cubicBezTo>
                <a:cubicBezTo>
                  <a:pt x="750" y="1243"/>
                  <a:pt x="750" y="1243"/>
                  <a:pt x="750" y="1243"/>
                </a:cubicBezTo>
                <a:cubicBezTo>
                  <a:pt x="750" y="1239"/>
                  <a:pt x="750" y="1239"/>
                  <a:pt x="750" y="1239"/>
                </a:cubicBezTo>
                <a:cubicBezTo>
                  <a:pt x="750" y="1237"/>
                  <a:pt x="750" y="1237"/>
                  <a:pt x="750" y="1237"/>
                </a:cubicBezTo>
                <a:cubicBezTo>
                  <a:pt x="751" y="1236"/>
                  <a:pt x="751" y="1236"/>
                  <a:pt x="751" y="1236"/>
                </a:cubicBezTo>
                <a:cubicBezTo>
                  <a:pt x="751" y="1234"/>
                  <a:pt x="751" y="1234"/>
                  <a:pt x="751" y="1234"/>
                </a:cubicBezTo>
                <a:cubicBezTo>
                  <a:pt x="753" y="1234"/>
                  <a:pt x="753" y="1234"/>
                  <a:pt x="753" y="1234"/>
                </a:cubicBezTo>
                <a:cubicBezTo>
                  <a:pt x="756" y="1234"/>
                  <a:pt x="756" y="1234"/>
                  <a:pt x="756" y="1234"/>
                </a:cubicBezTo>
                <a:cubicBezTo>
                  <a:pt x="758" y="1234"/>
                  <a:pt x="758" y="1234"/>
                  <a:pt x="758" y="1234"/>
                </a:cubicBezTo>
                <a:cubicBezTo>
                  <a:pt x="758" y="1235"/>
                  <a:pt x="758" y="1235"/>
                  <a:pt x="758" y="1235"/>
                </a:cubicBezTo>
                <a:cubicBezTo>
                  <a:pt x="758" y="1237"/>
                  <a:pt x="758" y="1237"/>
                  <a:pt x="758" y="1237"/>
                </a:cubicBezTo>
                <a:cubicBezTo>
                  <a:pt x="758" y="1243"/>
                  <a:pt x="758" y="1243"/>
                  <a:pt x="758" y="1243"/>
                </a:cubicBezTo>
                <a:cubicBezTo>
                  <a:pt x="758" y="1244"/>
                  <a:pt x="758" y="1244"/>
                  <a:pt x="758" y="1244"/>
                </a:cubicBezTo>
                <a:cubicBezTo>
                  <a:pt x="757" y="1245"/>
                  <a:pt x="757" y="1245"/>
                  <a:pt x="757" y="1245"/>
                </a:cubicBezTo>
                <a:cubicBezTo>
                  <a:pt x="756" y="1245"/>
                  <a:pt x="756" y="1245"/>
                  <a:pt x="756" y="1245"/>
                </a:cubicBezTo>
                <a:cubicBezTo>
                  <a:pt x="754" y="1247"/>
                  <a:pt x="754" y="1247"/>
                  <a:pt x="754" y="1247"/>
                </a:cubicBezTo>
                <a:cubicBezTo>
                  <a:pt x="753" y="1250"/>
                  <a:pt x="753" y="1250"/>
                  <a:pt x="753" y="1250"/>
                </a:cubicBezTo>
                <a:cubicBezTo>
                  <a:pt x="753" y="1250"/>
                  <a:pt x="753" y="1250"/>
                  <a:pt x="753" y="1250"/>
                </a:cubicBezTo>
                <a:cubicBezTo>
                  <a:pt x="753" y="1251"/>
                  <a:pt x="753" y="1251"/>
                  <a:pt x="753" y="1251"/>
                </a:cubicBezTo>
                <a:cubicBezTo>
                  <a:pt x="754" y="1252"/>
                  <a:pt x="754" y="1252"/>
                  <a:pt x="754" y="1252"/>
                </a:cubicBezTo>
                <a:cubicBezTo>
                  <a:pt x="764" y="1250"/>
                  <a:pt x="764" y="1250"/>
                  <a:pt x="764" y="1250"/>
                </a:cubicBezTo>
                <a:cubicBezTo>
                  <a:pt x="764" y="1250"/>
                  <a:pt x="764" y="1250"/>
                  <a:pt x="764" y="1250"/>
                </a:cubicBezTo>
                <a:cubicBezTo>
                  <a:pt x="764" y="1239"/>
                  <a:pt x="764" y="1239"/>
                  <a:pt x="764" y="1239"/>
                </a:cubicBezTo>
                <a:cubicBezTo>
                  <a:pt x="764" y="1238"/>
                  <a:pt x="764" y="1238"/>
                  <a:pt x="764" y="1238"/>
                </a:cubicBezTo>
                <a:cubicBezTo>
                  <a:pt x="763" y="1237"/>
                  <a:pt x="763" y="1237"/>
                  <a:pt x="763" y="1237"/>
                </a:cubicBezTo>
                <a:cubicBezTo>
                  <a:pt x="762" y="1236"/>
                  <a:pt x="762" y="1236"/>
                  <a:pt x="762" y="1236"/>
                </a:cubicBezTo>
                <a:cubicBezTo>
                  <a:pt x="761" y="1236"/>
                  <a:pt x="761" y="1236"/>
                  <a:pt x="761" y="1236"/>
                </a:cubicBezTo>
                <a:cubicBezTo>
                  <a:pt x="761" y="1235"/>
                  <a:pt x="761" y="1235"/>
                  <a:pt x="761" y="1235"/>
                </a:cubicBezTo>
                <a:cubicBezTo>
                  <a:pt x="763" y="1234"/>
                  <a:pt x="763" y="1234"/>
                  <a:pt x="763" y="1234"/>
                </a:cubicBezTo>
                <a:cubicBezTo>
                  <a:pt x="763" y="1233"/>
                  <a:pt x="763" y="1233"/>
                  <a:pt x="763" y="1233"/>
                </a:cubicBezTo>
                <a:cubicBezTo>
                  <a:pt x="767" y="1233"/>
                  <a:pt x="767" y="1233"/>
                  <a:pt x="767" y="1233"/>
                </a:cubicBezTo>
                <a:cubicBezTo>
                  <a:pt x="772" y="1236"/>
                  <a:pt x="772" y="1236"/>
                  <a:pt x="772" y="1236"/>
                </a:cubicBezTo>
                <a:cubicBezTo>
                  <a:pt x="773" y="1237"/>
                  <a:pt x="773" y="1237"/>
                  <a:pt x="773" y="1237"/>
                </a:cubicBezTo>
                <a:cubicBezTo>
                  <a:pt x="777" y="1241"/>
                  <a:pt x="777" y="1241"/>
                  <a:pt x="777" y="1241"/>
                </a:cubicBezTo>
                <a:cubicBezTo>
                  <a:pt x="777" y="1242"/>
                  <a:pt x="777" y="1242"/>
                  <a:pt x="777" y="1242"/>
                </a:cubicBezTo>
                <a:cubicBezTo>
                  <a:pt x="777" y="1243"/>
                  <a:pt x="777" y="1243"/>
                  <a:pt x="777" y="1243"/>
                </a:cubicBezTo>
                <a:cubicBezTo>
                  <a:pt x="776" y="1243"/>
                  <a:pt x="776" y="1243"/>
                  <a:pt x="776" y="1243"/>
                </a:cubicBezTo>
                <a:cubicBezTo>
                  <a:pt x="774" y="1244"/>
                  <a:pt x="774" y="1244"/>
                  <a:pt x="774" y="1244"/>
                </a:cubicBezTo>
                <a:cubicBezTo>
                  <a:pt x="773" y="1245"/>
                  <a:pt x="773" y="1245"/>
                  <a:pt x="773" y="1245"/>
                </a:cubicBezTo>
                <a:cubicBezTo>
                  <a:pt x="770" y="1248"/>
                  <a:pt x="770" y="1248"/>
                  <a:pt x="770" y="1248"/>
                </a:cubicBezTo>
                <a:cubicBezTo>
                  <a:pt x="769" y="1249"/>
                  <a:pt x="769" y="1249"/>
                  <a:pt x="769" y="1249"/>
                </a:cubicBezTo>
                <a:cubicBezTo>
                  <a:pt x="769" y="1250"/>
                  <a:pt x="769" y="1250"/>
                  <a:pt x="769" y="1250"/>
                </a:cubicBezTo>
                <a:cubicBezTo>
                  <a:pt x="770" y="1250"/>
                  <a:pt x="770" y="1250"/>
                  <a:pt x="770" y="1250"/>
                </a:cubicBezTo>
                <a:cubicBezTo>
                  <a:pt x="770" y="1251"/>
                  <a:pt x="770" y="1251"/>
                  <a:pt x="770" y="1251"/>
                </a:cubicBezTo>
                <a:cubicBezTo>
                  <a:pt x="772" y="1252"/>
                  <a:pt x="772" y="1252"/>
                  <a:pt x="772" y="1252"/>
                </a:cubicBezTo>
                <a:cubicBezTo>
                  <a:pt x="774" y="1252"/>
                  <a:pt x="774" y="1252"/>
                  <a:pt x="774" y="1252"/>
                </a:cubicBezTo>
                <a:cubicBezTo>
                  <a:pt x="781" y="1255"/>
                  <a:pt x="781" y="1255"/>
                  <a:pt x="781" y="1255"/>
                </a:cubicBezTo>
                <a:cubicBezTo>
                  <a:pt x="785" y="1258"/>
                  <a:pt x="785" y="1258"/>
                  <a:pt x="785" y="1258"/>
                </a:cubicBezTo>
                <a:cubicBezTo>
                  <a:pt x="789" y="1261"/>
                  <a:pt x="789" y="1261"/>
                  <a:pt x="789" y="1261"/>
                </a:cubicBezTo>
                <a:cubicBezTo>
                  <a:pt x="792" y="1262"/>
                  <a:pt x="792" y="1262"/>
                  <a:pt x="792" y="1262"/>
                </a:cubicBezTo>
                <a:cubicBezTo>
                  <a:pt x="794" y="1262"/>
                  <a:pt x="794" y="1262"/>
                  <a:pt x="794" y="1262"/>
                </a:cubicBezTo>
                <a:cubicBezTo>
                  <a:pt x="796" y="1260"/>
                  <a:pt x="796" y="1260"/>
                  <a:pt x="796" y="1260"/>
                </a:cubicBezTo>
                <a:cubicBezTo>
                  <a:pt x="796" y="1258"/>
                  <a:pt x="796" y="1258"/>
                  <a:pt x="796" y="1258"/>
                </a:cubicBezTo>
                <a:cubicBezTo>
                  <a:pt x="797" y="1256"/>
                  <a:pt x="797" y="1256"/>
                  <a:pt x="797" y="1256"/>
                </a:cubicBezTo>
                <a:cubicBezTo>
                  <a:pt x="797" y="1255"/>
                  <a:pt x="797" y="1255"/>
                  <a:pt x="797" y="1255"/>
                </a:cubicBezTo>
                <a:cubicBezTo>
                  <a:pt x="801" y="1250"/>
                  <a:pt x="801" y="1250"/>
                  <a:pt x="801" y="1250"/>
                </a:cubicBezTo>
                <a:cubicBezTo>
                  <a:pt x="803" y="1250"/>
                  <a:pt x="803" y="1250"/>
                  <a:pt x="803" y="1250"/>
                </a:cubicBezTo>
                <a:cubicBezTo>
                  <a:pt x="816" y="1246"/>
                  <a:pt x="816" y="1246"/>
                  <a:pt x="816" y="1246"/>
                </a:cubicBezTo>
                <a:cubicBezTo>
                  <a:pt x="837" y="1241"/>
                  <a:pt x="837" y="1241"/>
                  <a:pt x="837" y="1241"/>
                </a:cubicBezTo>
                <a:cubicBezTo>
                  <a:pt x="842" y="1241"/>
                  <a:pt x="842" y="1241"/>
                  <a:pt x="842" y="1241"/>
                </a:cubicBezTo>
                <a:cubicBezTo>
                  <a:pt x="848" y="1240"/>
                  <a:pt x="848" y="1240"/>
                  <a:pt x="848" y="1240"/>
                </a:cubicBezTo>
                <a:cubicBezTo>
                  <a:pt x="857" y="1237"/>
                  <a:pt x="857" y="1237"/>
                  <a:pt x="857" y="1237"/>
                </a:cubicBezTo>
                <a:cubicBezTo>
                  <a:pt x="864" y="1234"/>
                  <a:pt x="864" y="1234"/>
                  <a:pt x="864" y="1234"/>
                </a:cubicBezTo>
                <a:cubicBezTo>
                  <a:pt x="866" y="1233"/>
                  <a:pt x="866" y="1233"/>
                  <a:pt x="866" y="1233"/>
                </a:cubicBezTo>
                <a:cubicBezTo>
                  <a:pt x="870" y="1232"/>
                  <a:pt x="870" y="1232"/>
                  <a:pt x="870" y="1232"/>
                </a:cubicBezTo>
                <a:cubicBezTo>
                  <a:pt x="874" y="1231"/>
                  <a:pt x="874" y="1231"/>
                  <a:pt x="874" y="1231"/>
                </a:cubicBezTo>
                <a:cubicBezTo>
                  <a:pt x="883" y="1230"/>
                  <a:pt x="883" y="1230"/>
                  <a:pt x="883" y="1230"/>
                </a:cubicBezTo>
                <a:cubicBezTo>
                  <a:pt x="886" y="1230"/>
                  <a:pt x="886" y="1230"/>
                  <a:pt x="886" y="1230"/>
                </a:cubicBezTo>
                <a:cubicBezTo>
                  <a:pt x="890" y="1231"/>
                  <a:pt x="890" y="1231"/>
                  <a:pt x="890" y="1231"/>
                </a:cubicBezTo>
                <a:cubicBezTo>
                  <a:pt x="900" y="1233"/>
                  <a:pt x="900" y="1233"/>
                  <a:pt x="900" y="1233"/>
                </a:cubicBezTo>
                <a:cubicBezTo>
                  <a:pt x="909" y="1236"/>
                  <a:pt x="909" y="1236"/>
                  <a:pt x="909" y="1236"/>
                </a:cubicBezTo>
                <a:cubicBezTo>
                  <a:pt x="920" y="1239"/>
                  <a:pt x="920" y="1239"/>
                  <a:pt x="920" y="1239"/>
                </a:cubicBezTo>
                <a:cubicBezTo>
                  <a:pt x="935" y="1243"/>
                  <a:pt x="935" y="1243"/>
                  <a:pt x="935" y="1243"/>
                </a:cubicBezTo>
                <a:cubicBezTo>
                  <a:pt x="936" y="1243"/>
                  <a:pt x="936" y="1243"/>
                  <a:pt x="936" y="1243"/>
                </a:cubicBezTo>
                <a:cubicBezTo>
                  <a:pt x="951" y="1247"/>
                  <a:pt x="951" y="1247"/>
                  <a:pt x="951" y="1247"/>
                </a:cubicBezTo>
                <a:cubicBezTo>
                  <a:pt x="955" y="1247"/>
                  <a:pt x="955" y="1247"/>
                  <a:pt x="955" y="1247"/>
                </a:cubicBezTo>
                <a:cubicBezTo>
                  <a:pt x="957" y="1247"/>
                  <a:pt x="957" y="1247"/>
                  <a:pt x="957" y="1247"/>
                </a:cubicBezTo>
                <a:cubicBezTo>
                  <a:pt x="959" y="1246"/>
                  <a:pt x="959" y="1246"/>
                  <a:pt x="959" y="1246"/>
                </a:cubicBezTo>
                <a:cubicBezTo>
                  <a:pt x="961" y="1244"/>
                  <a:pt x="961" y="1244"/>
                  <a:pt x="961" y="1244"/>
                </a:cubicBezTo>
                <a:cubicBezTo>
                  <a:pt x="962" y="1240"/>
                  <a:pt x="962" y="1240"/>
                  <a:pt x="962" y="1240"/>
                </a:cubicBezTo>
                <a:cubicBezTo>
                  <a:pt x="963" y="1238"/>
                  <a:pt x="963" y="1238"/>
                  <a:pt x="963" y="1238"/>
                </a:cubicBezTo>
                <a:cubicBezTo>
                  <a:pt x="965" y="1236"/>
                  <a:pt x="965" y="1236"/>
                  <a:pt x="965" y="1236"/>
                </a:cubicBezTo>
                <a:cubicBezTo>
                  <a:pt x="971" y="1229"/>
                  <a:pt x="971" y="1229"/>
                  <a:pt x="971" y="1229"/>
                </a:cubicBezTo>
                <a:cubicBezTo>
                  <a:pt x="973" y="1228"/>
                  <a:pt x="973" y="1228"/>
                  <a:pt x="973" y="1228"/>
                </a:cubicBezTo>
                <a:cubicBezTo>
                  <a:pt x="979" y="1224"/>
                  <a:pt x="979" y="1224"/>
                  <a:pt x="979" y="1224"/>
                </a:cubicBezTo>
                <a:cubicBezTo>
                  <a:pt x="984" y="1222"/>
                  <a:pt x="984" y="1222"/>
                  <a:pt x="984" y="1222"/>
                </a:cubicBezTo>
                <a:cubicBezTo>
                  <a:pt x="987" y="1221"/>
                  <a:pt x="987" y="1221"/>
                  <a:pt x="987" y="1221"/>
                </a:cubicBezTo>
                <a:cubicBezTo>
                  <a:pt x="994" y="1219"/>
                  <a:pt x="994" y="1219"/>
                  <a:pt x="994" y="1219"/>
                </a:cubicBezTo>
                <a:cubicBezTo>
                  <a:pt x="1002" y="1217"/>
                  <a:pt x="1002" y="1217"/>
                  <a:pt x="1002" y="1217"/>
                </a:cubicBezTo>
                <a:cubicBezTo>
                  <a:pt x="1020" y="1209"/>
                  <a:pt x="1020" y="1209"/>
                  <a:pt x="1020" y="1209"/>
                </a:cubicBezTo>
                <a:cubicBezTo>
                  <a:pt x="1022" y="1207"/>
                  <a:pt x="1022" y="1207"/>
                  <a:pt x="1022" y="1207"/>
                </a:cubicBezTo>
                <a:cubicBezTo>
                  <a:pt x="1025" y="1204"/>
                  <a:pt x="1025" y="1204"/>
                  <a:pt x="1025" y="1204"/>
                </a:cubicBezTo>
                <a:cubicBezTo>
                  <a:pt x="1026" y="1202"/>
                  <a:pt x="1026" y="1202"/>
                  <a:pt x="1026" y="1202"/>
                </a:cubicBezTo>
                <a:cubicBezTo>
                  <a:pt x="1028" y="1200"/>
                  <a:pt x="1028" y="1200"/>
                  <a:pt x="1028" y="1200"/>
                </a:cubicBezTo>
                <a:cubicBezTo>
                  <a:pt x="1037" y="1192"/>
                  <a:pt x="1037" y="1192"/>
                  <a:pt x="1037" y="1192"/>
                </a:cubicBezTo>
                <a:cubicBezTo>
                  <a:pt x="1040" y="1191"/>
                  <a:pt x="1040" y="1191"/>
                  <a:pt x="1040" y="1191"/>
                </a:cubicBezTo>
                <a:cubicBezTo>
                  <a:pt x="1042" y="1191"/>
                  <a:pt x="1042" y="1191"/>
                  <a:pt x="1042" y="1191"/>
                </a:cubicBezTo>
                <a:cubicBezTo>
                  <a:pt x="1050" y="1193"/>
                  <a:pt x="1050" y="1193"/>
                  <a:pt x="1050" y="1193"/>
                </a:cubicBezTo>
                <a:cubicBezTo>
                  <a:pt x="1068" y="1190"/>
                  <a:pt x="1068" y="1190"/>
                  <a:pt x="1068" y="1190"/>
                </a:cubicBezTo>
                <a:cubicBezTo>
                  <a:pt x="1067" y="1186"/>
                  <a:pt x="1067" y="1186"/>
                  <a:pt x="1067" y="1186"/>
                </a:cubicBezTo>
                <a:cubicBezTo>
                  <a:pt x="1066" y="1181"/>
                  <a:pt x="1066" y="1181"/>
                  <a:pt x="1066" y="1181"/>
                </a:cubicBezTo>
                <a:cubicBezTo>
                  <a:pt x="1066" y="1178"/>
                  <a:pt x="1066" y="1178"/>
                  <a:pt x="1066" y="1178"/>
                </a:cubicBezTo>
                <a:cubicBezTo>
                  <a:pt x="1068" y="1173"/>
                  <a:pt x="1068" y="1173"/>
                  <a:pt x="1068" y="1173"/>
                </a:cubicBezTo>
                <a:cubicBezTo>
                  <a:pt x="1069" y="1170"/>
                  <a:pt x="1069" y="1170"/>
                  <a:pt x="1069" y="1170"/>
                </a:cubicBezTo>
                <a:cubicBezTo>
                  <a:pt x="1070" y="1167"/>
                  <a:pt x="1070" y="1167"/>
                  <a:pt x="1070" y="1167"/>
                </a:cubicBezTo>
                <a:cubicBezTo>
                  <a:pt x="1075" y="1161"/>
                  <a:pt x="1075" y="1161"/>
                  <a:pt x="1075" y="1161"/>
                </a:cubicBezTo>
                <a:cubicBezTo>
                  <a:pt x="1080" y="1157"/>
                  <a:pt x="1080" y="1157"/>
                  <a:pt x="1080" y="1157"/>
                </a:cubicBezTo>
                <a:cubicBezTo>
                  <a:pt x="1084" y="1153"/>
                  <a:pt x="1084" y="1153"/>
                  <a:pt x="1084" y="1153"/>
                </a:cubicBezTo>
                <a:cubicBezTo>
                  <a:pt x="1085" y="1153"/>
                  <a:pt x="1085" y="1153"/>
                  <a:pt x="1085" y="1153"/>
                </a:cubicBezTo>
                <a:cubicBezTo>
                  <a:pt x="1088" y="1152"/>
                  <a:pt x="1088" y="1152"/>
                  <a:pt x="1088" y="1152"/>
                </a:cubicBezTo>
                <a:cubicBezTo>
                  <a:pt x="1092" y="1152"/>
                  <a:pt x="1092" y="1152"/>
                  <a:pt x="1092" y="1152"/>
                </a:cubicBezTo>
                <a:cubicBezTo>
                  <a:pt x="1096" y="1151"/>
                  <a:pt x="1096" y="1151"/>
                  <a:pt x="1096" y="1151"/>
                </a:cubicBezTo>
                <a:cubicBezTo>
                  <a:pt x="1098" y="1151"/>
                  <a:pt x="1098" y="1151"/>
                  <a:pt x="1098" y="1151"/>
                </a:cubicBezTo>
                <a:cubicBezTo>
                  <a:pt x="1099" y="1150"/>
                  <a:pt x="1099" y="1150"/>
                  <a:pt x="1099" y="1150"/>
                </a:cubicBezTo>
                <a:cubicBezTo>
                  <a:pt x="1123" y="1137"/>
                  <a:pt x="1123" y="1137"/>
                  <a:pt x="1123" y="1137"/>
                </a:cubicBezTo>
                <a:cubicBezTo>
                  <a:pt x="1124" y="1135"/>
                  <a:pt x="1124" y="1135"/>
                  <a:pt x="1124" y="1135"/>
                </a:cubicBezTo>
                <a:cubicBezTo>
                  <a:pt x="1126" y="1133"/>
                  <a:pt x="1126" y="1133"/>
                  <a:pt x="1126" y="1133"/>
                </a:cubicBezTo>
                <a:cubicBezTo>
                  <a:pt x="1129" y="1128"/>
                  <a:pt x="1129" y="1128"/>
                  <a:pt x="1129" y="1128"/>
                </a:cubicBezTo>
                <a:cubicBezTo>
                  <a:pt x="1131" y="1126"/>
                  <a:pt x="1131" y="1126"/>
                  <a:pt x="1131" y="1126"/>
                </a:cubicBezTo>
                <a:cubicBezTo>
                  <a:pt x="1131" y="1122"/>
                  <a:pt x="1131" y="1122"/>
                  <a:pt x="1131" y="1122"/>
                </a:cubicBezTo>
                <a:cubicBezTo>
                  <a:pt x="1132" y="1117"/>
                  <a:pt x="1132" y="1117"/>
                  <a:pt x="1132" y="1117"/>
                </a:cubicBezTo>
                <a:cubicBezTo>
                  <a:pt x="1131" y="1112"/>
                  <a:pt x="1131" y="1112"/>
                  <a:pt x="1131" y="1112"/>
                </a:cubicBezTo>
                <a:cubicBezTo>
                  <a:pt x="1132" y="1083"/>
                  <a:pt x="1132" y="1083"/>
                  <a:pt x="1132" y="1083"/>
                </a:cubicBezTo>
                <a:cubicBezTo>
                  <a:pt x="1133" y="1081"/>
                  <a:pt x="1133" y="1081"/>
                  <a:pt x="1133" y="1081"/>
                </a:cubicBezTo>
                <a:cubicBezTo>
                  <a:pt x="1133" y="1080"/>
                  <a:pt x="1133" y="1080"/>
                  <a:pt x="1133" y="1080"/>
                </a:cubicBezTo>
                <a:cubicBezTo>
                  <a:pt x="1134" y="1074"/>
                  <a:pt x="1134" y="1074"/>
                  <a:pt x="1134" y="1074"/>
                </a:cubicBezTo>
                <a:cubicBezTo>
                  <a:pt x="1135" y="1073"/>
                  <a:pt x="1135" y="1073"/>
                  <a:pt x="1135" y="1073"/>
                </a:cubicBezTo>
                <a:cubicBezTo>
                  <a:pt x="1135" y="1071"/>
                  <a:pt x="1135" y="1071"/>
                  <a:pt x="1135" y="1071"/>
                </a:cubicBezTo>
                <a:cubicBezTo>
                  <a:pt x="1134" y="1069"/>
                  <a:pt x="1134" y="1069"/>
                  <a:pt x="1134" y="1069"/>
                </a:cubicBezTo>
                <a:cubicBezTo>
                  <a:pt x="1134" y="1067"/>
                  <a:pt x="1134" y="1067"/>
                  <a:pt x="1134" y="1067"/>
                </a:cubicBezTo>
                <a:cubicBezTo>
                  <a:pt x="1133" y="1067"/>
                  <a:pt x="1133" y="1067"/>
                  <a:pt x="1133" y="1067"/>
                </a:cubicBezTo>
                <a:cubicBezTo>
                  <a:pt x="1132" y="1067"/>
                  <a:pt x="1132" y="1067"/>
                  <a:pt x="1132" y="1067"/>
                </a:cubicBezTo>
                <a:cubicBezTo>
                  <a:pt x="1126" y="1067"/>
                  <a:pt x="1126" y="1067"/>
                  <a:pt x="1126" y="1067"/>
                </a:cubicBezTo>
                <a:cubicBezTo>
                  <a:pt x="1118" y="1069"/>
                  <a:pt x="1118" y="1069"/>
                  <a:pt x="1118" y="1069"/>
                </a:cubicBezTo>
                <a:cubicBezTo>
                  <a:pt x="1091" y="1075"/>
                  <a:pt x="1091" y="1075"/>
                  <a:pt x="1091" y="1075"/>
                </a:cubicBezTo>
                <a:cubicBezTo>
                  <a:pt x="1072" y="1079"/>
                  <a:pt x="1072" y="1079"/>
                  <a:pt x="1072" y="1079"/>
                </a:cubicBezTo>
                <a:cubicBezTo>
                  <a:pt x="1070" y="1080"/>
                  <a:pt x="1070" y="1080"/>
                  <a:pt x="1070" y="1080"/>
                </a:cubicBezTo>
                <a:cubicBezTo>
                  <a:pt x="1066" y="1083"/>
                  <a:pt x="1066" y="1083"/>
                  <a:pt x="1066" y="1083"/>
                </a:cubicBezTo>
                <a:cubicBezTo>
                  <a:pt x="1065" y="1084"/>
                  <a:pt x="1065" y="1084"/>
                  <a:pt x="1065" y="1084"/>
                </a:cubicBezTo>
                <a:cubicBezTo>
                  <a:pt x="1063" y="1085"/>
                  <a:pt x="1063" y="1085"/>
                  <a:pt x="1063" y="1085"/>
                </a:cubicBezTo>
                <a:cubicBezTo>
                  <a:pt x="1052" y="1087"/>
                  <a:pt x="1052" y="1087"/>
                  <a:pt x="1052" y="1087"/>
                </a:cubicBezTo>
                <a:cubicBezTo>
                  <a:pt x="1045" y="1086"/>
                  <a:pt x="1045" y="1086"/>
                  <a:pt x="1045" y="1086"/>
                </a:cubicBezTo>
                <a:cubicBezTo>
                  <a:pt x="1034" y="1085"/>
                  <a:pt x="1034" y="1085"/>
                  <a:pt x="1034" y="1085"/>
                </a:cubicBezTo>
                <a:cubicBezTo>
                  <a:pt x="1032" y="1084"/>
                  <a:pt x="1032" y="1084"/>
                  <a:pt x="1032" y="1084"/>
                </a:cubicBezTo>
                <a:cubicBezTo>
                  <a:pt x="1030" y="1082"/>
                  <a:pt x="1030" y="1082"/>
                  <a:pt x="1030" y="1082"/>
                </a:cubicBezTo>
                <a:cubicBezTo>
                  <a:pt x="1031" y="1082"/>
                  <a:pt x="1031" y="1082"/>
                  <a:pt x="1031" y="1082"/>
                </a:cubicBezTo>
                <a:cubicBezTo>
                  <a:pt x="1038" y="1082"/>
                  <a:pt x="1038" y="1082"/>
                  <a:pt x="1038" y="1082"/>
                </a:cubicBezTo>
                <a:cubicBezTo>
                  <a:pt x="1041" y="1083"/>
                  <a:pt x="1041" y="1083"/>
                  <a:pt x="1041" y="1083"/>
                </a:cubicBezTo>
                <a:cubicBezTo>
                  <a:pt x="1045" y="1084"/>
                  <a:pt x="1045" y="1084"/>
                  <a:pt x="1045" y="1084"/>
                </a:cubicBezTo>
                <a:cubicBezTo>
                  <a:pt x="1047" y="1084"/>
                  <a:pt x="1047" y="1084"/>
                  <a:pt x="1047" y="1084"/>
                </a:cubicBezTo>
                <a:cubicBezTo>
                  <a:pt x="1054" y="1080"/>
                  <a:pt x="1054" y="1080"/>
                  <a:pt x="1054" y="1080"/>
                </a:cubicBezTo>
                <a:cubicBezTo>
                  <a:pt x="1055" y="1079"/>
                  <a:pt x="1055" y="1079"/>
                  <a:pt x="1055" y="1079"/>
                </a:cubicBezTo>
                <a:cubicBezTo>
                  <a:pt x="1055" y="1079"/>
                  <a:pt x="1055" y="1079"/>
                  <a:pt x="1055" y="1079"/>
                </a:cubicBezTo>
                <a:cubicBezTo>
                  <a:pt x="1055" y="1078"/>
                  <a:pt x="1055" y="1078"/>
                  <a:pt x="1055" y="1078"/>
                </a:cubicBezTo>
                <a:cubicBezTo>
                  <a:pt x="1054" y="1076"/>
                  <a:pt x="1054" y="1076"/>
                  <a:pt x="1054" y="1076"/>
                </a:cubicBezTo>
                <a:cubicBezTo>
                  <a:pt x="1052" y="1073"/>
                  <a:pt x="1052" y="1073"/>
                  <a:pt x="1052" y="1073"/>
                </a:cubicBezTo>
                <a:cubicBezTo>
                  <a:pt x="1048" y="1069"/>
                  <a:pt x="1048" y="1069"/>
                  <a:pt x="1048" y="1069"/>
                </a:cubicBezTo>
                <a:cubicBezTo>
                  <a:pt x="1046" y="1068"/>
                  <a:pt x="1046" y="1068"/>
                  <a:pt x="1046" y="1068"/>
                </a:cubicBezTo>
                <a:cubicBezTo>
                  <a:pt x="1028" y="1064"/>
                  <a:pt x="1028" y="1064"/>
                  <a:pt x="1028" y="1064"/>
                </a:cubicBezTo>
                <a:cubicBezTo>
                  <a:pt x="1024" y="1063"/>
                  <a:pt x="1024" y="1063"/>
                  <a:pt x="1024" y="1063"/>
                </a:cubicBezTo>
                <a:cubicBezTo>
                  <a:pt x="1022" y="1063"/>
                  <a:pt x="1022" y="1063"/>
                  <a:pt x="1022" y="1063"/>
                </a:cubicBezTo>
                <a:cubicBezTo>
                  <a:pt x="1018" y="1069"/>
                  <a:pt x="1018" y="1069"/>
                  <a:pt x="1018" y="1069"/>
                </a:cubicBezTo>
                <a:cubicBezTo>
                  <a:pt x="1017" y="1069"/>
                  <a:pt x="1017" y="1069"/>
                  <a:pt x="1017" y="1069"/>
                </a:cubicBezTo>
                <a:cubicBezTo>
                  <a:pt x="1016" y="1070"/>
                  <a:pt x="1016" y="1070"/>
                  <a:pt x="1016" y="1070"/>
                </a:cubicBezTo>
                <a:cubicBezTo>
                  <a:pt x="1016" y="1073"/>
                  <a:pt x="1016" y="1073"/>
                  <a:pt x="1016" y="1073"/>
                </a:cubicBezTo>
                <a:cubicBezTo>
                  <a:pt x="1016" y="1074"/>
                  <a:pt x="1016" y="1074"/>
                  <a:pt x="1016" y="1074"/>
                </a:cubicBezTo>
                <a:cubicBezTo>
                  <a:pt x="1017" y="1076"/>
                  <a:pt x="1017" y="1076"/>
                  <a:pt x="1017" y="1076"/>
                </a:cubicBezTo>
                <a:cubicBezTo>
                  <a:pt x="1018" y="1077"/>
                  <a:pt x="1018" y="1077"/>
                  <a:pt x="1018" y="1077"/>
                </a:cubicBezTo>
                <a:cubicBezTo>
                  <a:pt x="1017" y="1078"/>
                  <a:pt x="1017" y="1078"/>
                  <a:pt x="1017" y="1078"/>
                </a:cubicBezTo>
                <a:cubicBezTo>
                  <a:pt x="1016" y="1079"/>
                  <a:pt x="1016" y="1079"/>
                  <a:pt x="1016" y="1079"/>
                </a:cubicBezTo>
                <a:cubicBezTo>
                  <a:pt x="1015" y="1079"/>
                  <a:pt x="1015" y="1079"/>
                  <a:pt x="1015" y="1079"/>
                </a:cubicBezTo>
                <a:cubicBezTo>
                  <a:pt x="1012" y="1081"/>
                  <a:pt x="1012" y="1081"/>
                  <a:pt x="1012" y="1081"/>
                </a:cubicBezTo>
                <a:cubicBezTo>
                  <a:pt x="1003" y="1081"/>
                  <a:pt x="1003" y="1081"/>
                  <a:pt x="1003" y="1081"/>
                </a:cubicBezTo>
                <a:cubicBezTo>
                  <a:pt x="1002" y="1081"/>
                  <a:pt x="1002" y="1081"/>
                  <a:pt x="1002" y="1081"/>
                </a:cubicBezTo>
                <a:cubicBezTo>
                  <a:pt x="997" y="1080"/>
                  <a:pt x="997" y="1080"/>
                  <a:pt x="997" y="1080"/>
                </a:cubicBezTo>
                <a:cubicBezTo>
                  <a:pt x="993" y="1076"/>
                  <a:pt x="993" y="1076"/>
                  <a:pt x="993" y="1076"/>
                </a:cubicBezTo>
                <a:cubicBezTo>
                  <a:pt x="993" y="1075"/>
                  <a:pt x="993" y="1075"/>
                  <a:pt x="993" y="1075"/>
                </a:cubicBezTo>
                <a:cubicBezTo>
                  <a:pt x="993" y="1074"/>
                  <a:pt x="993" y="1074"/>
                  <a:pt x="993" y="1074"/>
                </a:cubicBezTo>
                <a:cubicBezTo>
                  <a:pt x="1003" y="1068"/>
                  <a:pt x="1003" y="1068"/>
                  <a:pt x="1003" y="1068"/>
                </a:cubicBezTo>
                <a:cubicBezTo>
                  <a:pt x="1012" y="1067"/>
                  <a:pt x="1012" y="1067"/>
                  <a:pt x="1012" y="1067"/>
                </a:cubicBezTo>
                <a:cubicBezTo>
                  <a:pt x="1016" y="1066"/>
                  <a:pt x="1016" y="1066"/>
                  <a:pt x="1016" y="1066"/>
                </a:cubicBezTo>
                <a:cubicBezTo>
                  <a:pt x="1018" y="1066"/>
                  <a:pt x="1018" y="1066"/>
                  <a:pt x="1018" y="1066"/>
                </a:cubicBezTo>
                <a:cubicBezTo>
                  <a:pt x="1018" y="1065"/>
                  <a:pt x="1018" y="1065"/>
                  <a:pt x="1018" y="1065"/>
                </a:cubicBezTo>
                <a:cubicBezTo>
                  <a:pt x="1019" y="1063"/>
                  <a:pt x="1019" y="1063"/>
                  <a:pt x="1019" y="1063"/>
                </a:cubicBezTo>
                <a:cubicBezTo>
                  <a:pt x="1019" y="1062"/>
                  <a:pt x="1019" y="1062"/>
                  <a:pt x="1019" y="1062"/>
                </a:cubicBezTo>
                <a:cubicBezTo>
                  <a:pt x="1018" y="1060"/>
                  <a:pt x="1018" y="1060"/>
                  <a:pt x="1018" y="1060"/>
                </a:cubicBezTo>
                <a:cubicBezTo>
                  <a:pt x="1017" y="1060"/>
                  <a:pt x="1017" y="1060"/>
                  <a:pt x="1017" y="1060"/>
                </a:cubicBezTo>
                <a:cubicBezTo>
                  <a:pt x="1015" y="1058"/>
                  <a:pt x="1015" y="1058"/>
                  <a:pt x="1015" y="1058"/>
                </a:cubicBezTo>
                <a:cubicBezTo>
                  <a:pt x="1014" y="1057"/>
                  <a:pt x="1014" y="1057"/>
                  <a:pt x="1014" y="1057"/>
                </a:cubicBezTo>
                <a:cubicBezTo>
                  <a:pt x="998" y="1054"/>
                  <a:pt x="998" y="1054"/>
                  <a:pt x="998" y="1054"/>
                </a:cubicBezTo>
                <a:cubicBezTo>
                  <a:pt x="996" y="1054"/>
                  <a:pt x="996" y="1054"/>
                  <a:pt x="996" y="1054"/>
                </a:cubicBezTo>
                <a:cubicBezTo>
                  <a:pt x="990" y="1055"/>
                  <a:pt x="990" y="1055"/>
                  <a:pt x="990" y="1055"/>
                </a:cubicBezTo>
                <a:cubicBezTo>
                  <a:pt x="988" y="1055"/>
                  <a:pt x="988" y="1055"/>
                  <a:pt x="988" y="1055"/>
                </a:cubicBezTo>
                <a:cubicBezTo>
                  <a:pt x="980" y="1057"/>
                  <a:pt x="980" y="1057"/>
                  <a:pt x="980" y="1057"/>
                </a:cubicBezTo>
                <a:cubicBezTo>
                  <a:pt x="979" y="1057"/>
                  <a:pt x="979" y="1057"/>
                  <a:pt x="979" y="1057"/>
                </a:cubicBezTo>
                <a:cubicBezTo>
                  <a:pt x="978" y="1058"/>
                  <a:pt x="978" y="1058"/>
                  <a:pt x="978" y="1058"/>
                </a:cubicBezTo>
                <a:cubicBezTo>
                  <a:pt x="969" y="1067"/>
                  <a:pt x="969" y="1067"/>
                  <a:pt x="969" y="1067"/>
                </a:cubicBezTo>
                <a:cubicBezTo>
                  <a:pt x="966" y="1067"/>
                  <a:pt x="966" y="1067"/>
                  <a:pt x="966" y="1067"/>
                </a:cubicBezTo>
                <a:cubicBezTo>
                  <a:pt x="965" y="1067"/>
                  <a:pt x="965" y="1067"/>
                  <a:pt x="965" y="1067"/>
                </a:cubicBezTo>
                <a:cubicBezTo>
                  <a:pt x="964" y="1066"/>
                  <a:pt x="964" y="1066"/>
                  <a:pt x="964" y="1066"/>
                </a:cubicBezTo>
                <a:cubicBezTo>
                  <a:pt x="965" y="1066"/>
                  <a:pt x="965" y="1066"/>
                  <a:pt x="965" y="1066"/>
                </a:cubicBezTo>
                <a:cubicBezTo>
                  <a:pt x="974" y="1053"/>
                  <a:pt x="974" y="1053"/>
                  <a:pt x="974" y="1053"/>
                </a:cubicBezTo>
                <a:cubicBezTo>
                  <a:pt x="976" y="1052"/>
                  <a:pt x="976" y="1052"/>
                  <a:pt x="976" y="1052"/>
                </a:cubicBezTo>
                <a:cubicBezTo>
                  <a:pt x="1004" y="1045"/>
                  <a:pt x="1004" y="1045"/>
                  <a:pt x="1004" y="1045"/>
                </a:cubicBezTo>
                <a:cubicBezTo>
                  <a:pt x="1023" y="1044"/>
                  <a:pt x="1023" y="1044"/>
                  <a:pt x="1023" y="1044"/>
                </a:cubicBezTo>
                <a:cubicBezTo>
                  <a:pt x="1025" y="1044"/>
                  <a:pt x="1025" y="1044"/>
                  <a:pt x="1025" y="1044"/>
                </a:cubicBezTo>
                <a:cubicBezTo>
                  <a:pt x="1027" y="1043"/>
                  <a:pt x="1027" y="1043"/>
                  <a:pt x="1027" y="1043"/>
                </a:cubicBezTo>
                <a:cubicBezTo>
                  <a:pt x="1029" y="1042"/>
                  <a:pt x="1029" y="1042"/>
                  <a:pt x="1029" y="1042"/>
                </a:cubicBezTo>
                <a:cubicBezTo>
                  <a:pt x="1038" y="1034"/>
                  <a:pt x="1038" y="1034"/>
                  <a:pt x="1038" y="1034"/>
                </a:cubicBezTo>
                <a:cubicBezTo>
                  <a:pt x="1041" y="1031"/>
                  <a:pt x="1041" y="1031"/>
                  <a:pt x="1041" y="1031"/>
                </a:cubicBezTo>
                <a:cubicBezTo>
                  <a:pt x="1045" y="1027"/>
                  <a:pt x="1045" y="1027"/>
                  <a:pt x="1045" y="1027"/>
                </a:cubicBezTo>
                <a:cubicBezTo>
                  <a:pt x="1050" y="1020"/>
                  <a:pt x="1050" y="1020"/>
                  <a:pt x="1050" y="1020"/>
                </a:cubicBezTo>
                <a:cubicBezTo>
                  <a:pt x="1051" y="1018"/>
                  <a:pt x="1051" y="1018"/>
                  <a:pt x="1051" y="1018"/>
                </a:cubicBezTo>
                <a:cubicBezTo>
                  <a:pt x="1050" y="998"/>
                  <a:pt x="1050" y="998"/>
                  <a:pt x="1050" y="998"/>
                </a:cubicBezTo>
                <a:cubicBezTo>
                  <a:pt x="1050" y="993"/>
                  <a:pt x="1050" y="993"/>
                  <a:pt x="1050" y="993"/>
                </a:cubicBezTo>
                <a:cubicBezTo>
                  <a:pt x="1049" y="991"/>
                  <a:pt x="1049" y="991"/>
                  <a:pt x="1049" y="991"/>
                </a:cubicBezTo>
                <a:cubicBezTo>
                  <a:pt x="1048" y="989"/>
                  <a:pt x="1048" y="989"/>
                  <a:pt x="1048" y="989"/>
                </a:cubicBezTo>
                <a:cubicBezTo>
                  <a:pt x="1047" y="988"/>
                  <a:pt x="1047" y="988"/>
                  <a:pt x="1047" y="988"/>
                </a:cubicBezTo>
                <a:cubicBezTo>
                  <a:pt x="1046" y="986"/>
                  <a:pt x="1046" y="986"/>
                  <a:pt x="1046" y="986"/>
                </a:cubicBezTo>
                <a:cubicBezTo>
                  <a:pt x="1043" y="986"/>
                  <a:pt x="1043" y="986"/>
                  <a:pt x="1043" y="986"/>
                </a:cubicBezTo>
                <a:cubicBezTo>
                  <a:pt x="1042" y="986"/>
                  <a:pt x="1042" y="986"/>
                  <a:pt x="1042" y="986"/>
                </a:cubicBezTo>
                <a:cubicBezTo>
                  <a:pt x="1036" y="989"/>
                  <a:pt x="1036" y="989"/>
                  <a:pt x="1036" y="989"/>
                </a:cubicBezTo>
                <a:cubicBezTo>
                  <a:pt x="1031" y="993"/>
                  <a:pt x="1031" y="993"/>
                  <a:pt x="1031" y="993"/>
                </a:cubicBezTo>
                <a:cubicBezTo>
                  <a:pt x="1030" y="994"/>
                  <a:pt x="1030" y="994"/>
                  <a:pt x="1030" y="994"/>
                </a:cubicBezTo>
                <a:cubicBezTo>
                  <a:pt x="1020" y="996"/>
                  <a:pt x="1020" y="996"/>
                  <a:pt x="1020" y="996"/>
                </a:cubicBezTo>
                <a:cubicBezTo>
                  <a:pt x="1011" y="993"/>
                  <a:pt x="1011" y="993"/>
                  <a:pt x="1011" y="993"/>
                </a:cubicBezTo>
                <a:cubicBezTo>
                  <a:pt x="1011" y="993"/>
                  <a:pt x="1011" y="993"/>
                  <a:pt x="1011" y="993"/>
                </a:cubicBezTo>
                <a:cubicBezTo>
                  <a:pt x="1012" y="991"/>
                  <a:pt x="1012" y="991"/>
                  <a:pt x="1012" y="991"/>
                </a:cubicBezTo>
                <a:cubicBezTo>
                  <a:pt x="1013" y="991"/>
                  <a:pt x="1013" y="991"/>
                  <a:pt x="1013" y="991"/>
                </a:cubicBezTo>
                <a:cubicBezTo>
                  <a:pt x="1017" y="991"/>
                  <a:pt x="1017" y="991"/>
                  <a:pt x="1017" y="991"/>
                </a:cubicBezTo>
                <a:cubicBezTo>
                  <a:pt x="1031" y="987"/>
                  <a:pt x="1031" y="987"/>
                  <a:pt x="1031" y="987"/>
                </a:cubicBezTo>
                <a:cubicBezTo>
                  <a:pt x="1033" y="985"/>
                  <a:pt x="1033" y="985"/>
                  <a:pt x="1033" y="985"/>
                </a:cubicBezTo>
                <a:cubicBezTo>
                  <a:pt x="1036" y="982"/>
                  <a:pt x="1036" y="982"/>
                  <a:pt x="1036" y="982"/>
                </a:cubicBezTo>
                <a:cubicBezTo>
                  <a:pt x="1037" y="980"/>
                  <a:pt x="1037" y="980"/>
                  <a:pt x="1037" y="980"/>
                </a:cubicBezTo>
                <a:cubicBezTo>
                  <a:pt x="1036" y="979"/>
                  <a:pt x="1036" y="979"/>
                  <a:pt x="1036" y="979"/>
                </a:cubicBezTo>
                <a:cubicBezTo>
                  <a:pt x="1036" y="978"/>
                  <a:pt x="1036" y="978"/>
                  <a:pt x="1036" y="978"/>
                </a:cubicBezTo>
                <a:cubicBezTo>
                  <a:pt x="1036" y="977"/>
                  <a:pt x="1036" y="977"/>
                  <a:pt x="1036" y="977"/>
                </a:cubicBezTo>
                <a:cubicBezTo>
                  <a:pt x="1044" y="971"/>
                  <a:pt x="1044" y="971"/>
                  <a:pt x="1044" y="971"/>
                </a:cubicBezTo>
                <a:cubicBezTo>
                  <a:pt x="1046" y="970"/>
                  <a:pt x="1046" y="970"/>
                  <a:pt x="1046" y="970"/>
                </a:cubicBezTo>
                <a:cubicBezTo>
                  <a:pt x="1054" y="969"/>
                  <a:pt x="1054" y="969"/>
                  <a:pt x="1054" y="969"/>
                </a:cubicBezTo>
                <a:cubicBezTo>
                  <a:pt x="1056" y="970"/>
                  <a:pt x="1056" y="970"/>
                  <a:pt x="1056" y="970"/>
                </a:cubicBezTo>
                <a:cubicBezTo>
                  <a:pt x="1057" y="971"/>
                  <a:pt x="1057" y="971"/>
                  <a:pt x="1057" y="971"/>
                </a:cubicBezTo>
                <a:cubicBezTo>
                  <a:pt x="1059" y="972"/>
                  <a:pt x="1059" y="972"/>
                  <a:pt x="1059" y="972"/>
                </a:cubicBezTo>
                <a:cubicBezTo>
                  <a:pt x="1060" y="977"/>
                  <a:pt x="1060" y="977"/>
                  <a:pt x="1060" y="977"/>
                </a:cubicBezTo>
                <a:cubicBezTo>
                  <a:pt x="1061" y="977"/>
                  <a:pt x="1061" y="977"/>
                  <a:pt x="1061" y="977"/>
                </a:cubicBezTo>
                <a:cubicBezTo>
                  <a:pt x="1061" y="977"/>
                  <a:pt x="1061" y="977"/>
                  <a:pt x="1061" y="977"/>
                </a:cubicBezTo>
                <a:cubicBezTo>
                  <a:pt x="1064" y="978"/>
                  <a:pt x="1064" y="978"/>
                  <a:pt x="1064" y="978"/>
                </a:cubicBezTo>
                <a:cubicBezTo>
                  <a:pt x="1071" y="976"/>
                  <a:pt x="1071" y="976"/>
                  <a:pt x="1071" y="976"/>
                </a:cubicBezTo>
                <a:cubicBezTo>
                  <a:pt x="1075" y="976"/>
                  <a:pt x="1075" y="976"/>
                  <a:pt x="1075" y="976"/>
                </a:cubicBezTo>
                <a:cubicBezTo>
                  <a:pt x="1081" y="972"/>
                  <a:pt x="1081" y="972"/>
                  <a:pt x="1081" y="972"/>
                </a:cubicBezTo>
                <a:cubicBezTo>
                  <a:pt x="1084" y="970"/>
                  <a:pt x="1084" y="970"/>
                  <a:pt x="1084" y="970"/>
                </a:cubicBezTo>
                <a:cubicBezTo>
                  <a:pt x="1087" y="968"/>
                  <a:pt x="1087" y="968"/>
                  <a:pt x="1087" y="968"/>
                </a:cubicBezTo>
                <a:cubicBezTo>
                  <a:pt x="1088" y="966"/>
                  <a:pt x="1088" y="966"/>
                  <a:pt x="1088" y="966"/>
                </a:cubicBezTo>
                <a:cubicBezTo>
                  <a:pt x="1091" y="963"/>
                  <a:pt x="1091" y="963"/>
                  <a:pt x="1091" y="963"/>
                </a:cubicBezTo>
                <a:cubicBezTo>
                  <a:pt x="1097" y="954"/>
                  <a:pt x="1097" y="954"/>
                  <a:pt x="1097" y="954"/>
                </a:cubicBezTo>
                <a:cubicBezTo>
                  <a:pt x="1099" y="951"/>
                  <a:pt x="1099" y="951"/>
                  <a:pt x="1099" y="951"/>
                </a:cubicBezTo>
                <a:cubicBezTo>
                  <a:pt x="1099" y="949"/>
                  <a:pt x="1099" y="949"/>
                  <a:pt x="1099" y="949"/>
                </a:cubicBezTo>
                <a:cubicBezTo>
                  <a:pt x="1099" y="948"/>
                  <a:pt x="1099" y="948"/>
                  <a:pt x="1099" y="948"/>
                </a:cubicBezTo>
                <a:cubicBezTo>
                  <a:pt x="1098" y="947"/>
                  <a:pt x="1098" y="947"/>
                  <a:pt x="1098" y="947"/>
                </a:cubicBezTo>
                <a:cubicBezTo>
                  <a:pt x="1097" y="947"/>
                  <a:pt x="1097" y="947"/>
                  <a:pt x="1097" y="947"/>
                </a:cubicBezTo>
                <a:cubicBezTo>
                  <a:pt x="1096" y="946"/>
                  <a:pt x="1096" y="946"/>
                  <a:pt x="1096" y="946"/>
                </a:cubicBezTo>
                <a:cubicBezTo>
                  <a:pt x="1095" y="946"/>
                  <a:pt x="1095" y="946"/>
                  <a:pt x="1095" y="946"/>
                </a:cubicBezTo>
                <a:cubicBezTo>
                  <a:pt x="1095" y="947"/>
                  <a:pt x="1095" y="947"/>
                  <a:pt x="1095" y="947"/>
                </a:cubicBezTo>
                <a:cubicBezTo>
                  <a:pt x="1095" y="949"/>
                  <a:pt x="1095" y="949"/>
                  <a:pt x="1095" y="949"/>
                </a:cubicBezTo>
                <a:cubicBezTo>
                  <a:pt x="1095" y="950"/>
                  <a:pt x="1095" y="950"/>
                  <a:pt x="1095" y="950"/>
                </a:cubicBezTo>
                <a:cubicBezTo>
                  <a:pt x="1094" y="952"/>
                  <a:pt x="1094" y="952"/>
                  <a:pt x="1094" y="952"/>
                </a:cubicBezTo>
                <a:cubicBezTo>
                  <a:pt x="1093" y="952"/>
                  <a:pt x="1093" y="952"/>
                  <a:pt x="1093" y="952"/>
                </a:cubicBezTo>
                <a:cubicBezTo>
                  <a:pt x="1091" y="953"/>
                  <a:pt x="1091" y="953"/>
                  <a:pt x="1091" y="953"/>
                </a:cubicBezTo>
                <a:cubicBezTo>
                  <a:pt x="1085" y="950"/>
                  <a:pt x="1085" y="950"/>
                  <a:pt x="1085" y="950"/>
                </a:cubicBezTo>
                <a:cubicBezTo>
                  <a:pt x="1084" y="950"/>
                  <a:pt x="1084" y="950"/>
                  <a:pt x="1084" y="950"/>
                </a:cubicBezTo>
                <a:cubicBezTo>
                  <a:pt x="1084" y="949"/>
                  <a:pt x="1084" y="949"/>
                  <a:pt x="1084" y="949"/>
                </a:cubicBezTo>
                <a:cubicBezTo>
                  <a:pt x="1093" y="924"/>
                  <a:pt x="1093" y="924"/>
                  <a:pt x="1093" y="924"/>
                </a:cubicBezTo>
                <a:cubicBezTo>
                  <a:pt x="1097" y="926"/>
                  <a:pt x="1097" y="926"/>
                  <a:pt x="1097" y="926"/>
                </a:cubicBezTo>
                <a:cubicBezTo>
                  <a:pt x="1103" y="934"/>
                  <a:pt x="1103" y="934"/>
                  <a:pt x="1103" y="934"/>
                </a:cubicBezTo>
                <a:cubicBezTo>
                  <a:pt x="1104" y="934"/>
                  <a:pt x="1104" y="934"/>
                  <a:pt x="1104" y="934"/>
                </a:cubicBezTo>
                <a:cubicBezTo>
                  <a:pt x="1109" y="926"/>
                  <a:pt x="1109" y="926"/>
                  <a:pt x="1109" y="926"/>
                </a:cubicBezTo>
                <a:cubicBezTo>
                  <a:pt x="1113" y="921"/>
                  <a:pt x="1113" y="921"/>
                  <a:pt x="1113" y="921"/>
                </a:cubicBezTo>
                <a:cubicBezTo>
                  <a:pt x="1115" y="916"/>
                  <a:pt x="1115" y="916"/>
                  <a:pt x="1115" y="916"/>
                </a:cubicBezTo>
                <a:cubicBezTo>
                  <a:pt x="1116" y="914"/>
                  <a:pt x="1116" y="914"/>
                  <a:pt x="1116" y="914"/>
                </a:cubicBezTo>
                <a:cubicBezTo>
                  <a:pt x="1121" y="906"/>
                  <a:pt x="1121" y="906"/>
                  <a:pt x="1121" y="906"/>
                </a:cubicBezTo>
                <a:cubicBezTo>
                  <a:pt x="1125" y="901"/>
                  <a:pt x="1125" y="901"/>
                  <a:pt x="1125" y="901"/>
                </a:cubicBezTo>
                <a:cubicBezTo>
                  <a:pt x="1131" y="896"/>
                  <a:pt x="1131" y="896"/>
                  <a:pt x="1131" y="896"/>
                </a:cubicBezTo>
                <a:cubicBezTo>
                  <a:pt x="1136" y="895"/>
                  <a:pt x="1136" y="895"/>
                  <a:pt x="1136" y="895"/>
                </a:cubicBezTo>
                <a:cubicBezTo>
                  <a:pt x="1137" y="894"/>
                  <a:pt x="1137" y="894"/>
                  <a:pt x="1137" y="894"/>
                </a:cubicBezTo>
                <a:cubicBezTo>
                  <a:pt x="1138" y="894"/>
                  <a:pt x="1138" y="894"/>
                  <a:pt x="1138" y="894"/>
                </a:cubicBezTo>
                <a:cubicBezTo>
                  <a:pt x="1139" y="892"/>
                  <a:pt x="1139" y="892"/>
                  <a:pt x="1139" y="892"/>
                </a:cubicBezTo>
                <a:cubicBezTo>
                  <a:pt x="1139" y="891"/>
                  <a:pt x="1139" y="891"/>
                  <a:pt x="1139" y="891"/>
                </a:cubicBezTo>
                <a:cubicBezTo>
                  <a:pt x="1140" y="885"/>
                  <a:pt x="1140" y="885"/>
                  <a:pt x="1140" y="885"/>
                </a:cubicBezTo>
                <a:cubicBezTo>
                  <a:pt x="1142" y="872"/>
                  <a:pt x="1142" y="872"/>
                  <a:pt x="1142" y="872"/>
                </a:cubicBezTo>
                <a:cubicBezTo>
                  <a:pt x="1142" y="856"/>
                  <a:pt x="1142" y="856"/>
                  <a:pt x="1142" y="856"/>
                </a:cubicBezTo>
                <a:cubicBezTo>
                  <a:pt x="1142" y="854"/>
                  <a:pt x="1142" y="854"/>
                  <a:pt x="1142" y="854"/>
                </a:cubicBezTo>
                <a:cubicBezTo>
                  <a:pt x="1142" y="849"/>
                  <a:pt x="1142" y="849"/>
                  <a:pt x="1142" y="849"/>
                </a:cubicBezTo>
                <a:cubicBezTo>
                  <a:pt x="1142" y="844"/>
                  <a:pt x="1142" y="844"/>
                  <a:pt x="1142" y="844"/>
                </a:cubicBezTo>
                <a:cubicBezTo>
                  <a:pt x="1143" y="840"/>
                  <a:pt x="1143" y="840"/>
                  <a:pt x="1143" y="840"/>
                </a:cubicBezTo>
                <a:cubicBezTo>
                  <a:pt x="1145" y="837"/>
                  <a:pt x="1145" y="837"/>
                  <a:pt x="1145" y="837"/>
                </a:cubicBezTo>
                <a:cubicBezTo>
                  <a:pt x="1150" y="827"/>
                  <a:pt x="1150" y="827"/>
                  <a:pt x="1150" y="827"/>
                </a:cubicBezTo>
                <a:cubicBezTo>
                  <a:pt x="1154" y="814"/>
                  <a:pt x="1154" y="814"/>
                  <a:pt x="1154" y="814"/>
                </a:cubicBezTo>
                <a:cubicBezTo>
                  <a:pt x="1155" y="811"/>
                  <a:pt x="1155" y="811"/>
                  <a:pt x="1155" y="811"/>
                </a:cubicBezTo>
                <a:cubicBezTo>
                  <a:pt x="1159" y="789"/>
                  <a:pt x="1159" y="789"/>
                  <a:pt x="1159" y="789"/>
                </a:cubicBezTo>
                <a:lnTo>
                  <a:pt x="1151" y="754"/>
                </a:lnTo>
                <a:close/>
              </a:path>
            </a:pathLst>
          </a:custGeom>
          <a:solidFill>
            <a:srgbClr val="FFC000"/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reeform 16">
            <a:extLst>
              <a:ext uri="{FF2B5EF4-FFF2-40B4-BE49-F238E27FC236}">
                <a16:creationId xmlns:a16="http://schemas.microsoft.com/office/drawing/2014/main" id="{30BF26BA-0661-4994-A2E0-54052545C1B2}"/>
              </a:ext>
            </a:extLst>
          </p:cNvPr>
          <p:cNvSpPr>
            <a:spLocks noEditPoints="1"/>
          </p:cNvSpPr>
          <p:nvPr/>
        </p:nvSpPr>
        <p:spPr bwMode="auto">
          <a:xfrm>
            <a:off x="3264381" y="936923"/>
            <a:ext cx="1912408" cy="2973387"/>
          </a:xfrm>
          <a:custGeom>
            <a:avLst/>
            <a:gdLst>
              <a:gd name="T0" fmla="*/ 267 w 798"/>
              <a:gd name="T1" fmla="*/ 785 h 1345"/>
              <a:gd name="T2" fmla="*/ 203 w 798"/>
              <a:gd name="T3" fmla="*/ 631 h 1345"/>
              <a:gd name="T4" fmla="*/ 190 w 798"/>
              <a:gd name="T5" fmla="*/ 774 h 1345"/>
              <a:gd name="T6" fmla="*/ 75 w 798"/>
              <a:gd name="T7" fmla="*/ 447 h 1345"/>
              <a:gd name="T8" fmla="*/ 142 w 798"/>
              <a:gd name="T9" fmla="*/ 521 h 1345"/>
              <a:gd name="T10" fmla="*/ 252 w 798"/>
              <a:gd name="T11" fmla="*/ 569 h 1345"/>
              <a:gd name="T12" fmla="*/ 161 w 798"/>
              <a:gd name="T13" fmla="*/ 490 h 1345"/>
              <a:gd name="T14" fmla="*/ 62 w 798"/>
              <a:gd name="T15" fmla="*/ 470 h 1345"/>
              <a:gd name="T16" fmla="*/ 113 w 798"/>
              <a:gd name="T17" fmla="*/ 725 h 1345"/>
              <a:gd name="T18" fmla="*/ 53 w 798"/>
              <a:gd name="T19" fmla="*/ 496 h 1345"/>
              <a:gd name="T20" fmla="*/ 332 w 798"/>
              <a:gd name="T21" fmla="*/ 1008 h 1345"/>
              <a:gd name="T22" fmla="*/ 774 w 798"/>
              <a:gd name="T23" fmla="*/ 434 h 1345"/>
              <a:gd name="T24" fmla="*/ 546 w 798"/>
              <a:gd name="T25" fmla="*/ 443 h 1345"/>
              <a:gd name="T26" fmla="*/ 461 w 798"/>
              <a:gd name="T27" fmla="*/ 443 h 1345"/>
              <a:gd name="T28" fmla="*/ 514 w 798"/>
              <a:gd name="T29" fmla="*/ 402 h 1345"/>
              <a:gd name="T30" fmla="*/ 616 w 798"/>
              <a:gd name="T31" fmla="*/ 235 h 1345"/>
              <a:gd name="T32" fmla="*/ 409 w 798"/>
              <a:gd name="T33" fmla="*/ 213 h 1345"/>
              <a:gd name="T34" fmla="*/ 304 w 798"/>
              <a:gd name="T35" fmla="*/ 301 h 1345"/>
              <a:gd name="T36" fmla="*/ 320 w 798"/>
              <a:gd name="T37" fmla="*/ 397 h 1345"/>
              <a:gd name="T38" fmla="*/ 273 w 798"/>
              <a:gd name="T39" fmla="*/ 418 h 1345"/>
              <a:gd name="T40" fmla="*/ 262 w 798"/>
              <a:gd name="T41" fmla="*/ 478 h 1345"/>
              <a:gd name="T42" fmla="*/ 257 w 798"/>
              <a:gd name="T43" fmla="*/ 537 h 1345"/>
              <a:gd name="T44" fmla="*/ 280 w 798"/>
              <a:gd name="T45" fmla="*/ 580 h 1345"/>
              <a:gd name="T46" fmla="*/ 228 w 798"/>
              <a:gd name="T47" fmla="*/ 641 h 1345"/>
              <a:gd name="T48" fmla="*/ 185 w 798"/>
              <a:gd name="T49" fmla="*/ 681 h 1345"/>
              <a:gd name="T50" fmla="*/ 224 w 798"/>
              <a:gd name="T51" fmla="*/ 699 h 1345"/>
              <a:gd name="T52" fmla="*/ 278 w 798"/>
              <a:gd name="T53" fmla="*/ 807 h 1345"/>
              <a:gd name="T54" fmla="*/ 254 w 798"/>
              <a:gd name="T55" fmla="*/ 1001 h 1345"/>
              <a:gd name="T56" fmla="*/ 294 w 798"/>
              <a:gd name="T57" fmla="*/ 858 h 1345"/>
              <a:gd name="T58" fmla="*/ 323 w 798"/>
              <a:gd name="T59" fmla="*/ 892 h 1345"/>
              <a:gd name="T60" fmla="*/ 373 w 798"/>
              <a:gd name="T61" fmla="*/ 880 h 1345"/>
              <a:gd name="T62" fmla="*/ 379 w 798"/>
              <a:gd name="T63" fmla="*/ 1047 h 1345"/>
              <a:gd name="T64" fmla="*/ 330 w 798"/>
              <a:gd name="T65" fmla="*/ 1130 h 1345"/>
              <a:gd name="T66" fmla="*/ 425 w 798"/>
              <a:gd name="T67" fmla="*/ 1187 h 1345"/>
              <a:gd name="T68" fmla="*/ 627 w 798"/>
              <a:gd name="T69" fmla="*/ 1123 h 1345"/>
              <a:gd name="T70" fmla="*/ 703 w 798"/>
              <a:gd name="T71" fmla="*/ 1068 h 1345"/>
              <a:gd name="T72" fmla="*/ 768 w 798"/>
              <a:gd name="T73" fmla="*/ 1007 h 1345"/>
              <a:gd name="T74" fmla="*/ 773 w 798"/>
              <a:gd name="T75" fmla="*/ 932 h 1345"/>
              <a:gd name="T76" fmla="*/ 631 w 798"/>
              <a:gd name="T77" fmla="*/ 874 h 1345"/>
              <a:gd name="T78" fmla="*/ 642 w 798"/>
              <a:gd name="T79" fmla="*/ 811 h 1345"/>
              <a:gd name="T80" fmla="*/ 595 w 798"/>
              <a:gd name="T81" fmla="*/ 773 h 1345"/>
              <a:gd name="T82" fmla="*/ 754 w 798"/>
              <a:gd name="T83" fmla="*/ 595 h 1345"/>
              <a:gd name="T84" fmla="*/ 194 w 798"/>
              <a:gd name="T85" fmla="*/ 748 h 1345"/>
              <a:gd name="T86" fmla="*/ 155 w 798"/>
              <a:gd name="T87" fmla="*/ 787 h 1345"/>
              <a:gd name="T88" fmla="*/ 135 w 798"/>
              <a:gd name="T89" fmla="*/ 596 h 1345"/>
              <a:gd name="T90" fmla="*/ 153 w 798"/>
              <a:gd name="T91" fmla="*/ 939 h 1345"/>
              <a:gd name="T92" fmla="*/ 120 w 798"/>
              <a:gd name="T93" fmla="*/ 720 h 1345"/>
              <a:gd name="T94" fmla="*/ 627 w 798"/>
              <a:gd name="T95" fmla="*/ 170 h 1345"/>
              <a:gd name="T96" fmla="*/ 688 w 798"/>
              <a:gd name="T97" fmla="*/ 4 h 1345"/>
              <a:gd name="T98" fmla="*/ 593 w 798"/>
              <a:gd name="T99" fmla="*/ 142 h 1345"/>
              <a:gd name="T100" fmla="*/ 694 w 798"/>
              <a:gd name="T101" fmla="*/ 29 h 1345"/>
              <a:gd name="T102" fmla="*/ 651 w 798"/>
              <a:gd name="T103" fmla="*/ 45 h 1345"/>
              <a:gd name="T104" fmla="*/ 626 w 798"/>
              <a:gd name="T105" fmla="*/ 71 h 1345"/>
              <a:gd name="T106" fmla="*/ 606 w 798"/>
              <a:gd name="T107" fmla="*/ 72 h 1345"/>
              <a:gd name="T108" fmla="*/ 608 w 798"/>
              <a:gd name="T109" fmla="*/ 52 h 1345"/>
              <a:gd name="T110" fmla="*/ 69 w 798"/>
              <a:gd name="T111" fmla="*/ 354 h 1345"/>
              <a:gd name="T112" fmla="*/ 222 w 798"/>
              <a:gd name="T113" fmla="*/ 468 h 1345"/>
              <a:gd name="T114" fmla="*/ 49 w 798"/>
              <a:gd name="T115" fmla="*/ 582 h 1345"/>
              <a:gd name="T116" fmla="*/ 621 w 798"/>
              <a:gd name="T117" fmla="*/ 15 h 1345"/>
              <a:gd name="T118" fmla="*/ 80 w 798"/>
              <a:gd name="T119" fmla="*/ 345 h 1345"/>
              <a:gd name="T120" fmla="*/ 125 w 798"/>
              <a:gd name="T121" fmla="*/ 371 h 1345"/>
              <a:gd name="T122" fmla="*/ 206 w 798"/>
              <a:gd name="T123" fmla="*/ 304 h 1345"/>
              <a:gd name="T124" fmla="*/ 117 w 798"/>
              <a:gd name="T125" fmla="*/ 295 h 1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98" h="1345">
                <a:moveTo>
                  <a:pt x="169" y="1345"/>
                </a:moveTo>
                <a:cubicBezTo>
                  <a:pt x="169" y="1344"/>
                  <a:pt x="169" y="1344"/>
                  <a:pt x="169" y="1344"/>
                </a:cubicBezTo>
                <a:cubicBezTo>
                  <a:pt x="169" y="1344"/>
                  <a:pt x="169" y="1344"/>
                  <a:pt x="169" y="1345"/>
                </a:cubicBezTo>
                <a:close/>
                <a:moveTo>
                  <a:pt x="276" y="763"/>
                </a:moveTo>
                <a:cubicBezTo>
                  <a:pt x="273" y="766"/>
                  <a:pt x="273" y="766"/>
                  <a:pt x="273" y="766"/>
                </a:cubicBezTo>
                <a:cubicBezTo>
                  <a:pt x="273" y="767"/>
                  <a:pt x="273" y="767"/>
                  <a:pt x="273" y="767"/>
                </a:cubicBezTo>
                <a:cubicBezTo>
                  <a:pt x="274" y="769"/>
                  <a:pt x="274" y="769"/>
                  <a:pt x="274" y="769"/>
                </a:cubicBezTo>
                <a:cubicBezTo>
                  <a:pt x="277" y="771"/>
                  <a:pt x="277" y="771"/>
                  <a:pt x="277" y="771"/>
                </a:cubicBezTo>
                <a:cubicBezTo>
                  <a:pt x="278" y="771"/>
                  <a:pt x="278" y="771"/>
                  <a:pt x="278" y="771"/>
                </a:cubicBezTo>
                <a:cubicBezTo>
                  <a:pt x="278" y="771"/>
                  <a:pt x="278" y="771"/>
                  <a:pt x="278" y="771"/>
                </a:cubicBezTo>
                <a:cubicBezTo>
                  <a:pt x="284" y="763"/>
                  <a:pt x="284" y="763"/>
                  <a:pt x="284" y="763"/>
                </a:cubicBezTo>
                <a:cubicBezTo>
                  <a:pt x="285" y="761"/>
                  <a:pt x="285" y="761"/>
                  <a:pt x="285" y="761"/>
                </a:cubicBezTo>
                <a:cubicBezTo>
                  <a:pt x="284" y="761"/>
                  <a:pt x="284" y="761"/>
                  <a:pt x="284" y="761"/>
                </a:cubicBezTo>
                <a:cubicBezTo>
                  <a:pt x="284" y="761"/>
                  <a:pt x="284" y="761"/>
                  <a:pt x="284" y="761"/>
                </a:cubicBezTo>
                <a:lnTo>
                  <a:pt x="276" y="763"/>
                </a:lnTo>
                <a:close/>
                <a:moveTo>
                  <a:pt x="295" y="727"/>
                </a:moveTo>
                <a:cubicBezTo>
                  <a:pt x="295" y="726"/>
                  <a:pt x="295" y="726"/>
                  <a:pt x="295" y="726"/>
                </a:cubicBezTo>
                <a:cubicBezTo>
                  <a:pt x="296" y="726"/>
                  <a:pt x="296" y="726"/>
                  <a:pt x="296" y="726"/>
                </a:cubicBezTo>
                <a:cubicBezTo>
                  <a:pt x="296" y="724"/>
                  <a:pt x="296" y="724"/>
                  <a:pt x="296" y="724"/>
                </a:cubicBezTo>
                <a:cubicBezTo>
                  <a:pt x="295" y="724"/>
                  <a:pt x="295" y="724"/>
                  <a:pt x="295" y="724"/>
                </a:cubicBezTo>
                <a:cubicBezTo>
                  <a:pt x="290" y="727"/>
                  <a:pt x="290" y="727"/>
                  <a:pt x="290" y="727"/>
                </a:cubicBezTo>
                <a:cubicBezTo>
                  <a:pt x="275" y="741"/>
                  <a:pt x="275" y="741"/>
                  <a:pt x="275" y="741"/>
                </a:cubicBezTo>
                <a:cubicBezTo>
                  <a:pt x="269" y="749"/>
                  <a:pt x="269" y="749"/>
                  <a:pt x="269" y="749"/>
                </a:cubicBezTo>
                <a:cubicBezTo>
                  <a:pt x="270" y="749"/>
                  <a:pt x="270" y="749"/>
                  <a:pt x="270" y="749"/>
                </a:cubicBezTo>
                <a:cubicBezTo>
                  <a:pt x="272" y="749"/>
                  <a:pt x="272" y="749"/>
                  <a:pt x="272" y="749"/>
                </a:cubicBezTo>
                <a:cubicBezTo>
                  <a:pt x="278" y="746"/>
                  <a:pt x="278" y="746"/>
                  <a:pt x="278" y="746"/>
                </a:cubicBezTo>
                <a:cubicBezTo>
                  <a:pt x="279" y="745"/>
                  <a:pt x="279" y="745"/>
                  <a:pt x="279" y="745"/>
                </a:cubicBezTo>
                <a:cubicBezTo>
                  <a:pt x="280" y="745"/>
                  <a:pt x="280" y="745"/>
                  <a:pt x="280" y="745"/>
                </a:cubicBezTo>
                <a:cubicBezTo>
                  <a:pt x="288" y="735"/>
                  <a:pt x="288" y="735"/>
                  <a:pt x="288" y="735"/>
                </a:cubicBezTo>
                <a:lnTo>
                  <a:pt x="295" y="727"/>
                </a:lnTo>
                <a:close/>
                <a:moveTo>
                  <a:pt x="263" y="789"/>
                </a:moveTo>
                <a:cubicBezTo>
                  <a:pt x="262" y="791"/>
                  <a:pt x="262" y="791"/>
                  <a:pt x="262" y="791"/>
                </a:cubicBezTo>
                <a:cubicBezTo>
                  <a:pt x="267" y="796"/>
                  <a:pt x="267" y="796"/>
                  <a:pt x="267" y="796"/>
                </a:cubicBezTo>
                <a:cubicBezTo>
                  <a:pt x="270" y="796"/>
                  <a:pt x="270" y="796"/>
                  <a:pt x="270" y="796"/>
                </a:cubicBezTo>
                <a:cubicBezTo>
                  <a:pt x="271" y="795"/>
                  <a:pt x="271" y="795"/>
                  <a:pt x="271" y="795"/>
                </a:cubicBezTo>
                <a:cubicBezTo>
                  <a:pt x="272" y="793"/>
                  <a:pt x="272" y="793"/>
                  <a:pt x="272" y="793"/>
                </a:cubicBezTo>
                <a:cubicBezTo>
                  <a:pt x="273" y="785"/>
                  <a:pt x="273" y="785"/>
                  <a:pt x="273" y="785"/>
                </a:cubicBezTo>
                <a:cubicBezTo>
                  <a:pt x="272" y="785"/>
                  <a:pt x="272" y="785"/>
                  <a:pt x="272" y="785"/>
                </a:cubicBezTo>
                <a:cubicBezTo>
                  <a:pt x="272" y="784"/>
                  <a:pt x="272" y="784"/>
                  <a:pt x="272" y="784"/>
                </a:cubicBezTo>
                <a:cubicBezTo>
                  <a:pt x="272" y="784"/>
                  <a:pt x="272" y="784"/>
                  <a:pt x="272" y="784"/>
                </a:cubicBezTo>
                <a:cubicBezTo>
                  <a:pt x="267" y="785"/>
                  <a:pt x="267" y="785"/>
                  <a:pt x="267" y="785"/>
                </a:cubicBezTo>
                <a:lnTo>
                  <a:pt x="263" y="789"/>
                </a:lnTo>
                <a:close/>
                <a:moveTo>
                  <a:pt x="265" y="797"/>
                </a:moveTo>
                <a:cubicBezTo>
                  <a:pt x="264" y="797"/>
                  <a:pt x="264" y="797"/>
                  <a:pt x="264" y="797"/>
                </a:cubicBezTo>
                <a:cubicBezTo>
                  <a:pt x="263" y="798"/>
                  <a:pt x="263" y="798"/>
                  <a:pt x="263" y="798"/>
                </a:cubicBezTo>
                <a:cubicBezTo>
                  <a:pt x="262" y="809"/>
                  <a:pt x="262" y="809"/>
                  <a:pt x="262" y="809"/>
                </a:cubicBezTo>
                <a:cubicBezTo>
                  <a:pt x="262" y="810"/>
                  <a:pt x="262" y="810"/>
                  <a:pt x="262" y="810"/>
                </a:cubicBezTo>
                <a:cubicBezTo>
                  <a:pt x="263" y="816"/>
                  <a:pt x="263" y="816"/>
                  <a:pt x="263" y="816"/>
                </a:cubicBezTo>
                <a:cubicBezTo>
                  <a:pt x="265" y="817"/>
                  <a:pt x="265" y="817"/>
                  <a:pt x="265" y="817"/>
                </a:cubicBezTo>
                <a:cubicBezTo>
                  <a:pt x="266" y="817"/>
                  <a:pt x="266" y="817"/>
                  <a:pt x="266" y="817"/>
                </a:cubicBezTo>
                <a:cubicBezTo>
                  <a:pt x="267" y="801"/>
                  <a:pt x="267" y="801"/>
                  <a:pt x="267" y="801"/>
                </a:cubicBezTo>
                <a:cubicBezTo>
                  <a:pt x="266" y="799"/>
                  <a:pt x="266" y="799"/>
                  <a:pt x="266" y="799"/>
                </a:cubicBezTo>
                <a:cubicBezTo>
                  <a:pt x="266" y="798"/>
                  <a:pt x="266" y="798"/>
                  <a:pt x="266" y="798"/>
                </a:cubicBezTo>
                <a:lnTo>
                  <a:pt x="265" y="797"/>
                </a:lnTo>
                <a:close/>
                <a:moveTo>
                  <a:pt x="258" y="816"/>
                </a:moveTo>
                <a:cubicBezTo>
                  <a:pt x="253" y="817"/>
                  <a:pt x="253" y="817"/>
                  <a:pt x="253" y="817"/>
                </a:cubicBezTo>
                <a:cubicBezTo>
                  <a:pt x="253" y="818"/>
                  <a:pt x="253" y="818"/>
                  <a:pt x="253" y="818"/>
                </a:cubicBezTo>
                <a:cubicBezTo>
                  <a:pt x="250" y="823"/>
                  <a:pt x="250" y="823"/>
                  <a:pt x="250" y="823"/>
                </a:cubicBezTo>
                <a:cubicBezTo>
                  <a:pt x="250" y="824"/>
                  <a:pt x="250" y="824"/>
                  <a:pt x="250" y="824"/>
                </a:cubicBezTo>
                <a:cubicBezTo>
                  <a:pt x="251" y="825"/>
                  <a:pt x="251" y="825"/>
                  <a:pt x="251" y="825"/>
                </a:cubicBezTo>
                <a:cubicBezTo>
                  <a:pt x="255" y="825"/>
                  <a:pt x="255" y="825"/>
                  <a:pt x="255" y="825"/>
                </a:cubicBezTo>
                <a:cubicBezTo>
                  <a:pt x="257" y="825"/>
                  <a:pt x="257" y="825"/>
                  <a:pt x="257" y="825"/>
                </a:cubicBezTo>
                <a:cubicBezTo>
                  <a:pt x="259" y="823"/>
                  <a:pt x="259" y="823"/>
                  <a:pt x="259" y="823"/>
                </a:cubicBezTo>
                <a:cubicBezTo>
                  <a:pt x="260" y="822"/>
                  <a:pt x="260" y="822"/>
                  <a:pt x="260" y="822"/>
                </a:cubicBezTo>
                <a:cubicBezTo>
                  <a:pt x="260" y="821"/>
                  <a:pt x="260" y="821"/>
                  <a:pt x="260" y="821"/>
                </a:cubicBezTo>
                <a:cubicBezTo>
                  <a:pt x="259" y="816"/>
                  <a:pt x="259" y="816"/>
                  <a:pt x="259" y="816"/>
                </a:cubicBezTo>
                <a:cubicBezTo>
                  <a:pt x="258" y="816"/>
                  <a:pt x="258" y="816"/>
                  <a:pt x="258" y="816"/>
                </a:cubicBezTo>
                <a:close/>
                <a:moveTo>
                  <a:pt x="198" y="624"/>
                </a:moveTo>
                <a:cubicBezTo>
                  <a:pt x="197" y="625"/>
                  <a:pt x="197" y="625"/>
                  <a:pt x="197" y="625"/>
                </a:cubicBezTo>
                <a:cubicBezTo>
                  <a:pt x="190" y="632"/>
                  <a:pt x="190" y="632"/>
                  <a:pt x="190" y="632"/>
                </a:cubicBezTo>
                <a:cubicBezTo>
                  <a:pt x="189" y="634"/>
                  <a:pt x="189" y="634"/>
                  <a:pt x="189" y="634"/>
                </a:cubicBezTo>
                <a:cubicBezTo>
                  <a:pt x="189" y="635"/>
                  <a:pt x="189" y="635"/>
                  <a:pt x="189" y="635"/>
                </a:cubicBezTo>
                <a:cubicBezTo>
                  <a:pt x="189" y="638"/>
                  <a:pt x="189" y="638"/>
                  <a:pt x="189" y="638"/>
                </a:cubicBezTo>
                <a:cubicBezTo>
                  <a:pt x="189" y="639"/>
                  <a:pt x="189" y="639"/>
                  <a:pt x="189" y="639"/>
                </a:cubicBezTo>
                <a:cubicBezTo>
                  <a:pt x="194" y="642"/>
                  <a:pt x="194" y="642"/>
                  <a:pt x="194" y="642"/>
                </a:cubicBezTo>
                <a:cubicBezTo>
                  <a:pt x="196" y="643"/>
                  <a:pt x="196" y="643"/>
                  <a:pt x="196" y="643"/>
                </a:cubicBezTo>
                <a:cubicBezTo>
                  <a:pt x="198" y="643"/>
                  <a:pt x="198" y="643"/>
                  <a:pt x="198" y="643"/>
                </a:cubicBezTo>
                <a:cubicBezTo>
                  <a:pt x="199" y="643"/>
                  <a:pt x="199" y="643"/>
                  <a:pt x="199" y="643"/>
                </a:cubicBezTo>
                <a:cubicBezTo>
                  <a:pt x="202" y="641"/>
                  <a:pt x="202" y="641"/>
                  <a:pt x="202" y="641"/>
                </a:cubicBezTo>
                <a:cubicBezTo>
                  <a:pt x="202" y="640"/>
                  <a:pt x="202" y="640"/>
                  <a:pt x="202" y="640"/>
                </a:cubicBezTo>
                <a:cubicBezTo>
                  <a:pt x="203" y="637"/>
                  <a:pt x="203" y="637"/>
                  <a:pt x="203" y="637"/>
                </a:cubicBezTo>
                <a:cubicBezTo>
                  <a:pt x="203" y="631"/>
                  <a:pt x="203" y="631"/>
                  <a:pt x="203" y="631"/>
                </a:cubicBezTo>
                <a:cubicBezTo>
                  <a:pt x="204" y="629"/>
                  <a:pt x="204" y="629"/>
                  <a:pt x="204" y="629"/>
                </a:cubicBezTo>
                <a:cubicBezTo>
                  <a:pt x="203" y="627"/>
                  <a:pt x="203" y="627"/>
                  <a:pt x="203" y="627"/>
                </a:cubicBezTo>
                <a:cubicBezTo>
                  <a:pt x="200" y="625"/>
                  <a:pt x="200" y="625"/>
                  <a:pt x="200" y="625"/>
                </a:cubicBezTo>
                <a:lnTo>
                  <a:pt x="198" y="624"/>
                </a:lnTo>
                <a:close/>
                <a:moveTo>
                  <a:pt x="255" y="744"/>
                </a:moveTo>
                <a:cubicBezTo>
                  <a:pt x="245" y="736"/>
                  <a:pt x="245" y="736"/>
                  <a:pt x="245" y="736"/>
                </a:cubicBezTo>
                <a:cubicBezTo>
                  <a:pt x="243" y="735"/>
                  <a:pt x="243" y="735"/>
                  <a:pt x="243" y="735"/>
                </a:cubicBezTo>
                <a:cubicBezTo>
                  <a:pt x="237" y="734"/>
                  <a:pt x="237" y="734"/>
                  <a:pt x="237" y="734"/>
                </a:cubicBezTo>
                <a:cubicBezTo>
                  <a:pt x="231" y="733"/>
                  <a:pt x="231" y="733"/>
                  <a:pt x="231" y="733"/>
                </a:cubicBezTo>
                <a:cubicBezTo>
                  <a:pt x="230" y="733"/>
                  <a:pt x="230" y="733"/>
                  <a:pt x="230" y="733"/>
                </a:cubicBezTo>
                <a:cubicBezTo>
                  <a:pt x="217" y="720"/>
                  <a:pt x="217" y="720"/>
                  <a:pt x="217" y="720"/>
                </a:cubicBezTo>
                <a:cubicBezTo>
                  <a:pt x="212" y="711"/>
                  <a:pt x="212" y="711"/>
                  <a:pt x="212" y="711"/>
                </a:cubicBezTo>
                <a:cubicBezTo>
                  <a:pt x="206" y="703"/>
                  <a:pt x="206" y="703"/>
                  <a:pt x="206" y="703"/>
                </a:cubicBezTo>
                <a:cubicBezTo>
                  <a:pt x="198" y="699"/>
                  <a:pt x="198" y="699"/>
                  <a:pt x="198" y="699"/>
                </a:cubicBezTo>
                <a:cubicBezTo>
                  <a:pt x="198" y="699"/>
                  <a:pt x="198" y="699"/>
                  <a:pt x="198" y="699"/>
                </a:cubicBezTo>
                <a:cubicBezTo>
                  <a:pt x="194" y="700"/>
                  <a:pt x="194" y="700"/>
                  <a:pt x="194" y="700"/>
                </a:cubicBezTo>
                <a:cubicBezTo>
                  <a:pt x="189" y="703"/>
                  <a:pt x="189" y="703"/>
                  <a:pt x="189" y="703"/>
                </a:cubicBezTo>
                <a:cubicBezTo>
                  <a:pt x="173" y="712"/>
                  <a:pt x="173" y="712"/>
                  <a:pt x="173" y="712"/>
                </a:cubicBezTo>
                <a:cubicBezTo>
                  <a:pt x="169" y="725"/>
                  <a:pt x="169" y="725"/>
                  <a:pt x="169" y="725"/>
                </a:cubicBezTo>
                <a:cubicBezTo>
                  <a:pt x="168" y="727"/>
                  <a:pt x="168" y="727"/>
                  <a:pt x="168" y="727"/>
                </a:cubicBezTo>
                <a:cubicBezTo>
                  <a:pt x="168" y="728"/>
                  <a:pt x="168" y="728"/>
                  <a:pt x="168" y="728"/>
                </a:cubicBezTo>
                <a:cubicBezTo>
                  <a:pt x="169" y="730"/>
                  <a:pt x="169" y="730"/>
                  <a:pt x="169" y="730"/>
                </a:cubicBezTo>
                <a:cubicBezTo>
                  <a:pt x="195" y="741"/>
                  <a:pt x="195" y="741"/>
                  <a:pt x="195" y="741"/>
                </a:cubicBezTo>
                <a:cubicBezTo>
                  <a:pt x="215" y="739"/>
                  <a:pt x="215" y="739"/>
                  <a:pt x="215" y="739"/>
                </a:cubicBezTo>
                <a:cubicBezTo>
                  <a:pt x="216" y="740"/>
                  <a:pt x="216" y="740"/>
                  <a:pt x="216" y="740"/>
                </a:cubicBezTo>
                <a:cubicBezTo>
                  <a:pt x="216" y="741"/>
                  <a:pt x="216" y="741"/>
                  <a:pt x="216" y="741"/>
                </a:cubicBezTo>
                <a:cubicBezTo>
                  <a:pt x="216" y="743"/>
                  <a:pt x="216" y="743"/>
                  <a:pt x="216" y="743"/>
                </a:cubicBezTo>
                <a:cubicBezTo>
                  <a:pt x="216" y="744"/>
                  <a:pt x="216" y="744"/>
                  <a:pt x="216" y="744"/>
                </a:cubicBezTo>
                <a:cubicBezTo>
                  <a:pt x="215" y="745"/>
                  <a:pt x="215" y="745"/>
                  <a:pt x="215" y="745"/>
                </a:cubicBezTo>
                <a:cubicBezTo>
                  <a:pt x="213" y="746"/>
                  <a:pt x="213" y="746"/>
                  <a:pt x="213" y="746"/>
                </a:cubicBezTo>
                <a:cubicBezTo>
                  <a:pt x="203" y="753"/>
                  <a:pt x="203" y="753"/>
                  <a:pt x="203" y="753"/>
                </a:cubicBezTo>
                <a:cubicBezTo>
                  <a:pt x="201" y="752"/>
                  <a:pt x="201" y="752"/>
                  <a:pt x="201" y="752"/>
                </a:cubicBezTo>
                <a:cubicBezTo>
                  <a:pt x="200" y="752"/>
                  <a:pt x="200" y="752"/>
                  <a:pt x="200" y="752"/>
                </a:cubicBezTo>
                <a:cubicBezTo>
                  <a:pt x="198" y="752"/>
                  <a:pt x="198" y="752"/>
                  <a:pt x="198" y="752"/>
                </a:cubicBezTo>
                <a:cubicBezTo>
                  <a:pt x="186" y="767"/>
                  <a:pt x="186" y="767"/>
                  <a:pt x="186" y="767"/>
                </a:cubicBezTo>
                <a:cubicBezTo>
                  <a:pt x="186" y="768"/>
                  <a:pt x="186" y="768"/>
                  <a:pt x="186" y="768"/>
                </a:cubicBezTo>
                <a:cubicBezTo>
                  <a:pt x="185" y="770"/>
                  <a:pt x="185" y="770"/>
                  <a:pt x="185" y="770"/>
                </a:cubicBezTo>
                <a:cubicBezTo>
                  <a:pt x="186" y="771"/>
                  <a:pt x="186" y="771"/>
                  <a:pt x="186" y="771"/>
                </a:cubicBezTo>
                <a:cubicBezTo>
                  <a:pt x="188" y="774"/>
                  <a:pt x="188" y="774"/>
                  <a:pt x="188" y="774"/>
                </a:cubicBezTo>
                <a:cubicBezTo>
                  <a:pt x="188" y="774"/>
                  <a:pt x="188" y="774"/>
                  <a:pt x="188" y="774"/>
                </a:cubicBezTo>
                <a:cubicBezTo>
                  <a:pt x="190" y="774"/>
                  <a:pt x="190" y="774"/>
                  <a:pt x="190" y="774"/>
                </a:cubicBezTo>
                <a:cubicBezTo>
                  <a:pt x="192" y="774"/>
                  <a:pt x="192" y="774"/>
                  <a:pt x="192" y="774"/>
                </a:cubicBezTo>
                <a:cubicBezTo>
                  <a:pt x="201" y="772"/>
                  <a:pt x="201" y="772"/>
                  <a:pt x="201" y="772"/>
                </a:cubicBezTo>
                <a:cubicBezTo>
                  <a:pt x="207" y="769"/>
                  <a:pt x="207" y="769"/>
                  <a:pt x="207" y="769"/>
                </a:cubicBezTo>
                <a:cubicBezTo>
                  <a:pt x="208" y="769"/>
                  <a:pt x="208" y="769"/>
                  <a:pt x="208" y="769"/>
                </a:cubicBezTo>
                <a:cubicBezTo>
                  <a:pt x="211" y="766"/>
                  <a:pt x="211" y="766"/>
                  <a:pt x="211" y="766"/>
                </a:cubicBezTo>
                <a:cubicBezTo>
                  <a:pt x="213" y="766"/>
                  <a:pt x="213" y="766"/>
                  <a:pt x="213" y="766"/>
                </a:cubicBezTo>
                <a:cubicBezTo>
                  <a:pt x="215" y="770"/>
                  <a:pt x="215" y="770"/>
                  <a:pt x="215" y="770"/>
                </a:cubicBezTo>
                <a:cubicBezTo>
                  <a:pt x="212" y="772"/>
                  <a:pt x="212" y="772"/>
                  <a:pt x="212" y="772"/>
                </a:cubicBezTo>
                <a:cubicBezTo>
                  <a:pt x="204" y="775"/>
                  <a:pt x="204" y="775"/>
                  <a:pt x="204" y="775"/>
                </a:cubicBezTo>
                <a:cubicBezTo>
                  <a:pt x="200" y="777"/>
                  <a:pt x="200" y="777"/>
                  <a:pt x="200" y="777"/>
                </a:cubicBezTo>
                <a:cubicBezTo>
                  <a:pt x="182" y="783"/>
                  <a:pt x="182" y="783"/>
                  <a:pt x="182" y="783"/>
                </a:cubicBezTo>
                <a:cubicBezTo>
                  <a:pt x="176" y="780"/>
                  <a:pt x="176" y="780"/>
                  <a:pt x="176" y="780"/>
                </a:cubicBezTo>
                <a:cubicBezTo>
                  <a:pt x="176" y="779"/>
                  <a:pt x="176" y="779"/>
                  <a:pt x="176" y="779"/>
                </a:cubicBezTo>
                <a:cubicBezTo>
                  <a:pt x="172" y="777"/>
                  <a:pt x="172" y="777"/>
                  <a:pt x="172" y="777"/>
                </a:cubicBezTo>
                <a:cubicBezTo>
                  <a:pt x="171" y="777"/>
                  <a:pt x="171" y="777"/>
                  <a:pt x="171" y="777"/>
                </a:cubicBezTo>
                <a:cubicBezTo>
                  <a:pt x="168" y="777"/>
                  <a:pt x="168" y="777"/>
                  <a:pt x="168" y="777"/>
                </a:cubicBezTo>
                <a:cubicBezTo>
                  <a:pt x="167" y="777"/>
                  <a:pt x="167" y="777"/>
                  <a:pt x="167" y="777"/>
                </a:cubicBezTo>
                <a:cubicBezTo>
                  <a:pt x="166" y="778"/>
                  <a:pt x="166" y="778"/>
                  <a:pt x="166" y="778"/>
                </a:cubicBezTo>
                <a:cubicBezTo>
                  <a:pt x="163" y="783"/>
                  <a:pt x="163" y="783"/>
                  <a:pt x="163" y="783"/>
                </a:cubicBezTo>
                <a:cubicBezTo>
                  <a:pt x="163" y="785"/>
                  <a:pt x="163" y="785"/>
                  <a:pt x="163" y="785"/>
                </a:cubicBezTo>
                <a:cubicBezTo>
                  <a:pt x="163" y="786"/>
                  <a:pt x="163" y="786"/>
                  <a:pt x="163" y="786"/>
                </a:cubicBezTo>
                <a:cubicBezTo>
                  <a:pt x="169" y="796"/>
                  <a:pt x="169" y="796"/>
                  <a:pt x="169" y="796"/>
                </a:cubicBezTo>
                <a:cubicBezTo>
                  <a:pt x="170" y="796"/>
                  <a:pt x="170" y="796"/>
                  <a:pt x="170" y="796"/>
                </a:cubicBezTo>
                <a:cubicBezTo>
                  <a:pt x="176" y="795"/>
                  <a:pt x="176" y="795"/>
                  <a:pt x="176" y="795"/>
                </a:cubicBezTo>
                <a:cubicBezTo>
                  <a:pt x="195" y="793"/>
                  <a:pt x="195" y="793"/>
                  <a:pt x="195" y="793"/>
                </a:cubicBezTo>
                <a:cubicBezTo>
                  <a:pt x="209" y="790"/>
                  <a:pt x="209" y="790"/>
                  <a:pt x="209" y="790"/>
                </a:cubicBezTo>
                <a:cubicBezTo>
                  <a:pt x="233" y="786"/>
                  <a:pt x="233" y="786"/>
                  <a:pt x="233" y="786"/>
                </a:cubicBezTo>
                <a:cubicBezTo>
                  <a:pt x="238" y="786"/>
                  <a:pt x="238" y="786"/>
                  <a:pt x="238" y="786"/>
                </a:cubicBezTo>
                <a:cubicBezTo>
                  <a:pt x="238" y="786"/>
                  <a:pt x="238" y="786"/>
                  <a:pt x="238" y="786"/>
                </a:cubicBezTo>
                <a:cubicBezTo>
                  <a:pt x="244" y="784"/>
                  <a:pt x="244" y="784"/>
                  <a:pt x="244" y="784"/>
                </a:cubicBezTo>
                <a:cubicBezTo>
                  <a:pt x="251" y="779"/>
                  <a:pt x="251" y="779"/>
                  <a:pt x="251" y="779"/>
                </a:cubicBezTo>
                <a:cubicBezTo>
                  <a:pt x="256" y="775"/>
                  <a:pt x="256" y="775"/>
                  <a:pt x="256" y="775"/>
                </a:cubicBezTo>
                <a:cubicBezTo>
                  <a:pt x="258" y="773"/>
                  <a:pt x="258" y="773"/>
                  <a:pt x="258" y="773"/>
                </a:cubicBezTo>
                <a:cubicBezTo>
                  <a:pt x="262" y="766"/>
                  <a:pt x="262" y="766"/>
                  <a:pt x="262" y="766"/>
                </a:cubicBezTo>
                <a:cubicBezTo>
                  <a:pt x="263" y="762"/>
                  <a:pt x="263" y="762"/>
                  <a:pt x="263" y="762"/>
                </a:cubicBezTo>
                <a:cubicBezTo>
                  <a:pt x="264" y="758"/>
                  <a:pt x="264" y="758"/>
                  <a:pt x="264" y="758"/>
                </a:cubicBezTo>
                <a:cubicBezTo>
                  <a:pt x="264" y="754"/>
                  <a:pt x="264" y="754"/>
                  <a:pt x="264" y="754"/>
                </a:cubicBezTo>
                <a:cubicBezTo>
                  <a:pt x="264" y="752"/>
                  <a:pt x="264" y="752"/>
                  <a:pt x="264" y="752"/>
                </a:cubicBezTo>
                <a:cubicBezTo>
                  <a:pt x="263" y="750"/>
                  <a:pt x="263" y="750"/>
                  <a:pt x="263" y="750"/>
                </a:cubicBezTo>
                <a:lnTo>
                  <a:pt x="255" y="744"/>
                </a:lnTo>
                <a:close/>
                <a:moveTo>
                  <a:pt x="75" y="447"/>
                </a:moveTo>
                <a:cubicBezTo>
                  <a:pt x="58" y="434"/>
                  <a:pt x="58" y="434"/>
                  <a:pt x="58" y="434"/>
                </a:cubicBezTo>
                <a:cubicBezTo>
                  <a:pt x="57" y="434"/>
                  <a:pt x="57" y="434"/>
                  <a:pt x="57" y="434"/>
                </a:cubicBezTo>
                <a:cubicBezTo>
                  <a:pt x="56" y="434"/>
                  <a:pt x="56" y="434"/>
                  <a:pt x="56" y="434"/>
                </a:cubicBezTo>
                <a:cubicBezTo>
                  <a:pt x="39" y="434"/>
                  <a:pt x="39" y="434"/>
                  <a:pt x="39" y="434"/>
                </a:cubicBezTo>
                <a:cubicBezTo>
                  <a:pt x="18" y="440"/>
                  <a:pt x="18" y="440"/>
                  <a:pt x="18" y="440"/>
                </a:cubicBezTo>
                <a:cubicBezTo>
                  <a:pt x="17" y="441"/>
                  <a:pt x="17" y="441"/>
                  <a:pt x="17" y="441"/>
                </a:cubicBezTo>
                <a:cubicBezTo>
                  <a:pt x="10" y="455"/>
                  <a:pt x="10" y="455"/>
                  <a:pt x="10" y="455"/>
                </a:cubicBezTo>
                <a:cubicBezTo>
                  <a:pt x="10" y="457"/>
                  <a:pt x="10" y="457"/>
                  <a:pt x="10" y="457"/>
                </a:cubicBezTo>
                <a:cubicBezTo>
                  <a:pt x="11" y="458"/>
                  <a:pt x="11" y="458"/>
                  <a:pt x="11" y="458"/>
                </a:cubicBezTo>
                <a:cubicBezTo>
                  <a:pt x="19" y="464"/>
                  <a:pt x="19" y="464"/>
                  <a:pt x="19" y="464"/>
                </a:cubicBezTo>
                <a:cubicBezTo>
                  <a:pt x="20" y="464"/>
                  <a:pt x="20" y="464"/>
                  <a:pt x="20" y="464"/>
                </a:cubicBezTo>
                <a:cubicBezTo>
                  <a:pt x="33" y="466"/>
                  <a:pt x="33" y="466"/>
                  <a:pt x="33" y="466"/>
                </a:cubicBezTo>
                <a:cubicBezTo>
                  <a:pt x="43" y="467"/>
                  <a:pt x="43" y="467"/>
                  <a:pt x="43" y="467"/>
                </a:cubicBezTo>
                <a:cubicBezTo>
                  <a:pt x="59" y="468"/>
                  <a:pt x="59" y="468"/>
                  <a:pt x="59" y="468"/>
                </a:cubicBezTo>
                <a:cubicBezTo>
                  <a:pt x="66" y="459"/>
                  <a:pt x="66" y="459"/>
                  <a:pt x="66" y="459"/>
                </a:cubicBezTo>
                <a:cubicBezTo>
                  <a:pt x="69" y="453"/>
                  <a:pt x="69" y="453"/>
                  <a:pt x="69" y="453"/>
                </a:cubicBezTo>
                <a:cubicBezTo>
                  <a:pt x="75" y="449"/>
                  <a:pt x="75" y="449"/>
                  <a:pt x="75" y="449"/>
                </a:cubicBezTo>
                <a:cubicBezTo>
                  <a:pt x="76" y="449"/>
                  <a:pt x="76" y="449"/>
                  <a:pt x="76" y="449"/>
                </a:cubicBezTo>
                <a:cubicBezTo>
                  <a:pt x="76" y="448"/>
                  <a:pt x="76" y="448"/>
                  <a:pt x="76" y="448"/>
                </a:cubicBezTo>
                <a:cubicBezTo>
                  <a:pt x="76" y="447"/>
                  <a:pt x="76" y="447"/>
                  <a:pt x="76" y="447"/>
                </a:cubicBezTo>
                <a:lnTo>
                  <a:pt x="75" y="447"/>
                </a:lnTo>
                <a:close/>
                <a:moveTo>
                  <a:pt x="55" y="470"/>
                </a:moveTo>
                <a:cubicBezTo>
                  <a:pt x="54" y="469"/>
                  <a:pt x="54" y="469"/>
                  <a:pt x="54" y="469"/>
                </a:cubicBezTo>
                <a:cubicBezTo>
                  <a:pt x="52" y="469"/>
                  <a:pt x="52" y="469"/>
                  <a:pt x="52" y="469"/>
                </a:cubicBezTo>
                <a:cubicBezTo>
                  <a:pt x="51" y="470"/>
                  <a:pt x="51" y="470"/>
                  <a:pt x="51" y="470"/>
                </a:cubicBezTo>
                <a:cubicBezTo>
                  <a:pt x="50" y="471"/>
                  <a:pt x="50" y="471"/>
                  <a:pt x="50" y="471"/>
                </a:cubicBezTo>
                <a:cubicBezTo>
                  <a:pt x="47" y="475"/>
                  <a:pt x="47" y="475"/>
                  <a:pt x="47" y="475"/>
                </a:cubicBezTo>
                <a:cubicBezTo>
                  <a:pt x="47" y="476"/>
                  <a:pt x="47" y="476"/>
                  <a:pt x="47" y="476"/>
                </a:cubicBezTo>
                <a:cubicBezTo>
                  <a:pt x="47" y="477"/>
                  <a:pt x="47" y="477"/>
                  <a:pt x="47" y="477"/>
                </a:cubicBezTo>
                <a:cubicBezTo>
                  <a:pt x="47" y="478"/>
                  <a:pt x="47" y="478"/>
                  <a:pt x="47" y="478"/>
                </a:cubicBezTo>
                <a:cubicBezTo>
                  <a:pt x="48" y="479"/>
                  <a:pt x="48" y="479"/>
                  <a:pt x="48" y="479"/>
                </a:cubicBezTo>
                <a:cubicBezTo>
                  <a:pt x="49" y="479"/>
                  <a:pt x="49" y="479"/>
                  <a:pt x="49" y="479"/>
                </a:cubicBezTo>
                <a:cubicBezTo>
                  <a:pt x="51" y="479"/>
                  <a:pt x="51" y="479"/>
                  <a:pt x="51" y="479"/>
                </a:cubicBezTo>
                <a:cubicBezTo>
                  <a:pt x="54" y="477"/>
                  <a:pt x="54" y="477"/>
                  <a:pt x="54" y="477"/>
                </a:cubicBezTo>
                <a:cubicBezTo>
                  <a:pt x="55" y="471"/>
                  <a:pt x="55" y="471"/>
                  <a:pt x="55" y="471"/>
                </a:cubicBezTo>
                <a:lnTo>
                  <a:pt x="55" y="470"/>
                </a:lnTo>
                <a:close/>
                <a:moveTo>
                  <a:pt x="122" y="517"/>
                </a:moveTo>
                <a:cubicBezTo>
                  <a:pt x="127" y="520"/>
                  <a:pt x="127" y="520"/>
                  <a:pt x="127" y="520"/>
                </a:cubicBezTo>
                <a:cubicBezTo>
                  <a:pt x="128" y="520"/>
                  <a:pt x="128" y="520"/>
                  <a:pt x="128" y="520"/>
                </a:cubicBezTo>
                <a:cubicBezTo>
                  <a:pt x="138" y="524"/>
                  <a:pt x="138" y="524"/>
                  <a:pt x="138" y="524"/>
                </a:cubicBezTo>
                <a:cubicBezTo>
                  <a:pt x="142" y="521"/>
                  <a:pt x="142" y="521"/>
                  <a:pt x="142" y="521"/>
                </a:cubicBezTo>
                <a:cubicBezTo>
                  <a:pt x="142" y="520"/>
                  <a:pt x="142" y="520"/>
                  <a:pt x="142" y="520"/>
                </a:cubicBezTo>
                <a:cubicBezTo>
                  <a:pt x="141" y="515"/>
                  <a:pt x="141" y="515"/>
                  <a:pt x="141" y="515"/>
                </a:cubicBezTo>
                <a:cubicBezTo>
                  <a:pt x="141" y="514"/>
                  <a:pt x="141" y="514"/>
                  <a:pt x="141" y="514"/>
                </a:cubicBezTo>
                <a:cubicBezTo>
                  <a:pt x="142" y="512"/>
                  <a:pt x="142" y="512"/>
                  <a:pt x="142" y="512"/>
                </a:cubicBezTo>
                <a:cubicBezTo>
                  <a:pt x="146" y="511"/>
                  <a:pt x="146" y="511"/>
                  <a:pt x="146" y="511"/>
                </a:cubicBezTo>
                <a:cubicBezTo>
                  <a:pt x="152" y="510"/>
                  <a:pt x="152" y="510"/>
                  <a:pt x="152" y="510"/>
                </a:cubicBezTo>
                <a:cubicBezTo>
                  <a:pt x="153" y="510"/>
                  <a:pt x="153" y="510"/>
                  <a:pt x="153" y="510"/>
                </a:cubicBezTo>
                <a:cubicBezTo>
                  <a:pt x="164" y="523"/>
                  <a:pt x="164" y="523"/>
                  <a:pt x="164" y="523"/>
                </a:cubicBezTo>
                <a:cubicBezTo>
                  <a:pt x="173" y="534"/>
                  <a:pt x="173" y="534"/>
                  <a:pt x="173" y="534"/>
                </a:cubicBezTo>
                <a:cubicBezTo>
                  <a:pt x="167" y="529"/>
                  <a:pt x="167" y="529"/>
                  <a:pt x="167" y="529"/>
                </a:cubicBezTo>
                <a:cubicBezTo>
                  <a:pt x="166" y="528"/>
                  <a:pt x="166" y="528"/>
                  <a:pt x="166" y="528"/>
                </a:cubicBezTo>
                <a:cubicBezTo>
                  <a:pt x="162" y="526"/>
                  <a:pt x="162" y="526"/>
                  <a:pt x="162" y="526"/>
                </a:cubicBezTo>
                <a:cubicBezTo>
                  <a:pt x="161" y="526"/>
                  <a:pt x="161" y="526"/>
                  <a:pt x="161" y="526"/>
                </a:cubicBezTo>
                <a:cubicBezTo>
                  <a:pt x="160" y="526"/>
                  <a:pt x="160" y="526"/>
                  <a:pt x="160" y="526"/>
                </a:cubicBezTo>
                <a:cubicBezTo>
                  <a:pt x="156" y="530"/>
                  <a:pt x="156" y="530"/>
                  <a:pt x="156" y="530"/>
                </a:cubicBezTo>
                <a:cubicBezTo>
                  <a:pt x="154" y="532"/>
                  <a:pt x="154" y="532"/>
                  <a:pt x="154" y="532"/>
                </a:cubicBezTo>
                <a:cubicBezTo>
                  <a:pt x="153" y="534"/>
                  <a:pt x="153" y="534"/>
                  <a:pt x="153" y="534"/>
                </a:cubicBezTo>
                <a:cubicBezTo>
                  <a:pt x="153" y="536"/>
                  <a:pt x="153" y="536"/>
                  <a:pt x="153" y="536"/>
                </a:cubicBezTo>
                <a:cubicBezTo>
                  <a:pt x="153" y="537"/>
                  <a:pt x="153" y="537"/>
                  <a:pt x="153" y="537"/>
                </a:cubicBezTo>
                <a:cubicBezTo>
                  <a:pt x="175" y="570"/>
                  <a:pt x="175" y="570"/>
                  <a:pt x="175" y="570"/>
                </a:cubicBezTo>
                <a:cubicBezTo>
                  <a:pt x="176" y="570"/>
                  <a:pt x="176" y="570"/>
                  <a:pt x="176" y="570"/>
                </a:cubicBezTo>
                <a:cubicBezTo>
                  <a:pt x="195" y="567"/>
                  <a:pt x="195" y="567"/>
                  <a:pt x="195" y="567"/>
                </a:cubicBezTo>
                <a:cubicBezTo>
                  <a:pt x="216" y="565"/>
                  <a:pt x="216" y="565"/>
                  <a:pt x="216" y="565"/>
                </a:cubicBezTo>
                <a:cubicBezTo>
                  <a:pt x="223" y="568"/>
                  <a:pt x="223" y="568"/>
                  <a:pt x="223" y="568"/>
                </a:cubicBezTo>
                <a:cubicBezTo>
                  <a:pt x="228" y="572"/>
                  <a:pt x="228" y="572"/>
                  <a:pt x="228" y="572"/>
                </a:cubicBezTo>
                <a:cubicBezTo>
                  <a:pt x="219" y="580"/>
                  <a:pt x="219" y="580"/>
                  <a:pt x="219" y="580"/>
                </a:cubicBezTo>
                <a:cubicBezTo>
                  <a:pt x="218" y="582"/>
                  <a:pt x="218" y="582"/>
                  <a:pt x="218" y="582"/>
                </a:cubicBezTo>
                <a:cubicBezTo>
                  <a:pt x="217" y="582"/>
                  <a:pt x="217" y="582"/>
                  <a:pt x="217" y="582"/>
                </a:cubicBezTo>
                <a:cubicBezTo>
                  <a:pt x="213" y="598"/>
                  <a:pt x="213" y="598"/>
                  <a:pt x="213" y="598"/>
                </a:cubicBezTo>
                <a:cubicBezTo>
                  <a:pt x="213" y="600"/>
                  <a:pt x="213" y="600"/>
                  <a:pt x="213" y="600"/>
                </a:cubicBezTo>
                <a:cubicBezTo>
                  <a:pt x="215" y="607"/>
                  <a:pt x="215" y="607"/>
                  <a:pt x="215" y="607"/>
                </a:cubicBezTo>
                <a:cubicBezTo>
                  <a:pt x="216" y="607"/>
                  <a:pt x="216" y="607"/>
                  <a:pt x="216" y="607"/>
                </a:cubicBezTo>
                <a:cubicBezTo>
                  <a:pt x="217" y="607"/>
                  <a:pt x="217" y="607"/>
                  <a:pt x="217" y="607"/>
                </a:cubicBezTo>
                <a:cubicBezTo>
                  <a:pt x="218" y="607"/>
                  <a:pt x="218" y="607"/>
                  <a:pt x="218" y="607"/>
                </a:cubicBezTo>
                <a:cubicBezTo>
                  <a:pt x="230" y="601"/>
                  <a:pt x="230" y="601"/>
                  <a:pt x="230" y="601"/>
                </a:cubicBezTo>
                <a:cubicBezTo>
                  <a:pt x="247" y="581"/>
                  <a:pt x="247" y="581"/>
                  <a:pt x="247" y="581"/>
                </a:cubicBezTo>
                <a:cubicBezTo>
                  <a:pt x="248" y="577"/>
                  <a:pt x="248" y="577"/>
                  <a:pt x="248" y="577"/>
                </a:cubicBezTo>
                <a:cubicBezTo>
                  <a:pt x="248" y="576"/>
                  <a:pt x="248" y="576"/>
                  <a:pt x="248" y="576"/>
                </a:cubicBezTo>
                <a:cubicBezTo>
                  <a:pt x="248" y="570"/>
                  <a:pt x="248" y="570"/>
                  <a:pt x="248" y="570"/>
                </a:cubicBezTo>
                <a:cubicBezTo>
                  <a:pt x="248" y="568"/>
                  <a:pt x="248" y="568"/>
                  <a:pt x="248" y="568"/>
                </a:cubicBezTo>
                <a:cubicBezTo>
                  <a:pt x="252" y="569"/>
                  <a:pt x="252" y="569"/>
                  <a:pt x="252" y="569"/>
                </a:cubicBezTo>
                <a:cubicBezTo>
                  <a:pt x="254" y="569"/>
                  <a:pt x="254" y="569"/>
                  <a:pt x="254" y="569"/>
                </a:cubicBezTo>
                <a:cubicBezTo>
                  <a:pt x="258" y="566"/>
                  <a:pt x="258" y="566"/>
                  <a:pt x="258" y="566"/>
                </a:cubicBezTo>
                <a:cubicBezTo>
                  <a:pt x="265" y="561"/>
                  <a:pt x="265" y="561"/>
                  <a:pt x="265" y="561"/>
                </a:cubicBezTo>
                <a:cubicBezTo>
                  <a:pt x="266" y="559"/>
                  <a:pt x="266" y="559"/>
                  <a:pt x="266" y="559"/>
                </a:cubicBezTo>
                <a:cubicBezTo>
                  <a:pt x="266" y="558"/>
                  <a:pt x="266" y="558"/>
                  <a:pt x="266" y="558"/>
                </a:cubicBezTo>
                <a:cubicBezTo>
                  <a:pt x="268" y="548"/>
                  <a:pt x="268" y="548"/>
                  <a:pt x="268" y="548"/>
                </a:cubicBezTo>
                <a:cubicBezTo>
                  <a:pt x="268" y="547"/>
                  <a:pt x="268" y="547"/>
                  <a:pt x="268" y="547"/>
                </a:cubicBezTo>
                <a:cubicBezTo>
                  <a:pt x="267" y="545"/>
                  <a:pt x="267" y="545"/>
                  <a:pt x="267" y="545"/>
                </a:cubicBezTo>
                <a:cubicBezTo>
                  <a:pt x="257" y="542"/>
                  <a:pt x="257" y="542"/>
                  <a:pt x="257" y="542"/>
                </a:cubicBezTo>
                <a:cubicBezTo>
                  <a:pt x="256" y="542"/>
                  <a:pt x="256" y="542"/>
                  <a:pt x="256" y="542"/>
                </a:cubicBezTo>
                <a:cubicBezTo>
                  <a:pt x="252" y="543"/>
                  <a:pt x="252" y="543"/>
                  <a:pt x="252" y="543"/>
                </a:cubicBezTo>
                <a:cubicBezTo>
                  <a:pt x="251" y="543"/>
                  <a:pt x="251" y="543"/>
                  <a:pt x="251" y="543"/>
                </a:cubicBezTo>
                <a:cubicBezTo>
                  <a:pt x="244" y="548"/>
                  <a:pt x="244" y="548"/>
                  <a:pt x="244" y="548"/>
                </a:cubicBezTo>
                <a:cubicBezTo>
                  <a:pt x="237" y="551"/>
                  <a:pt x="237" y="551"/>
                  <a:pt x="237" y="551"/>
                </a:cubicBezTo>
                <a:cubicBezTo>
                  <a:pt x="235" y="551"/>
                  <a:pt x="235" y="551"/>
                  <a:pt x="235" y="551"/>
                </a:cubicBezTo>
                <a:cubicBezTo>
                  <a:pt x="233" y="550"/>
                  <a:pt x="233" y="550"/>
                  <a:pt x="233" y="550"/>
                </a:cubicBezTo>
                <a:cubicBezTo>
                  <a:pt x="220" y="542"/>
                  <a:pt x="220" y="542"/>
                  <a:pt x="220" y="542"/>
                </a:cubicBezTo>
                <a:cubicBezTo>
                  <a:pt x="215" y="540"/>
                  <a:pt x="215" y="540"/>
                  <a:pt x="215" y="540"/>
                </a:cubicBezTo>
                <a:cubicBezTo>
                  <a:pt x="207" y="531"/>
                  <a:pt x="207" y="531"/>
                  <a:pt x="207" y="531"/>
                </a:cubicBezTo>
                <a:cubicBezTo>
                  <a:pt x="200" y="519"/>
                  <a:pt x="200" y="519"/>
                  <a:pt x="200" y="519"/>
                </a:cubicBezTo>
                <a:cubicBezTo>
                  <a:pt x="200" y="518"/>
                  <a:pt x="200" y="518"/>
                  <a:pt x="200" y="518"/>
                </a:cubicBezTo>
                <a:cubicBezTo>
                  <a:pt x="199" y="510"/>
                  <a:pt x="199" y="510"/>
                  <a:pt x="199" y="510"/>
                </a:cubicBezTo>
                <a:cubicBezTo>
                  <a:pt x="200" y="504"/>
                  <a:pt x="200" y="504"/>
                  <a:pt x="200" y="504"/>
                </a:cubicBezTo>
                <a:cubicBezTo>
                  <a:pt x="201" y="478"/>
                  <a:pt x="201" y="478"/>
                  <a:pt x="201" y="478"/>
                </a:cubicBezTo>
                <a:cubicBezTo>
                  <a:pt x="201" y="466"/>
                  <a:pt x="201" y="466"/>
                  <a:pt x="201" y="466"/>
                </a:cubicBezTo>
                <a:cubicBezTo>
                  <a:pt x="202" y="465"/>
                  <a:pt x="202" y="465"/>
                  <a:pt x="202" y="465"/>
                </a:cubicBezTo>
                <a:cubicBezTo>
                  <a:pt x="201" y="464"/>
                  <a:pt x="201" y="464"/>
                  <a:pt x="201" y="464"/>
                </a:cubicBezTo>
                <a:cubicBezTo>
                  <a:pt x="198" y="457"/>
                  <a:pt x="198" y="457"/>
                  <a:pt x="198" y="457"/>
                </a:cubicBezTo>
                <a:cubicBezTo>
                  <a:pt x="189" y="444"/>
                  <a:pt x="189" y="444"/>
                  <a:pt x="189" y="444"/>
                </a:cubicBezTo>
                <a:cubicBezTo>
                  <a:pt x="188" y="443"/>
                  <a:pt x="188" y="443"/>
                  <a:pt x="188" y="443"/>
                </a:cubicBezTo>
                <a:cubicBezTo>
                  <a:pt x="180" y="435"/>
                  <a:pt x="180" y="435"/>
                  <a:pt x="180" y="435"/>
                </a:cubicBezTo>
                <a:cubicBezTo>
                  <a:pt x="179" y="434"/>
                  <a:pt x="179" y="434"/>
                  <a:pt x="179" y="434"/>
                </a:cubicBezTo>
                <a:cubicBezTo>
                  <a:pt x="173" y="433"/>
                  <a:pt x="173" y="433"/>
                  <a:pt x="173" y="433"/>
                </a:cubicBezTo>
                <a:cubicBezTo>
                  <a:pt x="171" y="434"/>
                  <a:pt x="171" y="434"/>
                  <a:pt x="171" y="434"/>
                </a:cubicBezTo>
                <a:cubicBezTo>
                  <a:pt x="163" y="449"/>
                  <a:pt x="163" y="449"/>
                  <a:pt x="163" y="449"/>
                </a:cubicBezTo>
                <a:cubicBezTo>
                  <a:pt x="163" y="449"/>
                  <a:pt x="163" y="449"/>
                  <a:pt x="163" y="449"/>
                </a:cubicBezTo>
                <a:cubicBezTo>
                  <a:pt x="166" y="469"/>
                  <a:pt x="166" y="469"/>
                  <a:pt x="166" y="469"/>
                </a:cubicBezTo>
                <a:cubicBezTo>
                  <a:pt x="166" y="471"/>
                  <a:pt x="166" y="471"/>
                  <a:pt x="166" y="471"/>
                </a:cubicBezTo>
                <a:cubicBezTo>
                  <a:pt x="168" y="477"/>
                  <a:pt x="168" y="477"/>
                  <a:pt x="168" y="477"/>
                </a:cubicBezTo>
                <a:cubicBezTo>
                  <a:pt x="162" y="488"/>
                  <a:pt x="162" y="488"/>
                  <a:pt x="162" y="488"/>
                </a:cubicBezTo>
                <a:cubicBezTo>
                  <a:pt x="161" y="490"/>
                  <a:pt x="161" y="490"/>
                  <a:pt x="161" y="490"/>
                </a:cubicBezTo>
                <a:cubicBezTo>
                  <a:pt x="160" y="489"/>
                  <a:pt x="160" y="489"/>
                  <a:pt x="160" y="489"/>
                </a:cubicBezTo>
                <a:cubicBezTo>
                  <a:pt x="145" y="472"/>
                  <a:pt x="145" y="472"/>
                  <a:pt x="145" y="472"/>
                </a:cubicBezTo>
                <a:cubicBezTo>
                  <a:pt x="142" y="466"/>
                  <a:pt x="142" y="466"/>
                  <a:pt x="142" y="466"/>
                </a:cubicBezTo>
                <a:cubicBezTo>
                  <a:pt x="141" y="463"/>
                  <a:pt x="141" y="463"/>
                  <a:pt x="141" y="463"/>
                </a:cubicBezTo>
                <a:cubicBezTo>
                  <a:pt x="140" y="461"/>
                  <a:pt x="140" y="461"/>
                  <a:pt x="140" y="461"/>
                </a:cubicBezTo>
                <a:cubicBezTo>
                  <a:pt x="140" y="461"/>
                  <a:pt x="140" y="461"/>
                  <a:pt x="140" y="461"/>
                </a:cubicBezTo>
                <a:cubicBezTo>
                  <a:pt x="136" y="457"/>
                  <a:pt x="136" y="457"/>
                  <a:pt x="136" y="457"/>
                </a:cubicBezTo>
                <a:cubicBezTo>
                  <a:pt x="135" y="457"/>
                  <a:pt x="135" y="457"/>
                  <a:pt x="135" y="457"/>
                </a:cubicBezTo>
                <a:cubicBezTo>
                  <a:pt x="135" y="457"/>
                  <a:pt x="135" y="457"/>
                  <a:pt x="135" y="457"/>
                </a:cubicBezTo>
                <a:cubicBezTo>
                  <a:pt x="134" y="457"/>
                  <a:pt x="134" y="457"/>
                  <a:pt x="134" y="457"/>
                </a:cubicBezTo>
                <a:cubicBezTo>
                  <a:pt x="134" y="458"/>
                  <a:pt x="134" y="458"/>
                  <a:pt x="134" y="458"/>
                </a:cubicBezTo>
                <a:cubicBezTo>
                  <a:pt x="134" y="459"/>
                  <a:pt x="134" y="459"/>
                  <a:pt x="134" y="459"/>
                </a:cubicBezTo>
                <a:cubicBezTo>
                  <a:pt x="135" y="485"/>
                  <a:pt x="135" y="485"/>
                  <a:pt x="135" y="485"/>
                </a:cubicBezTo>
                <a:cubicBezTo>
                  <a:pt x="123" y="482"/>
                  <a:pt x="123" y="482"/>
                  <a:pt x="123" y="482"/>
                </a:cubicBezTo>
                <a:cubicBezTo>
                  <a:pt x="122" y="482"/>
                  <a:pt x="122" y="482"/>
                  <a:pt x="122" y="482"/>
                </a:cubicBezTo>
                <a:cubicBezTo>
                  <a:pt x="120" y="483"/>
                  <a:pt x="120" y="483"/>
                  <a:pt x="120" y="483"/>
                </a:cubicBezTo>
                <a:cubicBezTo>
                  <a:pt x="118" y="484"/>
                  <a:pt x="118" y="484"/>
                  <a:pt x="118" y="484"/>
                </a:cubicBezTo>
                <a:cubicBezTo>
                  <a:pt x="118" y="485"/>
                  <a:pt x="118" y="485"/>
                  <a:pt x="118" y="485"/>
                </a:cubicBezTo>
                <a:cubicBezTo>
                  <a:pt x="117" y="486"/>
                  <a:pt x="117" y="486"/>
                  <a:pt x="117" y="486"/>
                </a:cubicBezTo>
                <a:cubicBezTo>
                  <a:pt x="112" y="495"/>
                  <a:pt x="112" y="495"/>
                  <a:pt x="112" y="495"/>
                </a:cubicBezTo>
                <a:cubicBezTo>
                  <a:pt x="112" y="499"/>
                  <a:pt x="112" y="499"/>
                  <a:pt x="112" y="499"/>
                </a:cubicBezTo>
                <a:cubicBezTo>
                  <a:pt x="112" y="501"/>
                  <a:pt x="112" y="501"/>
                  <a:pt x="112" y="501"/>
                </a:cubicBezTo>
                <a:cubicBezTo>
                  <a:pt x="112" y="502"/>
                  <a:pt x="112" y="502"/>
                  <a:pt x="112" y="502"/>
                </a:cubicBezTo>
                <a:cubicBezTo>
                  <a:pt x="119" y="513"/>
                  <a:pt x="119" y="513"/>
                  <a:pt x="119" y="513"/>
                </a:cubicBezTo>
                <a:cubicBezTo>
                  <a:pt x="121" y="516"/>
                  <a:pt x="121" y="516"/>
                  <a:pt x="121" y="516"/>
                </a:cubicBezTo>
                <a:lnTo>
                  <a:pt x="122" y="517"/>
                </a:lnTo>
                <a:close/>
                <a:moveTo>
                  <a:pt x="44" y="512"/>
                </a:moveTo>
                <a:cubicBezTo>
                  <a:pt x="35" y="507"/>
                  <a:pt x="35" y="507"/>
                  <a:pt x="35" y="507"/>
                </a:cubicBezTo>
                <a:cubicBezTo>
                  <a:pt x="29" y="510"/>
                  <a:pt x="29" y="510"/>
                  <a:pt x="29" y="510"/>
                </a:cubicBezTo>
                <a:cubicBezTo>
                  <a:pt x="36" y="516"/>
                  <a:pt x="36" y="516"/>
                  <a:pt x="36" y="516"/>
                </a:cubicBezTo>
                <a:cubicBezTo>
                  <a:pt x="43" y="523"/>
                  <a:pt x="43" y="523"/>
                  <a:pt x="43" y="523"/>
                </a:cubicBezTo>
                <a:cubicBezTo>
                  <a:pt x="45" y="523"/>
                  <a:pt x="45" y="523"/>
                  <a:pt x="45" y="523"/>
                </a:cubicBezTo>
                <a:cubicBezTo>
                  <a:pt x="48" y="522"/>
                  <a:pt x="48" y="522"/>
                  <a:pt x="48" y="522"/>
                </a:cubicBezTo>
                <a:cubicBezTo>
                  <a:pt x="48" y="521"/>
                  <a:pt x="48" y="521"/>
                  <a:pt x="48" y="521"/>
                </a:cubicBezTo>
                <a:cubicBezTo>
                  <a:pt x="48" y="521"/>
                  <a:pt x="48" y="521"/>
                  <a:pt x="48" y="521"/>
                </a:cubicBezTo>
                <a:cubicBezTo>
                  <a:pt x="45" y="513"/>
                  <a:pt x="45" y="513"/>
                  <a:pt x="45" y="513"/>
                </a:cubicBezTo>
                <a:lnTo>
                  <a:pt x="44" y="512"/>
                </a:lnTo>
                <a:close/>
                <a:moveTo>
                  <a:pt x="64" y="470"/>
                </a:moveTo>
                <a:cubicBezTo>
                  <a:pt x="64" y="469"/>
                  <a:pt x="64" y="469"/>
                  <a:pt x="64" y="469"/>
                </a:cubicBezTo>
                <a:cubicBezTo>
                  <a:pt x="63" y="469"/>
                  <a:pt x="63" y="469"/>
                  <a:pt x="63" y="469"/>
                </a:cubicBezTo>
                <a:cubicBezTo>
                  <a:pt x="62" y="470"/>
                  <a:pt x="62" y="470"/>
                  <a:pt x="62" y="470"/>
                </a:cubicBezTo>
                <a:cubicBezTo>
                  <a:pt x="56" y="474"/>
                  <a:pt x="56" y="474"/>
                  <a:pt x="56" y="474"/>
                </a:cubicBezTo>
                <a:cubicBezTo>
                  <a:pt x="55" y="474"/>
                  <a:pt x="55" y="474"/>
                  <a:pt x="55" y="474"/>
                </a:cubicBezTo>
                <a:cubicBezTo>
                  <a:pt x="55" y="475"/>
                  <a:pt x="55" y="475"/>
                  <a:pt x="55" y="475"/>
                </a:cubicBezTo>
                <a:cubicBezTo>
                  <a:pt x="55" y="476"/>
                  <a:pt x="55" y="476"/>
                  <a:pt x="55" y="476"/>
                </a:cubicBezTo>
                <a:cubicBezTo>
                  <a:pt x="57" y="478"/>
                  <a:pt x="57" y="478"/>
                  <a:pt x="57" y="478"/>
                </a:cubicBezTo>
                <a:cubicBezTo>
                  <a:pt x="60" y="480"/>
                  <a:pt x="60" y="480"/>
                  <a:pt x="60" y="480"/>
                </a:cubicBezTo>
                <a:cubicBezTo>
                  <a:pt x="60" y="480"/>
                  <a:pt x="60" y="480"/>
                  <a:pt x="60" y="480"/>
                </a:cubicBezTo>
                <a:cubicBezTo>
                  <a:pt x="62" y="478"/>
                  <a:pt x="62" y="478"/>
                  <a:pt x="62" y="478"/>
                </a:cubicBezTo>
                <a:cubicBezTo>
                  <a:pt x="65" y="474"/>
                  <a:pt x="65" y="474"/>
                  <a:pt x="65" y="474"/>
                </a:cubicBezTo>
                <a:cubicBezTo>
                  <a:pt x="65" y="471"/>
                  <a:pt x="65" y="471"/>
                  <a:pt x="65" y="471"/>
                </a:cubicBezTo>
                <a:lnTo>
                  <a:pt x="64" y="470"/>
                </a:lnTo>
                <a:close/>
                <a:moveTo>
                  <a:pt x="193" y="831"/>
                </a:moveTo>
                <a:cubicBezTo>
                  <a:pt x="181" y="841"/>
                  <a:pt x="181" y="841"/>
                  <a:pt x="181" y="841"/>
                </a:cubicBezTo>
                <a:cubicBezTo>
                  <a:pt x="179" y="843"/>
                  <a:pt x="179" y="843"/>
                  <a:pt x="179" y="843"/>
                </a:cubicBezTo>
                <a:cubicBezTo>
                  <a:pt x="176" y="852"/>
                  <a:pt x="176" y="852"/>
                  <a:pt x="176" y="852"/>
                </a:cubicBezTo>
                <a:cubicBezTo>
                  <a:pt x="179" y="854"/>
                  <a:pt x="179" y="854"/>
                  <a:pt x="179" y="854"/>
                </a:cubicBezTo>
                <a:cubicBezTo>
                  <a:pt x="180" y="855"/>
                  <a:pt x="180" y="855"/>
                  <a:pt x="180" y="855"/>
                </a:cubicBezTo>
                <a:cubicBezTo>
                  <a:pt x="185" y="856"/>
                  <a:pt x="185" y="856"/>
                  <a:pt x="185" y="856"/>
                </a:cubicBezTo>
                <a:cubicBezTo>
                  <a:pt x="186" y="856"/>
                  <a:pt x="186" y="856"/>
                  <a:pt x="186" y="856"/>
                </a:cubicBezTo>
                <a:cubicBezTo>
                  <a:pt x="186" y="855"/>
                  <a:pt x="186" y="855"/>
                  <a:pt x="186" y="855"/>
                </a:cubicBezTo>
                <a:cubicBezTo>
                  <a:pt x="187" y="854"/>
                  <a:pt x="187" y="854"/>
                  <a:pt x="187" y="854"/>
                </a:cubicBezTo>
                <a:cubicBezTo>
                  <a:pt x="188" y="853"/>
                  <a:pt x="188" y="853"/>
                  <a:pt x="188" y="853"/>
                </a:cubicBezTo>
                <a:cubicBezTo>
                  <a:pt x="195" y="834"/>
                  <a:pt x="195" y="834"/>
                  <a:pt x="195" y="834"/>
                </a:cubicBezTo>
                <a:cubicBezTo>
                  <a:pt x="195" y="833"/>
                  <a:pt x="195" y="833"/>
                  <a:pt x="195" y="833"/>
                </a:cubicBezTo>
                <a:cubicBezTo>
                  <a:pt x="195" y="833"/>
                  <a:pt x="195" y="833"/>
                  <a:pt x="195" y="833"/>
                </a:cubicBezTo>
                <a:cubicBezTo>
                  <a:pt x="194" y="831"/>
                  <a:pt x="194" y="831"/>
                  <a:pt x="194" y="831"/>
                </a:cubicBezTo>
                <a:lnTo>
                  <a:pt x="193" y="831"/>
                </a:lnTo>
                <a:close/>
                <a:moveTo>
                  <a:pt x="110" y="723"/>
                </a:moveTo>
                <a:cubicBezTo>
                  <a:pt x="84" y="729"/>
                  <a:pt x="84" y="729"/>
                  <a:pt x="84" y="729"/>
                </a:cubicBezTo>
                <a:cubicBezTo>
                  <a:pt x="79" y="733"/>
                  <a:pt x="79" y="733"/>
                  <a:pt x="79" y="733"/>
                </a:cubicBezTo>
                <a:cubicBezTo>
                  <a:pt x="78" y="734"/>
                  <a:pt x="78" y="734"/>
                  <a:pt x="78" y="734"/>
                </a:cubicBezTo>
                <a:cubicBezTo>
                  <a:pt x="78" y="736"/>
                  <a:pt x="78" y="736"/>
                  <a:pt x="78" y="736"/>
                </a:cubicBezTo>
                <a:cubicBezTo>
                  <a:pt x="79" y="744"/>
                  <a:pt x="79" y="744"/>
                  <a:pt x="79" y="744"/>
                </a:cubicBezTo>
                <a:cubicBezTo>
                  <a:pt x="81" y="746"/>
                  <a:pt x="81" y="746"/>
                  <a:pt x="81" y="746"/>
                </a:cubicBezTo>
                <a:cubicBezTo>
                  <a:pt x="86" y="749"/>
                  <a:pt x="86" y="749"/>
                  <a:pt x="86" y="749"/>
                </a:cubicBezTo>
                <a:cubicBezTo>
                  <a:pt x="86" y="749"/>
                  <a:pt x="86" y="749"/>
                  <a:pt x="86" y="749"/>
                </a:cubicBezTo>
                <a:cubicBezTo>
                  <a:pt x="89" y="749"/>
                  <a:pt x="89" y="749"/>
                  <a:pt x="89" y="749"/>
                </a:cubicBezTo>
                <a:cubicBezTo>
                  <a:pt x="89" y="749"/>
                  <a:pt x="89" y="749"/>
                  <a:pt x="89" y="749"/>
                </a:cubicBezTo>
                <a:cubicBezTo>
                  <a:pt x="114" y="731"/>
                  <a:pt x="114" y="731"/>
                  <a:pt x="114" y="731"/>
                </a:cubicBezTo>
                <a:cubicBezTo>
                  <a:pt x="116" y="727"/>
                  <a:pt x="116" y="727"/>
                  <a:pt x="116" y="727"/>
                </a:cubicBezTo>
                <a:cubicBezTo>
                  <a:pt x="113" y="725"/>
                  <a:pt x="113" y="725"/>
                  <a:pt x="113" y="725"/>
                </a:cubicBezTo>
                <a:lnTo>
                  <a:pt x="110" y="723"/>
                </a:lnTo>
                <a:close/>
                <a:moveTo>
                  <a:pt x="340" y="921"/>
                </a:moveTo>
                <a:cubicBezTo>
                  <a:pt x="351" y="933"/>
                  <a:pt x="351" y="933"/>
                  <a:pt x="351" y="933"/>
                </a:cubicBezTo>
                <a:cubicBezTo>
                  <a:pt x="352" y="934"/>
                  <a:pt x="352" y="934"/>
                  <a:pt x="352" y="934"/>
                </a:cubicBezTo>
                <a:cubicBezTo>
                  <a:pt x="352" y="934"/>
                  <a:pt x="352" y="934"/>
                  <a:pt x="352" y="934"/>
                </a:cubicBezTo>
                <a:cubicBezTo>
                  <a:pt x="353" y="935"/>
                  <a:pt x="353" y="935"/>
                  <a:pt x="353" y="935"/>
                </a:cubicBezTo>
                <a:cubicBezTo>
                  <a:pt x="355" y="935"/>
                  <a:pt x="355" y="935"/>
                  <a:pt x="355" y="935"/>
                </a:cubicBezTo>
                <a:cubicBezTo>
                  <a:pt x="356" y="932"/>
                  <a:pt x="356" y="932"/>
                  <a:pt x="356" y="932"/>
                </a:cubicBezTo>
                <a:cubicBezTo>
                  <a:pt x="356" y="921"/>
                  <a:pt x="356" y="921"/>
                  <a:pt x="356" y="921"/>
                </a:cubicBezTo>
                <a:cubicBezTo>
                  <a:pt x="354" y="913"/>
                  <a:pt x="354" y="913"/>
                  <a:pt x="354" y="913"/>
                </a:cubicBezTo>
                <a:cubicBezTo>
                  <a:pt x="353" y="911"/>
                  <a:pt x="353" y="911"/>
                  <a:pt x="353" y="911"/>
                </a:cubicBezTo>
                <a:cubicBezTo>
                  <a:pt x="351" y="905"/>
                  <a:pt x="351" y="905"/>
                  <a:pt x="351" y="905"/>
                </a:cubicBezTo>
                <a:cubicBezTo>
                  <a:pt x="346" y="896"/>
                  <a:pt x="346" y="896"/>
                  <a:pt x="346" y="896"/>
                </a:cubicBezTo>
                <a:cubicBezTo>
                  <a:pt x="343" y="894"/>
                  <a:pt x="343" y="894"/>
                  <a:pt x="343" y="894"/>
                </a:cubicBezTo>
                <a:cubicBezTo>
                  <a:pt x="333" y="885"/>
                  <a:pt x="333" y="885"/>
                  <a:pt x="333" y="885"/>
                </a:cubicBezTo>
                <a:cubicBezTo>
                  <a:pt x="332" y="885"/>
                  <a:pt x="332" y="885"/>
                  <a:pt x="332" y="885"/>
                </a:cubicBezTo>
                <a:cubicBezTo>
                  <a:pt x="331" y="885"/>
                  <a:pt x="331" y="885"/>
                  <a:pt x="331" y="885"/>
                </a:cubicBezTo>
                <a:cubicBezTo>
                  <a:pt x="328" y="890"/>
                  <a:pt x="328" y="890"/>
                  <a:pt x="328" y="890"/>
                </a:cubicBezTo>
                <a:cubicBezTo>
                  <a:pt x="328" y="892"/>
                  <a:pt x="328" y="892"/>
                  <a:pt x="328" y="892"/>
                </a:cubicBezTo>
                <a:cubicBezTo>
                  <a:pt x="329" y="896"/>
                  <a:pt x="329" y="896"/>
                  <a:pt x="329" y="896"/>
                </a:cubicBezTo>
                <a:cubicBezTo>
                  <a:pt x="339" y="920"/>
                  <a:pt x="339" y="920"/>
                  <a:pt x="339" y="920"/>
                </a:cubicBezTo>
                <a:lnTo>
                  <a:pt x="340" y="921"/>
                </a:lnTo>
                <a:close/>
                <a:moveTo>
                  <a:pt x="27" y="489"/>
                </a:moveTo>
                <a:cubicBezTo>
                  <a:pt x="26" y="489"/>
                  <a:pt x="26" y="489"/>
                  <a:pt x="26" y="489"/>
                </a:cubicBezTo>
                <a:cubicBezTo>
                  <a:pt x="26" y="490"/>
                  <a:pt x="26" y="490"/>
                  <a:pt x="26" y="490"/>
                </a:cubicBezTo>
                <a:cubicBezTo>
                  <a:pt x="27" y="494"/>
                  <a:pt x="27" y="494"/>
                  <a:pt x="27" y="494"/>
                </a:cubicBezTo>
                <a:cubicBezTo>
                  <a:pt x="29" y="499"/>
                  <a:pt x="29" y="499"/>
                  <a:pt x="29" y="499"/>
                </a:cubicBezTo>
                <a:cubicBezTo>
                  <a:pt x="30" y="500"/>
                  <a:pt x="30" y="500"/>
                  <a:pt x="30" y="500"/>
                </a:cubicBezTo>
                <a:cubicBezTo>
                  <a:pt x="37" y="505"/>
                  <a:pt x="37" y="505"/>
                  <a:pt x="37" y="505"/>
                </a:cubicBezTo>
                <a:cubicBezTo>
                  <a:pt x="38" y="505"/>
                  <a:pt x="38" y="505"/>
                  <a:pt x="38" y="505"/>
                </a:cubicBezTo>
                <a:cubicBezTo>
                  <a:pt x="39" y="506"/>
                  <a:pt x="39" y="506"/>
                  <a:pt x="39" y="506"/>
                </a:cubicBezTo>
                <a:cubicBezTo>
                  <a:pt x="40" y="506"/>
                  <a:pt x="40" y="506"/>
                  <a:pt x="40" y="506"/>
                </a:cubicBezTo>
                <a:cubicBezTo>
                  <a:pt x="45" y="506"/>
                  <a:pt x="45" y="506"/>
                  <a:pt x="45" y="506"/>
                </a:cubicBezTo>
                <a:cubicBezTo>
                  <a:pt x="47" y="505"/>
                  <a:pt x="47" y="505"/>
                  <a:pt x="47" y="505"/>
                </a:cubicBezTo>
                <a:cubicBezTo>
                  <a:pt x="52" y="503"/>
                  <a:pt x="52" y="503"/>
                  <a:pt x="52" y="503"/>
                </a:cubicBezTo>
                <a:cubicBezTo>
                  <a:pt x="53" y="502"/>
                  <a:pt x="53" y="502"/>
                  <a:pt x="53" y="502"/>
                </a:cubicBezTo>
                <a:cubicBezTo>
                  <a:pt x="53" y="502"/>
                  <a:pt x="53" y="502"/>
                  <a:pt x="53" y="502"/>
                </a:cubicBezTo>
                <a:cubicBezTo>
                  <a:pt x="53" y="499"/>
                  <a:pt x="53" y="499"/>
                  <a:pt x="53" y="499"/>
                </a:cubicBezTo>
                <a:cubicBezTo>
                  <a:pt x="53" y="497"/>
                  <a:pt x="53" y="497"/>
                  <a:pt x="53" y="497"/>
                </a:cubicBezTo>
                <a:cubicBezTo>
                  <a:pt x="53" y="497"/>
                  <a:pt x="53" y="497"/>
                  <a:pt x="53" y="497"/>
                </a:cubicBezTo>
                <a:cubicBezTo>
                  <a:pt x="53" y="496"/>
                  <a:pt x="53" y="496"/>
                  <a:pt x="53" y="496"/>
                </a:cubicBezTo>
                <a:cubicBezTo>
                  <a:pt x="50" y="492"/>
                  <a:pt x="50" y="492"/>
                  <a:pt x="50" y="492"/>
                </a:cubicBezTo>
                <a:cubicBezTo>
                  <a:pt x="50" y="491"/>
                  <a:pt x="50" y="491"/>
                  <a:pt x="50" y="491"/>
                </a:cubicBezTo>
                <a:cubicBezTo>
                  <a:pt x="37" y="484"/>
                  <a:pt x="37" y="484"/>
                  <a:pt x="37" y="484"/>
                </a:cubicBezTo>
                <a:cubicBezTo>
                  <a:pt x="36" y="483"/>
                  <a:pt x="36" y="483"/>
                  <a:pt x="36" y="483"/>
                </a:cubicBezTo>
                <a:cubicBezTo>
                  <a:pt x="33" y="483"/>
                  <a:pt x="33" y="483"/>
                  <a:pt x="33" y="483"/>
                </a:cubicBezTo>
                <a:cubicBezTo>
                  <a:pt x="32" y="484"/>
                  <a:pt x="32" y="484"/>
                  <a:pt x="32" y="484"/>
                </a:cubicBezTo>
                <a:cubicBezTo>
                  <a:pt x="31" y="484"/>
                  <a:pt x="31" y="484"/>
                  <a:pt x="31" y="484"/>
                </a:cubicBezTo>
                <a:cubicBezTo>
                  <a:pt x="27" y="488"/>
                  <a:pt x="27" y="488"/>
                  <a:pt x="27" y="488"/>
                </a:cubicBezTo>
                <a:lnTo>
                  <a:pt x="27" y="489"/>
                </a:lnTo>
                <a:close/>
                <a:moveTo>
                  <a:pt x="342" y="1006"/>
                </a:moveTo>
                <a:cubicBezTo>
                  <a:pt x="343" y="1005"/>
                  <a:pt x="343" y="1005"/>
                  <a:pt x="343" y="1005"/>
                </a:cubicBezTo>
                <a:cubicBezTo>
                  <a:pt x="346" y="1002"/>
                  <a:pt x="346" y="1002"/>
                  <a:pt x="346" y="1002"/>
                </a:cubicBezTo>
                <a:cubicBezTo>
                  <a:pt x="346" y="1001"/>
                  <a:pt x="346" y="1001"/>
                  <a:pt x="346" y="1001"/>
                </a:cubicBezTo>
                <a:cubicBezTo>
                  <a:pt x="346" y="1000"/>
                  <a:pt x="346" y="1000"/>
                  <a:pt x="346" y="1000"/>
                </a:cubicBezTo>
                <a:cubicBezTo>
                  <a:pt x="344" y="977"/>
                  <a:pt x="344" y="977"/>
                  <a:pt x="344" y="977"/>
                </a:cubicBezTo>
                <a:cubicBezTo>
                  <a:pt x="344" y="977"/>
                  <a:pt x="344" y="977"/>
                  <a:pt x="344" y="977"/>
                </a:cubicBezTo>
                <a:cubicBezTo>
                  <a:pt x="335" y="948"/>
                  <a:pt x="335" y="948"/>
                  <a:pt x="335" y="948"/>
                </a:cubicBezTo>
                <a:cubicBezTo>
                  <a:pt x="334" y="947"/>
                  <a:pt x="334" y="947"/>
                  <a:pt x="334" y="947"/>
                </a:cubicBezTo>
                <a:cubicBezTo>
                  <a:pt x="334" y="945"/>
                  <a:pt x="334" y="945"/>
                  <a:pt x="334" y="945"/>
                </a:cubicBezTo>
                <a:cubicBezTo>
                  <a:pt x="333" y="944"/>
                  <a:pt x="333" y="944"/>
                  <a:pt x="333" y="944"/>
                </a:cubicBezTo>
                <a:cubicBezTo>
                  <a:pt x="328" y="940"/>
                  <a:pt x="328" y="940"/>
                  <a:pt x="328" y="940"/>
                </a:cubicBezTo>
                <a:cubicBezTo>
                  <a:pt x="324" y="937"/>
                  <a:pt x="324" y="937"/>
                  <a:pt x="324" y="937"/>
                </a:cubicBezTo>
                <a:cubicBezTo>
                  <a:pt x="323" y="937"/>
                  <a:pt x="323" y="937"/>
                  <a:pt x="323" y="937"/>
                </a:cubicBezTo>
                <a:cubicBezTo>
                  <a:pt x="321" y="936"/>
                  <a:pt x="321" y="936"/>
                  <a:pt x="321" y="936"/>
                </a:cubicBezTo>
                <a:cubicBezTo>
                  <a:pt x="319" y="936"/>
                  <a:pt x="319" y="936"/>
                  <a:pt x="319" y="936"/>
                </a:cubicBezTo>
                <a:cubicBezTo>
                  <a:pt x="315" y="936"/>
                  <a:pt x="315" y="936"/>
                  <a:pt x="315" y="936"/>
                </a:cubicBezTo>
                <a:cubicBezTo>
                  <a:pt x="311" y="939"/>
                  <a:pt x="311" y="939"/>
                  <a:pt x="311" y="939"/>
                </a:cubicBezTo>
                <a:cubicBezTo>
                  <a:pt x="310" y="940"/>
                  <a:pt x="310" y="940"/>
                  <a:pt x="310" y="940"/>
                </a:cubicBezTo>
                <a:cubicBezTo>
                  <a:pt x="303" y="946"/>
                  <a:pt x="303" y="946"/>
                  <a:pt x="303" y="946"/>
                </a:cubicBezTo>
                <a:cubicBezTo>
                  <a:pt x="302" y="948"/>
                  <a:pt x="302" y="948"/>
                  <a:pt x="302" y="948"/>
                </a:cubicBezTo>
                <a:cubicBezTo>
                  <a:pt x="300" y="958"/>
                  <a:pt x="300" y="958"/>
                  <a:pt x="300" y="958"/>
                </a:cubicBezTo>
                <a:cubicBezTo>
                  <a:pt x="299" y="961"/>
                  <a:pt x="299" y="961"/>
                  <a:pt x="299" y="961"/>
                </a:cubicBezTo>
                <a:cubicBezTo>
                  <a:pt x="299" y="965"/>
                  <a:pt x="299" y="965"/>
                  <a:pt x="299" y="965"/>
                </a:cubicBezTo>
                <a:cubicBezTo>
                  <a:pt x="305" y="989"/>
                  <a:pt x="305" y="989"/>
                  <a:pt x="305" y="989"/>
                </a:cubicBezTo>
                <a:cubicBezTo>
                  <a:pt x="306" y="989"/>
                  <a:pt x="306" y="989"/>
                  <a:pt x="306" y="989"/>
                </a:cubicBezTo>
                <a:cubicBezTo>
                  <a:pt x="307" y="996"/>
                  <a:pt x="307" y="996"/>
                  <a:pt x="307" y="996"/>
                </a:cubicBezTo>
                <a:cubicBezTo>
                  <a:pt x="308" y="997"/>
                  <a:pt x="308" y="997"/>
                  <a:pt x="308" y="997"/>
                </a:cubicBezTo>
                <a:cubicBezTo>
                  <a:pt x="316" y="1004"/>
                  <a:pt x="316" y="1004"/>
                  <a:pt x="316" y="1004"/>
                </a:cubicBezTo>
                <a:cubicBezTo>
                  <a:pt x="323" y="1008"/>
                  <a:pt x="323" y="1008"/>
                  <a:pt x="323" y="1008"/>
                </a:cubicBezTo>
                <a:cubicBezTo>
                  <a:pt x="325" y="1008"/>
                  <a:pt x="325" y="1008"/>
                  <a:pt x="325" y="1008"/>
                </a:cubicBezTo>
                <a:cubicBezTo>
                  <a:pt x="332" y="1008"/>
                  <a:pt x="332" y="1008"/>
                  <a:pt x="332" y="1008"/>
                </a:cubicBezTo>
                <a:lnTo>
                  <a:pt x="342" y="1006"/>
                </a:lnTo>
                <a:close/>
                <a:moveTo>
                  <a:pt x="247" y="860"/>
                </a:moveTo>
                <a:cubicBezTo>
                  <a:pt x="248" y="857"/>
                  <a:pt x="248" y="857"/>
                  <a:pt x="248" y="857"/>
                </a:cubicBezTo>
                <a:cubicBezTo>
                  <a:pt x="258" y="837"/>
                  <a:pt x="258" y="837"/>
                  <a:pt x="258" y="837"/>
                </a:cubicBezTo>
                <a:cubicBezTo>
                  <a:pt x="259" y="836"/>
                  <a:pt x="259" y="836"/>
                  <a:pt x="259" y="836"/>
                </a:cubicBezTo>
                <a:cubicBezTo>
                  <a:pt x="257" y="830"/>
                  <a:pt x="257" y="830"/>
                  <a:pt x="257" y="830"/>
                </a:cubicBezTo>
                <a:cubicBezTo>
                  <a:pt x="257" y="829"/>
                  <a:pt x="257" y="829"/>
                  <a:pt x="257" y="829"/>
                </a:cubicBezTo>
                <a:cubicBezTo>
                  <a:pt x="256" y="828"/>
                  <a:pt x="256" y="828"/>
                  <a:pt x="256" y="828"/>
                </a:cubicBezTo>
                <a:cubicBezTo>
                  <a:pt x="256" y="827"/>
                  <a:pt x="256" y="827"/>
                  <a:pt x="256" y="827"/>
                </a:cubicBezTo>
                <a:cubicBezTo>
                  <a:pt x="255" y="827"/>
                  <a:pt x="255" y="827"/>
                  <a:pt x="255" y="827"/>
                </a:cubicBezTo>
                <a:cubicBezTo>
                  <a:pt x="250" y="830"/>
                  <a:pt x="250" y="830"/>
                  <a:pt x="250" y="830"/>
                </a:cubicBezTo>
                <a:cubicBezTo>
                  <a:pt x="229" y="848"/>
                  <a:pt x="229" y="848"/>
                  <a:pt x="229" y="848"/>
                </a:cubicBezTo>
                <a:cubicBezTo>
                  <a:pt x="220" y="857"/>
                  <a:pt x="220" y="857"/>
                  <a:pt x="220" y="857"/>
                </a:cubicBezTo>
                <a:cubicBezTo>
                  <a:pt x="214" y="869"/>
                  <a:pt x="214" y="869"/>
                  <a:pt x="214" y="869"/>
                </a:cubicBezTo>
                <a:cubicBezTo>
                  <a:pt x="214" y="870"/>
                  <a:pt x="214" y="870"/>
                  <a:pt x="214" y="870"/>
                </a:cubicBezTo>
                <a:cubicBezTo>
                  <a:pt x="215" y="872"/>
                  <a:pt x="215" y="872"/>
                  <a:pt x="215" y="872"/>
                </a:cubicBezTo>
                <a:cubicBezTo>
                  <a:pt x="221" y="875"/>
                  <a:pt x="221" y="875"/>
                  <a:pt x="221" y="875"/>
                </a:cubicBezTo>
                <a:cubicBezTo>
                  <a:pt x="222" y="875"/>
                  <a:pt x="222" y="875"/>
                  <a:pt x="222" y="875"/>
                </a:cubicBezTo>
                <a:cubicBezTo>
                  <a:pt x="228" y="872"/>
                  <a:pt x="228" y="872"/>
                  <a:pt x="228" y="872"/>
                </a:cubicBezTo>
                <a:cubicBezTo>
                  <a:pt x="234" y="870"/>
                  <a:pt x="234" y="870"/>
                  <a:pt x="234" y="870"/>
                </a:cubicBezTo>
                <a:cubicBezTo>
                  <a:pt x="236" y="870"/>
                  <a:pt x="236" y="870"/>
                  <a:pt x="236" y="870"/>
                </a:cubicBezTo>
                <a:cubicBezTo>
                  <a:pt x="237" y="871"/>
                  <a:pt x="237" y="871"/>
                  <a:pt x="237" y="871"/>
                </a:cubicBezTo>
                <a:cubicBezTo>
                  <a:pt x="237" y="871"/>
                  <a:pt x="237" y="871"/>
                  <a:pt x="237" y="871"/>
                </a:cubicBezTo>
                <a:cubicBezTo>
                  <a:pt x="242" y="867"/>
                  <a:pt x="242" y="867"/>
                  <a:pt x="242" y="867"/>
                </a:cubicBezTo>
                <a:lnTo>
                  <a:pt x="247" y="860"/>
                </a:lnTo>
                <a:close/>
                <a:moveTo>
                  <a:pt x="251" y="933"/>
                </a:moveTo>
                <a:cubicBezTo>
                  <a:pt x="245" y="946"/>
                  <a:pt x="245" y="946"/>
                  <a:pt x="245" y="946"/>
                </a:cubicBezTo>
                <a:cubicBezTo>
                  <a:pt x="245" y="947"/>
                  <a:pt x="245" y="947"/>
                  <a:pt x="245" y="947"/>
                </a:cubicBezTo>
                <a:cubicBezTo>
                  <a:pt x="246" y="952"/>
                  <a:pt x="246" y="952"/>
                  <a:pt x="246" y="952"/>
                </a:cubicBezTo>
                <a:cubicBezTo>
                  <a:pt x="246" y="952"/>
                  <a:pt x="246" y="952"/>
                  <a:pt x="246" y="952"/>
                </a:cubicBezTo>
                <a:cubicBezTo>
                  <a:pt x="247" y="953"/>
                  <a:pt x="247" y="953"/>
                  <a:pt x="247" y="953"/>
                </a:cubicBezTo>
                <a:cubicBezTo>
                  <a:pt x="248" y="953"/>
                  <a:pt x="248" y="953"/>
                  <a:pt x="248" y="953"/>
                </a:cubicBezTo>
                <a:cubicBezTo>
                  <a:pt x="249" y="952"/>
                  <a:pt x="249" y="952"/>
                  <a:pt x="249" y="952"/>
                </a:cubicBezTo>
                <a:cubicBezTo>
                  <a:pt x="252" y="950"/>
                  <a:pt x="252" y="950"/>
                  <a:pt x="252" y="950"/>
                </a:cubicBezTo>
                <a:cubicBezTo>
                  <a:pt x="254" y="935"/>
                  <a:pt x="254" y="935"/>
                  <a:pt x="254" y="935"/>
                </a:cubicBezTo>
                <a:cubicBezTo>
                  <a:pt x="253" y="933"/>
                  <a:pt x="253" y="933"/>
                  <a:pt x="253" y="933"/>
                </a:cubicBezTo>
                <a:cubicBezTo>
                  <a:pt x="252" y="933"/>
                  <a:pt x="252" y="933"/>
                  <a:pt x="252" y="933"/>
                </a:cubicBezTo>
                <a:lnTo>
                  <a:pt x="251" y="933"/>
                </a:lnTo>
                <a:close/>
                <a:moveTo>
                  <a:pt x="787" y="455"/>
                </a:moveTo>
                <a:cubicBezTo>
                  <a:pt x="784" y="447"/>
                  <a:pt x="784" y="447"/>
                  <a:pt x="784" y="447"/>
                </a:cubicBezTo>
                <a:cubicBezTo>
                  <a:pt x="774" y="434"/>
                  <a:pt x="774" y="434"/>
                  <a:pt x="774" y="434"/>
                </a:cubicBezTo>
                <a:cubicBezTo>
                  <a:pt x="773" y="433"/>
                  <a:pt x="773" y="433"/>
                  <a:pt x="773" y="433"/>
                </a:cubicBezTo>
                <a:cubicBezTo>
                  <a:pt x="763" y="430"/>
                  <a:pt x="763" y="430"/>
                  <a:pt x="763" y="430"/>
                </a:cubicBezTo>
                <a:cubicBezTo>
                  <a:pt x="762" y="429"/>
                  <a:pt x="762" y="429"/>
                  <a:pt x="762" y="429"/>
                </a:cubicBezTo>
                <a:cubicBezTo>
                  <a:pt x="754" y="429"/>
                  <a:pt x="754" y="429"/>
                  <a:pt x="754" y="429"/>
                </a:cubicBezTo>
                <a:cubicBezTo>
                  <a:pt x="749" y="430"/>
                  <a:pt x="749" y="430"/>
                  <a:pt x="749" y="430"/>
                </a:cubicBezTo>
                <a:cubicBezTo>
                  <a:pt x="746" y="430"/>
                  <a:pt x="746" y="430"/>
                  <a:pt x="746" y="430"/>
                </a:cubicBezTo>
                <a:cubicBezTo>
                  <a:pt x="745" y="431"/>
                  <a:pt x="745" y="431"/>
                  <a:pt x="745" y="431"/>
                </a:cubicBezTo>
                <a:cubicBezTo>
                  <a:pt x="744" y="432"/>
                  <a:pt x="744" y="432"/>
                  <a:pt x="744" y="432"/>
                </a:cubicBezTo>
                <a:cubicBezTo>
                  <a:pt x="743" y="433"/>
                  <a:pt x="743" y="433"/>
                  <a:pt x="743" y="433"/>
                </a:cubicBezTo>
                <a:cubicBezTo>
                  <a:pt x="742" y="434"/>
                  <a:pt x="742" y="434"/>
                  <a:pt x="742" y="434"/>
                </a:cubicBezTo>
                <a:cubicBezTo>
                  <a:pt x="740" y="435"/>
                  <a:pt x="740" y="435"/>
                  <a:pt x="740" y="435"/>
                </a:cubicBezTo>
                <a:cubicBezTo>
                  <a:pt x="737" y="436"/>
                  <a:pt x="737" y="436"/>
                  <a:pt x="737" y="436"/>
                </a:cubicBezTo>
                <a:cubicBezTo>
                  <a:pt x="693" y="438"/>
                  <a:pt x="693" y="438"/>
                  <a:pt x="693" y="438"/>
                </a:cubicBezTo>
                <a:cubicBezTo>
                  <a:pt x="688" y="438"/>
                  <a:pt x="688" y="438"/>
                  <a:pt x="688" y="438"/>
                </a:cubicBezTo>
                <a:cubicBezTo>
                  <a:pt x="661" y="434"/>
                  <a:pt x="661" y="434"/>
                  <a:pt x="661" y="434"/>
                </a:cubicBezTo>
                <a:cubicBezTo>
                  <a:pt x="656" y="431"/>
                  <a:pt x="656" y="431"/>
                  <a:pt x="656" y="431"/>
                </a:cubicBezTo>
                <a:cubicBezTo>
                  <a:pt x="647" y="430"/>
                  <a:pt x="647" y="430"/>
                  <a:pt x="647" y="430"/>
                </a:cubicBezTo>
                <a:cubicBezTo>
                  <a:pt x="637" y="433"/>
                  <a:pt x="637" y="433"/>
                  <a:pt x="637" y="433"/>
                </a:cubicBezTo>
                <a:cubicBezTo>
                  <a:pt x="636" y="433"/>
                  <a:pt x="636" y="433"/>
                  <a:pt x="636" y="433"/>
                </a:cubicBezTo>
                <a:cubicBezTo>
                  <a:pt x="636" y="434"/>
                  <a:pt x="636" y="434"/>
                  <a:pt x="636" y="434"/>
                </a:cubicBezTo>
                <a:cubicBezTo>
                  <a:pt x="636" y="435"/>
                  <a:pt x="636" y="435"/>
                  <a:pt x="636" y="435"/>
                </a:cubicBezTo>
                <a:cubicBezTo>
                  <a:pt x="635" y="436"/>
                  <a:pt x="635" y="436"/>
                  <a:pt x="635" y="436"/>
                </a:cubicBezTo>
                <a:cubicBezTo>
                  <a:pt x="633" y="438"/>
                  <a:pt x="633" y="438"/>
                  <a:pt x="633" y="438"/>
                </a:cubicBezTo>
                <a:cubicBezTo>
                  <a:pt x="628" y="440"/>
                  <a:pt x="628" y="440"/>
                  <a:pt x="628" y="440"/>
                </a:cubicBezTo>
                <a:cubicBezTo>
                  <a:pt x="625" y="441"/>
                  <a:pt x="625" y="441"/>
                  <a:pt x="625" y="441"/>
                </a:cubicBezTo>
                <a:cubicBezTo>
                  <a:pt x="623" y="441"/>
                  <a:pt x="623" y="441"/>
                  <a:pt x="623" y="441"/>
                </a:cubicBezTo>
                <a:cubicBezTo>
                  <a:pt x="616" y="439"/>
                  <a:pt x="616" y="439"/>
                  <a:pt x="616" y="439"/>
                </a:cubicBezTo>
                <a:cubicBezTo>
                  <a:pt x="609" y="438"/>
                  <a:pt x="609" y="438"/>
                  <a:pt x="609" y="438"/>
                </a:cubicBezTo>
                <a:cubicBezTo>
                  <a:pt x="597" y="434"/>
                  <a:pt x="597" y="434"/>
                  <a:pt x="597" y="434"/>
                </a:cubicBezTo>
                <a:cubicBezTo>
                  <a:pt x="591" y="431"/>
                  <a:pt x="591" y="431"/>
                  <a:pt x="591" y="431"/>
                </a:cubicBezTo>
                <a:cubicBezTo>
                  <a:pt x="590" y="430"/>
                  <a:pt x="590" y="430"/>
                  <a:pt x="590" y="430"/>
                </a:cubicBezTo>
                <a:cubicBezTo>
                  <a:pt x="590" y="429"/>
                  <a:pt x="590" y="429"/>
                  <a:pt x="590" y="429"/>
                </a:cubicBezTo>
                <a:cubicBezTo>
                  <a:pt x="589" y="429"/>
                  <a:pt x="589" y="429"/>
                  <a:pt x="589" y="429"/>
                </a:cubicBezTo>
                <a:cubicBezTo>
                  <a:pt x="589" y="428"/>
                  <a:pt x="589" y="428"/>
                  <a:pt x="589" y="428"/>
                </a:cubicBezTo>
                <a:cubicBezTo>
                  <a:pt x="581" y="427"/>
                  <a:pt x="581" y="427"/>
                  <a:pt x="581" y="427"/>
                </a:cubicBezTo>
                <a:cubicBezTo>
                  <a:pt x="579" y="427"/>
                  <a:pt x="579" y="427"/>
                  <a:pt x="579" y="427"/>
                </a:cubicBezTo>
                <a:cubicBezTo>
                  <a:pt x="566" y="432"/>
                  <a:pt x="566" y="432"/>
                  <a:pt x="566" y="432"/>
                </a:cubicBezTo>
                <a:cubicBezTo>
                  <a:pt x="561" y="434"/>
                  <a:pt x="561" y="434"/>
                  <a:pt x="561" y="434"/>
                </a:cubicBezTo>
                <a:cubicBezTo>
                  <a:pt x="561" y="434"/>
                  <a:pt x="561" y="434"/>
                  <a:pt x="561" y="434"/>
                </a:cubicBezTo>
                <a:cubicBezTo>
                  <a:pt x="553" y="443"/>
                  <a:pt x="553" y="443"/>
                  <a:pt x="553" y="443"/>
                </a:cubicBezTo>
                <a:cubicBezTo>
                  <a:pt x="546" y="443"/>
                  <a:pt x="546" y="443"/>
                  <a:pt x="546" y="443"/>
                </a:cubicBezTo>
                <a:cubicBezTo>
                  <a:pt x="541" y="443"/>
                  <a:pt x="541" y="443"/>
                  <a:pt x="541" y="443"/>
                </a:cubicBezTo>
                <a:cubicBezTo>
                  <a:pt x="540" y="443"/>
                  <a:pt x="540" y="443"/>
                  <a:pt x="540" y="443"/>
                </a:cubicBezTo>
                <a:cubicBezTo>
                  <a:pt x="535" y="444"/>
                  <a:pt x="535" y="444"/>
                  <a:pt x="535" y="444"/>
                </a:cubicBezTo>
                <a:cubicBezTo>
                  <a:pt x="535" y="444"/>
                  <a:pt x="535" y="444"/>
                  <a:pt x="535" y="444"/>
                </a:cubicBezTo>
                <a:cubicBezTo>
                  <a:pt x="534" y="445"/>
                  <a:pt x="534" y="445"/>
                  <a:pt x="534" y="445"/>
                </a:cubicBezTo>
                <a:cubicBezTo>
                  <a:pt x="531" y="448"/>
                  <a:pt x="531" y="448"/>
                  <a:pt x="531" y="448"/>
                </a:cubicBezTo>
                <a:cubicBezTo>
                  <a:pt x="527" y="452"/>
                  <a:pt x="527" y="452"/>
                  <a:pt x="527" y="452"/>
                </a:cubicBezTo>
                <a:cubicBezTo>
                  <a:pt x="518" y="459"/>
                  <a:pt x="518" y="459"/>
                  <a:pt x="518" y="459"/>
                </a:cubicBezTo>
                <a:cubicBezTo>
                  <a:pt x="517" y="460"/>
                  <a:pt x="517" y="460"/>
                  <a:pt x="517" y="460"/>
                </a:cubicBezTo>
                <a:cubicBezTo>
                  <a:pt x="512" y="462"/>
                  <a:pt x="512" y="462"/>
                  <a:pt x="512" y="462"/>
                </a:cubicBezTo>
                <a:cubicBezTo>
                  <a:pt x="510" y="462"/>
                  <a:pt x="510" y="462"/>
                  <a:pt x="510" y="462"/>
                </a:cubicBezTo>
                <a:cubicBezTo>
                  <a:pt x="508" y="463"/>
                  <a:pt x="508" y="463"/>
                  <a:pt x="508" y="463"/>
                </a:cubicBezTo>
                <a:cubicBezTo>
                  <a:pt x="495" y="461"/>
                  <a:pt x="495" y="461"/>
                  <a:pt x="495" y="461"/>
                </a:cubicBezTo>
                <a:cubicBezTo>
                  <a:pt x="491" y="461"/>
                  <a:pt x="491" y="461"/>
                  <a:pt x="491" y="461"/>
                </a:cubicBezTo>
                <a:cubicBezTo>
                  <a:pt x="489" y="462"/>
                  <a:pt x="489" y="462"/>
                  <a:pt x="489" y="462"/>
                </a:cubicBezTo>
                <a:cubicBezTo>
                  <a:pt x="485" y="463"/>
                  <a:pt x="485" y="463"/>
                  <a:pt x="485" y="463"/>
                </a:cubicBezTo>
                <a:cubicBezTo>
                  <a:pt x="482" y="464"/>
                  <a:pt x="482" y="464"/>
                  <a:pt x="482" y="464"/>
                </a:cubicBezTo>
                <a:cubicBezTo>
                  <a:pt x="481" y="464"/>
                  <a:pt x="481" y="464"/>
                  <a:pt x="481" y="464"/>
                </a:cubicBezTo>
                <a:cubicBezTo>
                  <a:pt x="482" y="465"/>
                  <a:pt x="482" y="465"/>
                  <a:pt x="482" y="465"/>
                </a:cubicBezTo>
                <a:cubicBezTo>
                  <a:pt x="483" y="466"/>
                  <a:pt x="483" y="466"/>
                  <a:pt x="483" y="466"/>
                </a:cubicBezTo>
                <a:cubicBezTo>
                  <a:pt x="486" y="466"/>
                  <a:pt x="486" y="466"/>
                  <a:pt x="486" y="466"/>
                </a:cubicBezTo>
                <a:cubicBezTo>
                  <a:pt x="486" y="466"/>
                  <a:pt x="486" y="466"/>
                  <a:pt x="486" y="466"/>
                </a:cubicBezTo>
                <a:cubicBezTo>
                  <a:pt x="487" y="467"/>
                  <a:pt x="487" y="467"/>
                  <a:pt x="487" y="467"/>
                </a:cubicBezTo>
                <a:cubicBezTo>
                  <a:pt x="487" y="468"/>
                  <a:pt x="487" y="468"/>
                  <a:pt x="487" y="468"/>
                </a:cubicBezTo>
                <a:cubicBezTo>
                  <a:pt x="487" y="469"/>
                  <a:pt x="487" y="469"/>
                  <a:pt x="487" y="469"/>
                </a:cubicBezTo>
                <a:cubicBezTo>
                  <a:pt x="487" y="470"/>
                  <a:pt x="487" y="470"/>
                  <a:pt x="487" y="470"/>
                </a:cubicBezTo>
                <a:cubicBezTo>
                  <a:pt x="487" y="471"/>
                  <a:pt x="487" y="471"/>
                  <a:pt x="487" y="471"/>
                </a:cubicBezTo>
                <a:cubicBezTo>
                  <a:pt x="471" y="486"/>
                  <a:pt x="471" y="486"/>
                  <a:pt x="471" y="486"/>
                </a:cubicBezTo>
                <a:cubicBezTo>
                  <a:pt x="468" y="487"/>
                  <a:pt x="468" y="487"/>
                  <a:pt x="468" y="487"/>
                </a:cubicBezTo>
                <a:cubicBezTo>
                  <a:pt x="466" y="488"/>
                  <a:pt x="466" y="488"/>
                  <a:pt x="466" y="488"/>
                </a:cubicBezTo>
                <a:cubicBezTo>
                  <a:pt x="464" y="488"/>
                  <a:pt x="464" y="488"/>
                  <a:pt x="464" y="488"/>
                </a:cubicBezTo>
                <a:cubicBezTo>
                  <a:pt x="463" y="488"/>
                  <a:pt x="463" y="488"/>
                  <a:pt x="463" y="488"/>
                </a:cubicBezTo>
                <a:cubicBezTo>
                  <a:pt x="459" y="486"/>
                  <a:pt x="459" y="486"/>
                  <a:pt x="459" y="486"/>
                </a:cubicBezTo>
                <a:cubicBezTo>
                  <a:pt x="464" y="475"/>
                  <a:pt x="464" y="475"/>
                  <a:pt x="464" y="475"/>
                </a:cubicBezTo>
                <a:cubicBezTo>
                  <a:pt x="468" y="470"/>
                  <a:pt x="468" y="470"/>
                  <a:pt x="468" y="470"/>
                </a:cubicBezTo>
                <a:cubicBezTo>
                  <a:pt x="477" y="462"/>
                  <a:pt x="477" y="462"/>
                  <a:pt x="477" y="462"/>
                </a:cubicBezTo>
                <a:cubicBezTo>
                  <a:pt x="492" y="442"/>
                  <a:pt x="492" y="442"/>
                  <a:pt x="492" y="442"/>
                </a:cubicBezTo>
                <a:cubicBezTo>
                  <a:pt x="492" y="441"/>
                  <a:pt x="492" y="441"/>
                  <a:pt x="492" y="441"/>
                </a:cubicBezTo>
                <a:cubicBezTo>
                  <a:pt x="486" y="439"/>
                  <a:pt x="486" y="439"/>
                  <a:pt x="486" y="439"/>
                </a:cubicBezTo>
                <a:cubicBezTo>
                  <a:pt x="466" y="441"/>
                  <a:pt x="466" y="441"/>
                  <a:pt x="466" y="441"/>
                </a:cubicBezTo>
                <a:cubicBezTo>
                  <a:pt x="461" y="443"/>
                  <a:pt x="461" y="443"/>
                  <a:pt x="461" y="443"/>
                </a:cubicBezTo>
                <a:cubicBezTo>
                  <a:pt x="459" y="444"/>
                  <a:pt x="459" y="444"/>
                  <a:pt x="459" y="444"/>
                </a:cubicBezTo>
                <a:cubicBezTo>
                  <a:pt x="448" y="454"/>
                  <a:pt x="448" y="454"/>
                  <a:pt x="448" y="454"/>
                </a:cubicBezTo>
                <a:cubicBezTo>
                  <a:pt x="442" y="461"/>
                  <a:pt x="442" y="461"/>
                  <a:pt x="442" y="461"/>
                </a:cubicBezTo>
                <a:cubicBezTo>
                  <a:pt x="440" y="463"/>
                  <a:pt x="440" y="463"/>
                  <a:pt x="440" y="463"/>
                </a:cubicBezTo>
                <a:cubicBezTo>
                  <a:pt x="436" y="467"/>
                  <a:pt x="436" y="467"/>
                  <a:pt x="436" y="467"/>
                </a:cubicBezTo>
                <a:cubicBezTo>
                  <a:pt x="434" y="468"/>
                  <a:pt x="434" y="468"/>
                  <a:pt x="434" y="468"/>
                </a:cubicBezTo>
                <a:cubicBezTo>
                  <a:pt x="433" y="465"/>
                  <a:pt x="433" y="465"/>
                  <a:pt x="433" y="465"/>
                </a:cubicBezTo>
                <a:cubicBezTo>
                  <a:pt x="436" y="459"/>
                  <a:pt x="436" y="459"/>
                  <a:pt x="436" y="459"/>
                </a:cubicBezTo>
                <a:cubicBezTo>
                  <a:pt x="451" y="441"/>
                  <a:pt x="451" y="441"/>
                  <a:pt x="451" y="441"/>
                </a:cubicBezTo>
                <a:cubicBezTo>
                  <a:pt x="452" y="441"/>
                  <a:pt x="452" y="441"/>
                  <a:pt x="452" y="441"/>
                </a:cubicBezTo>
                <a:cubicBezTo>
                  <a:pt x="478" y="428"/>
                  <a:pt x="478" y="428"/>
                  <a:pt x="478" y="428"/>
                </a:cubicBezTo>
                <a:cubicBezTo>
                  <a:pt x="487" y="426"/>
                  <a:pt x="487" y="426"/>
                  <a:pt x="487" y="426"/>
                </a:cubicBezTo>
                <a:cubicBezTo>
                  <a:pt x="488" y="426"/>
                  <a:pt x="488" y="426"/>
                  <a:pt x="488" y="426"/>
                </a:cubicBezTo>
                <a:cubicBezTo>
                  <a:pt x="489" y="426"/>
                  <a:pt x="489" y="426"/>
                  <a:pt x="489" y="426"/>
                </a:cubicBezTo>
                <a:cubicBezTo>
                  <a:pt x="490" y="427"/>
                  <a:pt x="490" y="427"/>
                  <a:pt x="490" y="427"/>
                </a:cubicBezTo>
                <a:cubicBezTo>
                  <a:pt x="490" y="428"/>
                  <a:pt x="490" y="428"/>
                  <a:pt x="490" y="428"/>
                </a:cubicBezTo>
                <a:cubicBezTo>
                  <a:pt x="489" y="429"/>
                  <a:pt x="489" y="429"/>
                  <a:pt x="489" y="429"/>
                </a:cubicBezTo>
                <a:cubicBezTo>
                  <a:pt x="489" y="430"/>
                  <a:pt x="489" y="430"/>
                  <a:pt x="489" y="430"/>
                </a:cubicBezTo>
                <a:cubicBezTo>
                  <a:pt x="487" y="432"/>
                  <a:pt x="487" y="432"/>
                  <a:pt x="487" y="432"/>
                </a:cubicBezTo>
                <a:cubicBezTo>
                  <a:pt x="487" y="433"/>
                  <a:pt x="487" y="433"/>
                  <a:pt x="487" y="433"/>
                </a:cubicBezTo>
                <a:cubicBezTo>
                  <a:pt x="489" y="437"/>
                  <a:pt x="489" y="437"/>
                  <a:pt x="489" y="437"/>
                </a:cubicBezTo>
                <a:cubicBezTo>
                  <a:pt x="489" y="438"/>
                  <a:pt x="489" y="438"/>
                  <a:pt x="489" y="438"/>
                </a:cubicBezTo>
                <a:cubicBezTo>
                  <a:pt x="489" y="439"/>
                  <a:pt x="489" y="439"/>
                  <a:pt x="489" y="439"/>
                </a:cubicBezTo>
                <a:cubicBezTo>
                  <a:pt x="490" y="439"/>
                  <a:pt x="490" y="439"/>
                  <a:pt x="490" y="439"/>
                </a:cubicBezTo>
                <a:cubicBezTo>
                  <a:pt x="491" y="439"/>
                  <a:pt x="491" y="439"/>
                  <a:pt x="491" y="439"/>
                </a:cubicBezTo>
                <a:cubicBezTo>
                  <a:pt x="492" y="439"/>
                  <a:pt x="492" y="439"/>
                  <a:pt x="492" y="439"/>
                </a:cubicBezTo>
                <a:cubicBezTo>
                  <a:pt x="493" y="438"/>
                  <a:pt x="493" y="438"/>
                  <a:pt x="493" y="438"/>
                </a:cubicBezTo>
                <a:cubicBezTo>
                  <a:pt x="510" y="416"/>
                  <a:pt x="510" y="416"/>
                  <a:pt x="510" y="416"/>
                </a:cubicBezTo>
                <a:cubicBezTo>
                  <a:pt x="516" y="406"/>
                  <a:pt x="516" y="406"/>
                  <a:pt x="516" y="406"/>
                </a:cubicBezTo>
                <a:cubicBezTo>
                  <a:pt x="521" y="397"/>
                  <a:pt x="521" y="397"/>
                  <a:pt x="521" y="397"/>
                </a:cubicBezTo>
                <a:cubicBezTo>
                  <a:pt x="522" y="394"/>
                  <a:pt x="522" y="394"/>
                  <a:pt x="522" y="394"/>
                </a:cubicBezTo>
                <a:cubicBezTo>
                  <a:pt x="522" y="394"/>
                  <a:pt x="522" y="394"/>
                  <a:pt x="522" y="394"/>
                </a:cubicBezTo>
                <a:cubicBezTo>
                  <a:pt x="521" y="393"/>
                  <a:pt x="521" y="393"/>
                  <a:pt x="521" y="393"/>
                </a:cubicBezTo>
                <a:cubicBezTo>
                  <a:pt x="521" y="392"/>
                  <a:pt x="521" y="392"/>
                  <a:pt x="521" y="392"/>
                </a:cubicBezTo>
                <a:cubicBezTo>
                  <a:pt x="518" y="392"/>
                  <a:pt x="518" y="392"/>
                  <a:pt x="518" y="392"/>
                </a:cubicBezTo>
                <a:cubicBezTo>
                  <a:pt x="517" y="393"/>
                  <a:pt x="517" y="393"/>
                  <a:pt x="517" y="393"/>
                </a:cubicBezTo>
                <a:cubicBezTo>
                  <a:pt x="516" y="394"/>
                  <a:pt x="516" y="394"/>
                  <a:pt x="516" y="394"/>
                </a:cubicBezTo>
                <a:cubicBezTo>
                  <a:pt x="516" y="395"/>
                  <a:pt x="516" y="395"/>
                  <a:pt x="516" y="395"/>
                </a:cubicBezTo>
                <a:cubicBezTo>
                  <a:pt x="515" y="396"/>
                  <a:pt x="515" y="396"/>
                  <a:pt x="515" y="396"/>
                </a:cubicBezTo>
                <a:cubicBezTo>
                  <a:pt x="514" y="400"/>
                  <a:pt x="514" y="400"/>
                  <a:pt x="514" y="400"/>
                </a:cubicBezTo>
                <a:cubicBezTo>
                  <a:pt x="514" y="402"/>
                  <a:pt x="514" y="402"/>
                  <a:pt x="514" y="402"/>
                </a:cubicBezTo>
                <a:cubicBezTo>
                  <a:pt x="512" y="403"/>
                  <a:pt x="512" y="403"/>
                  <a:pt x="512" y="403"/>
                </a:cubicBezTo>
                <a:cubicBezTo>
                  <a:pt x="510" y="403"/>
                  <a:pt x="510" y="403"/>
                  <a:pt x="510" y="403"/>
                </a:cubicBezTo>
                <a:cubicBezTo>
                  <a:pt x="503" y="405"/>
                  <a:pt x="503" y="405"/>
                  <a:pt x="503" y="405"/>
                </a:cubicBezTo>
                <a:cubicBezTo>
                  <a:pt x="485" y="405"/>
                  <a:pt x="485" y="405"/>
                  <a:pt x="485" y="405"/>
                </a:cubicBezTo>
                <a:cubicBezTo>
                  <a:pt x="468" y="401"/>
                  <a:pt x="468" y="401"/>
                  <a:pt x="468" y="401"/>
                </a:cubicBezTo>
                <a:cubicBezTo>
                  <a:pt x="467" y="400"/>
                  <a:pt x="467" y="400"/>
                  <a:pt x="467" y="400"/>
                </a:cubicBezTo>
                <a:cubicBezTo>
                  <a:pt x="464" y="394"/>
                  <a:pt x="464" y="394"/>
                  <a:pt x="464" y="394"/>
                </a:cubicBezTo>
                <a:cubicBezTo>
                  <a:pt x="467" y="394"/>
                  <a:pt x="467" y="394"/>
                  <a:pt x="467" y="394"/>
                </a:cubicBezTo>
                <a:cubicBezTo>
                  <a:pt x="478" y="395"/>
                  <a:pt x="478" y="395"/>
                  <a:pt x="478" y="395"/>
                </a:cubicBezTo>
                <a:cubicBezTo>
                  <a:pt x="485" y="394"/>
                  <a:pt x="485" y="394"/>
                  <a:pt x="485" y="394"/>
                </a:cubicBezTo>
                <a:cubicBezTo>
                  <a:pt x="489" y="390"/>
                  <a:pt x="489" y="390"/>
                  <a:pt x="489" y="390"/>
                </a:cubicBezTo>
                <a:cubicBezTo>
                  <a:pt x="491" y="385"/>
                  <a:pt x="491" y="385"/>
                  <a:pt x="491" y="385"/>
                </a:cubicBezTo>
                <a:cubicBezTo>
                  <a:pt x="492" y="385"/>
                  <a:pt x="492" y="385"/>
                  <a:pt x="492" y="385"/>
                </a:cubicBezTo>
                <a:cubicBezTo>
                  <a:pt x="492" y="384"/>
                  <a:pt x="492" y="384"/>
                  <a:pt x="492" y="384"/>
                </a:cubicBezTo>
                <a:cubicBezTo>
                  <a:pt x="492" y="382"/>
                  <a:pt x="492" y="382"/>
                  <a:pt x="492" y="382"/>
                </a:cubicBezTo>
                <a:cubicBezTo>
                  <a:pt x="492" y="380"/>
                  <a:pt x="492" y="380"/>
                  <a:pt x="492" y="380"/>
                </a:cubicBezTo>
                <a:cubicBezTo>
                  <a:pt x="503" y="363"/>
                  <a:pt x="503" y="363"/>
                  <a:pt x="503" y="363"/>
                </a:cubicBezTo>
                <a:cubicBezTo>
                  <a:pt x="524" y="343"/>
                  <a:pt x="524" y="343"/>
                  <a:pt x="524" y="343"/>
                </a:cubicBezTo>
                <a:cubicBezTo>
                  <a:pt x="532" y="335"/>
                  <a:pt x="532" y="335"/>
                  <a:pt x="532" y="335"/>
                </a:cubicBezTo>
                <a:cubicBezTo>
                  <a:pt x="548" y="323"/>
                  <a:pt x="548" y="323"/>
                  <a:pt x="548" y="323"/>
                </a:cubicBezTo>
                <a:cubicBezTo>
                  <a:pt x="555" y="316"/>
                  <a:pt x="555" y="316"/>
                  <a:pt x="555" y="316"/>
                </a:cubicBezTo>
                <a:cubicBezTo>
                  <a:pt x="559" y="311"/>
                  <a:pt x="559" y="311"/>
                  <a:pt x="559" y="311"/>
                </a:cubicBezTo>
                <a:cubicBezTo>
                  <a:pt x="561" y="307"/>
                  <a:pt x="561" y="307"/>
                  <a:pt x="561" y="307"/>
                </a:cubicBezTo>
                <a:cubicBezTo>
                  <a:pt x="562" y="305"/>
                  <a:pt x="562" y="305"/>
                  <a:pt x="562" y="305"/>
                </a:cubicBezTo>
                <a:cubicBezTo>
                  <a:pt x="564" y="299"/>
                  <a:pt x="564" y="299"/>
                  <a:pt x="564" y="299"/>
                </a:cubicBezTo>
                <a:cubicBezTo>
                  <a:pt x="567" y="295"/>
                  <a:pt x="567" y="295"/>
                  <a:pt x="567" y="295"/>
                </a:cubicBezTo>
                <a:cubicBezTo>
                  <a:pt x="572" y="290"/>
                  <a:pt x="572" y="290"/>
                  <a:pt x="572" y="290"/>
                </a:cubicBezTo>
                <a:cubicBezTo>
                  <a:pt x="575" y="287"/>
                  <a:pt x="575" y="287"/>
                  <a:pt x="575" y="287"/>
                </a:cubicBezTo>
                <a:cubicBezTo>
                  <a:pt x="579" y="286"/>
                  <a:pt x="579" y="286"/>
                  <a:pt x="579" y="286"/>
                </a:cubicBezTo>
                <a:cubicBezTo>
                  <a:pt x="583" y="285"/>
                  <a:pt x="583" y="285"/>
                  <a:pt x="583" y="285"/>
                </a:cubicBezTo>
                <a:cubicBezTo>
                  <a:pt x="595" y="279"/>
                  <a:pt x="595" y="279"/>
                  <a:pt x="595" y="279"/>
                </a:cubicBezTo>
                <a:cubicBezTo>
                  <a:pt x="595" y="278"/>
                  <a:pt x="595" y="278"/>
                  <a:pt x="595" y="278"/>
                </a:cubicBezTo>
                <a:cubicBezTo>
                  <a:pt x="607" y="266"/>
                  <a:pt x="607" y="266"/>
                  <a:pt x="607" y="266"/>
                </a:cubicBezTo>
                <a:cubicBezTo>
                  <a:pt x="608" y="264"/>
                  <a:pt x="608" y="264"/>
                  <a:pt x="608" y="264"/>
                </a:cubicBezTo>
                <a:cubicBezTo>
                  <a:pt x="618" y="240"/>
                  <a:pt x="618" y="240"/>
                  <a:pt x="618" y="240"/>
                </a:cubicBezTo>
                <a:cubicBezTo>
                  <a:pt x="618" y="238"/>
                  <a:pt x="618" y="238"/>
                  <a:pt x="618" y="238"/>
                </a:cubicBezTo>
                <a:cubicBezTo>
                  <a:pt x="618" y="237"/>
                  <a:pt x="618" y="237"/>
                  <a:pt x="618" y="237"/>
                </a:cubicBezTo>
                <a:cubicBezTo>
                  <a:pt x="618" y="236"/>
                  <a:pt x="618" y="236"/>
                  <a:pt x="618" y="236"/>
                </a:cubicBezTo>
                <a:cubicBezTo>
                  <a:pt x="617" y="235"/>
                  <a:pt x="617" y="235"/>
                  <a:pt x="617" y="235"/>
                </a:cubicBezTo>
                <a:cubicBezTo>
                  <a:pt x="617" y="235"/>
                  <a:pt x="617" y="235"/>
                  <a:pt x="617" y="235"/>
                </a:cubicBezTo>
                <a:cubicBezTo>
                  <a:pt x="616" y="235"/>
                  <a:pt x="616" y="235"/>
                  <a:pt x="616" y="235"/>
                </a:cubicBezTo>
                <a:cubicBezTo>
                  <a:pt x="614" y="235"/>
                  <a:pt x="614" y="235"/>
                  <a:pt x="614" y="235"/>
                </a:cubicBezTo>
                <a:cubicBezTo>
                  <a:pt x="611" y="237"/>
                  <a:pt x="611" y="237"/>
                  <a:pt x="611" y="237"/>
                </a:cubicBezTo>
                <a:cubicBezTo>
                  <a:pt x="608" y="238"/>
                  <a:pt x="608" y="238"/>
                  <a:pt x="608" y="238"/>
                </a:cubicBezTo>
                <a:cubicBezTo>
                  <a:pt x="607" y="237"/>
                  <a:pt x="607" y="237"/>
                  <a:pt x="607" y="237"/>
                </a:cubicBezTo>
                <a:cubicBezTo>
                  <a:pt x="607" y="237"/>
                  <a:pt x="607" y="237"/>
                  <a:pt x="607" y="237"/>
                </a:cubicBezTo>
                <a:cubicBezTo>
                  <a:pt x="605" y="235"/>
                  <a:pt x="605" y="235"/>
                  <a:pt x="605" y="235"/>
                </a:cubicBezTo>
                <a:cubicBezTo>
                  <a:pt x="602" y="231"/>
                  <a:pt x="602" y="231"/>
                  <a:pt x="602" y="231"/>
                </a:cubicBezTo>
                <a:cubicBezTo>
                  <a:pt x="602" y="230"/>
                  <a:pt x="602" y="230"/>
                  <a:pt x="602" y="230"/>
                </a:cubicBezTo>
                <a:cubicBezTo>
                  <a:pt x="604" y="224"/>
                  <a:pt x="604" y="224"/>
                  <a:pt x="604" y="224"/>
                </a:cubicBezTo>
                <a:cubicBezTo>
                  <a:pt x="605" y="222"/>
                  <a:pt x="605" y="222"/>
                  <a:pt x="605" y="222"/>
                </a:cubicBezTo>
                <a:cubicBezTo>
                  <a:pt x="606" y="220"/>
                  <a:pt x="606" y="220"/>
                  <a:pt x="606" y="220"/>
                </a:cubicBezTo>
                <a:cubicBezTo>
                  <a:pt x="607" y="219"/>
                  <a:pt x="607" y="219"/>
                  <a:pt x="607" y="219"/>
                </a:cubicBezTo>
                <a:cubicBezTo>
                  <a:pt x="608" y="219"/>
                  <a:pt x="608" y="219"/>
                  <a:pt x="608" y="219"/>
                </a:cubicBezTo>
                <a:cubicBezTo>
                  <a:pt x="609" y="217"/>
                  <a:pt x="609" y="217"/>
                  <a:pt x="609" y="217"/>
                </a:cubicBezTo>
                <a:cubicBezTo>
                  <a:pt x="616" y="204"/>
                  <a:pt x="616" y="204"/>
                  <a:pt x="616" y="204"/>
                </a:cubicBezTo>
                <a:cubicBezTo>
                  <a:pt x="618" y="195"/>
                  <a:pt x="618" y="195"/>
                  <a:pt x="618" y="195"/>
                </a:cubicBezTo>
                <a:cubicBezTo>
                  <a:pt x="618" y="193"/>
                  <a:pt x="618" y="193"/>
                  <a:pt x="618" y="193"/>
                </a:cubicBezTo>
                <a:cubicBezTo>
                  <a:pt x="617" y="192"/>
                  <a:pt x="617" y="192"/>
                  <a:pt x="617" y="192"/>
                </a:cubicBezTo>
                <a:cubicBezTo>
                  <a:pt x="617" y="192"/>
                  <a:pt x="617" y="192"/>
                  <a:pt x="617" y="192"/>
                </a:cubicBezTo>
                <a:cubicBezTo>
                  <a:pt x="583" y="192"/>
                  <a:pt x="583" y="192"/>
                  <a:pt x="583" y="192"/>
                </a:cubicBezTo>
                <a:cubicBezTo>
                  <a:pt x="574" y="201"/>
                  <a:pt x="574" y="201"/>
                  <a:pt x="574" y="201"/>
                </a:cubicBezTo>
                <a:cubicBezTo>
                  <a:pt x="574" y="202"/>
                  <a:pt x="574" y="202"/>
                  <a:pt x="574" y="202"/>
                </a:cubicBezTo>
                <a:cubicBezTo>
                  <a:pt x="573" y="205"/>
                  <a:pt x="573" y="205"/>
                  <a:pt x="573" y="205"/>
                </a:cubicBezTo>
                <a:cubicBezTo>
                  <a:pt x="572" y="206"/>
                  <a:pt x="572" y="206"/>
                  <a:pt x="572" y="206"/>
                </a:cubicBezTo>
                <a:cubicBezTo>
                  <a:pt x="563" y="205"/>
                  <a:pt x="563" y="205"/>
                  <a:pt x="563" y="205"/>
                </a:cubicBezTo>
                <a:cubicBezTo>
                  <a:pt x="562" y="203"/>
                  <a:pt x="562" y="203"/>
                  <a:pt x="562" y="203"/>
                </a:cubicBezTo>
                <a:cubicBezTo>
                  <a:pt x="547" y="200"/>
                  <a:pt x="547" y="200"/>
                  <a:pt x="547" y="200"/>
                </a:cubicBezTo>
                <a:cubicBezTo>
                  <a:pt x="545" y="200"/>
                  <a:pt x="545" y="200"/>
                  <a:pt x="545" y="200"/>
                </a:cubicBezTo>
                <a:cubicBezTo>
                  <a:pt x="532" y="201"/>
                  <a:pt x="532" y="201"/>
                  <a:pt x="532" y="201"/>
                </a:cubicBezTo>
                <a:cubicBezTo>
                  <a:pt x="524" y="208"/>
                  <a:pt x="524" y="208"/>
                  <a:pt x="524" y="208"/>
                </a:cubicBezTo>
                <a:cubicBezTo>
                  <a:pt x="522" y="210"/>
                  <a:pt x="522" y="210"/>
                  <a:pt x="522" y="210"/>
                </a:cubicBezTo>
                <a:cubicBezTo>
                  <a:pt x="503" y="216"/>
                  <a:pt x="503" y="216"/>
                  <a:pt x="503" y="216"/>
                </a:cubicBezTo>
                <a:cubicBezTo>
                  <a:pt x="441" y="224"/>
                  <a:pt x="441" y="224"/>
                  <a:pt x="441" y="224"/>
                </a:cubicBezTo>
                <a:cubicBezTo>
                  <a:pt x="432" y="224"/>
                  <a:pt x="432" y="224"/>
                  <a:pt x="432" y="224"/>
                </a:cubicBezTo>
                <a:cubicBezTo>
                  <a:pt x="432" y="222"/>
                  <a:pt x="432" y="222"/>
                  <a:pt x="432" y="222"/>
                </a:cubicBezTo>
                <a:cubicBezTo>
                  <a:pt x="432" y="220"/>
                  <a:pt x="432" y="220"/>
                  <a:pt x="432" y="220"/>
                </a:cubicBezTo>
                <a:cubicBezTo>
                  <a:pt x="431" y="220"/>
                  <a:pt x="431" y="220"/>
                  <a:pt x="431" y="220"/>
                </a:cubicBezTo>
                <a:cubicBezTo>
                  <a:pt x="421" y="214"/>
                  <a:pt x="421" y="214"/>
                  <a:pt x="421" y="214"/>
                </a:cubicBezTo>
                <a:cubicBezTo>
                  <a:pt x="416" y="213"/>
                  <a:pt x="416" y="213"/>
                  <a:pt x="416" y="213"/>
                </a:cubicBezTo>
                <a:cubicBezTo>
                  <a:pt x="410" y="213"/>
                  <a:pt x="410" y="213"/>
                  <a:pt x="410" y="213"/>
                </a:cubicBezTo>
                <a:cubicBezTo>
                  <a:pt x="409" y="213"/>
                  <a:pt x="409" y="213"/>
                  <a:pt x="409" y="213"/>
                </a:cubicBezTo>
                <a:cubicBezTo>
                  <a:pt x="408" y="213"/>
                  <a:pt x="408" y="213"/>
                  <a:pt x="408" y="213"/>
                </a:cubicBezTo>
                <a:cubicBezTo>
                  <a:pt x="407" y="216"/>
                  <a:pt x="407" y="216"/>
                  <a:pt x="407" y="216"/>
                </a:cubicBezTo>
                <a:cubicBezTo>
                  <a:pt x="408" y="218"/>
                  <a:pt x="408" y="218"/>
                  <a:pt x="408" y="218"/>
                </a:cubicBezTo>
                <a:cubicBezTo>
                  <a:pt x="408" y="219"/>
                  <a:pt x="408" y="219"/>
                  <a:pt x="408" y="219"/>
                </a:cubicBezTo>
                <a:cubicBezTo>
                  <a:pt x="410" y="222"/>
                  <a:pt x="410" y="222"/>
                  <a:pt x="410" y="222"/>
                </a:cubicBezTo>
                <a:cubicBezTo>
                  <a:pt x="409" y="223"/>
                  <a:pt x="409" y="223"/>
                  <a:pt x="409" y="223"/>
                </a:cubicBezTo>
                <a:cubicBezTo>
                  <a:pt x="407" y="226"/>
                  <a:pt x="407" y="226"/>
                  <a:pt x="407" y="226"/>
                </a:cubicBezTo>
                <a:cubicBezTo>
                  <a:pt x="391" y="246"/>
                  <a:pt x="391" y="246"/>
                  <a:pt x="391" y="246"/>
                </a:cubicBezTo>
                <a:cubicBezTo>
                  <a:pt x="390" y="247"/>
                  <a:pt x="390" y="247"/>
                  <a:pt x="390" y="247"/>
                </a:cubicBezTo>
                <a:cubicBezTo>
                  <a:pt x="388" y="247"/>
                  <a:pt x="388" y="247"/>
                  <a:pt x="388" y="247"/>
                </a:cubicBezTo>
                <a:cubicBezTo>
                  <a:pt x="388" y="247"/>
                  <a:pt x="388" y="247"/>
                  <a:pt x="388" y="247"/>
                </a:cubicBezTo>
                <a:cubicBezTo>
                  <a:pt x="388" y="246"/>
                  <a:pt x="388" y="246"/>
                  <a:pt x="388" y="246"/>
                </a:cubicBezTo>
                <a:cubicBezTo>
                  <a:pt x="388" y="244"/>
                  <a:pt x="388" y="244"/>
                  <a:pt x="388" y="244"/>
                </a:cubicBezTo>
                <a:cubicBezTo>
                  <a:pt x="393" y="236"/>
                  <a:pt x="393" y="236"/>
                  <a:pt x="393" y="236"/>
                </a:cubicBezTo>
                <a:cubicBezTo>
                  <a:pt x="394" y="235"/>
                  <a:pt x="394" y="235"/>
                  <a:pt x="394" y="235"/>
                </a:cubicBezTo>
                <a:cubicBezTo>
                  <a:pt x="397" y="229"/>
                  <a:pt x="397" y="229"/>
                  <a:pt x="397" y="229"/>
                </a:cubicBezTo>
                <a:cubicBezTo>
                  <a:pt x="398" y="219"/>
                  <a:pt x="398" y="219"/>
                  <a:pt x="398" y="219"/>
                </a:cubicBezTo>
                <a:cubicBezTo>
                  <a:pt x="390" y="215"/>
                  <a:pt x="390" y="215"/>
                  <a:pt x="390" y="215"/>
                </a:cubicBezTo>
                <a:cubicBezTo>
                  <a:pt x="372" y="204"/>
                  <a:pt x="372" y="204"/>
                  <a:pt x="372" y="204"/>
                </a:cubicBezTo>
                <a:cubicBezTo>
                  <a:pt x="370" y="204"/>
                  <a:pt x="370" y="204"/>
                  <a:pt x="370" y="204"/>
                </a:cubicBezTo>
                <a:cubicBezTo>
                  <a:pt x="359" y="203"/>
                  <a:pt x="359" y="203"/>
                  <a:pt x="359" y="203"/>
                </a:cubicBezTo>
                <a:cubicBezTo>
                  <a:pt x="356" y="204"/>
                  <a:pt x="356" y="204"/>
                  <a:pt x="356" y="204"/>
                </a:cubicBezTo>
                <a:cubicBezTo>
                  <a:pt x="343" y="238"/>
                  <a:pt x="343" y="238"/>
                  <a:pt x="343" y="238"/>
                </a:cubicBezTo>
                <a:cubicBezTo>
                  <a:pt x="334" y="272"/>
                  <a:pt x="334" y="272"/>
                  <a:pt x="334" y="272"/>
                </a:cubicBezTo>
                <a:cubicBezTo>
                  <a:pt x="334" y="273"/>
                  <a:pt x="334" y="273"/>
                  <a:pt x="334" y="273"/>
                </a:cubicBezTo>
                <a:cubicBezTo>
                  <a:pt x="336" y="279"/>
                  <a:pt x="336" y="279"/>
                  <a:pt x="336" y="279"/>
                </a:cubicBezTo>
                <a:cubicBezTo>
                  <a:pt x="339" y="287"/>
                  <a:pt x="339" y="287"/>
                  <a:pt x="339" y="287"/>
                </a:cubicBezTo>
                <a:cubicBezTo>
                  <a:pt x="343" y="290"/>
                  <a:pt x="343" y="290"/>
                  <a:pt x="343" y="290"/>
                </a:cubicBezTo>
                <a:cubicBezTo>
                  <a:pt x="349" y="293"/>
                  <a:pt x="349" y="293"/>
                  <a:pt x="349" y="293"/>
                </a:cubicBezTo>
                <a:cubicBezTo>
                  <a:pt x="351" y="294"/>
                  <a:pt x="351" y="294"/>
                  <a:pt x="351" y="294"/>
                </a:cubicBezTo>
                <a:cubicBezTo>
                  <a:pt x="349" y="298"/>
                  <a:pt x="349" y="298"/>
                  <a:pt x="349" y="298"/>
                </a:cubicBezTo>
                <a:cubicBezTo>
                  <a:pt x="320" y="300"/>
                  <a:pt x="320" y="300"/>
                  <a:pt x="320" y="300"/>
                </a:cubicBezTo>
                <a:cubicBezTo>
                  <a:pt x="315" y="299"/>
                  <a:pt x="315" y="299"/>
                  <a:pt x="315" y="299"/>
                </a:cubicBezTo>
                <a:cubicBezTo>
                  <a:pt x="310" y="297"/>
                  <a:pt x="310" y="297"/>
                  <a:pt x="310" y="297"/>
                </a:cubicBezTo>
                <a:cubicBezTo>
                  <a:pt x="307" y="295"/>
                  <a:pt x="307" y="295"/>
                  <a:pt x="307" y="295"/>
                </a:cubicBezTo>
                <a:cubicBezTo>
                  <a:pt x="306" y="295"/>
                  <a:pt x="306" y="295"/>
                  <a:pt x="306" y="295"/>
                </a:cubicBezTo>
                <a:cubicBezTo>
                  <a:pt x="306" y="295"/>
                  <a:pt x="306" y="295"/>
                  <a:pt x="306" y="295"/>
                </a:cubicBezTo>
                <a:cubicBezTo>
                  <a:pt x="305" y="296"/>
                  <a:pt x="305" y="296"/>
                  <a:pt x="305" y="296"/>
                </a:cubicBezTo>
                <a:cubicBezTo>
                  <a:pt x="303" y="300"/>
                  <a:pt x="303" y="300"/>
                  <a:pt x="303" y="300"/>
                </a:cubicBezTo>
                <a:cubicBezTo>
                  <a:pt x="303" y="300"/>
                  <a:pt x="303" y="300"/>
                  <a:pt x="303" y="300"/>
                </a:cubicBezTo>
                <a:cubicBezTo>
                  <a:pt x="304" y="301"/>
                  <a:pt x="304" y="301"/>
                  <a:pt x="304" y="301"/>
                </a:cubicBezTo>
                <a:cubicBezTo>
                  <a:pt x="319" y="321"/>
                  <a:pt x="319" y="321"/>
                  <a:pt x="319" y="321"/>
                </a:cubicBezTo>
                <a:cubicBezTo>
                  <a:pt x="325" y="323"/>
                  <a:pt x="325" y="323"/>
                  <a:pt x="325" y="323"/>
                </a:cubicBezTo>
                <a:cubicBezTo>
                  <a:pt x="326" y="323"/>
                  <a:pt x="326" y="323"/>
                  <a:pt x="326" y="323"/>
                </a:cubicBezTo>
                <a:cubicBezTo>
                  <a:pt x="326" y="324"/>
                  <a:pt x="326" y="324"/>
                  <a:pt x="326" y="324"/>
                </a:cubicBezTo>
                <a:cubicBezTo>
                  <a:pt x="326" y="325"/>
                  <a:pt x="326" y="325"/>
                  <a:pt x="326" y="325"/>
                </a:cubicBezTo>
                <a:cubicBezTo>
                  <a:pt x="324" y="336"/>
                  <a:pt x="324" y="336"/>
                  <a:pt x="324" y="336"/>
                </a:cubicBezTo>
                <a:cubicBezTo>
                  <a:pt x="322" y="341"/>
                  <a:pt x="322" y="341"/>
                  <a:pt x="322" y="341"/>
                </a:cubicBezTo>
                <a:cubicBezTo>
                  <a:pt x="321" y="343"/>
                  <a:pt x="321" y="343"/>
                  <a:pt x="321" y="343"/>
                </a:cubicBezTo>
                <a:cubicBezTo>
                  <a:pt x="319" y="343"/>
                  <a:pt x="319" y="343"/>
                  <a:pt x="319" y="343"/>
                </a:cubicBezTo>
                <a:cubicBezTo>
                  <a:pt x="317" y="343"/>
                  <a:pt x="317" y="343"/>
                  <a:pt x="317" y="343"/>
                </a:cubicBezTo>
                <a:cubicBezTo>
                  <a:pt x="310" y="340"/>
                  <a:pt x="310" y="340"/>
                  <a:pt x="310" y="340"/>
                </a:cubicBezTo>
                <a:cubicBezTo>
                  <a:pt x="308" y="342"/>
                  <a:pt x="308" y="342"/>
                  <a:pt x="308" y="342"/>
                </a:cubicBezTo>
                <a:cubicBezTo>
                  <a:pt x="301" y="334"/>
                  <a:pt x="301" y="334"/>
                  <a:pt x="301" y="334"/>
                </a:cubicBezTo>
                <a:cubicBezTo>
                  <a:pt x="299" y="333"/>
                  <a:pt x="299" y="333"/>
                  <a:pt x="299" y="333"/>
                </a:cubicBezTo>
                <a:cubicBezTo>
                  <a:pt x="297" y="334"/>
                  <a:pt x="297" y="334"/>
                  <a:pt x="297" y="334"/>
                </a:cubicBezTo>
                <a:cubicBezTo>
                  <a:pt x="297" y="334"/>
                  <a:pt x="297" y="334"/>
                  <a:pt x="297" y="334"/>
                </a:cubicBezTo>
                <a:cubicBezTo>
                  <a:pt x="296" y="336"/>
                  <a:pt x="296" y="336"/>
                  <a:pt x="296" y="336"/>
                </a:cubicBezTo>
                <a:cubicBezTo>
                  <a:pt x="294" y="342"/>
                  <a:pt x="294" y="342"/>
                  <a:pt x="294" y="342"/>
                </a:cubicBezTo>
                <a:cubicBezTo>
                  <a:pt x="299" y="350"/>
                  <a:pt x="299" y="350"/>
                  <a:pt x="299" y="350"/>
                </a:cubicBezTo>
                <a:cubicBezTo>
                  <a:pt x="299" y="351"/>
                  <a:pt x="299" y="351"/>
                  <a:pt x="299" y="351"/>
                </a:cubicBezTo>
                <a:cubicBezTo>
                  <a:pt x="303" y="352"/>
                  <a:pt x="303" y="352"/>
                  <a:pt x="303" y="352"/>
                </a:cubicBezTo>
                <a:cubicBezTo>
                  <a:pt x="304" y="352"/>
                  <a:pt x="304" y="352"/>
                  <a:pt x="304" y="352"/>
                </a:cubicBezTo>
                <a:cubicBezTo>
                  <a:pt x="304" y="352"/>
                  <a:pt x="304" y="352"/>
                  <a:pt x="304" y="352"/>
                </a:cubicBezTo>
                <a:cubicBezTo>
                  <a:pt x="307" y="353"/>
                  <a:pt x="307" y="353"/>
                  <a:pt x="307" y="353"/>
                </a:cubicBezTo>
                <a:cubicBezTo>
                  <a:pt x="326" y="370"/>
                  <a:pt x="326" y="370"/>
                  <a:pt x="326" y="370"/>
                </a:cubicBezTo>
                <a:cubicBezTo>
                  <a:pt x="338" y="388"/>
                  <a:pt x="338" y="388"/>
                  <a:pt x="338" y="388"/>
                </a:cubicBezTo>
                <a:cubicBezTo>
                  <a:pt x="342" y="395"/>
                  <a:pt x="342" y="395"/>
                  <a:pt x="342" y="395"/>
                </a:cubicBezTo>
                <a:cubicBezTo>
                  <a:pt x="339" y="392"/>
                  <a:pt x="339" y="392"/>
                  <a:pt x="339" y="392"/>
                </a:cubicBezTo>
                <a:cubicBezTo>
                  <a:pt x="309" y="375"/>
                  <a:pt x="309" y="375"/>
                  <a:pt x="309" y="375"/>
                </a:cubicBezTo>
                <a:cubicBezTo>
                  <a:pt x="308" y="375"/>
                  <a:pt x="308" y="375"/>
                  <a:pt x="308" y="375"/>
                </a:cubicBezTo>
                <a:cubicBezTo>
                  <a:pt x="303" y="377"/>
                  <a:pt x="303" y="377"/>
                  <a:pt x="303" y="377"/>
                </a:cubicBezTo>
                <a:cubicBezTo>
                  <a:pt x="303" y="378"/>
                  <a:pt x="303" y="378"/>
                  <a:pt x="303" y="378"/>
                </a:cubicBezTo>
                <a:cubicBezTo>
                  <a:pt x="304" y="381"/>
                  <a:pt x="304" y="381"/>
                  <a:pt x="304" y="381"/>
                </a:cubicBezTo>
                <a:cubicBezTo>
                  <a:pt x="305" y="382"/>
                  <a:pt x="305" y="382"/>
                  <a:pt x="305" y="382"/>
                </a:cubicBezTo>
                <a:cubicBezTo>
                  <a:pt x="314" y="387"/>
                  <a:pt x="314" y="387"/>
                  <a:pt x="314" y="387"/>
                </a:cubicBezTo>
                <a:cubicBezTo>
                  <a:pt x="324" y="393"/>
                  <a:pt x="324" y="393"/>
                  <a:pt x="324" y="393"/>
                </a:cubicBezTo>
                <a:cubicBezTo>
                  <a:pt x="324" y="394"/>
                  <a:pt x="324" y="394"/>
                  <a:pt x="324" y="394"/>
                </a:cubicBezTo>
                <a:cubicBezTo>
                  <a:pt x="326" y="398"/>
                  <a:pt x="326" y="398"/>
                  <a:pt x="326" y="398"/>
                </a:cubicBezTo>
                <a:cubicBezTo>
                  <a:pt x="327" y="399"/>
                  <a:pt x="327" y="399"/>
                  <a:pt x="327" y="399"/>
                </a:cubicBezTo>
                <a:cubicBezTo>
                  <a:pt x="326" y="399"/>
                  <a:pt x="326" y="399"/>
                  <a:pt x="326" y="399"/>
                </a:cubicBezTo>
                <a:cubicBezTo>
                  <a:pt x="320" y="397"/>
                  <a:pt x="320" y="397"/>
                  <a:pt x="320" y="397"/>
                </a:cubicBezTo>
                <a:cubicBezTo>
                  <a:pt x="319" y="396"/>
                  <a:pt x="319" y="396"/>
                  <a:pt x="319" y="396"/>
                </a:cubicBezTo>
                <a:cubicBezTo>
                  <a:pt x="317" y="395"/>
                  <a:pt x="317" y="395"/>
                  <a:pt x="317" y="395"/>
                </a:cubicBezTo>
                <a:cubicBezTo>
                  <a:pt x="314" y="393"/>
                  <a:pt x="314" y="393"/>
                  <a:pt x="314" y="393"/>
                </a:cubicBezTo>
                <a:cubicBezTo>
                  <a:pt x="311" y="390"/>
                  <a:pt x="311" y="390"/>
                  <a:pt x="311" y="390"/>
                </a:cubicBezTo>
                <a:cubicBezTo>
                  <a:pt x="297" y="393"/>
                  <a:pt x="297" y="393"/>
                  <a:pt x="297" y="393"/>
                </a:cubicBezTo>
                <a:cubicBezTo>
                  <a:pt x="295" y="397"/>
                  <a:pt x="295" y="397"/>
                  <a:pt x="295" y="397"/>
                </a:cubicBezTo>
                <a:cubicBezTo>
                  <a:pt x="295" y="397"/>
                  <a:pt x="295" y="397"/>
                  <a:pt x="295" y="397"/>
                </a:cubicBezTo>
                <a:cubicBezTo>
                  <a:pt x="294" y="398"/>
                  <a:pt x="294" y="398"/>
                  <a:pt x="294" y="398"/>
                </a:cubicBezTo>
                <a:cubicBezTo>
                  <a:pt x="285" y="393"/>
                  <a:pt x="285" y="393"/>
                  <a:pt x="285" y="393"/>
                </a:cubicBezTo>
                <a:cubicBezTo>
                  <a:pt x="285" y="393"/>
                  <a:pt x="285" y="393"/>
                  <a:pt x="285" y="393"/>
                </a:cubicBezTo>
                <a:cubicBezTo>
                  <a:pt x="282" y="386"/>
                  <a:pt x="282" y="386"/>
                  <a:pt x="282" y="386"/>
                </a:cubicBezTo>
                <a:cubicBezTo>
                  <a:pt x="279" y="382"/>
                  <a:pt x="279" y="382"/>
                  <a:pt x="279" y="382"/>
                </a:cubicBezTo>
                <a:cubicBezTo>
                  <a:pt x="275" y="378"/>
                  <a:pt x="275" y="378"/>
                  <a:pt x="275" y="378"/>
                </a:cubicBezTo>
                <a:cubicBezTo>
                  <a:pt x="272" y="381"/>
                  <a:pt x="272" y="381"/>
                  <a:pt x="272" y="381"/>
                </a:cubicBezTo>
                <a:cubicBezTo>
                  <a:pt x="271" y="382"/>
                  <a:pt x="271" y="382"/>
                  <a:pt x="271" y="382"/>
                </a:cubicBezTo>
                <a:cubicBezTo>
                  <a:pt x="270" y="384"/>
                  <a:pt x="270" y="384"/>
                  <a:pt x="270" y="384"/>
                </a:cubicBezTo>
                <a:cubicBezTo>
                  <a:pt x="269" y="386"/>
                  <a:pt x="269" y="386"/>
                  <a:pt x="269" y="386"/>
                </a:cubicBezTo>
                <a:cubicBezTo>
                  <a:pt x="269" y="387"/>
                  <a:pt x="269" y="387"/>
                  <a:pt x="269" y="387"/>
                </a:cubicBezTo>
                <a:cubicBezTo>
                  <a:pt x="276" y="398"/>
                  <a:pt x="276" y="398"/>
                  <a:pt x="276" y="398"/>
                </a:cubicBezTo>
                <a:cubicBezTo>
                  <a:pt x="277" y="409"/>
                  <a:pt x="277" y="409"/>
                  <a:pt x="277" y="409"/>
                </a:cubicBezTo>
                <a:cubicBezTo>
                  <a:pt x="277" y="410"/>
                  <a:pt x="277" y="410"/>
                  <a:pt x="277" y="410"/>
                </a:cubicBezTo>
                <a:cubicBezTo>
                  <a:pt x="277" y="410"/>
                  <a:pt x="277" y="410"/>
                  <a:pt x="277" y="410"/>
                </a:cubicBezTo>
                <a:cubicBezTo>
                  <a:pt x="278" y="412"/>
                  <a:pt x="278" y="412"/>
                  <a:pt x="278" y="412"/>
                </a:cubicBezTo>
                <a:cubicBezTo>
                  <a:pt x="278" y="413"/>
                  <a:pt x="278" y="413"/>
                  <a:pt x="278" y="413"/>
                </a:cubicBezTo>
                <a:cubicBezTo>
                  <a:pt x="278" y="414"/>
                  <a:pt x="278" y="414"/>
                  <a:pt x="278" y="414"/>
                </a:cubicBezTo>
                <a:cubicBezTo>
                  <a:pt x="276" y="414"/>
                  <a:pt x="276" y="414"/>
                  <a:pt x="276" y="414"/>
                </a:cubicBezTo>
                <a:cubicBezTo>
                  <a:pt x="276" y="413"/>
                  <a:pt x="276" y="413"/>
                  <a:pt x="276" y="413"/>
                </a:cubicBezTo>
                <a:cubicBezTo>
                  <a:pt x="275" y="413"/>
                  <a:pt x="275" y="413"/>
                  <a:pt x="275" y="413"/>
                </a:cubicBezTo>
                <a:cubicBezTo>
                  <a:pt x="274" y="412"/>
                  <a:pt x="274" y="412"/>
                  <a:pt x="274" y="412"/>
                </a:cubicBezTo>
                <a:cubicBezTo>
                  <a:pt x="273" y="412"/>
                  <a:pt x="273" y="412"/>
                  <a:pt x="273" y="412"/>
                </a:cubicBezTo>
                <a:cubicBezTo>
                  <a:pt x="272" y="413"/>
                  <a:pt x="272" y="413"/>
                  <a:pt x="272" y="413"/>
                </a:cubicBezTo>
                <a:cubicBezTo>
                  <a:pt x="272" y="414"/>
                  <a:pt x="272" y="414"/>
                  <a:pt x="272" y="414"/>
                </a:cubicBezTo>
                <a:cubicBezTo>
                  <a:pt x="272" y="415"/>
                  <a:pt x="272" y="415"/>
                  <a:pt x="272" y="415"/>
                </a:cubicBezTo>
                <a:cubicBezTo>
                  <a:pt x="274" y="416"/>
                  <a:pt x="274" y="416"/>
                  <a:pt x="274" y="416"/>
                </a:cubicBezTo>
                <a:cubicBezTo>
                  <a:pt x="274" y="416"/>
                  <a:pt x="274" y="416"/>
                  <a:pt x="274" y="416"/>
                </a:cubicBezTo>
                <a:cubicBezTo>
                  <a:pt x="275" y="417"/>
                  <a:pt x="275" y="417"/>
                  <a:pt x="275" y="417"/>
                </a:cubicBezTo>
                <a:cubicBezTo>
                  <a:pt x="275" y="417"/>
                  <a:pt x="275" y="417"/>
                  <a:pt x="275" y="417"/>
                </a:cubicBezTo>
                <a:cubicBezTo>
                  <a:pt x="275" y="418"/>
                  <a:pt x="275" y="418"/>
                  <a:pt x="275" y="418"/>
                </a:cubicBezTo>
                <a:cubicBezTo>
                  <a:pt x="274" y="418"/>
                  <a:pt x="274" y="418"/>
                  <a:pt x="274" y="418"/>
                </a:cubicBezTo>
                <a:cubicBezTo>
                  <a:pt x="273" y="418"/>
                  <a:pt x="273" y="418"/>
                  <a:pt x="273" y="418"/>
                </a:cubicBezTo>
                <a:cubicBezTo>
                  <a:pt x="273" y="418"/>
                  <a:pt x="273" y="418"/>
                  <a:pt x="273" y="418"/>
                </a:cubicBezTo>
                <a:cubicBezTo>
                  <a:pt x="272" y="417"/>
                  <a:pt x="272" y="417"/>
                  <a:pt x="272" y="417"/>
                </a:cubicBezTo>
                <a:cubicBezTo>
                  <a:pt x="269" y="415"/>
                  <a:pt x="269" y="415"/>
                  <a:pt x="269" y="415"/>
                </a:cubicBezTo>
                <a:cubicBezTo>
                  <a:pt x="267" y="412"/>
                  <a:pt x="267" y="412"/>
                  <a:pt x="267" y="412"/>
                </a:cubicBezTo>
                <a:cubicBezTo>
                  <a:pt x="267" y="410"/>
                  <a:pt x="267" y="410"/>
                  <a:pt x="267" y="410"/>
                </a:cubicBezTo>
                <a:cubicBezTo>
                  <a:pt x="267" y="408"/>
                  <a:pt x="267" y="408"/>
                  <a:pt x="267" y="408"/>
                </a:cubicBezTo>
                <a:cubicBezTo>
                  <a:pt x="267" y="405"/>
                  <a:pt x="267" y="405"/>
                  <a:pt x="267" y="405"/>
                </a:cubicBezTo>
                <a:cubicBezTo>
                  <a:pt x="265" y="395"/>
                  <a:pt x="265" y="395"/>
                  <a:pt x="265" y="395"/>
                </a:cubicBezTo>
                <a:cubicBezTo>
                  <a:pt x="264" y="393"/>
                  <a:pt x="264" y="393"/>
                  <a:pt x="264" y="393"/>
                </a:cubicBezTo>
                <a:cubicBezTo>
                  <a:pt x="261" y="393"/>
                  <a:pt x="261" y="393"/>
                  <a:pt x="261" y="393"/>
                </a:cubicBezTo>
                <a:cubicBezTo>
                  <a:pt x="260" y="393"/>
                  <a:pt x="260" y="393"/>
                  <a:pt x="260" y="393"/>
                </a:cubicBezTo>
                <a:cubicBezTo>
                  <a:pt x="256" y="393"/>
                  <a:pt x="256" y="393"/>
                  <a:pt x="256" y="393"/>
                </a:cubicBezTo>
                <a:cubicBezTo>
                  <a:pt x="247" y="394"/>
                  <a:pt x="247" y="394"/>
                  <a:pt x="247" y="394"/>
                </a:cubicBezTo>
                <a:cubicBezTo>
                  <a:pt x="245" y="395"/>
                  <a:pt x="245" y="395"/>
                  <a:pt x="245" y="395"/>
                </a:cubicBezTo>
                <a:cubicBezTo>
                  <a:pt x="245" y="396"/>
                  <a:pt x="245" y="396"/>
                  <a:pt x="245" y="396"/>
                </a:cubicBezTo>
                <a:cubicBezTo>
                  <a:pt x="247" y="422"/>
                  <a:pt x="247" y="422"/>
                  <a:pt x="247" y="422"/>
                </a:cubicBezTo>
                <a:cubicBezTo>
                  <a:pt x="248" y="424"/>
                  <a:pt x="248" y="424"/>
                  <a:pt x="248" y="424"/>
                </a:cubicBezTo>
                <a:cubicBezTo>
                  <a:pt x="254" y="428"/>
                  <a:pt x="254" y="428"/>
                  <a:pt x="254" y="428"/>
                </a:cubicBezTo>
                <a:cubicBezTo>
                  <a:pt x="265" y="435"/>
                  <a:pt x="265" y="435"/>
                  <a:pt x="265" y="435"/>
                </a:cubicBezTo>
                <a:cubicBezTo>
                  <a:pt x="257" y="434"/>
                  <a:pt x="257" y="434"/>
                  <a:pt x="257" y="434"/>
                </a:cubicBezTo>
                <a:cubicBezTo>
                  <a:pt x="256" y="434"/>
                  <a:pt x="256" y="434"/>
                  <a:pt x="256" y="434"/>
                </a:cubicBezTo>
                <a:cubicBezTo>
                  <a:pt x="254" y="435"/>
                  <a:pt x="254" y="435"/>
                  <a:pt x="254" y="435"/>
                </a:cubicBezTo>
                <a:cubicBezTo>
                  <a:pt x="251" y="436"/>
                  <a:pt x="251" y="436"/>
                  <a:pt x="251" y="436"/>
                </a:cubicBezTo>
                <a:cubicBezTo>
                  <a:pt x="251" y="437"/>
                  <a:pt x="251" y="437"/>
                  <a:pt x="251" y="437"/>
                </a:cubicBezTo>
                <a:cubicBezTo>
                  <a:pt x="246" y="448"/>
                  <a:pt x="246" y="448"/>
                  <a:pt x="246" y="448"/>
                </a:cubicBezTo>
                <a:cubicBezTo>
                  <a:pt x="246" y="450"/>
                  <a:pt x="246" y="450"/>
                  <a:pt x="246" y="450"/>
                </a:cubicBezTo>
                <a:cubicBezTo>
                  <a:pt x="246" y="451"/>
                  <a:pt x="246" y="451"/>
                  <a:pt x="246" y="451"/>
                </a:cubicBezTo>
                <a:cubicBezTo>
                  <a:pt x="261" y="470"/>
                  <a:pt x="261" y="470"/>
                  <a:pt x="261" y="470"/>
                </a:cubicBezTo>
                <a:cubicBezTo>
                  <a:pt x="266" y="474"/>
                  <a:pt x="266" y="474"/>
                  <a:pt x="266" y="474"/>
                </a:cubicBezTo>
                <a:cubicBezTo>
                  <a:pt x="267" y="474"/>
                  <a:pt x="267" y="474"/>
                  <a:pt x="267" y="474"/>
                </a:cubicBezTo>
                <a:cubicBezTo>
                  <a:pt x="270" y="473"/>
                  <a:pt x="270" y="473"/>
                  <a:pt x="270" y="473"/>
                </a:cubicBezTo>
                <a:cubicBezTo>
                  <a:pt x="277" y="472"/>
                  <a:pt x="277" y="472"/>
                  <a:pt x="277" y="472"/>
                </a:cubicBezTo>
                <a:cubicBezTo>
                  <a:pt x="284" y="474"/>
                  <a:pt x="284" y="474"/>
                  <a:pt x="284" y="474"/>
                </a:cubicBezTo>
                <a:cubicBezTo>
                  <a:pt x="285" y="475"/>
                  <a:pt x="285" y="475"/>
                  <a:pt x="285" y="475"/>
                </a:cubicBezTo>
                <a:cubicBezTo>
                  <a:pt x="285" y="475"/>
                  <a:pt x="285" y="475"/>
                  <a:pt x="285" y="475"/>
                </a:cubicBezTo>
                <a:cubicBezTo>
                  <a:pt x="286" y="476"/>
                  <a:pt x="286" y="476"/>
                  <a:pt x="286" y="476"/>
                </a:cubicBezTo>
                <a:cubicBezTo>
                  <a:pt x="285" y="477"/>
                  <a:pt x="285" y="477"/>
                  <a:pt x="285" y="477"/>
                </a:cubicBezTo>
                <a:cubicBezTo>
                  <a:pt x="285" y="478"/>
                  <a:pt x="285" y="478"/>
                  <a:pt x="285" y="478"/>
                </a:cubicBezTo>
                <a:cubicBezTo>
                  <a:pt x="268" y="484"/>
                  <a:pt x="268" y="484"/>
                  <a:pt x="268" y="484"/>
                </a:cubicBezTo>
                <a:cubicBezTo>
                  <a:pt x="267" y="483"/>
                  <a:pt x="267" y="483"/>
                  <a:pt x="267" y="483"/>
                </a:cubicBezTo>
                <a:cubicBezTo>
                  <a:pt x="262" y="479"/>
                  <a:pt x="262" y="479"/>
                  <a:pt x="262" y="479"/>
                </a:cubicBezTo>
                <a:cubicBezTo>
                  <a:pt x="262" y="478"/>
                  <a:pt x="262" y="478"/>
                  <a:pt x="262" y="478"/>
                </a:cubicBezTo>
                <a:cubicBezTo>
                  <a:pt x="251" y="467"/>
                  <a:pt x="251" y="467"/>
                  <a:pt x="251" y="467"/>
                </a:cubicBezTo>
                <a:cubicBezTo>
                  <a:pt x="247" y="465"/>
                  <a:pt x="247" y="465"/>
                  <a:pt x="247" y="465"/>
                </a:cubicBezTo>
                <a:cubicBezTo>
                  <a:pt x="243" y="466"/>
                  <a:pt x="243" y="466"/>
                  <a:pt x="243" y="466"/>
                </a:cubicBezTo>
                <a:cubicBezTo>
                  <a:pt x="241" y="471"/>
                  <a:pt x="241" y="471"/>
                  <a:pt x="241" y="471"/>
                </a:cubicBezTo>
                <a:cubicBezTo>
                  <a:pt x="238" y="485"/>
                  <a:pt x="238" y="485"/>
                  <a:pt x="238" y="485"/>
                </a:cubicBezTo>
                <a:cubicBezTo>
                  <a:pt x="238" y="488"/>
                  <a:pt x="238" y="488"/>
                  <a:pt x="238" y="488"/>
                </a:cubicBezTo>
                <a:cubicBezTo>
                  <a:pt x="238" y="493"/>
                  <a:pt x="238" y="493"/>
                  <a:pt x="238" y="493"/>
                </a:cubicBezTo>
                <a:cubicBezTo>
                  <a:pt x="239" y="498"/>
                  <a:pt x="239" y="498"/>
                  <a:pt x="239" y="498"/>
                </a:cubicBezTo>
                <a:cubicBezTo>
                  <a:pt x="239" y="499"/>
                  <a:pt x="239" y="499"/>
                  <a:pt x="239" y="499"/>
                </a:cubicBezTo>
                <a:cubicBezTo>
                  <a:pt x="244" y="516"/>
                  <a:pt x="244" y="516"/>
                  <a:pt x="244" y="516"/>
                </a:cubicBezTo>
                <a:cubicBezTo>
                  <a:pt x="246" y="520"/>
                  <a:pt x="246" y="520"/>
                  <a:pt x="246" y="520"/>
                </a:cubicBezTo>
                <a:cubicBezTo>
                  <a:pt x="246" y="521"/>
                  <a:pt x="246" y="521"/>
                  <a:pt x="246" y="521"/>
                </a:cubicBezTo>
                <a:cubicBezTo>
                  <a:pt x="249" y="524"/>
                  <a:pt x="249" y="524"/>
                  <a:pt x="249" y="524"/>
                </a:cubicBezTo>
                <a:cubicBezTo>
                  <a:pt x="251" y="525"/>
                  <a:pt x="251" y="525"/>
                  <a:pt x="251" y="525"/>
                </a:cubicBezTo>
                <a:cubicBezTo>
                  <a:pt x="251" y="525"/>
                  <a:pt x="251" y="525"/>
                  <a:pt x="251" y="525"/>
                </a:cubicBezTo>
                <a:cubicBezTo>
                  <a:pt x="274" y="522"/>
                  <a:pt x="274" y="522"/>
                  <a:pt x="274" y="522"/>
                </a:cubicBezTo>
                <a:cubicBezTo>
                  <a:pt x="276" y="522"/>
                  <a:pt x="276" y="522"/>
                  <a:pt x="276" y="522"/>
                </a:cubicBezTo>
                <a:cubicBezTo>
                  <a:pt x="281" y="521"/>
                  <a:pt x="281" y="521"/>
                  <a:pt x="281" y="521"/>
                </a:cubicBezTo>
                <a:cubicBezTo>
                  <a:pt x="281" y="520"/>
                  <a:pt x="281" y="520"/>
                  <a:pt x="281" y="520"/>
                </a:cubicBezTo>
                <a:cubicBezTo>
                  <a:pt x="289" y="513"/>
                  <a:pt x="289" y="513"/>
                  <a:pt x="289" y="513"/>
                </a:cubicBezTo>
                <a:cubicBezTo>
                  <a:pt x="291" y="511"/>
                  <a:pt x="291" y="511"/>
                  <a:pt x="291" y="511"/>
                </a:cubicBezTo>
                <a:cubicBezTo>
                  <a:pt x="292" y="511"/>
                  <a:pt x="292" y="511"/>
                  <a:pt x="292" y="511"/>
                </a:cubicBezTo>
                <a:cubicBezTo>
                  <a:pt x="292" y="510"/>
                  <a:pt x="292" y="510"/>
                  <a:pt x="292" y="510"/>
                </a:cubicBezTo>
                <a:cubicBezTo>
                  <a:pt x="294" y="507"/>
                  <a:pt x="294" y="507"/>
                  <a:pt x="294" y="507"/>
                </a:cubicBezTo>
                <a:cubicBezTo>
                  <a:pt x="296" y="507"/>
                  <a:pt x="296" y="507"/>
                  <a:pt x="296" y="507"/>
                </a:cubicBezTo>
                <a:cubicBezTo>
                  <a:pt x="296" y="506"/>
                  <a:pt x="296" y="506"/>
                  <a:pt x="296" y="506"/>
                </a:cubicBezTo>
                <a:cubicBezTo>
                  <a:pt x="297" y="507"/>
                  <a:pt x="297" y="507"/>
                  <a:pt x="297" y="507"/>
                </a:cubicBezTo>
                <a:cubicBezTo>
                  <a:pt x="297" y="508"/>
                  <a:pt x="297" y="508"/>
                  <a:pt x="297" y="508"/>
                </a:cubicBezTo>
                <a:cubicBezTo>
                  <a:pt x="296" y="510"/>
                  <a:pt x="296" y="510"/>
                  <a:pt x="296" y="510"/>
                </a:cubicBezTo>
                <a:cubicBezTo>
                  <a:pt x="296" y="511"/>
                  <a:pt x="296" y="511"/>
                  <a:pt x="296" y="511"/>
                </a:cubicBezTo>
                <a:cubicBezTo>
                  <a:pt x="294" y="512"/>
                  <a:pt x="294" y="512"/>
                  <a:pt x="294" y="512"/>
                </a:cubicBezTo>
                <a:cubicBezTo>
                  <a:pt x="290" y="516"/>
                  <a:pt x="290" y="516"/>
                  <a:pt x="290" y="516"/>
                </a:cubicBezTo>
                <a:cubicBezTo>
                  <a:pt x="286" y="520"/>
                  <a:pt x="286" y="520"/>
                  <a:pt x="286" y="520"/>
                </a:cubicBezTo>
                <a:cubicBezTo>
                  <a:pt x="284" y="521"/>
                  <a:pt x="284" y="521"/>
                  <a:pt x="284" y="521"/>
                </a:cubicBezTo>
                <a:cubicBezTo>
                  <a:pt x="275" y="525"/>
                  <a:pt x="275" y="525"/>
                  <a:pt x="275" y="525"/>
                </a:cubicBezTo>
                <a:cubicBezTo>
                  <a:pt x="271" y="526"/>
                  <a:pt x="271" y="526"/>
                  <a:pt x="271" y="526"/>
                </a:cubicBezTo>
                <a:cubicBezTo>
                  <a:pt x="268" y="526"/>
                  <a:pt x="268" y="526"/>
                  <a:pt x="268" y="526"/>
                </a:cubicBezTo>
                <a:cubicBezTo>
                  <a:pt x="265" y="527"/>
                  <a:pt x="265" y="527"/>
                  <a:pt x="265" y="527"/>
                </a:cubicBezTo>
                <a:cubicBezTo>
                  <a:pt x="260" y="530"/>
                  <a:pt x="260" y="530"/>
                  <a:pt x="260" y="530"/>
                </a:cubicBezTo>
                <a:cubicBezTo>
                  <a:pt x="259" y="531"/>
                  <a:pt x="259" y="531"/>
                  <a:pt x="259" y="531"/>
                </a:cubicBezTo>
                <a:cubicBezTo>
                  <a:pt x="257" y="537"/>
                  <a:pt x="257" y="537"/>
                  <a:pt x="257" y="537"/>
                </a:cubicBezTo>
                <a:cubicBezTo>
                  <a:pt x="257" y="538"/>
                  <a:pt x="257" y="538"/>
                  <a:pt x="257" y="538"/>
                </a:cubicBezTo>
                <a:cubicBezTo>
                  <a:pt x="257" y="539"/>
                  <a:pt x="257" y="539"/>
                  <a:pt x="257" y="539"/>
                </a:cubicBezTo>
                <a:cubicBezTo>
                  <a:pt x="257" y="541"/>
                  <a:pt x="257" y="541"/>
                  <a:pt x="257" y="541"/>
                </a:cubicBezTo>
                <a:cubicBezTo>
                  <a:pt x="260" y="542"/>
                  <a:pt x="260" y="542"/>
                  <a:pt x="260" y="542"/>
                </a:cubicBezTo>
                <a:cubicBezTo>
                  <a:pt x="271" y="542"/>
                  <a:pt x="271" y="542"/>
                  <a:pt x="271" y="542"/>
                </a:cubicBezTo>
                <a:cubicBezTo>
                  <a:pt x="280" y="542"/>
                  <a:pt x="280" y="542"/>
                  <a:pt x="280" y="542"/>
                </a:cubicBezTo>
                <a:cubicBezTo>
                  <a:pt x="281" y="542"/>
                  <a:pt x="281" y="542"/>
                  <a:pt x="281" y="542"/>
                </a:cubicBezTo>
                <a:cubicBezTo>
                  <a:pt x="284" y="542"/>
                  <a:pt x="284" y="542"/>
                  <a:pt x="284" y="542"/>
                </a:cubicBezTo>
                <a:cubicBezTo>
                  <a:pt x="285" y="543"/>
                  <a:pt x="285" y="543"/>
                  <a:pt x="285" y="543"/>
                </a:cubicBezTo>
                <a:cubicBezTo>
                  <a:pt x="303" y="553"/>
                  <a:pt x="303" y="553"/>
                  <a:pt x="303" y="553"/>
                </a:cubicBezTo>
                <a:cubicBezTo>
                  <a:pt x="303" y="555"/>
                  <a:pt x="303" y="555"/>
                  <a:pt x="303" y="555"/>
                </a:cubicBezTo>
                <a:cubicBezTo>
                  <a:pt x="303" y="555"/>
                  <a:pt x="303" y="555"/>
                  <a:pt x="303" y="555"/>
                </a:cubicBezTo>
                <a:cubicBezTo>
                  <a:pt x="302" y="556"/>
                  <a:pt x="302" y="556"/>
                  <a:pt x="302" y="556"/>
                </a:cubicBezTo>
                <a:cubicBezTo>
                  <a:pt x="301" y="557"/>
                  <a:pt x="301" y="557"/>
                  <a:pt x="301" y="557"/>
                </a:cubicBezTo>
                <a:cubicBezTo>
                  <a:pt x="299" y="557"/>
                  <a:pt x="299" y="557"/>
                  <a:pt x="299" y="557"/>
                </a:cubicBezTo>
                <a:cubicBezTo>
                  <a:pt x="294" y="556"/>
                  <a:pt x="294" y="556"/>
                  <a:pt x="294" y="556"/>
                </a:cubicBezTo>
                <a:cubicBezTo>
                  <a:pt x="292" y="555"/>
                  <a:pt x="292" y="555"/>
                  <a:pt x="292" y="555"/>
                </a:cubicBezTo>
                <a:cubicBezTo>
                  <a:pt x="290" y="552"/>
                  <a:pt x="290" y="552"/>
                  <a:pt x="290" y="552"/>
                </a:cubicBezTo>
                <a:cubicBezTo>
                  <a:pt x="289" y="551"/>
                  <a:pt x="289" y="551"/>
                  <a:pt x="289" y="551"/>
                </a:cubicBezTo>
                <a:cubicBezTo>
                  <a:pt x="284" y="546"/>
                  <a:pt x="284" y="546"/>
                  <a:pt x="284" y="546"/>
                </a:cubicBezTo>
                <a:cubicBezTo>
                  <a:pt x="283" y="544"/>
                  <a:pt x="283" y="544"/>
                  <a:pt x="283" y="544"/>
                </a:cubicBezTo>
                <a:cubicBezTo>
                  <a:pt x="282" y="544"/>
                  <a:pt x="282" y="544"/>
                  <a:pt x="282" y="544"/>
                </a:cubicBezTo>
                <a:cubicBezTo>
                  <a:pt x="271" y="548"/>
                  <a:pt x="271" y="548"/>
                  <a:pt x="271" y="548"/>
                </a:cubicBezTo>
                <a:cubicBezTo>
                  <a:pt x="270" y="549"/>
                  <a:pt x="270" y="549"/>
                  <a:pt x="270" y="549"/>
                </a:cubicBezTo>
                <a:cubicBezTo>
                  <a:pt x="269" y="551"/>
                  <a:pt x="269" y="551"/>
                  <a:pt x="269" y="551"/>
                </a:cubicBezTo>
                <a:cubicBezTo>
                  <a:pt x="267" y="553"/>
                  <a:pt x="267" y="553"/>
                  <a:pt x="267" y="553"/>
                </a:cubicBezTo>
                <a:cubicBezTo>
                  <a:pt x="271" y="556"/>
                  <a:pt x="271" y="556"/>
                  <a:pt x="271" y="556"/>
                </a:cubicBezTo>
                <a:cubicBezTo>
                  <a:pt x="271" y="557"/>
                  <a:pt x="271" y="557"/>
                  <a:pt x="271" y="557"/>
                </a:cubicBezTo>
                <a:cubicBezTo>
                  <a:pt x="270" y="561"/>
                  <a:pt x="270" y="561"/>
                  <a:pt x="270" y="561"/>
                </a:cubicBezTo>
                <a:cubicBezTo>
                  <a:pt x="270" y="562"/>
                  <a:pt x="270" y="562"/>
                  <a:pt x="270" y="562"/>
                </a:cubicBezTo>
                <a:cubicBezTo>
                  <a:pt x="269" y="562"/>
                  <a:pt x="269" y="562"/>
                  <a:pt x="269" y="562"/>
                </a:cubicBezTo>
                <a:cubicBezTo>
                  <a:pt x="266" y="564"/>
                  <a:pt x="266" y="564"/>
                  <a:pt x="266" y="564"/>
                </a:cubicBezTo>
                <a:cubicBezTo>
                  <a:pt x="263" y="566"/>
                  <a:pt x="263" y="566"/>
                  <a:pt x="263" y="566"/>
                </a:cubicBezTo>
                <a:cubicBezTo>
                  <a:pt x="262" y="571"/>
                  <a:pt x="262" y="571"/>
                  <a:pt x="262" y="571"/>
                </a:cubicBezTo>
                <a:cubicBezTo>
                  <a:pt x="262" y="572"/>
                  <a:pt x="262" y="572"/>
                  <a:pt x="262" y="572"/>
                </a:cubicBezTo>
                <a:cubicBezTo>
                  <a:pt x="262" y="573"/>
                  <a:pt x="262" y="573"/>
                  <a:pt x="262" y="573"/>
                </a:cubicBezTo>
                <a:cubicBezTo>
                  <a:pt x="263" y="574"/>
                  <a:pt x="263" y="574"/>
                  <a:pt x="263" y="574"/>
                </a:cubicBezTo>
                <a:cubicBezTo>
                  <a:pt x="266" y="575"/>
                  <a:pt x="266" y="575"/>
                  <a:pt x="266" y="575"/>
                </a:cubicBezTo>
                <a:cubicBezTo>
                  <a:pt x="267" y="576"/>
                  <a:pt x="267" y="576"/>
                  <a:pt x="267" y="576"/>
                </a:cubicBezTo>
                <a:cubicBezTo>
                  <a:pt x="269" y="576"/>
                  <a:pt x="269" y="576"/>
                  <a:pt x="269" y="576"/>
                </a:cubicBezTo>
                <a:cubicBezTo>
                  <a:pt x="280" y="580"/>
                  <a:pt x="280" y="580"/>
                  <a:pt x="280" y="580"/>
                </a:cubicBezTo>
                <a:cubicBezTo>
                  <a:pt x="294" y="586"/>
                  <a:pt x="294" y="586"/>
                  <a:pt x="294" y="586"/>
                </a:cubicBezTo>
                <a:cubicBezTo>
                  <a:pt x="291" y="587"/>
                  <a:pt x="291" y="587"/>
                  <a:pt x="291" y="587"/>
                </a:cubicBezTo>
                <a:cubicBezTo>
                  <a:pt x="284" y="589"/>
                  <a:pt x="284" y="589"/>
                  <a:pt x="284" y="589"/>
                </a:cubicBezTo>
                <a:cubicBezTo>
                  <a:pt x="281" y="589"/>
                  <a:pt x="281" y="589"/>
                  <a:pt x="281" y="589"/>
                </a:cubicBezTo>
                <a:cubicBezTo>
                  <a:pt x="277" y="586"/>
                  <a:pt x="277" y="586"/>
                  <a:pt x="277" y="586"/>
                </a:cubicBezTo>
                <a:cubicBezTo>
                  <a:pt x="276" y="586"/>
                  <a:pt x="276" y="586"/>
                  <a:pt x="276" y="586"/>
                </a:cubicBezTo>
                <a:cubicBezTo>
                  <a:pt x="276" y="585"/>
                  <a:pt x="276" y="585"/>
                  <a:pt x="276" y="585"/>
                </a:cubicBezTo>
                <a:cubicBezTo>
                  <a:pt x="275" y="583"/>
                  <a:pt x="275" y="583"/>
                  <a:pt x="275" y="583"/>
                </a:cubicBezTo>
                <a:cubicBezTo>
                  <a:pt x="274" y="582"/>
                  <a:pt x="274" y="582"/>
                  <a:pt x="274" y="582"/>
                </a:cubicBezTo>
                <a:cubicBezTo>
                  <a:pt x="268" y="580"/>
                  <a:pt x="268" y="580"/>
                  <a:pt x="268" y="580"/>
                </a:cubicBezTo>
                <a:cubicBezTo>
                  <a:pt x="260" y="581"/>
                  <a:pt x="260" y="581"/>
                  <a:pt x="260" y="581"/>
                </a:cubicBezTo>
                <a:cubicBezTo>
                  <a:pt x="258" y="582"/>
                  <a:pt x="258" y="582"/>
                  <a:pt x="258" y="582"/>
                </a:cubicBezTo>
                <a:cubicBezTo>
                  <a:pt x="257" y="582"/>
                  <a:pt x="257" y="582"/>
                  <a:pt x="257" y="582"/>
                </a:cubicBezTo>
                <a:cubicBezTo>
                  <a:pt x="251" y="591"/>
                  <a:pt x="251" y="591"/>
                  <a:pt x="251" y="591"/>
                </a:cubicBezTo>
                <a:cubicBezTo>
                  <a:pt x="249" y="593"/>
                  <a:pt x="249" y="593"/>
                  <a:pt x="249" y="593"/>
                </a:cubicBezTo>
                <a:cubicBezTo>
                  <a:pt x="248" y="596"/>
                  <a:pt x="248" y="596"/>
                  <a:pt x="248" y="596"/>
                </a:cubicBezTo>
                <a:cubicBezTo>
                  <a:pt x="248" y="597"/>
                  <a:pt x="248" y="597"/>
                  <a:pt x="248" y="597"/>
                </a:cubicBezTo>
                <a:cubicBezTo>
                  <a:pt x="248" y="598"/>
                  <a:pt x="248" y="598"/>
                  <a:pt x="248" y="598"/>
                </a:cubicBezTo>
                <a:cubicBezTo>
                  <a:pt x="249" y="599"/>
                  <a:pt x="249" y="599"/>
                  <a:pt x="249" y="599"/>
                </a:cubicBezTo>
                <a:cubicBezTo>
                  <a:pt x="266" y="613"/>
                  <a:pt x="266" y="613"/>
                  <a:pt x="266" y="613"/>
                </a:cubicBezTo>
                <a:cubicBezTo>
                  <a:pt x="267" y="613"/>
                  <a:pt x="267" y="613"/>
                  <a:pt x="267" y="613"/>
                </a:cubicBezTo>
                <a:cubicBezTo>
                  <a:pt x="270" y="615"/>
                  <a:pt x="270" y="615"/>
                  <a:pt x="270" y="615"/>
                </a:cubicBezTo>
                <a:cubicBezTo>
                  <a:pt x="271" y="615"/>
                  <a:pt x="271" y="615"/>
                  <a:pt x="271" y="615"/>
                </a:cubicBezTo>
                <a:cubicBezTo>
                  <a:pt x="279" y="614"/>
                  <a:pt x="279" y="614"/>
                  <a:pt x="279" y="614"/>
                </a:cubicBezTo>
                <a:cubicBezTo>
                  <a:pt x="283" y="611"/>
                  <a:pt x="283" y="611"/>
                  <a:pt x="283" y="611"/>
                </a:cubicBezTo>
                <a:cubicBezTo>
                  <a:pt x="284" y="611"/>
                  <a:pt x="284" y="611"/>
                  <a:pt x="284" y="611"/>
                </a:cubicBezTo>
                <a:cubicBezTo>
                  <a:pt x="284" y="611"/>
                  <a:pt x="284" y="611"/>
                  <a:pt x="284" y="611"/>
                </a:cubicBezTo>
                <a:cubicBezTo>
                  <a:pt x="284" y="613"/>
                  <a:pt x="284" y="613"/>
                  <a:pt x="284" y="613"/>
                </a:cubicBezTo>
                <a:cubicBezTo>
                  <a:pt x="284" y="613"/>
                  <a:pt x="284" y="613"/>
                  <a:pt x="284" y="613"/>
                </a:cubicBezTo>
                <a:cubicBezTo>
                  <a:pt x="281" y="614"/>
                  <a:pt x="281" y="614"/>
                  <a:pt x="281" y="614"/>
                </a:cubicBezTo>
                <a:cubicBezTo>
                  <a:pt x="275" y="616"/>
                  <a:pt x="275" y="616"/>
                  <a:pt x="275" y="616"/>
                </a:cubicBezTo>
                <a:cubicBezTo>
                  <a:pt x="269" y="618"/>
                  <a:pt x="269" y="618"/>
                  <a:pt x="269" y="618"/>
                </a:cubicBezTo>
                <a:cubicBezTo>
                  <a:pt x="256" y="608"/>
                  <a:pt x="256" y="608"/>
                  <a:pt x="256" y="608"/>
                </a:cubicBezTo>
                <a:cubicBezTo>
                  <a:pt x="254" y="608"/>
                  <a:pt x="254" y="608"/>
                  <a:pt x="254" y="608"/>
                </a:cubicBezTo>
                <a:cubicBezTo>
                  <a:pt x="245" y="609"/>
                  <a:pt x="245" y="609"/>
                  <a:pt x="245" y="609"/>
                </a:cubicBezTo>
                <a:cubicBezTo>
                  <a:pt x="243" y="610"/>
                  <a:pt x="243" y="610"/>
                  <a:pt x="243" y="610"/>
                </a:cubicBezTo>
                <a:cubicBezTo>
                  <a:pt x="242" y="611"/>
                  <a:pt x="242" y="611"/>
                  <a:pt x="242" y="611"/>
                </a:cubicBezTo>
                <a:cubicBezTo>
                  <a:pt x="242" y="612"/>
                  <a:pt x="242" y="612"/>
                  <a:pt x="242" y="612"/>
                </a:cubicBezTo>
                <a:cubicBezTo>
                  <a:pt x="228" y="638"/>
                  <a:pt x="228" y="638"/>
                  <a:pt x="228" y="638"/>
                </a:cubicBezTo>
                <a:cubicBezTo>
                  <a:pt x="228" y="640"/>
                  <a:pt x="228" y="640"/>
                  <a:pt x="228" y="640"/>
                </a:cubicBezTo>
                <a:cubicBezTo>
                  <a:pt x="228" y="641"/>
                  <a:pt x="228" y="641"/>
                  <a:pt x="228" y="641"/>
                </a:cubicBezTo>
                <a:cubicBezTo>
                  <a:pt x="228" y="641"/>
                  <a:pt x="228" y="641"/>
                  <a:pt x="228" y="641"/>
                </a:cubicBezTo>
                <a:cubicBezTo>
                  <a:pt x="233" y="643"/>
                  <a:pt x="233" y="643"/>
                  <a:pt x="233" y="643"/>
                </a:cubicBezTo>
                <a:cubicBezTo>
                  <a:pt x="240" y="642"/>
                  <a:pt x="240" y="642"/>
                  <a:pt x="240" y="642"/>
                </a:cubicBezTo>
                <a:cubicBezTo>
                  <a:pt x="243" y="641"/>
                  <a:pt x="243" y="641"/>
                  <a:pt x="243" y="641"/>
                </a:cubicBezTo>
                <a:cubicBezTo>
                  <a:pt x="250" y="640"/>
                  <a:pt x="250" y="640"/>
                  <a:pt x="250" y="640"/>
                </a:cubicBezTo>
                <a:cubicBezTo>
                  <a:pt x="252" y="640"/>
                  <a:pt x="252" y="640"/>
                  <a:pt x="252" y="640"/>
                </a:cubicBezTo>
                <a:cubicBezTo>
                  <a:pt x="255" y="640"/>
                  <a:pt x="255" y="640"/>
                  <a:pt x="255" y="640"/>
                </a:cubicBezTo>
                <a:cubicBezTo>
                  <a:pt x="264" y="643"/>
                  <a:pt x="264" y="643"/>
                  <a:pt x="264" y="643"/>
                </a:cubicBezTo>
                <a:cubicBezTo>
                  <a:pt x="265" y="643"/>
                  <a:pt x="265" y="643"/>
                  <a:pt x="265" y="643"/>
                </a:cubicBezTo>
                <a:cubicBezTo>
                  <a:pt x="265" y="644"/>
                  <a:pt x="265" y="644"/>
                  <a:pt x="265" y="644"/>
                </a:cubicBezTo>
                <a:cubicBezTo>
                  <a:pt x="263" y="646"/>
                  <a:pt x="263" y="646"/>
                  <a:pt x="263" y="646"/>
                </a:cubicBezTo>
                <a:cubicBezTo>
                  <a:pt x="257" y="651"/>
                  <a:pt x="257" y="651"/>
                  <a:pt x="257" y="651"/>
                </a:cubicBezTo>
                <a:cubicBezTo>
                  <a:pt x="256" y="652"/>
                  <a:pt x="256" y="652"/>
                  <a:pt x="256" y="652"/>
                </a:cubicBezTo>
                <a:cubicBezTo>
                  <a:pt x="252" y="650"/>
                  <a:pt x="252" y="650"/>
                  <a:pt x="252" y="650"/>
                </a:cubicBezTo>
                <a:cubicBezTo>
                  <a:pt x="249" y="650"/>
                  <a:pt x="249" y="650"/>
                  <a:pt x="249" y="650"/>
                </a:cubicBezTo>
                <a:cubicBezTo>
                  <a:pt x="244" y="653"/>
                  <a:pt x="244" y="653"/>
                  <a:pt x="244" y="653"/>
                </a:cubicBezTo>
                <a:cubicBezTo>
                  <a:pt x="243" y="654"/>
                  <a:pt x="243" y="654"/>
                  <a:pt x="243" y="654"/>
                </a:cubicBezTo>
                <a:cubicBezTo>
                  <a:pt x="240" y="653"/>
                  <a:pt x="240" y="653"/>
                  <a:pt x="240" y="653"/>
                </a:cubicBezTo>
                <a:cubicBezTo>
                  <a:pt x="239" y="654"/>
                  <a:pt x="239" y="654"/>
                  <a:pt x="239" y="654"/>
                </a:cubicBezTo>
                <a:cubicBezTo>
                  <a:pt x="238" y="654"/>
                  <a:pt x="238" y="654"/>
                  <a:pt x="238" y="654"/>
                </a:cubicBezTo>
                <a:cubicBezTo>
                  <a:pt x="238" y="655"/>
                  <a:pt x="238" y="655"/>
                  <a:pt x="238" y="655"/>
                </a:cubicBezTo>
                <a:cubicBezTo>
                  <a:pt x="237" y="657"/>
                  <a:pt x="237" y="657"/>
                  <a:pt x="237" y="657"/>
                </a:cubicBezTo>
                <a:cubicBezTo>
                  <a:pt x="238" y="659"/>
                  <a:pt x="238" y="659"/>
                  <a:pt x="238" y="659"/>
                </a:cubicBezTo>
                <a:cubicBezTo>
                  <a:pt x="242" y="661"/>
                  <a:pt x="242" y="661"/>
                  <a:pt x="242" y="661"/>
                </a:cubicBezTo>
                <a:cubicBezTo>
                  <a:pt x="249" y="664"/>
                  <a:pt x="249" y="664"/>
                  <a:pt x="249" y="664"/>
                </a:cubicBezTo>
                <a:cubicBezTo>
                  <a:pt x="249" y="665"/>
                  <a:pt x="249" y="665"/>
                  <a:pt x="249" y="665"/>
                </a:cubicBezTo>
                <a:cubicBezTo>
                  <a:pt x="249" y="666"/>
                  <a:pt x="249" y="666"/>
                  <a:pt x="249" y="666"/>
                </a:cubicBezTo>
                <a:cubicBezTo>
                  <a:pt x="248" y="667"/>
                  <a:pt x="248" y="667"/>
                  <a:pt x="248" y="667"/>
                </a:cubicBezTo>
                <a:cubicBezTo>
                  <a:pt x="236" y="673"/>
                  <a:pt x="236" y="673"/>
                  <a:pt x="236" y="673"/>
                </a:cubicBezTo>
                <a:cubicBezTo>
                  <a:pt x="235" y="673"/>
                  <a:pt x="235" y="673"/>
                  <a:pt x="235" y="673"/>
                </a:cubicBezTo>
                <a:cubicBezTo>
                  <a:pt x="231" y="674"/>
                  <a:pt x="231" y="674"/>
                  <a:pt x="231" y="674"/>
                </a:cubicBezTo>
                <a:cubicBezTo>
                  <a:pt x="229" y="674"/>
                  <a:pt x="229" y="674"/>
                  <a:pt x="229" y="674"/>
                </a:cubicBezTo>
                <a:cubicBezTo>
                  <a:pt x="225" y="670"/>
                  <a:pt x="225" y="670"/>
                  <a:pt x="225" y="670"/>
                </a:cubicBezTo>
                <a:cubicBezTo>
                  <a:pt x="218" y="670"/>
                  <a:pt x="218" y="670"/>
                  <a:pt x="218" y="670"/>
                </a:cubicBezTo>
                <a:cubicBezTo>
                  <a:pt x="203" y="671"/>
                  <a:pt x="203" y="671"/>
                  <a:pt x="203" y="671"/>
                </a:cubicBezTo>
                <a:cubicBezTo>
                  <a:pt x="198" y="672"/>
                  <a:pt x="198" y="672"/>
                  <a:pt x="198" y="672"/>
                </a:cubicBezTo>
                <a:cubicBezTo>
                  <a:pt x="197" y="672"/>
                  <a:pt x="197" y="672"/>
                  <a:pt x="197" y="672"/>
                </a:cubicBezTo>
                <a:cubicBezTo>
                  <a:pt x="191" y="673"/>
                  <a:pt x="191" y="673"/>
                  <a:pt x="191" y="673"/>
                </a:cubicBezTo>
                <a:cubicBezTo>
                  <a:pt x="190" y="674"/>
                  <a:pt x="190" y="674"/>
                  <a:pt x="190" y="674"/>
                </a:cubicBezTo>
                <a:cubicBezTo>
                  <a:pt x="185" y="679"/>
                  <a:pt x="185" y="679"/>
                  <a:pt x="185" y="679"/>
                </a:cubicBezTo>
                <a:cubicBezTo>
                  <a:pt x="185" y="681"/>
                  <a:pt x="185" y="681"/>
                  <a:pt x="185" y="681"/>
                </a:cubicBezTo>
                <a:cubicBezTo>
                  <a:pt x="185" y="683"/>
                  <a:pt x="185" y="683"/>
                  <a:pt x="185" y="683"/>
                </a:cubicBezTo>
                <a:cubicBezTo>
                  <a:pt x="185" y="684"/>
                  <a:pt x="185" y="684"/>
                  <a:pt x="185" y="684"/>
                </a:cubicBezTo>
                <a:cubicBezTo>
                  <a:pt x="185" y="685"/>
                  <a:pt x="185" y="685"/>
                  <a:pt x="185" y="685"/>
                </a:cubicBezTo>
                <a:cubicBezTo>
                  <a:pt x="187" y="688"/>
                  <a:pt x="187" y="688"/>
                  <a:pt x="187" y="688"/>
                </a:cubicBezTo>
                <a:cubicBezTo>
                  <a:pt x="189" y="690"/>
                  <a:pt x="189" y="690"/>
                  <a:pt x="189" y="690"/>
                </a:cubicBezTo>
                <a:cubicBezTo>
                  <a:pt x="190" y="691"/>
                  <a:pt x="190" y="691"/>
                  <a:pt x="190" y="691"/>
                </a:cubicBezTo>
                <a:cubicBezTo>
                  <a:pt x="196" y="692"/>
                  <a:pt x="196" y="692"/>
                  <a:pt x="196" y="692"/>
                </a:cubicBezTo>
                <a:cubicBezTo>
                  <a:pt x="200" y="690"/>
                  <a:pt x="200" y="690"/>
                  <a:pt x="200" y="690"/>
                </a:cubicBezTo>
                <a:cubicBezTo>
                  <a:pt x="204" y="690"/>
                  <a:pt x="204" y="690"/>
                  <a:pt x="204" y="690"/>
                </a:cubicBezTo>
                <a:cubicBezTo>
                  <a:pt x="225" y="691"/>
                  <a:pt x="225" y="691"/>
                  <a:pt x="225" y="691"/>
                </a:cubicBezTo>
                <a:cubicBezTo>
                  <a:pt x="226" y="692"/>
                  <a:pt x="226" y="692"/>
                  <a:pt x="226" y="692"/>
                </a:cubicBezTo>
                <a:cubicBezTo>
                  <a:pt x="227" y="693"/>
                  <a:pt x="227" y="693"/>
                  <a:pt x="227" y="693"/>
                </a:cubicBezTo>
                <a:cubicBezTo>
                  <a:pt x="229" y="694"/>
                  <a:pt x="229" y="694"/>
                  <a:pt x="229" y="694"/>
                </a:cubicBezTo>
                <a:cubicBezTo>
                  <a:pt x="234" y="694"/>
                  <a:pt x="234" y="694"/>
                  <a:pt x="234" y="694"/>
                </a:cubicBezTo>
                <a:cubicBezTo>
                  <a:pt x="239" y="694"/>
                  <a:pt x="239" y="694"/>
                  <a:pt x="239" y="694"/>
                </a:cubicBezTo>
                <a:cubicBezTo>
                  <a:pt x="241" y="693"/>
                  <a:pt x="241" y="693"/>
                  <a:pt x="241" y="693"/>
                </a:cubicBezTo>
                <a:cubicBezTo>
                  <a:pt x="241" y="693"/>
                  <a:pt x="241" y="693"/>
                  <a:pt x="241" y="693"/>
                </a:cubicBezTo>
                <a:cubicBezTo>
                  <a:pt x="246" y="688"/>
                  <a:pt x="246" y="688"/>
                  <a:pt x="246" y="688"/>
                </a:cubicBezTo>
                <a:cubicBezTo>
                  <a:pt x="248" y="687"/>
                  <a:pt x="248" y="687"/>
                  <a:pt x="248" y="687"/>
                </a:cubicBezTo>
                <a:cubicBezTo>
                  <a:pt x="249" y="685"/>
                  <a:pt x="249" y="685"/>
                  <a:pt x="249" y="685"/>
                </a:cubicBezTo>
                <a:cubicBezTo>
                  <a:pt x="250" y="685"/>
                  <a:pt x="250" y="685"/>
                  <a:pt x="250" y="685"/>
                </a:cubicBezTo>
                <a:cubicBezTo>
                  <a:pt x="278" y="690"/>
                  <a:pt x="278" y="690"/>
                  <a:pt x="278" y="690"/>
                </a:cubicBezTo>
                <a:cubicBezTo>
                  <a:pt x="279" y="690"/>
                  <a:pt x="279" y="690"/>
                  <a:pt x="279" y="690"/>
                </a:cubicBezTo>
                <a:cubicBezTo>
                  <a:pt x="279" y="692"/>
                  <a:pt x="279" y="692"/>
                  <a:pt x="279" y="692"/>
                </a:cubicBezTo>
                <a:cubicBezTo>
                  <a:pt x="278" y="692"/>
                  <a:pt x="278" y="692"/>
                  <a:pt x="278" y="692"/>
                </a:cubicBezTo>
                <a:cubicBezTo>
                  <a:pt x="270" y="694"/>
                  <a:pt x="270" y="694"/>
                  <a:pt x="270" y="694"/>
                </a:cubicBezTo>
                <a:cubicBezTo>
                  <a:pt x="268" y="694"/>
                  <a:pt x="268" y="694"/>
                  <a:pt x="268" y="694"/>
                </a:cubicBezTo>
                <a:cubicBezTo>
                  <a:pt x="264" y="694"/>
                  <a:pt x="264" y="694"/>
                  <a:pt x="264" y="694"/>
                </a:cubicBezTo>
                <a:cubicBezTo>
                  <a:pt x="262" y="694"/>
                  <a:pt x="262" y="694"/>
                  <a:pt x="262" y="694"/>
                </a:cubicBezTo>
                <a:cubicBezTo>
                  <a:pt x="258" y="692"/>
                  <a:pt x="258" y="692"/>
                  <a:pt x="258" y="692"/>
                </a:cubicBezTo>
                <a:cubicBezTo>
                  <a:pt x="258" y="692"/>
                  <a:pt x="258" y="692"/>
                  <a:pt x="258" y="692"/>
                </a:cubicBezTo>
                <a:cubicBezTo>
                  <a:pt x="256" y="690"/>
                  <a:pt x="256" y="690"/>
                  <a:pt x="256" y="690"/>
                </a:cubicBezTo>
                <a:cubicBezTo>
                  <a:pt x="256" y="689"/>
                  <a:pt x="256" y="689"/>
                  <a:pt x="256" y="689"/>
                </a:cubicBezTo>
                <a:cubicBezTo>
                  <a:pt x="252" y="689"/>
                  <a:pt x="252" y="689"/>
                  <a:pt x="252" y="689"/>
                </a:cubicBezTo>
                <a:cubicBezTo>
                  <a:pt x="249" y="690"/>
                  <a:pt x="249" y="690"/>
                  <a:pt x="249" y="690"/>
                </a:cubicBezTo>
                <a:cubicBezTo>
                  <a:pt x="247" y="692"/>
                  <a:pt x="247" y="692"/>
                  <a:pt x="247" y="692"/>
                </a:cubicBezTo>
                <a:cubicBezTo>
                  <a:pt x="242" y="696"/>
                  <a:pt x="242" y="696"/>
                  <a:pt x="242" y="696"/>
                </a:cubicBezTo>
                <a:cubicBezTo>
                  <a:pt x="234" y="701"/>
                  <a:pt x="234" y="701"/>
                  <a:pt x="234" y="701"/>
                </a:cubicBezTo>
                <a:cubicBezTo>
                  <a:pt x="234" y="701"/>
                  <a:pt x="234" y="701"/>
                  <a:pt x="234" y="701"/>
                </a:cubicBezTo>
                <a:cubicBezTo>
                  <a:pt x="233" y="701"/>
                  <a:pt x="233" y="701"/>
                  <a:pt x="233" y="701"/>
                </a:cubicBezTo>
                <a:cubicBezTo>
                  <a:pt x="224" y="699"/>
                  <a:pt x="224" y="699"/>
                  <a:pt x="224" y="699"/>
                </a:cubicBezTo>
                <a:cubicBezTo>
                  <a:pt x="216" y="701"/>
                  <a:pt x="216" y="701"/>
                  <a:pt x="216" y="701"/>
                </a:cubicBezTo>
                <a:cubicBezTo>
                  <a:pt x="216" y="702"/>
                  <a:pt x="216" y="702"/>
                  <a:pt x="216" y="702"/>
                </a:cubicBezTo>
                <a:cubicBezTo>
                  <a:pt x="216" y="703"/>
                  <a:pt x="216" y="703"/>
                  <a:pt x="216" y="703"/>
                </a:cubicBezTo>
                <a:cubicBezTo>
                  <a:pt x="216" y="706"/>
                  <a:pt x="216" y="706"/>
                  <a:pt x="216" y="706"/>
                </a:cubicBezTo>
                <a:cubicBezTo>
                  <a:pt x="221" y="716"/>
                  <a:pt x="221" y="716"/>
                  <a:pt x="221" y="716"/>
                </a:cubicBezTo>
                <a:cubicBezTo>
                  <a:pt x="224" y="719"/>
                  <a:pt x="224" y="719"/>
                  <a:pt x="224" y="719"/>
                </a:cubicBezTo>
                <a:cubicBezTo>
                  <a:pt x="225" y="721"/>
                  <a:pt x="225" y="721"/>
                  <a:pt x="225" y="721"/>
                </a:cubicBezTo>
                <a:cubicBezTo>
                  <a:pt x="231" y="726"/>
                  <a:pt x="231" y="726"/>
                  <a:pt x="231" y="726"/>
                </a:cubicBezTo>
                <a:cubicBezTo>
                  <a:pt x="232" y="726"/>
                  <a:pt x="232" y="726"/>
                  <a:pt x="232" y="726"/>
                </a:cubicBezTo>
                <a:cubicBezTo>
                  <a:pt x="259" y="740"/>
                  <a:pt x="259" y="740"/>
                  <a:pt x="259" y="740"/>
                </a:cubicBezTo>
                <a:cubicBezTo>
                  <a:pt x="261" y="740"/>
                  <a:pt x="261" y="740"/>
                  <a:pt x="261" y="740"/>
                </a:cubicBezTo>
                <a:cubicBezTo>
                  <a:pt x="272" y="732"/>
                  <a:pt x="272" y="732"/>
                  <a:pt x="272" y="732"/>
                </a:cubicBezTo>
                <a:cubicBezTo>
                  <a:pt x="274" y="731"/>
                  <a:pt x="274" y="731"/>
                  <a:pt x="274" y="731"/>
                </a:cubicBezTo>
                <a:cubicBezTo>
                  <a:pt x="278" y="727"/>
                  <a:pt x="278" y="727"/>
                  <a:pt x="278" y="727"/>
                </a:cubicBezTo>
                <a:cubicBezTo>
                  <a:pt x="306" y="697"/>
                  <a:pt x="306" y="697"/>
                  <a:pt x="306" y="697"/>
                </a:cubicBezTo>
                <a:cubicBezTo>
                  <a:pt x="324" y="677"/>
                  <a:pt x="324" y="677"/>
                  <a:pt x="324" y="677"/>
                </a:cubicBezTo>
                <a:cubicBezTo>
                  <a:pt x="328" y="672"/>
                  <a:pt x="328" y="672"/>
                  <a:pt x="328" y="672"/>
                </a:cubicBezTo>
                <a:cubicBezTo>
                  <a:pt x="330" y="669"/>
                  <a:pt x="330" y="669"/>
                  <a:pt x="330" y="669"/>
                </a:cubicBezTo>
                <a:cubicBezTo>
                  <a:pt x="333" y="665"/>
                  <a:pt x="333" y="665"/>
                  <a:pt x="333" y="665"/>
                </a:cubicBezTo>
                <a:cubicBezTo>
                  <a:pt x="335" y="662"/>
                  <a:pt x="335" y="662"/>
                  <a:pt x="335" y="662"/>
                </a:cubicBezTo>
                <a:cubicBezTo>
                  <a:pt x="340" y="658"/>
                  <a:pt x="340" y="658"/>
                  <a:pt x="340" y="658"/>
                </a:cubicBezTo>
                <a:cubicBezTo>
                  <a:pt x="339" y="661"/>
                  <a:pt x="339" y="661"/>
                  <a:pt x="339" y="661"/>
                </a:cubicBezTo>
                <a:cubicBezTo>
                  <a:pt x="339" y="662"/>
                  <a:pt x="339" y="662"/>
                  <a:pt x="339" y="662"/>
                </a:cubicBezTo>
                <a:cubicBezTo>
                  <a:pt x="323" y="687"/>
                  <a:pt x="323" y="687"/>
                  <a:pt x="323" y="687"/>
                </a:cubicBezTo>
                <a:cubicBezTo>
                  <a:pt x="312" y="700"/>
                  <a:pt x="312" y="700"/>
                  <a:pt x="312" y="700"/>
                </a:cubicBezTo>
                <a:cubicBezTo>
                  <a:pt x="303" y="717"/>
                  <a:pt x="303" y="717"/>
                  <a:pt x="303" y="717"/>
                </a:cubicBezTo>
                <a:cubicBezTo>
                  <a:pt x="299" y="723"/>
                  <a:pt x="299" y="723"/>
                  <a:pt x="299" y="723"/>
                </a:cubicBezTo>
                <a:cubicBezTo>
                  <a:pt x="294" y="735"/>
                  <a:pt x="294" y="735"/>
                  <a:pt x="294" y="735"/>
                </a:cubicBezTo>
                <a:cubicBezTo>
                  <a:pt x="291" y="743"/>
                  <a:pt x="291" y="743"/>
                  <a:pt x="291" y="743"/>
                </a:cubicBezTo>
                <a:cubicBezTo>
                  <a:pt x="291" y="744"/>
                  <a:pt x="291" y="744"/>
                  <a:pt x="291" y="744"/>
                </a:cubicBezTo>
                <a:cubicBezTo>
                  <a:pt x="292" y="752"/>
                  <a:pt x="292" y="752"/>
                  <a:pt x="292" y="752"/>
                </a:cubicBezTo>
                <a:cubicBezTo>
                  <a:pt x="289" y="756"/>
                  <a:pt x="289" y="756"/>
                  <a:pt x="289" y="756"/>
                </a:cubicBezTo>
                <a:cubicBezTo>
                  <a:pt x="276" y="779"/>
                  <a:pt x="276" y="779"/>
                  <a:pt x="276" y="779"/>
                </a:cubicBezTo>
                <a:cubicBezTo>
                  <a:pt x="275" y="783"/>
                  <a:pt x="275" y="783"/>
                  <a:pt x="275" y="783"/>
                </a:cubicBezTo>
                <a:cubicBezTo>
                  <a:pt x="274" y="791"/>
                  <a:pt x="274" y="791"/>
                  <a:pt x="274" y="791"/>
                </a:cubicBezTo>
                <a:cubicBezTo>
                  <a:pt x="272" y="803"/>
                  <a:pt x="272" y="803"/>
                  <a:pt x="272" y="803"/>
                </a:cubicBezTo>
                <a:cubicBezTo>
                  <a:pt x="272" y="805"/>
                  <a:pt x="272" y="805"/>
                  <a:pt x="272" y="805"/>
                </a:cubicBezTo>
                <a:cubicBezTo>
                  <a:pt x="273" y="806"/>
                  <a:pt x="273" y="806"/>
                  <a:pt x="273" y="806"/>
                </a:cubicBezTo>
                <a:cubicBezTo>
                  <a:pt x="274" y="806"/>
                  <a:pt x="274" y="806"/>
                  <a:pt x="274" y="806"/>
                </a:cubicBezTo>
                <a:cubicBezTo>
                  <a:pt x="277" y="807"/>
                  <a:pt x="277" y="807"/>
                  <a:pt x="277" y="807"/>
                </a:cubicBezTo>
                <a:cubicBezTo>
                  <a:pt x="278" y="807"/>
                  <a:pt x="278" y="807"/>
                  <a:pt x="278" y="807"/>
                </a:cubicBezTo>
                <a:cubicBezTo>
                  <a:pt x="279" y="807"/>
                  <a:pt x="279" y="807"/>
                  <a:pt x="279" y="807"/>
                </a:cubicBezTo>
                <a:cubicBezTo>
                  <a:pt x="279" y="808"/>
                  <a:pt x="279" y="808"/>
                  <a:pt x="279" y="808"/>
                </a:cubicBezTo>
                <a:cubicBezTo>
                  <a:pt x="279" y="809"/>
                  <a:pt x="279" y="809"/>
                  <a:pt x="279" y="809"/>
                </a:cubicBezTo>
                <a:cubicBezTo>
                  <a:pt x="279" y="810"/>
                  <a:pt x="279" y="810"/>
                  <a:pt x="279" y="810"/>
                </a:cubicBezTo>
                <a:cubicBezTo>
                  <a:pt x="271" y="826"/>
                  <a:pt x="271" y="826"/>
                  <a:pt x="271" y="826"/>
                </a:cubicBezTo>
                <a:cubicBezTo>
                  <a:pt x="269" y="829"/>
                  <a:pt x="269" y="829"/>
                  <a:pt x="269" y="829"/>
                </a:cubicBezTo>
                <a:cubicBezTo>
                  <a:pt x="276" y="827"/>
                  <a:pt x="276" y="827"/>
                  <a:pt x="276" y="827"/>
                </a:cubicBezTo>
                <a:cubicBezTo>
                  <a:pt x="274" y="843"/>
                  <a:pt x="274" y="843"/>
                  <a:pt x="274" y="843"/>
                </a:cubicBezTo>
                <a:cubicBezTo>
                  <a:pt x="272" y="844"/>
                  <a:pt x="272" y="844"/>
                  <a:pt x="272" y="844"/>
                </a:cubicBezTo>
                <a:cubicBezTo>
                  <a:pt x="267" y="851"/>
                  <a:pt x="267" y="851"/>
                  <a:pt x="267" y="851"/>
                </a:cubicBezTo>
                <a:cubicBezTo>
                  <a:pt x="266" y="853"/>
                  <a:pt x="266" y="853"/>
                  <a:pt x="266" y="853"/>
                </a:cubicBezTo>
                <a:cubicBezTo>
                  <a:pt x="257" y="870"/>
                  <a:pt x="257" y="870"/>
                  <a:pt x="257" y="870"/>
                </a:cubicBezTo>
                <a:cubicBezTo>
                  <a:pt x="256" y="872"/>
                  <a:pt x="256" y="872"/>
                  <a:pt x="256" y="872"/>
                </a:cubicBezTo>
                <a:cubicBezTo>
                  <a:pt x="256" y="874"/>
                  <a:pt x="256" y="874"/>
                  <a:pt x="256" y="874"/>
                </a:cubicBezTo>
                <a:cubicBezTo>
                  <a:pt x="256" y="879"/>
                  <a:pt x="256" y="879"/>
                  <a:pt x="256" y="879"/>
                </a:cubicBezTo>
                <a:cubicBezTo>
                  <a:pt x="256" y="880"/>
                  <a:pt x="256" y="880"/>
                  <a:pt x="256" y="880"/>
                </a:cubicBezTo>
                <a:cubicBezTo>
                  <a:pt x="257" y="880"/>
                  <a:pt x="257" y="880"/>
                  <a:pt x="257" y="880"/>
                </a:cubicBezTo>
                <a:cubicBezTo>
                  <a:pt x="258" y="880"/>
                  <a:pt x="258" y="880"/>
                  <a:pt x="258" y="880"/>
                </a:cubicBezTo>
                <a:cubicBezTo>
                  <a:pt x="259" y="880"/>
                  <a:pt x="259" y="880"/>
                  <a:pt x="259" y="880"/>
                </a:cubicBezTo>
                <a:cubicBezTo>
                  <a:pt x="269" y="861"/>
                  <a:pt x="269" y="861"/>
                  <a:pt x="269" y="861"/>
                </a:cubicBezTo>
                <a:cubicBezTo>
                  <a:pt x="269" y="860"/>
                  <a:pt x="269" y="860"/>
                  <a:pt x="269" y="860"/>
                </a:cubicBezTo>
                <a:cubicBezTo>
                  <a:pt x="269" y="860"/>
                  <a:pt x="269" y="860"/>
                  <a:pt x="269" y="860"/>
                </a:cubicBezTo>
                <a:cubicBezTo>
                  <a:pt x="268" y="858"/>
                  <a:pt x="268" y="858"/>
                  <a:pt x="268" y="858"/>
                </a:cubicBezTo>
                <a:cubicBezTo>
                  <a:pt x="273" y="855"/>
                  <a:pt x="273" y="855"/>
                  <a:pt x="273" y="855"/>
                </a:cubicBezTo>
                <a:cubicBezTo>
                  <a:pt x="274" y="854"/>
                  <a:pt x="274" y="854"/>
                  <a:pt x="274" y="854"/>
                </a:cubicBezTo>
                <a:cubicBezTo>
                  <a:pt x="276" y="854"/>
                  <a:pt x="276" y="854"/>
                  <a:pt x="276" y="854"/>
                </a:cubicBezTo>
                <a:cubicBezTo>
                  <a:pt x="275" y="860"/>
                  <a:pt x="275" y="860"/>
                  <a:pt x="275" y="860"/>
                </a:cubicBezTo>
                <a:cubicBezTo>
                  <a:pt x="274" y="861"/>
                  <a:pt x="274" y="861"/>
                  <a:pt x="274" y="861"/>
                </a:cubicBezTo>
                <a:cubicBezTo>
                  <a:pt x="266" y="873"/>
                  <a:pt x="266" y="873"/>
                  <a:pt x="266" y="873"/>
                </a:cubicBezTo>
                <a:cubicBezTo>
                  <a:pt x="264" y="876"/>
                  <a:pt x="264" y="876"/>
                  <a:pt x="264" y="876"/>
                </a:cubicBezTo>
                <a:cubicBezTo>
                  <a:pt x="259" y="881"/>
                  <a:pt x="259" y="881"/>
                  <a:pt x="259" y="881"/>
                </a:cubicBezTo>
                <a:cubicBezTo>
                  <a:pt x="259" y="882"/>
                  <a:pt x="259" y="882"/>
                  <a:pt x="259" y="882"/>
                </a:cubicBezTo>
                <a:cubicBezTo>
                  <a:pt x="258" y="883"/>
                  <a:pt x="258" y="883"/>
                  <a:pt x="258" y="883"/>
                </a:cubicBezTo>
                <a:cubicBezTo>
                  <a:pt x="258" y="891"/>
                  <a:pt x="258" y="891"/>
                  <a:pt x="258" y="891"/>
                </a:cubicBezTo>
                <a:cubicBezTo>
                  <a:pt x="261" y="912"/>
                  <a:pt x="261" y="912"/>
                  <a:pt x="261" y="912"/>
                </a:cubicBezTo>
                <a:cubicBezTo>
                  <a:pt x="261" y="914"/>
                  <a:pt x="261" y="914"/>
                  <a:pt x="261" y="914"/>
                </a:cubicBezTo>
                <a:cubicBezTo>
                  <a:pt x="270" y="924"/>
                  <a:pt x="270" y="924"/>
                  <a:pt x="270" y="924"/>
                </a:cubicBezTo>
                <a:cubicBezTo>
                  <a:pt x="261" y="949"/>
                  <a:pt x="261" y="949"/>
                  <a:pt x="261" y="949"/>
                </a:cubicBezTo>
                <a:cubicBezTo>
                  <a:pt x="253" y="973"/>
                  <a:pt x="253" y="973"/>
                  <a:pt x="253" y="973"/>
                </a:cubicBezTo>
                <a:cubicBezTo>
                  <a:pt x="253" y="997"/>
                  <a:pt x="253" y="997"/>
                  <a:pt x="253" y="997"/>
                </a:cubicBezTo>
                <a:cubicBezTo>
                  <a:pt x="254" y="1001"/>
                  <a:pt x="254" y="1001"/>
                  <a:pt x="254" y="1001"/>
                </a:cubicBezTo>
                <a:cubicBezTo>
                  <a:pt x="254" y="1003"/>
                  <a:pt x="254" y="1003"/>
                  <a:pt x="254" y="1003"/>
                </a:cubicBezTo>
                <a:cubicBezTo>
                  <a:pt x="253" y="1005"/>
                  <a:pt x="253" y="1005"/>
                  <a:pt x="253" y="1005"/>
                </a:cubicBezTo>
                <a:cubicBezTo>
                  <a:pt x="252" y="1007"/>
                  <a:pt x="252" y="1007"/>
                  <a:pt x="252" y="1007"/>
                </a:cubicBezTo>
                <a:cubicBezTo>
                  <a:pt x="252" y="1008"/>
                  <a:pt x="252" y="1008"/>
                  <a:pt x="252" y="1008"/>
                </a:cubicBezTo>
                <a:cubicBezTo>
                  <a:pt x="251" y="1009"/>
                  <a:pt x="251" y="1009"/>
                  <a:pt x="251" y="1009"/>
                </a:cubicBezTo>
                <a:cubicBezTo>
                  <a:pt x="248" y="1010"/>
                  <a:pt x="248" y="1010"/>
                  <a:pt x="248" y="1010"/>
                </a:cubicBezTo>
                <a:cubicBezTo>
                  <a:pt x="247" y="1011"/>
                  <a:pt x="247" y="1011"/>
                  <a:pt x="247" y="1011"/>
                </a:cubicBezTo>
                <a:cubicBezTo>
                  <a:pt x="242" y="1017"/>
                  <a:pt x="242" y="1017"/>
                  <a:pt x="242" y="1017"/>
                </a:cubicBezTo>
                <a:cubicBezTo>
                  <a:pt x="239" y="1025"/>
                  <a:pt x="239" y="1025"/>
                  <a:pt x="239" y="1025"/>
                </a:cubicBezTo>
                <a:cubicBezTo>
                  <a:pt x="239" y="1028"/>
                  <a:pt x="239" y="1028"/>
                  <a:pt x="239" y="1028"/>
                </a:cubicBezTo>
                <a:cubicBezTo>
                  <a:pt x="238" y="1037"/>
                  <a:pt x="238" y="1037"/>
                  <a:pt x="238" y="1037"/>
                </a:cubicBezTo>
                <a:cubicBezTo>
                  <a:pt x="238" y="1039"/>
                  <a:pt x="238" y="1039"/>
                  <a:pt x="238" y="1039"/>
                </a:cubicBezTo>
                <a:cubicBezTo>
                  <a:pt x="239" y="1041"/>
                  <a:pt x="239" y="1041"/>
                  <a:pt x="239" y="1041"/>
                </a:cubicBezTo>
                <a:cubicBezTo>
                  <a:pt x="240" y="1042"/>
                  <a:pt x="240" y="1042"/>
                  <a:pt x="240" y="1042"/>
                </a:cubicBezTo>
                <a:cubicBezTo>
                  <a:pt x="240" y="1042"/>
                  <a:pt x="240" y="1042"/>
                  <a:pt x="240" y="1042"/>
                </a:cubicBezTo>
                <a:cubicBezTo>
                  <a:pt x="242" y="1043"/>
                  <a:pt x="242" y="1043"/>
                  <a:pt x="242" y="1043"/>
                </a:cubicBezTo>
                <a:cubicBezTo>
                  <a:pt x="243" y="1044"/>
                  <a:pt x="243" y="1044"/>
                  <a:pt x="243" y="1044"/>
                </a:cubicBezTo>
                <a:cubicBezTo>
                  <a:pt x="245" y="1044"/>
                  <a:pt x="245" y="1044"/>
                  <a:pt x="245" y="1044"/>
                </a:cubicBezTo>
                <a:cubicBezTo>
                  <a:pt x="253" y="1045"/>
                  <a:pt x="253" y="1045"/>
                  <a:pt x="253" y="1045"/>
                </a:cubicBezTo>
                <a:cubicBezTo>
                  <a:pt x="271" y="1038"/>
                  <a:pt x="271" y="1038"/>
                  <a:pt x="271" y="1038"/>
                </a:cubicBezTo>
                <a:cubicBezTo>
                  <a:pt x="274" y="1037"/>
                  <a:pt x="274" y="1037"/>
                  <a:pt x="274" y="1037"/>
                </a:cubicBezTo>
                <a:cubicBezTo>
                  <a:pt x="275" y="1037"/>
                  <a:pt x="275" y="1037"/>
                  <a:pt x="275" y="1037"/>
                </a:cubicBezTo>
                <a:cubicBezTo>
                  <a:pt x="280" y="1031"/>
                  <a:pt x="280" y="1031"/>
                  <a:pt x="280" y="1031"/>
                </a:cubicBezTo>
                <a:cubicBezTo>
                  <a:pt x="283" y="1025"/>
                  <a:pt x="283" y="1025"/>
                  <a:pt x="283" y="1025"/>
                </a:cubicBezTo>
                <a:cubicBezTo>
                  <a:pt x="283" y="1024"/>
                  <a:pt x="283" y="1024"/>
                  <a:pt x="283" y="1024"/>
                </a:cubicBezTo>
                <a:cubicBezTo>
                  <a:pt x="281" y="1018"/>
                  <a:pt x="281" y="1018"/>
                  <a:pt x="281" y="1018"/>
                </a:cubicBezTo>
                <a:cubicBezTo>
                  <a:pt x="280" y="1016"/>
                  <a:pt x="280" y="1016"/>
                  <a:pt x="280" y="1016"/>
                </a:cubicBezTo>
                <a:cubicBezTo>
                  <a:pt x="277" y="1012"/>
                  <a:pt x="277" y="1012"/>
                  <a:pt x="277" y="1012"/>
                </a:cubicBezTo>
                <a:cubicBezTo>
                  <a:pt x="287" y="954"/>
                  <a:pt x="287" y="954"/>
                  <a:pt x="287" y="954"/>
                </a:cubicBezTo>
                <a:cubicBezTo>
                  <a:pt x="293" y="938"/>
                  <a:pt x="293" y="938"/>
                  <a:pt x="293" y="938"/>
                </a:cubicBezTo>
                <a:cubicBezTo>
                  <a:pt x="293" y="938"/>
                  <a:pt x="293" y="938"/>
                  <a:pt x="293" y="938"/>
                </a:cubicBezTo>
                <a:cubicBezTo>
                  <a:pt x="294" y="937"/>
                  <a:pt x="294" y="937"/>
                  <a:pt x="294" y="937"/>
                </a:cubicBezTo>
                <a:cubicBezTo>
                  <a:pt x="299" y="930"/>
                  <a:pt x="299" y="930"/>
                  <a:pt x="299" y="930"/>
                </a:cubicBezTo>
                <a:cubicBezTo>
                  <a:pt x="302" y="927"/>
                  <a:pt x="302" y="927"/>
                  <a:pt x="302" y="927"/>
                </a:cubicBezTo>
                <a:cubicBezTo>
                  <a:pt x="305" y="926"/>
                  <a:pt x="305" y="926"/>
                  <a:pt x="305" y="926"/>
                </a:cubicBezTo>
                <a:cubicBezTo>
                  <a:pt x="301" y="901"/>
                  <a:pt x="301" y="901"/>
                  <a:pt x="301" y="901"/>
                </a:cubicBezTo>
                <a:cubicBezTo>
                  <a:pt x="299" y="894"/>
                  <a:pt x="299" y="894"/>
                  <a:pt x="299" y="894"/>
                </a:cubicBezTo>
                <a:cubicBezTo>
                  <a:pt x="294" y="877"/>
                  <a:pt x="294" y="877"/>
                  <a:pt x="294" y="877"/>
                </a:cubicBezTo>
                <a:cubicBezTo>
                  <a:pt x="293" y="862"/>
                  <a:pt x="293" y="862"/>
                  <a:pt x="293" y="862"/>
                </a:cubicBezTo>
                <a:cubicBezTo>
                  <a:pt x="293" y="861"/>
                  <a:pt x="293" y="861"/>
                  <a:pt x="293" y="861"/>
                </a:cubicBezTo>
                <a:cubicBezTo>
                  <a:pt x="294" y="858"/>
                  <a:pt x="294" y="858"/>
                  <a:pt x="294" y="858"/>
                </a:cubicBezTo>
                <a:cubicBezTo>
                  <a:pt x="294" y="858"/>
                  <a:pt x="294" y="858"/>
                  <a:pt x="294" y="858"/>
                </a:cubicBezTo>
                <a:cubicBezTo>
                  <a:pt x="309" y="851"/>
                  <a:pt x="309" y="851"/>
                  <a:pt x="309" y="851"/>
                </a:cubicBezTo>
                <a:cubicBezTo>
                  <a:pt x="320" y="838"/>
                  <a:pt x="320" y="838"/>
                  <a:pt x="320" y="838"/>
                </a:cubicBezTo>
                <a:cubicBezTo>
                  <a:pt x="322" y="835"/>
                  <a:pt x="322" y="835"/>
                  <a:pt x="322" y="835"/>
                </a:cubicBezTo>
                <a:cubicBezTo>
                  <a:pt x="323" y="834"/>
                  <a:pt x="323" y="834"/>
                  <a:pt x="323" y="834"/>
                </a:cubicBezTo>
                <a:cubicBezTo>
                  <a:pt x="351" y="807"/>
                  <a:pt x="351" y="807"/>
                  <a:pt x="351" y="807"/>
                </a:cubicBezTo>
                <a:cubicBezTo>
                  <a:pt x="361" y="800"/>
                  <a:pt x="361" y="800"/>
                  <a:pt x="361" y="800"/>
                </a:cubicBezTo>
                <a:cubicBezTo>
                  <a:pt x="363" y="799"/>
                  <a:pt x="363" y="799"/>
                  <a:pt x="363" y="799"/>
                </a:cubicBezTo>
                <a:cubicBezTo>
                  <a:pt x="364" y="799"/>
                  <a:pt x="364" y="799"/>
                  <a:pt x="364" y="799"/>
                </a:cubicBezTo>
                <a:cubicBezTo>
                  <a:pt x="366" y="798"/>
                  <a:pt x="366" y="798"/>
                  <a:pt x="366" y="798"/>
                </a:cubicBezTo>
                <a:cubicBezTo>
                  <a:pt x="367" y="799"/>
                  <a:pt x="367" y="799"/>
                  <a:pt x="367" y="799"/>
                </a:cubicBezTo>
                <a:cubicBezTo>
                  <a:pt x="367" y="800"/>
                  <a:pt x="367" y="800"/>
                  <a:pt x="367" y="800"/>
                </a:cubicBezTo>
                <a:cubicBezTo>
                  <a:pt x="366" y="801"/>
                  <a:pt x="366" y="801"/>
                  <a:pt x="366" y="801"/>
                </a:cubicBezTo>
                <a:cubicBezTo>
                  <a:pt x="365" y="802"/>
                  <a:pt x="365" y="802"/>
                  <a:pt x="365" y="802"/>
                </a:cubicBezTo>
                <a:cubicBezTo>
                  <a:pt x="363" y="803"/>
                  <a:pt x="363" y="803"/>
                  <a:pt x="363" y="803"/>
                </a:cubicBezTo>
                <a:cubicBezTo>
                  <a:pt x="359" y="806"/>
                  <a:pt x="359" y="806"/>
                  <a:pt x="359" y="806"/>
                </a:cubicBezTo>
                <a:cubicBezTo>
                  <a:pt x="350" y="811"/>
                  <a:pt x="350" y="811"/>
                  <a:pt x="350" y="811"/>
                </a:cubicBezTo>
                <a:cubicBezTo>
                  <a:pt x="328" y="835"/>
                  <a:pt x="328" y="835"/>
                  <a:pt x="328" y="835"/>
                </a:cubicBezTo>
                <a:cubicBezTo>
                  <a:pt x="317" y="848"/>
                  <a:pt x="317" y="848"/>
                  <a:pt x="317" y="848"/>
                </a:cubicBezTo>
                <a:cubicBezTo>
                  <a:pt x="315" y="851"/>
                  <a:pt x="315" y="851"/>
                  <a:pt x="315" y="851"/>
                </a:cubicBezTo>
                <a:cubicBezTo>
                  <a:pt x="314" y="852"/>
                  <a:pt x="314" y="852"/>
                  <a:pt x="314" y="852"/>
                </a:cubicBezTo>
                <a:cubicBezTo>
                  <a:pt x="313" y="853"/>
                  <a:pt x="313" y="853"/>
                  <a:pt x="313" y="853"/>
                </a:cubicBezTo>
                <a:cubicBezTo>
                  <a:pt x="313" y="854"/>
                  <a:pt x="313" y="854"/>
                  <a:pt x="313" y="854"/>
                </a:cubicBezTo>
                <a:cubicBezTo>
                  <a:pt x="312" y="858"/>
                  <a:pt x="312" y="858"/>
                  <a:pt x="312" y="858"/>
                </a:cubicBezTo>
                <a:cubicBezTo>
                  <a:pt x="307" y="869"/>
                  <a:pt x="307" y="869"/>
                  <a:pt x="307" y="869"/>
                </a:cubicBezTo>
                <a:cubicBezTo>
                  <a:pt x="306" y="873"/>
                  <a:pt x="306" y="873"/>
                  <a:pt x="306" y="873"/>
                </a:cubicBezTo>
                <a:cubicBezTo>
                  <a:pt x="306" y="875"/>
                  <a:pt x="306" y="875"/>
                  <a:pt x="306" y="875"/>
                </a:cubicBezTo>
                <a:cubicBezTo>
                  <a:pt x="306" y="889"/>
                  <a:pt x="306" y="889"/>
                  <a:pt x="306" y="889"/>
                </a:cubicBezTo>
                <a:cubicBezTo>
                  <a:pt x="307" y="893"/>
                  <a:pt x="307" y="893"/>
                  <a:pt x="307" y="893"/>
                </a:cubicBezTo>
                <a:cubicBezTo>
                  <a:pt x="307" y="894"/>
                  <a:pt x="307" y="894"/>
                  <a:pt x="307" y="894"/>
                </a:cubicBezTo>
                <a:cubicBezTo>
                  <a:pt x="311" y="900"/>
                  <a:pt x="311" y="900"/>
                  <a:pt x="311" y="900"/>
                </a:cubicBezTo>
                <a:cubicBezTo>
                  <a:pt x="311" y="901"/>
                  <a:pt x="311" y="901"/>
                  <a:pt x="311" y="901"/>
                </a:cubicBezTo>
                <a:cubicBezTo>
                  <a:pt x="315" y="903"/>
                  <a:pt x="315" y="903"/>
                  <a:pt x="315" y="903"/>
                </a:cubicBezTo>
                <a:cubicBezTo>
                  <a:pt x="325" y="908"/>
                  <a:pt x="325" y="908"/>
                  <a:pt x="325" y="908"/>
                </a:cubicBezTo>
                <a:cubicBezTo>
                  <a:pt x="327" y="908"/>
                  <a:pt x="327" y="908"/>
                  <a:pt x="327" y="908"/>
                </a:cubicBezTo>
                <a:cubicBezTo>
                  <a:pt x="328" y="907"/>
                  <a:pt x="328" y="907"/>
                  <a:pt x="328" y="907"/>
                </a:cubicBezTo>
                <a:cubicBezTo>
                  <a:pt x="328" y="906"/>
                  <a:pt x="328" y="906"/>
                  <a:pt x="328" y="906"/>
                </a:cubicBezTo>
                <a:cubicBezTo>
                  <a:pt x="326" y="903"/>
                  <a:pt x="326" y="903"/>
                  <a:pt x="326" y="903"/>
                </a:cubicBezTo>
                <a:cubicBezTo>
                  <a:pt x="324" y="898"/>
                  <a:pt x="324" y="898"/>
                  <a:pt x="324" y="898"/>
                </a:cubicBezTo>
                <a:cubicBezTo>
                  <a:pt x="323" y="892"/>
                  <a:pt x="323" y="892"/>
                  <a:pt x="323" y="892"/>
                </a:cubicBezTo>
                <a:cubicBezTo>
                  <a:pt x="323" y="892"/>
                  <a:pt x="323" y="892"/>
                  <a:pt x="323" y="892"/>
                </a:cubicBezTo>
                <a:cubicBezTo>
                  <a:pt x="328" y="879"/>
                  <a:pt x="328" y="879"/>
                  <a:pt x="328" y="879"/>
                </a:cubicBezTo>
                <a:cubicBezTo>
                  <a:pt x="331" y="881"/>
                  <a:pt x="331" y="881"/>
                  <a:pt x="331" y="881"/>
                </a:cubicBezTo>
                <a:cubicBezTo>
                  <a:pt x="351" y="900"/>
                  <a:pt x="351" y="900"/>
                  <a:pt x="351" y="900"/>
                </a:cubicBezTo>
                <a:cubicBezTo>
                  <a:pt x="355" y="901"/>
                  <a:pt x="355" y="901"/>
                  <a:pt x="355" y="901"/>
                </a:cubicBezTo>
                <a:cubicBezTo>
                  <a:pt x="356" y="901"/>
                  <a:pt x="356" y="901"/>
                  <a:pt x="356" y="901"/>
                </a:cubicBezTo>
                <a:cubicBezTo>
                  <a:pt x="358" y="901"/>
                  <a:pt x="358" y="901"/>
                  <a:pt x="358" y="901"/>
                </a:cubicBezTo>
                <a:cubicBezTo>
                  <a:pt x="360" y="899"/>
                  <a:pt x="360" y="899"/>
                  <a:pt x="360" y="899"/>
                </a:cubicBezTo>
                <a:cubicBezTo>
                  <a:pt x="363" y="893"/>
                  <a:pt x="363" y="893"/>
                  <a:pt x="363" y="893"/>
                </a:cubicBezTo>
                <a:cubicBezTo>
                  <a:pt x="368" y="879"/>
                  <a:pt x="368" y="879"/>
                  <a:pt x="368" y="879"/>
                </a:cubicBezTo>
                <a:cubicBezTo>
                  <a:pt x="368" y="878"/>
                  <a:pt x="368" y="878"/>
                  <a:pt x="368" y="878"/>
                </a:cubicBezTo>
                <a:cubicBezTo>
                  <a:pt x="371" y="867"/>
                  <a:pt x="371" y="867"/>
                  <a:pt x="371" y="867"/>
                </a:cubicBezTo>
                <a:cubicBezTo>
                  <a:pt x="371" y="851"/>
                  <a:pt x="371" y="851"/>
                  <a:pt x="371" y="851"/>
                </a:cubicBezTo>
                <a:cubicBezTo>
                  <a:pt x="373" y="840"/>
                  <a:pt x="373" y="840"/>
                  <a:pt x="373" y="840"/>
                </a:cubicBezTo>
                <a:cubicBezTo>
                  <a:pt x="381" y="834"/>
                  <a:pt x="381" y="834"/>
                  <a:pt x="381" y="834"/>
                </a:cubicBezTo>
                <a:cubicBezTo>
                  <a:pt x="382" y="834"/>
                  <a:pt x="382" y="834"/>
                  <a:pt x="382" y="834"/>
                </a:cubicBezTo>
                <a:cubicBezTo>
                  <a:pt x="381" y="836"/>
                  <a:pt x="381" y="836"/>
                  <a:pt x="381" y="836"/>
                </a:cubicBezTo>
                <a:cubicBezTo>
                  <a:pt x="377" y="843"/>
                  <a:pt x="377" y="843"/>
                  <a:pt x="377" y="843"/>
                </a:cubicBezTo>
                <a:cubicBezTo>
                  <a:pt x="373" y="853"/>
                  <a:pt x="373" y="853"/>
                  <a:pt x="373" y="853"/>
                </a:cubicBezTo>
                <a:cubicBezTo>
                  <a:pt x="373" y="854"/>
                  <a:pt x="373" y="854"/>
                  <a:pt x="373" y="854"/>
                </a:cubicBezTo>
                <a:cubicBezTo>
                  <a:pt x="374" y="857"/>
                  <a:pt x="374" y="857"/>
                  <a:pt x="374" y="857"/>
                </a:cubicBezTo>
                <a:cubicBezTo>
                  <a:pt x="375" y="863"/>
                  <a:pt x="375" y="863"/>
                  <a:pt x="375" y="863"/>
                </a:cubicBezTo>
                <a:cubicBezTo>
                  <a:pt x="378" y="867"/>
                  <a:pt x="378" y="867"/>
                  <a:pt x="378" y="867"/>
                </a:cubicBezTo>
                <a:cubicBezTo>
                  <a:pt x="378" y="869"/>
                  <a:pt x="378" y="869"/>
                  <a:pt x="378" y="869"/>
                </a:cubicBezTo>
                <a:cubicBezTo>
                  <a:pt x="379" y="869"/>
                  <a:pt x="379" y="869"/>
                  <a:pt x="379" y="869"/>
                </a:cubicBezTo>
                <a:cubicBezTo>
                  <a:pt x="384" y="871"/>
                  <a:pt x="384" y="871"/>
                  <a:pt x="384" y="871"/>
                </a:cubicBezTo>
                <a:cubicBezTo>
                  <a:pt x="387" y="870"/>
                  <a:pt x="387" y="870"/>
                  <a:pt x="387" y="870"/>
                </a:cubicBezTo>
                <a:cubicBezTo>
                  <a:pt x="429" y="882"/>
                  <a:pt x="429" y="882"/>
                  <a:pt x="429" y="882"/>
                </a:cubicBezTo>
                <a:cubicBezTo>
                  <a:pt x="429" y="883"/>
                  <a:pt x="429" y="883"/>
                  <a:pt x="429" y="883"/>
                </a:cubicBezTo>
                <a:cubicBezTo>
                  <a:pt x="427" y="884"/>
                  <a:pt x="427" y="884"/>
                  <a:pt x="427" y="884"/>
                </a:cubicBezTo>
                <a:cubicBezTo>
                  <a:pt x="426" y="884"/>
                  <a:pt x="426" y="884"/>
                  <a:pt x="426" y="884"/>
                </a:cubicBezTo>
                <a:cubicBezTo>
                  <a:pt x="423" y="884"/>
                  <a:pt x="423" y="884"/>
                  <a:pt x="423" y="884"/>
                </a:cubicBezTo>
                <a:cubicBezTo>
                  <a:pt x="421" y="884"/>
                  <a:pt x="421" y="884"/>
                  <a:pt x="421" y="884"/>
                </a:cubicBezTo>
                <a:cubicBezTo>
                  <a:pt x="416" y="883"/>
                  <a:pt x="416" y="883"/>
                  <a:pt x="416" y="883"/>
                </a:cubicBezTo>
                <a:cubicBezTo>
                  <a:pt x="411" y="883"/>
                  <a:pt x="411" y="883"/>
                  <a:pt x="411" y="883"/>
                </a:cubicBezTo>
                <a:cubicBezTo>
                  <a:pt x="396" y="879"/>
                  <a:pt x="396" y="879"/>
                  <a:pt x="396" y="879"/>
                </a:cubicBezTo>
                <a:cubicBezTo>
                  <a:pt x="395" y="878"/>
                  <a:pt x="395" y="878"/>
                  <a:pt x="395" y="878"/>
                </a:cubicBezTo>
                <a:cubicBezTo>
                  <a:pt x="388" y="875"/>
                  <a:pt x="388" y="875"/>
                  <a:pt x="388" y="875"/>
                </a:cubicBezTo>
                <a:cubicBezTo>
                  <a:pt x="386" y="875"/>
                  <a:pt x="386" y="875"/>
                  <a:pt x="386" y="875"/>
                </a:cubicBezTo>
                <a:cubicBezTo>
                  <a:pt x="381" y="876"/>
                  <a:pt x="381" y="876"/>
                  <a:pt x="381" y="876"/>
                </a:cubicBezTo>
                <a:cubicBezTo>
                  <a:pt x="374" y="879"/>
                  <a:pt x="374" y="879"/>
                  <a:pt x="374" y="879"/>
                </a:cubicBezTo>
                <a:cubicBezTo>
                  <a:pt x="373" y="880"/>
                  <a:pt x="373" y="880"/>
                  <a:pt x="373" y="880"/>
                </a:cubicBezTo>
                <a:cubicBezTo>
                  <a:pt x="370" y="893"/>
                  <a:pt x="370" y="893"/>
                  <a:pt x="370" y="893"/>
                </a:cubicBezTo>
                <a:cubicBezTo>
                  <a:pt x="370" y="897"/>
                  <a:pt x="370" y="897"/>
                  <a:pt x="370" y="897"/>
                </a:cubicBezTo>
                <a:cubicBezTo>
                  <a:pt x="370" y="901"/>
                  <a:pt x="370" y="901"/>
                  <a:pt x="370" y="901"/>
                </a:cubicBezTo>
                <a:cubicBezTo>
                  <a:pt x="370" y="910"/>
                  <a:pt x="370" y="910"/>
                  <a:pt x="370" y="910"/>
                </a:cubicBezTo>
                <a:cubicBezTo>
                  <a:pt x="371" y="911"/>
                  <a:pt x="371" y="911"/>
                  <a:pt x="371" y="911"/>
                </a:cubicBezTo>
                <a:cubicBezTo>
                  <a:pt x="372" y="914"/>
                  <a:pt x="372" y="914"/>
                  <a:pt x="372" y="914"/>
                </a:cubicBezTo>
                <a:cubicBezTo>
                  <a:pt x="373" y="918"/>
                  <a:pt x="373" y="918"/>
                  <a:pt x="373" y="918"/>
                </a:cubicBezTo>
                <a:cubicBezTo>
                  <a:pt x="374" y="921"/>
                  <a:pt x="374" y="921"/>
                  <a:pt x="374" y="921"/>
                </a:cubicBezTo>
                <a:cubicBezTo>
                  <a:pt x="376" y="924"/>
                  <a:pt x="376" y="924"/>
                  <a:pt x="376" y="924"/>
                </a:cubicBezTo>
                <a:cubicBezTo>
                  <a:pt x="377" y="925"/>
                  <a:pt x="377" y="925"/>
                  <a:pt x="377" y="925"/>
                </a:cubicBezTo>
                <a:cubicBezTo>
                  <a:pt x="377" y="927"/>
                  <a:pt x="377" y="927"/>
                  <a:pt x="377" y="927"/>
                </a:cubicBezTo>
                <a:cubicBezTo>
                  <a:pt x="377" y="928"/>
                  <a:pt x="377" y="928"/>
                  <a:pt x="377" y="928"/>
                </a:cubicBezTo>
                <a:cubicBezTo>
                  <a:pt x="376" y="931"/>
                  <a:pt x="376" y="931"/>
                  <a:pt x="376" y="931"/>
                </a:cubicBezTo>
                <a:cubicBezTo>
                  <a:pt x="374" y="932"/>
                  <a:pt x="374" y="932"/>
                  <a:pt x="374" y="932"/>
                </a:cubicBezTo>
                <a:cubicBezTo>
                  <a:pt x="368" y="939"/>
                  <a:pt x="368" y="939"/>
                  <a:pt x="368" y="939"/>
                </a:cubicBezTo>
                <a:cubicBezTo>
                  <a:pt x="369" y="941"/>
                  <a:pt x="369" y="941"/>
                  <a:pt x="369" y="941"/>
                </a:cubicBezTo>
                <a:cubicBezTo>
                  <a:pt x="370" y="942"/>
                  <a:pt x="370" y="942"/>
                  <a:pt x="370" y="942"/>
                </a:cubicBezTo>
                <a:cubicBezTo>
                  <a:pt x="383" y="952"/>
                  <a:pt x="383" y="952"/>
                  <a:pt x="383" y="952"/>
                </a:cubicBezTo>
                <a:cubicBezTo>
                  <a:pt x="399" y="962"/>
                  <a:pt x="399" y="962"/>
                  <a:pt x="399" y="962"/>
                </a:cubicBezTo>
                <a:cubicBezTo>
                  <a:pt x="400" y="964"/>
                  <a:pt x="400" y="964"/>
                  <a:pt x="400" y="964"/>
                </a:cubicBezTo>
                <a:cubicBezTo>
                  <a:pt x="402" y="966"/>
                  <a:pt x="402" y="966"/>
                  <a:pt x="402" y="966"/>
                </a:cubicBezTo>
                <a:cubicBezTo>
                  <a:pt x="405" y="975"/>
                  <a:pt x="405" y="975"/>
                  <a:pt x="405" y="975"/>
                </a:cubicBezTo>
                <a:cubicBezTo>
                  <a:pt x="412" y="991"/>
                  <a:pt x="412" y="991"/>
                  <a:pt x="412" y="991"/>
                </a:cubicBezTo>
                <a:cubicBezTo>
                  <a:pt x="412" y="994"/>
                  <a:pt x="412" y="994"/>
                  <a:pt x="412" y="994"/>
                </a:cubicBezTo>
                <a:cubicBezTo>
                  <a:pt x="411" y="997"/>
                  <a:pt x="411" y="997"/>
                  <a:pt x="411" y="997"/>
                </a:cubicBezTo>
                <a:cubicBezTo>
                  <a:pt x="409" y="1004"/>
                  <a:pt x="409" y="1004"/>
                  <a:pt x="409" y="1004"/>
                </a:cubicBezTo>
                <a:cubicBezTo>
                  <a:pt x="408" y="1005"/>
                  <a:pt x="408" y="1005"/>
                  <a:pt x="408" y="1005"/>
                </a:cubicBezTo>
                <a:cubicBezTo>
                  <a:pt x="408" y="1005"/>
                  <a:pt x="408" y="1005"/>
                  <a:pt x="408" y="1005"/>
                </a:cubicBezTo>
                <a:cubicBezTo>
                  <a:pt x="406" y="1006"/>
                  <a:pt x="406" y="1006"/>
                  <a:pt x="406" y="1006"/>
                </a:cubicBezTo>
                <a:cubicBezTo>
                  <a:pt x="402" y="1007"/>
                  <a:pt x="402" y="1007"/>
                  <a:pt x="402" y="1007"/>
                </a:cubicBezTo>
                <a:cubicBezTo>
                  <a:pt x="397" y="1010"/>
                  <a:pt x="397" y="1010"/>
                  <a:pt x="397" y="1010"/>
                </a:cubicBezTo>
                <a:cubicBezTo>
                  <a:pt x="395" y="1011"/>
                  <a:pt x="395" y="1011"/>
                  <a:pt x="395" y="1011"/>
                </a:cubicBezTo>
                <a:cubicBezTo>
                  <a:pt x="393" y="1013"/>
                  <a:pt x="393" y="1013"/>
                  <a:pt x="393" y="1013"/>
                </a:cubicBezTo>
                <a:cubicBezTo>
                  <a:pt x="392" y="1014"/>
                  <a:pt x="392" y="1014"/>
                  <a:pt x="392" y="1014"/>
                </a:cubicBezTo>
                <a:cubicBezTo>
                  <a:pt x="391" y="1015"/>
                  <a:pt x="391" y="1015"/>
                  <a:pt x="391" y="1015"/>
                </a:cubicBezTo>
                <a:cubicBezTo>
                  <a:pt x="380" y="1036"/>
                  <a:pt x="380" y="1036"/>
                  <a:pt x="380" y="1036"/>
                </a:cubicBezTo>
                <a:cubicBezTo>
                  <a:pt x="380" y="1038"/>
                  <a:pt x="380" y="1038"/>
                  <a:pt x="380" y="1038"/>
                </a:cubicBezTo>
                <a:cubicBezTo>
                  <a:pt x="380" y="1040"/>
                  <a:pt x="380" y="1040"/>
                  <a:pt x="380" y="1040"/>
                </a:cubicBezTo>
                <a:cubicBezTo>
                  <a:pt x="381" y="1043"/>
                  <a:pt x="381" y="1043"/>
                  <a:pt x="381" y="1043"/>
                </a:cubicBezTo>
                <a:cubicBezTo>
                  <a:pt x="380" y="1045"/>
                  <a:pt x="380" y="1045"/>
                  <a:pt x="380" y="1045"/>
                </a:cubicBezTo>
                <a:cubicBezTo>
                  <a:pt x="379" y="1047"/>
                  <a:pt x="379" y="1047"/>
                  <a:pt x="379" y="1047"/>
                </a:cubicBezTo>
                <a:cubicBezTo>
                  <a:pt x="376" y="1060"/>
                  <a:pt x="376" y="1060"/>
                  <a:pt x="376" y="1060"/>
                </a:cubicBezTo>
                <a:cubicBezTo>
                  <a:pt x="376" y="1060"/>
                  <a:pt x="376" y="1060"/>
                  <a:pt x="376" y="1060"/>
                </a:cubicBezTo>
                <a:cubicBezTo>
                  <a:pt x="376" y="1061"/>
                  <a:pt x="376" y="1061"/>
                  <a:pt x="376" y="1061"/>
                </a:cubicBezTo>
                <a:cubicBezTo>
                  <a:pt x="366" y="1071"/>
                  <a:pt x="366" y="1071"/>
                  <a:pt x="366" y="1071"/>
                </a:cubicBezTo>
                <a:cubicBezTo>
                  <a:pt x="357" y="1081"/>
                  <a:pt x="357" y="1081"/>
                  <a:pt x="357" y="1081"/>
                </a:cubicBezTo>
                <a:cubicBezTo>
                  <a:pt x="355" y="1082"/>
                  <a:pt x="355" y="1082"/>
                  <a:pt x="355" y="1082"/>
                </a:cubicBezTo>
                <a:cubicBezTo>
                  <a:pt x="355" y="1083"/>
                  <a:pt x="355" y="1083"/>
                  <a:pt x="355" y="1083"/>
                </a:cubicBezTo>
                <a:cubicBezTo>
                  <a:pt x="347" y="1108"/>
                  <a:pt x="347" y="1108"/>
                  <a:pt x="347" y="1108"/>
                </a:cubicBezTo>
                <a:cubicBezTo>
                  <a:pt x="347" y="1110"/>
                  <a:pt x="347" y="1110"/>
                  <a:pt x="347" y="1110"/>
                </a:cubicBezTo>
                <a:cubicBezTo>
                  <a:pt x="347" y="1113"/>
                  <a:pt x="347" y="1113"/>
                  <a:pt x="347" y="1113"/>
                </a:cubicBezTo>
                <a:cubicBezTo>
                  <a:pt x="347" y="1113"/>
                  <a:pt x="347" y="1113"/>
                  <a:pt x="347" y="1113"/>
                </a:cubicBezTo>
                <a:cubicBezTo>
                  <a:pt x="347" y="1113"/>
                  <a:pt x="347" y="1113"/>
                  <a:pt x="347" y="1113"/>
                </a:cubicBezTo>
                <a:cubicBezTo>
                  <a:pt x="350" y="1122"/>
                  <a:pt x="350" y="1122"/>
                  <a:pt x="350" y="1122"/>
                </a:cubicBezTo>
                <a:cubicBezTo>
                  <a:pt x="351" y="1123"/>
                  <a:pt x="351" y="1123"/>
                  <a:pt x="351" y="1123"/>
                </a:cubicBezTo>
                <a:cubicBezTo>
                  <a:pt x="354" y="1127"/>
                  <a:pt x="354" y="1127"/>
                  <a:pt x="354" y="1127"/>
                </a:cubicBezTo>
                <a:cubicBezTo>
                  <a:pt x="359" y="1135"/>
                  <a:pt x="359" y="1135"/>
                  <a:pt x="359" y="1135"/>
                </a:cubicBezTo>
                <a:cubicBezTo>
                  <a:pt x="359" y="1136"/>
                  <a:pt x="359" y="1136"/>
                  <a:pt x="359" y="1136"/>
                </a:cubicBezTo>
                <a:cubicBezTo>
                  <a:pt x="359" y="1139"/>
                  <a:pt x="359" y="1139"/>
                  <a:pt x="359" y="1139"/>
                </a:cubicBezTo>
                <a:cubicBezTo>
                  <a:pt x="359" y="1139"/>
                  <a:pt x="359" y="1139"/>
                  <a:pt x="359" y="1139"/>
                </a:cubicBezTo>
                <a:cubicBezTo>
                  <a:pt x="358" y="1142"/>
                  <a:pt x="358" y="1142"/>
                  <a:pt x="358" y="1142"/>
                </a:cubicBezTo>
                <a:cubicBezTo>
                  <a:pt x="357" y="1142"/>
                  <a:pt x="357" y="1142"/>
                  <a:pt x="357" y="1142"/>
                </a:cubicBezTo>
                <a:cubicBezTo>
                  <a:pt x="356" y="1142"/>
                  <a:pt x="356" y="1142"/>
                  <a:pt x="356" y="1142"/>
                </a:cubicBezTo>
                <a:cubicBezTo>
                  <a:pt x="355" y="1142"/>
                  <a:pt x="355" y="1142"/>
                  <a:pt x="355" y="1142"/>
                </a:cubicBezTo>
                <a:cubicBezTo>
                  <a:pt x="349" y="1138"/>
                  <a:pt x="349" y="1138"/>
                  <a:pt x="349" y="1138"/>
                </a:cubicBezTo>
                <a:cubicBezTo>
                  <a:pt x="348" y="1137"/>
                  <a:pt x="348" y="1137"/>
                  <a:pt x="348" y="1137"/>
                </a:cubicBezTo>
                <a:cubicBezTo>
                  <a:pt x="347" y="1135"/>
                  <a:pt x="347" y="1135"/>
                  <a:pt x="347" y="1135"/>
                </a:cubicBezTo>
                <a:cubicBezTo>
                  <a:pt x="346" y="1128"/>
                  <a:pt x="346" y="1128"/>
                  <a:pt x="346" y="1128"/>
                </a:cubicBezTo>
                <a:cubicBezTo>
                  <a:pt x="347" y="1127"/>
                  <a:pt x="347" y="1127"/>
                  <a:pt x="347" y="1127"/>
                </a:cubicBezTo>
                <a:cubicBezTo>
                  <a:pt x="347" y="1125"/>
                  <a:pt x="347" y="1125"/>
                  <a:pt x="347" y="1125"/>
                </a:cubicBezTo>
                <a:cubicBezTo>
                  <a:pt x="347" y="1124"/>
                  <a:pt x="347" y="1124"/>
                  <a:pt x="347" y="1124"/>
                </a:cubicBezTo>
                <a:cubicBezTo>
                  <a:pt x="347" y="1123"/>
                  <a:pt x="347" y="1123"/>
                  <a:pt x="347" y="1123"/>
                </a:cubicBezTo>
                <a:cubicBezTo>
                  <a:pt x="346" y="1118"/>
                  <a:pt x="346" y="1118"/>
                  <a:pt x="346" y="1118"/>
                </a:cubicBezTo>
                <a:cubicBezTo>
                  <a:pt x="345" y="1117"/>
                  <a:pt x="345" y="1117"/>
                  <a:pt x="345" y="1117"/>
                </a:cubicBezTo>
                <a:cubicBezTo>
                  <a:pt x="343" y="1115"/>
                  <a:pt x="343" y="1115"/>
                  <a:pt x="343" y="1115"/>
                </a:cubicBezTo>
                <a:cubicBezTo>
                  <a:pt x="340" y="1114"/>
                  <a:pt x="340" y="1114"/>
                  <a:pt x="340" y="1114"/>
                </a:cubicBezTo>
                <a:cubicBezTo>
                  <a:pt x="339" y="1114"/>
                  <a:pt x="339" y="1114"/>
                  <a:pt x="339" y="1114"/>
                </a:cubicBezTo>
                <a:cubicBezTo>
                  <a:pt x="334" y="1115"/>
                  <a:pt x="334" y="1115"/>
                  <a:pt x="334" y="1115"/>
                </a:cubicBezTo>
                <a:cubicBezTo>
                  <a:pt x="333" y="1116"/>
                  <a:pt x="333" y="1116"/>
                  <a:pt x="333" y="1116"/>
                </a:cubicBezTo>
                <a:cubicBezTo>
                  <a:pt x="333" y="1117"/>
                  <a:pt x="333" y="1117"/>
                  <a:pt x="333" y="1117"/>
                </a:cubicBezTo>
                <a:cubicBezTo>
                  <a:pt x="332" y="1117"/>
                  <a:pt x="332" y="1117"/>
                  <a:pt x="332" y="1117"/>
                </a:cubicBezTo>
                <a:cubicBezTo>
                  <a:pt x="330" y="1130"/>
                  <a:pt x="330" y="1130"/>
                  <a:pt x="330" y="1130"/>
                </a:cubicBezTo>
                <a:cubicBezTo>
                  <a:pt x="329" y="1135"/>
                  <a:pt x="329" y="1135"/>
                  <a:pt x="329" y="1135"/>
                </a:cubicBezTo>
                <a:cubicBezTo>
                  <a:pt x="330" y="1138"/>
                  <a:pt x="330" y="1138"/>
                  <a:pt x="330" y="1138"/>
                </a:cubicBezTo>
                <a:cubicBezTo>
                  <a:pt x="330" y="1139"/>
                  <a:pt x="330" y="1139"/>
                  <a:pt x="330" y="1139"/>
                </a:cubicBezTo>
                <a:cubicBezTo>
                  <a:pt x="331" y="1142"/>
                  <a:pt x="331" y="1142"/>
                  <a:pt x="331" y="1142"/>
                </a:cubicBezTo>
                <a:cubicBezTo>
                  <a:pt x="335" y="1150"/>
                  <a:pt x="335" y="1150"/>
                  <a:pt x="335" y="1150"/>
                </a:cubicBezTo>
                <a:cubicBezTo>
                  <a:pt x="335" y="1152"/>
                  <a:pt x="335" y="1152"/>
                  <a:pt x="335" y="1152"/>
                </a:cubicBezTo>
                <a:cubicBezTo>
                  <a:pt x="336" y="1153"/>
                  <a:pt x="336" y="1153"/>
                  <a:pt x="336" y="1153"/>
                </a:cubicBezTo>
                <a:cubicBezTo>
                  <a:pt x="338" y="1157"/>
                  <a:pt x="338" y="1157"/>
                  <a:pt x="338" y="1157"/>
                </a:cubicBezTo>
                <a:cubicBezTo>
                  <a:pt x="341" y="1162"/>
                  <a:pt x="341" y="1162"/>
                  <a:pt x="341" y="1162"/>
                </a:cubicBezTo>
                <a:cubicBezTo>
                  <a:pt x="349" y="1168"/>
                  <a:pt x="349" y="1168"/>
                  <a:pt x="349" y="1168"/>
                </a:cubicBezTo>
                <a:cubicBezTo>
                  <a:pt x="362" y="1186"/>
                  <a:pt x="362" y="1186"/>
                  <a:pt x="362" y="1186"/>
                </a:cubicBezTo>
                <a:cubicBezTo>
                  <a:pt x="362" y="1195"/>
                  <a:pt x="362" y="1195"/>
                  <a:pt x="362" y="1195"/>
                </a:cubicBezTo>
                <a:cubicBezTo>
                  <a:pt x="362" y="1197"/>
                  <a:pt x="362" y="1197"/>
                  <a:pt x="362" y="1197"/>
                </a:cubicBezTo>
                <a:cubicBezTo>
                  <a:pt x="362" y="1198"/>
                  <a:pt x="362" y="1198"/>
                  <a:pt x="362" y="1198"/>
                </a:cubicBezTo>
                <a:cubicBezTo>
                  <a:pt x="364" y="1203"/>
                  <a:pt x="364" y="1203"/>
                  <a:pt x="364" y="1203"/>
                </a:cubicBezTo>
                <a:cubicBezTo>
                  <a:pt x="365" y="1205"/>
                  <a:pt x="365" y="1205"/>
                  <a:pt x="365" y="1205"/>
                </a:cubicBezTo>
                <a:cubicBezTo>
                  <a:pt x="368" y="1207"/>
                  <a:pt x="368" y="1207"/>
                  <a:pt x="368" y="1207"/>
                </a:cubicBezTo>
                <a:cubicBezTo>
                  <a:pt x="376" y="1211"/>
                  <a:pt x="376" y="1211"/>
                  <a:pt x="376" y="1211"/>
                </a:cubicBezTo>
                <a:cubicBezTo>
                  <a:pt x="377" y="1211"/>
                  <a:pt x="377" y="1211"/>
                  <a:pt x="377" y="1211"/>
                </a:cubicBezTo>
                <a:cubicBezTo>
                  <a:pt x="377" y="1211"/>
                  <a:pt x="377" y="1211"/>
                  <a:pt x="377" y="1211"/>
                </a:cubicBezTo>
                <a:cubicBezTo>
                  <a:pt x="378" y="1210"/>
                  <a:pt x="378" y="1210"/>
                  <a:pt x="378" y="1210"/>
                </a:cubicBezTo>
                <a:cubicBezTo>
                  <a:pt x="378" y="1209"/>
                  <a:pt x="378" y="1209"/>
                  <a:pt x="378" y="1209"/>
                </a:cubicBezTo>
                <a:cubicBezTo>
                  <a:pt x="377" y="1198"/>
                  <a:pt x="377" y="1198"/>
                  <a:pt x="377" y="1198"/>
                </a:cubicBezTo>
                <a:cubicBezTo>
                  <a:pt x="376" y="1197"/>
                  <a:pt x="376" y="1197"/>
                  <a:pt x="376" y="1197"/>
                </a:cubicBezTo>
                <a:cubicBezTo>
                  <a:pt x="376" y="1195"/>
                  <a:pt x="376" y="1195"/>
                  <a:pt x="376" y="1195"/>
                </a:cubicBezTo>
                <a:cubicBezTo>
                  <a:pt x="375" y="1195"/>
                  <a:pt x="375" y="1195"/>
                  <a:pt x="375" y="1195"/>
                </a:cubicBezTo>
                <a:cubicBezTo>
                  <a:pt x="373" y="1194"/>
                  <a:pt x="373" y="1194"/>
                  <a:pt x="373" y="1194"/>
                </a:cubicBezTo>
                <a:cubicBezTo>
                  <a:pt x="371" y="1193"/>
                  <a:pt x="371" y="1193"/>
                  <a:pt x="371" y="1193"/>
                </a:cubicBezTo>
                <a:cubicBezTo>
                  <a:pt x="361" y="1168"/>
                  <a:pt x="361" y="1168"/>
                  <a:pt x="361" y="1168"/>
                </a:cubicBezTo>
                <a:cubicBezTo>
                  <a:pt x="361" y="1167"/>
                  <a:pt x="361" y="1167"/>
                  <a:pt x="361" y="1167"/>
                </a:cubicBezTo>
                <a:cubicBezTo>
                  <a:pt x="363" y="1164"/>
                  <a:pt x="363" y="1164"/>
                  <a:pt x="363" y="1164"/>
                </a:cubicBezTo>
                <a:cubicBezTo>
                  <a:pt x="368" y="1159"/>
                  <a:pt x="368" y="1159"/>
                  <a:pt x="368" y="1159"/>
                </a:cubicBezTo>
                <a:cubicBezTo>
                  <a:pt x="370" y="1158"/>
                  <a:pt x="370" y="1158"/>
                  <a:pt x="370" y="1158"/>
                </a:cubicBezTo>
                <a:cubicBezTo>
                  <a:pt x="381" y="1152"/>
                  <a:pt x="381" y="1152"/>
                  <a:pt x="381" y="1152"/>
                </a:cubicBezTo>
                <a:cubicBezTo>
                  <a:pt x="383" y="1151"/>
                  <a:pt x="383" y="1151"/>
                  <a:pt x="383" y="1151"/>
                </a:cubicBezTo>
                <a:cubicBezTo>
                  <a:pt x="384" y="1151"/>
                  <a:pt x="384" y="1151"/>
                  <a:pt x="384" y="1151"/>
                </a:cubicBezTo>
                <a:cubicBezTo>
                  <a:pt x="385" y="1152"/>
                  <a:pt x="385" y="1152"/>
                  <a:pt x="385" y="1152"/>
                </a:cubicBezTo>
                <a:cubicBezTo>
                  <a:pt x="401" y="1164"/>
                  <a:pt x="401" y="1164"/>
                  <a:pt x="401" y="1164"/>
                </a:cubicBezTo>
                <a:cubicBezTo>
                  <a:pt x="421" y="1182"/>
                  <a:pt x="421" y="1182"/>
                  <a:pt x="421" y="1182"/>
                </a:cubicBezTo>
                <a:cubicBezTo>
                  <a:pt x="422" y="1183"/>
                  <a:pt x="422" y="1183"/>
                  <a:pt x="422" y="1183"/>
                </a:cubicBezTo>
                <a:cubicBezTo>
                  <a:pt x="425" y="1187"/>
                  <a:pt x="425" y="1187"/>
                  <a:pt x="425" y="1187"/>
                </a:cubicBezTo>
                <a:cubicBezTo>
                  <a:pt x="429" y="1192"/>
                  <a:pt x="429" y="1192"/>
                  <a:pt x="429" y="1192"/>
                </a:cubicBezTo>
                <a:cubicBezTo>
                  <a:pt x="446" y="1198"/>
                  <a:pt x="446" y="1198"/>
                  <a:pt x="446" y="1198"/>
                </a:cubicBezTo>
                <a:cubicBezTo>
                  <a:pt x="447" y="1198"/>
                  <a:pt x="447" y="1198"/>
                  <a:pt x="447" y="1198"/>
                </a:cubicBezTo>
                <a:cubicBezTo>
                  <a:pt x="448" y="1198"/>
                  <a:pt x="448" y="1198"/>
                  <a:pt x="448" y="1198"/>
                </a:cubicBezTo>
                <a:cubicBezTo>
                  <a:pt x="449" y="1197"/>
                  <a:pt x="449" y="1197"/>
                  <a:pt x="449" y="1197"/>
                </a:cubicBezTo>
                <a:cubicBezTo>
                  <a:pt x="451" y="1194"/>
                  <a:pt x="451" y="1194"/>
                  <a:pt x="451" y="1194"/>
                </a:cubicBezTo>
                <a:cubicBezTo>
                  <a:pt x="452" y="1193"/>
                  <a:pt x="452" y="1193"/>
                  <a:pt x="452" y="1193"/>
                </a:cubicBezTo>
                <a:cubicBezTo>
                  <a:pt x="453" y="1190"/>
                  <a:pt x="453" y="1190"/>
                  <a:pt x="453" y="1190"/>
                </a:cubicBezTo>
                <a:cubicBezTo>
                  <a:pt x="453" y="1169"/>
                  <a:pt x="453" y="1169"/>
                  <a:pt x="453" y="1169"/>
                </a:cubicBezTo>
                <a:cubicBezTo>
                  <a:pt x="453" y="1168"/>
                  <a:pt x="453" y="1168"/>
                  <a:pt x="453" y="1168"/>
                </a:cubicBezTo>
                <a:cubicBezTo>
                  <a:pt x="453" y="1167"/>
                  <a:pt x="453" y="1167"/>
                  <a:pt x="453" y="1167"/>
                </a:cubicBezTo>
                <a:cubicBezTo>
                  <a:pt x="452" y="1166"/>
                  <a:pt x="452" y="1166"/>
                  <a:pt x="452" y="1166"/>
                </a:cubicBezTo>
                <a:cubicBezTo>
                  <a:pt x="445" y="1161"/>
                  <a:pt x="445" y="1161"/>
                  <a:pt x="445" y="1161"/>
                </a:cubicBezTo>
                <a:cubicBezTo>
                  <a:pt x="443" y="1160"/>
                  <a:pt x="443" y="1160"/>
                  <a:pt x="443" y="1160"/>
                </a:cubicBezTo>
                <a:cubicBezTo>
                  <a:pt x="442" y="1159"/>
                  <a:pt x="442" y="1159"/>
                  <a:pt x="442" y="1159"/>
                </a:cubicBezTo>
                <a:cubicBezTo>
                  <a:pt x="442" y="1159"/>
                  <a:pt x="442" y="1159"/>
                  <a:pt x="442" y="1159"/>
                </a:cubicBezTo>
                <a:cubicBezTo>
                  <a:pt x="440" y="1151"/>
                  <a:pt x="440" y="1151"/>
                  <a:pt x="440" y="1151"/>
                </a:cubicBezTo>
                <a:cubicBezTo>
                  <a:pt x="440" y="1150"/>
                  <a:pt x="440" y="1150"/>
                  <a:pt x="440" y="1150"/>
                </a:cubicBezTo>
                <a:cubicBezTo>
                  <a:pt x="440" y="1148"/>
                  <a:pt x="440" y="1148"/>
                  <a:pt x="440" y="1148"/>
                </a:cubicBezTo>
                <a:cubicBezTo>
                  <a:pt x="441" y="1148"/>
                  <a:pt x="441" y="1148"/>
                  <a:pt x="441" y="1148"/>
                </a:cubicBezTo>
                <a:cubicBezTo>
                  <a:pt x="444" y="1144"/>
                  <a:pt x="444" y="1144"/>
                  <a:pt x="444" y="1144"/>
                </a:cubicBezTo>
                <a:cubicBezTo>
                  <a:pt x="445" y="1143"/>
                  <a:pt x="445" y="1143"/>
                  <a:pt x="445" y="1143"/>
                </a:cubicBezTo>
                <a:cubicBezTo>
                  <a:pt x="464" y="1158"/>
                  <a:pt x="464" y="1158"/>
                  <a:pt x="464" y="1158"/>
                </a:cubicBezTo>
                <a:cubicBezTo>
                  <a:pt x="477" y="1169"/>
                  <a:pt x="477" y="1169"/>
                  <a:pt x="477" y="1169"/>
                </a:cubicBezTo>
                <a:cubicBezTo>
                  <a:pt x="482" y="1173"/>
                  <a:pt x="482" y="1173"/>
                  <a:pt x="482" y="1173"/>
                </a:cubicBezTo>
                <a:cubicBezTo>
                  <a:pt x="496" y="1175"/>
                  <a:pt x="496" y="1175"/>
                  <a:pt x="496" y="1175"/>
                </a:cubicBezTo>
                <a:cubicBezTo>
                  <a:pt x="505" y="1175"/>
                  <a:pt x="505" y="1175"/>
                  <a:pt x="505" y="1175"/>
                </a:cubicBezTo>
                <a:cubicBezTo>
                  <a:pt x="508" y="1175"/>
                  <a:pt x="508" y="1175"/>
                  <a:pt x="508" y="1175"/>
                </a:cubicBezTo>
                <a:cubicBezTo>
                  <a:pt x="509" y="1174"/>
                  <a:pt x="509" y="1174"/>
                  <a:pt x="509" y="1174"/>
                </a:cubicBezTo>
                <a:cubicBezTo>
                  <a:pt x="522" y="1164"/>
                  <a:pt x="522" y="1164"/>
                  <a:pt x="522" y="1164"/>
                </a:cubicBezTo>
                <a:cubicBezTo>
                  <a:pt x="539" y="1151"/>
                  <a:pt x="539" y="1151"/>
                  <a:pt x="539" y="1151"/>
                </a:cubicBezTo>
                <a:cubicBezTo>
                  <a:pt x="558" y="1146"/>
                  <a:pt x="558" y="1146"/>
                  <a:pt x="558" y="1146"/>
                </a:cubicBezTo>
                <a:cubicBezTo>
                  <a:pt x="563" y="1131"/>
                  <a:pt x="563" y="1131"/>
                  <a:pt x="563" y="1131"/>
                </a:cubicBezTo>
                <a:cubicBezTo>
                  <a:pt x="567" y="1118"/>
                  <a:pt x="567" y="1118"/>
                  <a:pt x="567" y="1118"/>
                </a:cubicBezTo>
                <a:cubicBezTo>
                  <a:pt x="583" y="1117"/>
                  <a:pt x="583" y="1117"/>
                  <a:pt x="583" y="1117"/>
                </a:cubicBezTo>
                <a:cubicBezTo>
                  <a:pt x="584" y="1117"/>
                  <a:pt x="584" y="1117"/>
                  <a:pt x="584" y="1117"/>
                </a:cubicBezTo>
                <a:cubicBezTo>
                  <a:pt x="586" y="1118"/>
                  <a:pt x="586" y="1118"/>
                  <a:pt x="586" y="1118"/>
                </a:cubicBezTo>
                <a:cubicBezTo>
                  <a:pt x="588" y="1119"/>
                  <a:pt x="588" y="1119"/>
                  <a:pt x="588" y="1119"/>
                </a:cubicBezTo>
                <a:cubicBezTo>
                  <a:pt x="598" y="1121"/>
                  <a:pt x="598" y="1121"/>
                  <a:pt x="598" y="1121"/>
                </a:cubicBezTo>
                <a:cubicBezTo>
                  <a:pt x="612" y="1123"/>
                  <a:pt x="612" y="1123"/>
                  <a:pt x="612" y="1123"/>
                </a:cubicBezTo>
                <a:cubicBezTo>
                  <a:pt x="627" y="1123"/>
                  <a:pt x="627" y="1123"/>
                  <a:pt x="627" y="1123"/>
                </a:cubicBezTo>
                <a:cubicBezTo>
                  <a:pt x="629" y="1122"/>
                  <a:pt x="629" y="1122"/>
                  <a:pt x="629" y="1122"/>
                </a:cubicBezTo>
                <a:cubicBezTo>
                  <a:pt x="633" y="1120"/>
                  <a:pt x="633" y="1120"/>
                  <a:pt x="633" y="1120"/>
                </a:cubicBezTo>
                <a:cubicBezTo>
                  <a:pt x="642" y="1116"/>
                  <a:pt x="642" y="1116"/>
                  <a:pt x="642" y="1116"/>
                </a:cubicBezTo>
                <a:cubicBezTo>
                  <a:pt x="645" y="1116"/>
                  <a:pt x="645" y="1116"/>
                  <a:pt x="645" y="1116"/>
                </a:cubicBezTo>
                <a:cubicBezTo>
                  <a:pt x="645" y="1117"/>
                  <a:pt x="645" y="1117"/>
                  <a:pt x="645" y="1117"/>
                </a:cubicBezTo>
                <a:cubicBezTo>
                  <a:pt x="646" y="1118"/>
                  <a:pt x="646" y="1118"/>
                  <a:pt x="646" y="1118"/>
                </a:cubicBezTo>
                <a:cubicBezTo>
                  <a:pt x="646" y="1119"/>
                  <a:pt x="646" y="1119"/>
                  <a:pt x="646" y="1119"/>
                </a:cubicBezTo>
                <a:cubicBezTo>
                  <a:pt x="648" y="1118"/>
                  <a:pt x="648" y="1118"/>
                  <a:pt x="648" y="1118"/>
                </a:cubicBezTo>
                <a:cubicBezTo>
                  <a:pt x="649" y="1118"/>
                  <a:pt x="649" y="1117"/>
                  <a:pt x="650" y="1117"/>
                </a:cubicBezTo>
                <a:cubicBezTo>
                  <a:pt x="650" y="1116"/>
                  <a:pt x="650" y="1116"/>
                  <a:pt x="650" y="1115"/>
                </a:cubicBezTo>
                <a:cubicBezTo>
                  <a:pt x="649" y="1115"/>
                  <a:pt x="649" y="1114"/>
                  <a:pt x="650" y="1112"/>
                </a:cubicBezTo>
                <a:cubicBezTo>
                  <a:pt x="648" y="1110"/>
                  <a:pt x="649" y="1109"/>
                  <a:pt x="651" y="1108"/>
                </a:cubicBezTo>
                <a:cubicBezTo>
                  <a:pt x="652" y="1107"/>
                  <a:pt x="656" y="1105"/>
                  <a:pt x="656" y="1105"/>
                </a:cubicBezTo>
                <a:cubicBezTo>
                  <a:pt x="656" y="1105"/>
                  <a:pt x="656" y="1105"/>
                  <a:pt x="657" y="1105"/>
                </a:cubicBezTo>
                <a:cubicBezTo>
                  <a:pt x="665" y="1105"/>
                  <a:pt x="665" y="1105"/>
                  <a:pt x="665" y="1105"/>
                </a:cubicBezTo>
                <a:cubicBezTo>
                  <a:pt x="665" y="1105"/>
                  <a:pt x="666" y="1105"/>
                  <a:pt x="666" y="1106"/>
                </a:cubicBezTo>
                <a:cubicBezTo>
                  <a:pt x="667" y="1105"/>
                  <a:pt x="667" y="1104"/>
                  <a:pt x="668" y="1103"/>
                </a:cubicBezTo>
                <a:cubicBezTo>
                  <a:pt x="668" y="1103"/>
                  <a:pt x="668" y="1103"/>
                  <a:pt x="668" y="1103"/>
                </a:cubicBezTo>
                <a:cubicBezTo>
                  <a:pt x="668" y="1103"/>
                  <a:pt x="668" y="1102"/>
                  <a:pt x="669" y="1102"/>
                </a:cubicBezTo>
                <a:cubicBezTo>
                  <a:pt x="672" y="1100"/>
                  <a:pt x="672" y="1100"/>
                  <a:pt x="672" y="1100"/>
                </a:cubicBezTo>
                <a:cubicBezTo>
                  <a:pt x="675" y="1098"/>
                  <a:pt x="675" y="1098"/>
                  <a:pt x="675" y="1098"/>
                </a:cubicBezTo>
                <a:cubicBezTo>
                  <a:pt x="675" y="1098"/>
                  <a:pt x="676" y="1098"/>
                  <a:pt x="676" y="1097"/>
                </a:cubicBezTo>
                <a:cubicBezTo>
                  <a:pt x="677" y="1096"/>
                  <a:pt x="677" y="1095"/>
                  <a:pt x="677" y="1095"/>
                </a:cubicBezTo>
                <a:cubicBezTo>
                  <a:pt x="678" y="1094"/>
                  <a:pt x="679" y="1092"/>
                  <a:pt x="681" y="1092"/>
                </a:cubicBezTo>
                <a:cubicBezTo>
                  <a:pt x="681" y="1091"/>
                  <a:pt x="682" y="1091"/>
                  <a:pt x="682" y="1091"/>
                </a:cubicBezTo>
                <a:cubicBezTo>
                  <a:pt x="681" y="1090"/>
                  <a:pt x="681" y="1090"/>
                  <a:pt x="681" y="1090"/>
                </a:cubicBezTo>
                <a:cubicBezTo>
                  <a:pt x="685" y="1088"/>
                  <a:pt x="685" y="1088"/>
                  <a:pt x="685" y="1088"/>
                </a:cubicBezTo>
                <a:cubicBezTo>
                  <a:pt x="685" y="1088"/>
                  <a:pt x="685" y="1088"/>
                  <a:pt x="686" y="1089"/>
                </a:cubicBezTo>
                <a:cubicBezTo>
                  <a:pt x="686" y="1089"/>
                  <a:pt x="686" y="1089"/>
                  <a:pt x="686" y="1088"/>
                </a:cubicBezTo>
                <a:cubicBezTo>
                  <a:pt x="687" y="1088"/>
                  <a:pt x="687" y="1088"/>
                  <a:pt x="688" y="1088"/>
                </a:cubicBezTo>
                <a:cubicBezTo>
                  <a:pt x="689" y="1087"/>
                  <a:pt x="689" y="1087"/>
                  <a:pt x="689" y="1087"/>
                </a:cubicBezTo>
                <a:cubicBezTo>
                  <a:pt x="689" y="1086"/>
                  <a:pt x="690" y="1086"/>
                  <a:pt x="691" y="1086"/>
                </a:cubicBezTo>
                <a:cubicBezTo>
                  <a:pt x="691" y="1085"/>
                  <a:pt x="691" y="1085"/>
                  <a:pt x="691" y="1085"/>
                </a:cubicBezTo>
                <a:cubicBezTo>
                  <a:pt x="691" y="1083"/>
                  <a:pt x="691" y="1083"/>
                  <a:pt x="691" y="1083"/>
                </a:cubicBezTo>
                <a:cubicBezTo>
                  <a:pt x="692" y="1082"/>
                  <a:pt x="693" y="1081"/>
                  <a:pt x="695" y="1081"/>
                </a:cubicBezTo>
                <a:cubicBezTo>
                  <a:pt x="701" y="1078"/>
                  <a:pt x="702" y="1078"/>
                  <a:pt x="702" y="1078"/>
                </a:cubicBezTo>
                <a:cubicBezTo>
                  <a:pt x="702" y="1077"/>
                  <a:pt x="703" y="1077"/>
                  <a:pt x="703" y="1077"/>
                </a:cubicBezTo>
                <a:cubicBezTo>
                  <a:pt x="703" y="1077"/>
                  <a:pt x="703" y="1077"/>
                  <a:pt x="703" y="1077"/>
                </a:cubicBezTo>
                <a:cubicBezTo>
                  <a:pt x="703" y="1073"/>
                  <a:pt x="703" y="1073"/>
                  <a:pt x="703" y="1073"/>
                </a:cubicBezTo>
                <a:cubicBezTo>
                  <a:pt x="703" y="1072"/>
                  <a:pt x="703" y="1072"/>
                  <a:pt x="703" y="1072"/>
                </a:cubicBezTo>
                <a:cubicBezTo>
                  <a:pt x="702" y="1071"/>
                  <a:pt x="702" y="1070"/>
                  <a:pt x="703" y="1068"/>
                </a:cubicBezTo>
                <a:cubicBezTo>
                  <a:pt x="703" y="1066"/>
                  <a:pt x="703" y="1065"/>
                  <a:pt x="703" y="1065"/>
                </a:cubicBezTo>
                <a:cubicBezTo>
                  <a:pt x="703" y="1065"/>
                  <a:pt x="703" y="1065"/>
                  <a:pt x="703" y="1064"/>
                </a:cubicBezTo>
                <a:cubicBezTo>
                  <a:pt x="703" y="1063"/>
                  <a:pt x="703" y="1063"/>
                  <a:pt x="703" y="1063"/>
                </a:cubicBezTo>
                <a:cubicBezTo>
                  <a:pt x="703" y="1062"/>
                  <a:pt x="703" y="1062"/>
                  <a:pt x="703" y="1062"/>
                </a:cubicBezTo>
                <a:cubicBezTo>
                  <a:pt x="703" y="1061"/>
                  <a:pt x="705" y="1059"/>
                  <a:pt x="708" y="1059"/>
                </a:cubicBezTo>
                <a:cubicBezTo>
                  <a:pt x="708" y="1059"/>
                  <a:pt x="708" y="1059"/>
                  <a:pt x="709" y="1059"/>
                </a:cubicBezTo>
                <a:cubicBezTo>
                  <a:pt x="709" y="1059"/>
                  <a:pt x="709" y="1058"/>
                  <a:pt x="710" y="1058"/>
                </a:cubicBezTo>
                <a:cubicBezTo>
                  <a:pt x="710" y="1058"/>
                  <a:pt x="710" y="1058"/>
                  <a:pt x="710" y="1057"/>
                </a:cubicBezTo>
                <a:cubicBezTo>
                  <a:pt x="710" y="1055"/>
                  <a:pt x="710" y="1054"/>
                  <a:pt x="709" y="1054"/>
                </a:cubicBezTo>
                <a:cubicBezTo>
                  <a:pt x="709" y="1053"/>
                  <a:pt x="708" y="1051"/>
                  <a:pt x="711" y="1049"/>
                </a:cubicBezTo>
                <a:cubicBezTo>
                  <a:pt x="712" y="1048"/>
                  <a:pt x="714" y="1047"/>
                  <a:pt x="716" y="1046"/>
                </a:cubicBezTo>
                <a:cubicBezTo>
                  <a:pt x="717" y="1045"/>
                  <a:pt x="718" y="1045"/>
                  <a:pt x="718" y="1045"/>
                </a:cubicBezTo>
                <a:cubicBezTo>
                  <a:pt x="719" y="1044"/>
                  <a:pt x="719" y="1044"/>
                  <a:pt x="720" y="1043"/>
                </a:cubicBezTo>
                <a:cubicBezTo>
                  <a:pt x="720" y="1043"/>
                  <a:pt x="721" y="1043"/>
                  <a:pt x="721" y="1042"/>
                </a:cubicBezTo>
                <a:cubicBezTo>
                  <a:pt x="722" y="1038"/>
                  <a:pt x="722" y="1038"/>
                  <a:pt x="722" y="1038"/>
                </a:cubicBezTo>
                <a:cubicBezTo>
                  <a:pt x="722" y="1038"/>
                  <a:pt x="722" y="1038"/>
                  <a:pt x="722" y="1038"/>
                </a:cubicBezTo>
                <a:cubicBezTo>
                  <a:pt x="723" y="1035"/>
                  <a:pt x="723" y="1035"/>
                  <a:pt x="723" y="1035"/>
                </a:cubicBezTo>
                <a:cubicBezTo>
                  <a:pt x="726" y="1028"/>
                  <a:pt x="726" y="1028"/>
                  <a:pt x="726" y="1028"/>
                </a:cubicBezTo>
                <a:cubicBezTo>
                  <a:pt x="727" y="1027"/>
                  <a:pt x="727" y="1027"/>
                  <a:pt x="728" y="1027"/>
                </a:cubicBezTo>
                <a:cubicBezTo>
                  <a:pt x="729" y="1027"/>
                  <a:pt x="729" y="1027"/>
                  <a:pt x="729" y="1027"/>
                </a:cubicBezTo>
                <a:cubicBezTo>
                  <a:pt x="731" y="1025"/>
                  <a:pt x="732" y="1024"/>
                  <a:pt x="733" y="1023"/>
                </a:cubicBezTo>
                <a:cubicBezTo>
                  <a:pt x="734" y="1023"/>
                  <a:pt x="734" y="1023"/>
                  <a:pt x="735" y="1022"/>
                </a:cubicBezTo>
                <a:cubicBezTo>
                  <a:pt x="736" y="1021"/>
                  <a:pt x="739" y="1020"/>
                  <a:pt x="739" y="1020"/>
                </a:cubicBezTo>
                <a:cubicBezTo>
                  <a:pt x="740" y="1020"/>
                  <a:pt x="740" y="1020"/>
                  <a:pt x="740" y="1020"/>
                </a:cubicBezTo>
                <a:cubicBezTo>
                  <a:pt x="746" y="1020"/>
                  <a:pt x="746" y="1020"/>
                  <a:pt x="746" y="1020"/>
                </a:cubicBezTo>
                <a:cubicBezTo>
                  <a:pt x="747" y="1020"/>
                  <a:pt x="747" y="1020"/>
                  <a:pt x="749" y="1020"/>
                </a:cubicBezTo>
                <a:cubicBezTo>
                  <a:pt x="750" y="1020"/>
                  <a:pt x="750" y="1020"/>
                  <a:pt x="750" y="1020"/>
                </a:cubicBezTo>
                <a:cubicBezTo>
                  <a:pt x="751" y="1020"/>
                  <a:pt x="751" y="1020"/>
                  <a:pt x="752" y="1020"/>
                </a:cubicBezTo>
                <a:cubicBezTo>
                  <a:pt x="753" y="1020"/>
                  <a:pt x="753" y="1020"/>
                  <a:pt x="753" y="1020"/>
                </a:cubicBezTo>
                <a:cubicBezTo>
                  <a:pt x="753" y="1020"/>
                  <a:pt x="753" y="1020"/>
                  <a:pt x="753" y="1020"/>
                </a:cubicBezTo>
                <a:cubicBezTo>
                  <a:pt x="753" y="1019"/>
                  <a:pt x="753" y="1018"/>
                  <a:pt x="754" y="1017"/>
                </a:cubicBezTo>
                <a:cubicBezTo>
                  <a:pt x="754" y="1016"/>
                  <a:pt x="754" y="1016"/>
                  <a:pt x="754" y="1016"/>
                </a:cubicBezTo>
                <a:cubicBezTo>
                  <a:pt x="754" y="1015"/>
                  <a:pt x="754" y="1015"/>
                  <a:pt x="754" y="1015"/>
                </a:cubicBezTo>
                <a:cubicBezTo>
                  <a:pt x="754" y="1015"/>
                  <a:pt x="754" y="1015"/>
                  <a:pt x="755" y="1015"/>
                </a:cubicBezTo>
                <a:cubicBezTo>
                  <a:pt x="755" y="1014"/>
                  <a:pt x="754" y="1014"/>
                  <a:pt x="754" y="1014"/>
                </a:cubicBezTo>
                <a:cubicBezTo>
                  <a:pt x="754" y="1013"/>
                  <a:pt x="755" y="1013"/>
                  <a:pt x="756" y="1012"/>
                </a:cubicBezTo>
                <a:cubicBezTo>
                  <a:pt x="756" y="1012"/>
                  <a:pt x="756" y="1012"/>
                  <a:pt x="757" y="1011"/>
                </a:cubicBezTo>
                <a:cubicBezTo>
                  <a:pt x="758" y="1010"/>
                  <a:pt x="759" y="1009"/>
                  <a:pt x="759" y="1009"/>
                </a:cubicBezTo>
                <a:cubicBezTo>
                  <a:pt x="761" y="1007"/>
                  <a:pt x="762" y="1006"/>
                  <a:pt x="765" y="1006"/>
                </a:cubicBezTo>
                <a:cubicBezTo>
                  <a:pt x="766" y="1006"/>
                  <a:pt x="767" y="1006"/>
                  <a:pt x="768" y="1007"/>
                </a:cubicBezTo>
                <a:cubicBezTo>
                  <a:pt x="768" y="1007"/>
                  <a:pt x="768" y="1007"/>
                  <a:pt x="768" y="1007"/>
                </a:cubicBezTo>
                <a:cubicBezTo>
                  <a:pt x="768" y="1006"/>
                  <a:pt x="768" y="1006"/>
                  <a:pt x="768" y="1006"/>
                </a:cubicBezTo>
                <a:cubicBezTo>
                  <a:pt x="768" y="1006"/>
                  <a:pt x="768" y="1006"/>
                  <a:pt x="768" y="1006"/>
                </a:cubicBezTo>
                <a:cubicBezTo>
                  <a:pt x="768" y="1006"/>
                  <a:pt x="769" y="1005"/>
                  <a:pt x="771" y="1004"/>
                </a:cubicBezTo>
                <a:cubicBezTo>
                  <a:pt x="772" y="1003"/>
                  <a:pt x="773" y="1002"/>
                  <a:pt x="773" y="1002"/>
                </a:cubicBezTo>
                <a:cubicBezTo>
                  <a:pt x="773" y="1002"/>
                  <a:pt x="773" y="1002"/>
                  <a:pt x="774" y="1002"/>
                </a:cubicBezTo>
                <a:cubicBezTo>
                  <a:pt x="775" y="1000"/>
                  <a:pt x="775" y="1000"/>
                  <a:pt x="775" y="1000"/>
                </a:cubicBezTo>
                <a:cubicBezTo>
                  <a:pt x="775" y="999"/>
                  <a:pt x="776" y="999"/>
                  <a:pt x="776" y="999"/>
                </a:cubicBezTo>
                <a:cubicBezTo>
                  <a:pt x="776" y="999"/>
                  <a:pt x="776" y="999"/>
                  <a:pt x="776" y="999"/>
                </a:cubicBezTo>
                <a:cubicBezTo>
                  <a:pt x="776" y="999"/>
                  <a:pt x="776" y="999"/>
                  <a:pt x="777" y="998"/>
                </a:cubicBezTo>
                <a:cubicBezTo>
                  <a:pt x="776" y="998"/>
                  <a:pt x="776" y="996"/>
                  <a:pt x="777" y="994"/>
                </a:cubicBezTo>
                <a:cubicBezTo>
                  <a:pt x="778" y="993"/>
                  <a:pt x="779" y="993"/>
                  <a:pt x="780" y="993"/>
                </a:cubicBezTo>
                <a:cubicBezTo>
                  <a:pt x="780" y="992"/>
                  <a:pt x="779" y="992"/>
                  <a:pt x="779" y="992"/>
                </a:cubicBezTo>
                <a:cubicBezTo>
                  <a:pt x="778" y="991"/>
                  <a:pt x="778" y="991"/>
                  <a:pt x="777" y="990"/>
                </a:cubicBezTo>
                <a:cubicBezTo>
                  <a:pt x="776" y="990"/>
                  <a:pt x="775" y="989"/>
                  <a:pt x="775" y="987"/>
                </a:cubicBezTo>
                <a:cubicBezTo>
                  <a:pt x="775" y="985"/>
                  <a:pt x="776" y="984"/>
                  <a:pt x="776" y="984"/>
                </a:cubicBezTo>
                <a:cubicBezTo>
                  <a:pt x="776" y="984"/>
                  <a:pt x="776" y="984"/>
                  <a:pt x="776" y="983"/>
                </a:cubicBezTo>
                <a:cubicBezTo>
                  <a:pt x="776" y="983"/>
                  <a:pt x="776" y="983"/>
                  <a:pt x="776" y="983"/>
                </a:cubicBezTo>
                <a:cubicBezTo>
                  <a:pt x="776" y="983"/>
                  <a:pt x="776" y="983"/>
                  <a:pt x="776" y="983"/>
                </a:cubicBezTo>
                <a:cubicBezTo>
                  <a:pt x="775" y="983"/>
                  <a:pt x="774" y="982"/>
                  <a:pt x="774" y="981"/>
                </a:cubicBezTo>
                <a:cubicBezTo>
                  <a:pt x="774" y="980"/>
                  <a:pt x="774" y="980"/>
                  <a:pt x="774" y="980"/>
                </a:cubicBezTo>
                <a:cubicBezTo>
                  <a:pt x="774" y="980"/>
                  <a:pt x="774" y="980"/>
                  <a:pt x="774" y="980"/>
                </a:cubicBezTo>
                <a:cubicBezTo>
                  <a:pt x="774" y="980"/>
                  <a:pt x="774" y="980"/>
                  <a:pt x="774" y="980"/>
                </a:cubicBezTo>
                <a:cubicBezTo>
                  <a:pt x="772" y="973"/>
                  <a:pt x="772" y="973"/>
                  <a:pt x="772" y="973"/>
                </a:cubicBezTo>
                <a:cubicBezTo>
                  <a:pt x="770" y="971"/>
                  <a:pt x="770" y="971"/>
                  <a:pt x="770" y="971"/>
                </a:cubicBezTo>
                <a:cubicBezTo>
                  <a:pt x="768" y="969"/>
                  <a:pt x="768" y="969"/>
                  <a:pt x="768" y="969"/>
                </a:cubicBezTo>
                <a:cubicBezTo>
                  <a:pt x="766" y="967"/>
                  <a:pt x="765" y="964"/>
                  <a:pt x="765" y="963"/>
                </a:cubicBezTo>
                <a:cubicBezTo>
                  <a:pt x="765" y="962"/>
                  <a:pt x="765" y="962"/>
                  <a:pt x="765" y="962"/>
                </a:cubicBezTo>
                <a:cubicBezTo>
                  <a:pt x="765" y="962"/>
                  <a:pt x="765" y="962"/>
                  <a:pt x="765" y="961"/>
                </a:cubicBezTo>
                <a:cubicBezTo>
                  <a:pt x="764" y="959"/>
                  <a:pt x="764" y="959"/>
                  <a:pt x="764" y="959"/>
                </a:cubicBezTo>
                <a:cubicBezTo>
                  <a:pt x="762" y="958"/>
                  <a:pt x="761" y="957"/>
                  <a:pt x="760" y="957"/>
                </a:cubicBezTo>
                <a:cubicBezTo>
                  <a:pt x="759" y="957"/>
                  <a:pt x="759" y="956"/>
                  <a:pt x="758" y="956"/>
                </a:cubicBezTo>
                <a:cubicBezTo>
                  <a:pt x="758" y="948"/>
                  <a:pt x="758" y="948"/>
                  <a:pt x="758" y="948"/>
                </a:cubicBezTo>
                <a:cubicBezTo>
                  <a:pt x="759" y="948"/>
                  <a:pt x="759" y="947"/>
                  <a:pt x="760" y="946"/>
                </a:cubicBezTo>
                <a:cubicBezTo>
                  <a:pt x="758" y="944"/>
                  <a:pt x="759" y="943"/>
                  <a:pt x="760" y="942"/>
                </a:cubicBezTo>
                <a:cubicBezTo>
                  <a:pt x="762" y="941"/>
                  <a:pt x="762" y="941"/>
                  <a:pt x="762" y="941"/>
                </a:cubicBezTo>
                <a:cubicBezTo>
                  <a:pt x="762" y="940"/>
                  <a:pt x="764" y="938"/>
                  <a:pt x="766" y="937"/>
                </a:cubicBezTo>
                <a:cubicBezTo>
                  <a:pt x="766" y="937"/>
                  <a:pt x="766" y="937"/>
                  <a:pt x="767" y="936"/>
                </a:cubicBezTo>
                <a:cubicBezTo>
                  <a:pt x="767" y="936"/>
                  <a:pt x="767" y="936"/>
                  <a:pt x="768" y="936"/>
                </a:cubicBezTo>
                <a:cubicBezTo>
                  <a:pt x="768" y="935"/>
                  <a:pt x="769" y="935"/>
                  <a:pt x="769" y="935"/>
                </a:cubicBezTo>
                <a:cubicBezTo>
                  <a:pt x="770" y="935"/>
                  <a:pt x="770" y="934"/>
                  <a:pt x="770" y="934"/>
                </a:cubicBezTo>
                <a:cubicBezTo>
                  <a:pt x="772" y="933"/>
                  <a:pt x="772" y="932"/>
                  <a:pt x="773" y="932"/>
                </a:cubicBezTo>
                <a:cubicBezTo>
                  <a:pt x="773" y="931"/>
                  <a:pt x="773" y="931"/>
                  <a:pt x="773" y="931"/>
                </a:cubicBezTo>
                <a:cubicBezTo>
                  <a:pt x="774" y="929"/>
                  <a:pt x="778" y="927"/>
                  <a:pt x="778" y="927"/>
                </a:cubicBezTo>
                <a:cubicBezTo>
                  <a:pt x="779" y="926"/>
                  <a:pt x="781" y="925"/>
                  <a:pt x="782" y="924"/>
                </a:cubicBezTo>
                <a:cubicBezTo>
                  <a:pt x="782" y="922"/>
                  <a:pt x="782" y="922"/>
                  <a:pt x="782" y="922"/>
                </a:cubicBezTo>
                <a:cubicBezTo>
                  <a:pt x="783" y="921"/>
                  <a:pt x="783" y="920"/>
                  <a:pt x="783" y="920"/>
                </a:cubicBezTo>
                <a:cubicBezTo>
                  <a:pt x="783" y="920"/>
                  <a:pt x="783" y="920"/>
                  <a:pt x="783" y="919"/>
                </a:cubicBezTo>
                <a:cubicBezTo>
                  <a:pt x="783" y="918"/>
                  <a:pt x="782" y="917"/>
                  <a:pt x="783" y="915"/>
                </a:cubicBezTo>
                <a:cubicBezTo>
                  <a:pt x="783" y="915"/>
                  <a:pt x="783" y="914"/>
                  <a:pt x="784" y="914"/>
                </a:cubicBezTo>
                <a:cubicBezTo>
                  <a:pt x="785" y="912"/>
                  <a:pt x="785" y="912"/>
                  <a:pt x="785" y="912"/>
                </a:cubicBezTo>
                <a:cubicBezTo>
                  <a:pt x="785" y="912"/>
                  <a:pt x="785" y="912"/>
                  <a:pt x="785" y="912"/>
                </a:cubicBezTo>
                <a:cubicBezTo>
                  <a:pt x="785" y="912"/>
                  <a:pt x="785" y="912"/>
                  <a:pt x="785" y="912"/>
                </a:cubicBezTo>
                <a:cubicBezTo>
                  <a:pt x="785" y="912"/>
                  <a:pt x="785" y="912"/>
                  <a:pt x="785" y="912"/>
                </a:cubicBezTo>
                <a:cubicBezTo>
                  <a:pt x="764" y="879"/>
                  <a:pt x="764" y="879"/>
                  <a:pt x="764" y="879"/>
                </a:cubicBezTo>
                <a:cubicBezTo>
                  <a:pt x="763" y="879"/>
                  <a:pt x="763" y="879"/>
                  <a:pt x="763" y="879"/>
                </a:cubicBezTo>
                <a:cubicBezTo>
                  <a:pt x="753" y="875"/>
                  <a:pt x="753" y="875"/>
                  <a:pt x="753" y="875"/>
                </a:cubicBezTo>
                <a:cubicBezTo>
                  <a:pt x="749" y="875"/>
                  <a:pt x="749" y="875"/>
                  <a:pt x="749" y="875"/>
                </a:cubicBezTo>
                <a:cubicBezTo>
                  <a:pt x="748" y="876"/>
                  <a:pt x="748" y="876"/>
                  <a:pt x="748" y="876"/>
                </a:cubicBezTo>
                <a:cubicBezTo>
                  <a:pt x="747" y="877"/>
                  <a:pt x="747" y="877"/>
                  <a:pt x="747" y="877"/>
                </a:cubicBezTo>
                <a:cubicBezTo>
                  <a:pt x="746" y="877"/>
                  <a:pt x="746" y="877"/>
                  <a:pt x="746" y="877"/>
                </a:cubicBezTo>
                <a:cubicBezTo>
                  <a:pt x="737" y="874"/>
                  <a:pt x="737" y="874"/>
                  <a:pt x="737" y="874"/>
                </a:cubicBezTo>
                <a:cubicBezTo>
                  <a:pt x="732" y="871"/>
                  <a:pt x="732" y="871"/>
                  <a:pt x="732" y="871"/>
                </a:cubicBezTo>
                <a:cubicBezTo>
                  <a:pt x="730" y="870"/>
                  <a:pt x="730" y="870"/>
                  <a:pt x="730" y="870"/>
                </a:cubicBezTo>
                <a:cubicBezTo>
                  <a:pt x="720" y="862"/>
                  <a:pt x="720" y="862"/>
                  <a:pt x="720" y="862"/>
                </a:cubicBezTo>
                <a:cubicBezTo>
                  <a:pt x="694" y="846"/>
                  <a:pt x="694" y="846"/>
                  <a:pt x="694" y="846"/>
                </a:cubicBezTo>
                <a:cubicBezTo>
                  <a:pt x="693" y="845"/>
                  <a:pt x="693" y="845"/>
                  <a:pt x="693" y="845"/>
                </a:cubicBezTo>
                <a:cubicBezTo>
                  <a:pt x="690" y="844"/>
                  <a:pt x="690" y="844"/>
                  <a:pt x="690" y="844"/>
                </a:cubicBezTo>
                <a:cubicBezTo>
                  <a:pt x="688" y="843"/>
                  <a:pt x="688" y="843"/>
                  <a:pt x="688" y="843"/>
                </a:cubicBezTo>
                <a:cubicBezTo>
                  <a:pt x="679" y="843"/>
                  <a:pt x="679" y="843"/>
                  <a:pt x="679" y="843"/>
                </a:cubicBezTo>
                <a:cubicBezTo>
                  <a:pt x="678" y="843"/>
                  <a:pt x="678" y="843"/>
                  <a:pt x="678" y="843"/>
                </a:cubicBezTo>
                <a:cubicBezTo>
                  <a:pt x="670" y="844"/>
                  <a:pt x="670" y="844"/>
                  <a:pt x="670" y="844"/>
                </a:cubicBezTo>
                <a:cubicBezTo>
                  <a:pt x="667" y="844"/>
                  <a:pt x="667" y="844"/>
                  <a:pt x="667" y="844"/>
                </a:cubicBezTo>
                <a:cubicBezTo>
                  <a:pt x="667" y="844"/>
                  <a:pt x="667" y="844"/>
                  <a:pt x="667" y="844"/>
                </a:cubicBezTo>
                <a:cubicBezTo>
                  <a:pt x="664" y="847"/>
                  <a:pt x="664" y="847"/>
                  <a:pt x="664" y="847"/>
                </a:cubicBezTo>
                <a:cubicBezTo>
                  <a:pt x="660" y="852"/>
                  <a:pt x="660" y="852"/>
                  <a:pt x="660" y="852"/>
                </a:cubicBezTo>
                <a:cubicBezTo>
                  <a:pt x="658" y="858"/>
                  <a:pt x="658" y="858"/>
                  <a:pt x="658" y="858"/>
                </a:cubicBezTo>
                <a:cubicBezTo>
                  <a:pt x="657" y="864"/>
                  <a:pt x="657" y="864"/>
                  <a:pt x="657" y="864"/>
                </a:cubicBezTo>
                <a:cubicBezTo>
                  <a:pt x="654" y="866"/>
                  <a:pt x="654" y="866"/>
                  <a:pt x="654" y="866"/>
                </a:cubicBezTo>
                <a:cubicBezTo>
                  <a:pt x="654" y="867"/>
                  <a:pt x="654" y="867"/>
                  <a:pt x="654" y="867"/>
                </a:cubicBezTo>
                <a:cubicBezTo>
                  <a:pt x="640" y="875"/>
                  <a:pt x="640" y="875"/>
                  <a:pt x="640" y="875"/>
                </a:cubicBezTo>
                <a:cubicBezTo>
                  <a:pt x="639" y="875"/>
                  <a:pt x="639" y="875"/>
                  <a:pt x="639" y="875"/>
                </a:cubicBezTo>
                <a:cubicBezTo>
                  <a:pt x="631" y="874"/>
                  <a:pt x="631" y="874"/>
                  <a:pt x="631" y="874"/>
                </a:cubicBezTo>
                <a:cubicBezTo>
                  <a:pt x="629" y="874"/>
                  <a:pt x="629" y="874"/>
                  <a:pt x="629" y="874"/>
                </a:cubicBezTo>
                <a:cubicBezTo>
                  <a:pt x="627" y="873"/>
                  <a:pt x="627" y="873"/>
                  <a:pt x="627" y="873"/>
                </a:cubicBezTo>
                <a:cubicBezTo>
                  <a:pt x="616" y="867"/>
                  <a:pt x="616" y="867"/>
                  <a:pt x="616" y="867"/>
                </a:cubicBezTo>
                <a:cubicBezTo>
                  <a:pt x="590" y="863"/>
                  <a:pt x="590" y="863"/>
                  <a:pt x="590" y="863"/>
                </a:cubicBezTo>
                <a:cubicBezTo>
                  <a:pt x="566" y="860"/>
                  <a:pt x="566" y="860"/>
                  <a:pt x="566" y="860"/>
                </a:cubicBezTo>
                <a:cubicBezTo>
                  <a:pt x="548" y="861"/>
                  <a:pt x="548" y="861"/>
                  <a:pt x="548" y="861"/>
                </a:cubicBezTo>
                <a:cubicBezTo>
                  <a:pt x="546" y="861"/>
                  <a:pt x="546" y="861"/>
                  <a:pt x="546" y="861"/>
                </a:cubicBezTo>
                <a:cubicBezTo>
                  <a:pt x="543" y="857"/>
                  <a:pt x="543" y="857"/>
                  <a:pt x="543" y="857"/>
                </a:cubicBezTo>
                <a:cubicBezTo>
                  <a:pt x="541" y="853"/>
                  <a:pt x="541" y="853"/>
                  <a:pt x="541" y="853"/>
                </a:cubicBezTo>
                <a:cubicBezTo>
                  <a:pt x="541" y="851"/>
                  <a:pt x="541" y="851"/>
                  <a:pt x="541" y="851"/>
                </a:cubicBezTo>
                <a:cubicBezTo>
                  <a:pt x="542" y="851"/>
                  <a:pt x="542" y="851"/>
                  <a:pt x="542" y="851"/>
                </a:cubicBezTo>
                <a:cubicBezTo>
                  <a:pt x="543" y="850"/>
                  <a:pt x="543" y="850"/>
                  <a:pt x="543" y="850"/>
                </a:cubicBezTo>
                <a:cubicBezTo>
                  <a:pt x="546" y="849"/>
                  <a:pt x="546" y="849"/>
                  <a:pt x="546" y="849"/>
                </a:cubicBezTo>
                <a:cubicBezTo>
                  <a:pt x="557" y="848"/>
                  <a:pt x="557" y="848"/>
                  <a:pt x="557" y="848"/>
                </a:cubicBezTo>
                <a:cubicBezTo>
                  <a:pt x="559" y="849"/>
                  <a:pt x="559" y="849"/>
                  <a:pt x="559" y="849"/>
                </a:cubicBezTo>
                <a:cubicBezTo>
                  <a:pt x="561" y="850"/>
                  <a:pt x="561" y="850"/>
                  <a:pt x="561" y="850"/>
                </a:cubicBezTo>
                <a:cubicBezTo>
                  <a:pt x="562" y="852"/>
                  <a:pt x="562" y="852"/>
                  <a:pt x="562" y="852"/>
                </a:cubicBezTo>
                <a:cubicBezTo>
                  <a:pt x="564" y="853"/>
                  <a:pt x="564" y="853"/>
                  <a:pt x="564" y="853"/>
                </a:cubicBezTo>
                <a:cubicBezTo>
                  <a:pt x="566" y="853"/>
                  <a:pt x="566" y="853"/>
                  <a:pt x="566" y="853"/>
                </a:cubicBezTo>
                <a:cubicBezTo>
                  <a:pt x="572" y="856"/>
                  <a:pt x="572" y="856"/>
                  <a:pt x="572" y="856"/>
                </a:cubicBezTo>
                <a:cubicBezTo>
                  <a:pt x="582" y="858"/>
                  <a:pt x="582" y="858"/>
                  <a:pt x="582" y="858"/>
                </a:cubicBezTo>
                <a:cubicBezTo>
                  <a:pt x="583" y="859"/>
                  <a:pt x="583" y="859"/>
                  <a:pt x="583" y="859"/>
                </a:cubicBezTo>
                <a:cubicBezTo>
                  <a:pt x="584" y="859"/>
                  <a:pt x="584" y="859"/>
                  <a:pt x="584" y="859"/>
                </a:cubicBezTo>
                <a:cubicBezTo>
                  <a:pt x="585" y="858"/>
                  <a:pt x="585" y="858"/>
                  <a:pt x="585" y="858"/>
                </a:cubicBezTo>
                <a:cubicBezTo>
                  <a:pt x="588" y="855"/>
                  <a:pt x="588" y="855"/>
                  <a:pt x="588" y="855"/>
                </a:cubicBezTo>
                <a:cubicBezTo>
                  <a:pt x="603" y="847"/>
                  <a:pt x="603" y="847"/>
                  <a:pt x="603" y="847"/>
                </a:cubicBezTo>
                <a:cubicBezTo>
                  <a:pt x="603" y="847"/>
                  <a:pt x="603" y="847"/>
                  <a:pt x="603" y="847"/>
                </a:cubicBezTo>
                <a:cubicBezTo>
                  <a:pt x="604" y="847"/>
                  <a:pt x="604" y="847"/>
                  <a:pt x="604" y="847"/>
                </a:cubicBezTo>
                <a:cubicBezTo>
                  <a:pt x="607" y="847"/>
                  <a:pt x="607" y="847"/>
                  <a:pt x="607" y="847"/>
                </a:cubicBezTo>
                <a:cubicBezTo>
                  <a:pt x="607" y="847"/>
                  <a:pt x="607" y="847"/>
                  <a:pt x="607" y="847"/>
                </a:cubicBezTo>
                <a:cubicBezTo>
                  <a:pt x="614" y="847"/>
                  <a:pt x="614" y="847"/>
                  <a:pt x="614" y="847"/>
                </a:cubicBezTo>
                <a:cubicBezTo>
                  <a:pt x="616" y="847"/>
                  <a:pt x="616" y="847"/>
                  <a:pt x="616" y="847"/>
                </a:cubicBezTo>
                <a:cubicBezTo>
                  <a:pt x="617" y="845"/>
                  <a:pt x="617" y="845"/>
                  <a:pt x="617" y="845"/>
                </a:cubicBezTo>
                <a:cubicBezTo>
                  <a:pt x="618" y="844"/>
                  <a:pt x="618" y="844"/>
                  <a:pt x="618" y="844"/>
                </a:cubicBezTo>
                <a:cubicBezTo>
                  <a:pt x="618" y="843"/>
                  <a:pt x="618" y="843"/>
                  <a:pt x="618" y="843"/>
                </a:cubicBezTo>
                <a:cubicBezTo>
                  <a:pt x="618" y="841"/>
                  <a:pt x="618" y="841"/>
                  <a:pt x="618" y="841"/>
                </a:cubicBezTo>
                <a:cubicBezTo>
                  <a:pt x="617" y="839"/>
                  <a:pt x="617" y="839"/>
                  <a:pt x="617" y="839"/>
                </a:cubicBezTo>
                <a:cubicBezTo>
                  <a:pt x="617" y="838"/>
                  <a:pt x="617" y="838"/>
                  <a:pt x="617" y="838"/>
                </a:cubicBezTo>
                <a:cubicBezTo>
                  <a:pt x="619" y="834"/>
                  <a:pt x="619" y="834"/>
                  <a:pt x="619" y="834"/>
                </a:cubicBezTo>
                <a:cubicBezTo>
                  <a:pt x="620" y="832"/>
                  <a:pt x="620" y="832"/>
                  <a:pt x="620" y="832"/>
                </a:cubicBezTo>
                <a:cubicBezTo>
                  <a:pt x="642" y="811"/>
                  <a:pt x="642" y="811"/>
                  <a:pt x="642" y="811"/>
                </a:cubicBezTo>
                <a:cubicBezTo>
                  <a:pt x="644" y="809"/>
                  <a:pt x="644" y="809"/>
                  <a:pt x="644" y="809"/>
                </a:cubicBezTo>
                <a:cubicBezTo>
                  <a:pt x="646" y="808"/>
                  <a:pt x="646" y="808"/>
                  <a:pt x="646" y="808"/>
                </a:cubicBezTo>
                <a:cubicBezTo>
                  <a:pt x="650" y="808"/>
                  <a:pt x="650" y="808"/>
                  <a:pt x="650" y="808"/>
                </a:cubicBezTo>
                <a:cubicBezTo>
                  <a:pt x="652" y="808"/>
                  <a:pt x="652" y="808"/>
                  <a:pt x="652" y="808"/>
                </a:cubicBezTo>
                <a:cubicBezTo>
                  <a:pt x="655" y="809"/>
                  <a:pt x="655" y="809"/>
                  <a:pt x="655" y="809"/>
                </a:cubicBezTo>
                <a:cubicBezTo>
                  <a:pt x="656" y="809"/>
                  <a:pt x="656" y="809"/>
                  <a:pt x="656" y="809"/>
                </a:cubicBezTo>
                <a:cubicBezTo>
                  <a:pt x="658" y="811"/>
                  <a:pt x="658" y="811"/>
                  <a:pt x="658" y="811"/>
                </a:cubicBezTo>
                <a:cubicBezTo>
                  <a:pt x="661" y="813"/>
                  <a:pt x="661" y="813"/>
                  <a:pt x="661" y="813"/>
                </a:cubicBezTo>
                <a:cubicBezTo>
                  <a:pt x="663" y="813"/>
                  <a:pt x="663" y="813"/>
                  <a:pt x="663" y="813"/>
                </a:cubicBezTo>
                <a:cubicBezTo>
                  <a:pt x="668" y="812"/>
                  <a:pt x="668" y="812"/>
                  <a:pt x="668" y="812"/>
                </a:cubicBezTo>
                <a:cubicBezTo>
                  <a:pt x="686" y="801"/>
                  <a:pt x="686" y="801"/>
                  <a:pt x="686" y="801"/>
                </a:cubicBezTo>
                <a:cubicBezTo>
                  <a:pt x="696" y="791"/>
                  <a:pt x="696" y="791"/>
                  <a:pt x="696" y="791"/>
                </a:cubicBezTo>
                <a:cubicBezTo>
                  <a:pt x="697" y="790"/>
                  <a:pt x="697" y="790"/>
                  <a:pt x="697" y="790"/>
                </a:cubicBezTo>
                <a:cubicBezTo>
                  <a:pt x="697" y="789"/>
                  <a:pt x="697" y="789"/>
                  <a:pt x="697" y="789"/>
                </a:cubicBezTo>
                <a:cubicBezTo>
                  <a:pt x="696" y="788"/>
                  <a:pt x="696" y="788"/>
                  <a:pt x="696" y="788"/>
                </a:cubicBezTo>
                <a:cubicBezTo>
                  <a:pt x="688" y="779"/>
                  <a:pt x="688" y="779"/>
                  <a:pt x="688" y="779"/>
                </a:cubicBezTo>
                <a:cubicBezTo>
                  <a:pt x="687" y="779"/>
                  <a:pt x="687" y="779"/>
                  <a:pt x="687" y="779"/>
                </a:cubicBezTo>
                <a:cubicBezTo>
                  <a:pt x="683" y="777"/>
                  <a:pt x="683" y="777"/>
                  <a:pt x="683" y="777"/>
                </a:cubicBezTo>
                <a:cubicBezTo>
                  <a:pt x="679" y="777"/>
                  <a:pt x="679" y="777"/>
                  <a:pt x="679" y="777"/>
                </a:cubicBezTo>
                <a:cubicBezTo>
                  <a:pt x="663" y="764"/>
                  <a:pt x="663" y="764"/>
                  <a:pt x="663" y="764"/>
                </a:cubicBezTo>
                <a:cubicBezTo>
                  <a:pt x="663" y="763"/>
                  <a:pt x="663" y="763"/>
                  <a:pt x="663" y="763"/>
                </a:cubicBezTo>
                <a:cubicBezTo>
                  <a:pt x="665" y="754"/>
                  <a:pt x="665" y="754"/>
                  <a:pt x="665" y="754"/>
                </a:cubicBezTo>
                <a:cubicBezTo>
                  <a:pt x="665" y="754"/>
                  <a:pt x="665" y="754"/>
                  <a:pt x="665" y="754"/>
                </a:cubicBezTo>
                <a:cubicBezTo>
                  <a:pt x="664" y="750"/>
                  <a:pt x="664" y="750"/>
                  <a:pt x="664" y="750"/>
                </a:cubicBezTo>
                <a:cubicBezTo>
                  <a:pt x="663" y="749"/>
                  <a:pt x="663" y="749"/>
                  <a:pt x="663" y="749"/>
                </a:cubicBezTo>
                <a:cubicBezTo>
                  <a:pt x="663" y="748"/>
                  <a:pt x="663" y="748"/>
                  <a:pt x="663" y="748"/>
                </a:cubicBezTo>
                <a:cubicBezTo>
                  <a:pt x="662" y="748"/>
                  <a:pt x="662" y="748"/>
                  <a:pt x="662" y="748"/>
                </a:cubicBezTo>
                <a:cubicBezTo>
                  <a:pt x="653" y="746"/>
                  <a:pt x="653" y="746"/>
                  <a:pt x="653" y="746"/>
                </a:cubicBezTo>
                <a:cubicBezTo>
                  <a:pt x="650" y="746"/>
                  <a:pt x="650" y="746"/>
                  <a:pt x="650" y="746"/>
                </a:cubicBezTo>
                <a:cubicBezTo>
                  <a:pt x="648" y="746"/>
                  <a:pt x="648" y="746"/>
                  <a:pt x="648" y="746"/>
                </a:cubicBezTo>
                <a:cubicBezTo>
                  <a:pt x="646" y="747"/>
                  <a:pt x="646" y="747"/>
                  <a:pt x="646" y="747"/>
                </a:cubicBezTo>
                <a:cubicBezTo>
                  <a:pt x="644" y="750"/>
                  <a:pt x="644" y="750"/>
                  <a:pt x="644" y="750"/>
                </a:cubicBezTo>
                <a:cubicBezTo>
                  <a:pt x="644" y="751"/>
                  <a:pt x="644" y="751"/>
                  <a:pt x="644" y="751"/>
                </a:cubicBezTo>
                <a:cubicBezTo>
                  <a:pt x="643" y="752"/>
                  <a:pt x="643" y="752"/>
                  <a:pt x="643" y="752"/>
                </a:cubicBezTo>
                <a:cubicBezTo>
                  <a:pt x="639" y="755"/>
                  <a:pt x="639" y="755"/>
                  <a:pt x="639" y="755"/>
                </a:cubicBezTo>
                <a:cubicBezTo>
                  <a:pt x="637" y="755"/>
                  <a:pt x="637" y="755"/>
                  <a:pt x="637" y="755"/>
                </a:cubicBezTo>
                <a:cubicBezTo>
                  <a:pt x="610" y="770"/>
                  <a:pt x="610" y="770"/>
                  <a:pt x="610" y="770"/>
                </a:cubicBezTo>
                <a:cubicBezTo>
                  <a:pt x="601" y="773"/>
                  <a:pt x="601" y="773"/>
                  <a:pt x="601" y="773"/>
                </a:cubicBezTo>
                <a:cubicBezTo>
                  <a:pt x="599" y="774"/>
                  <a:pt x="599" y="774"/>
                  <a:pt x="599" y="774"/>
                </a:cubicBezTo>
                <a:cubicBezTo>
                  <a:pt x="598" y="774"/>
                  <a:pt x="598" y="774"/>
                  <a:pt x="598" y="774"/>
                </a:cubicBezTo>
                <a:cubicBezTo>
                  <a:pt x="595" y="773"/>
                  <a:pt x="595" y="773"/>
                  <a:pt x="595" y="773"/>
                </a:cubicBezTo>
                <a:cubicBezTo>
                  <a:pt x="593" y="772"/>
                  <a:pt x="593" y="772"/>
                  <a:pt x="593" y="772"/>
                </a:cubicBezTo>
                <a:cubicBezTo>
                  <a:pt x="592" y="771"/>
                  <a:pt x="592" y="771"/>
                  <a:pt x="592" y="771"/>
                </a:cubicBezTo>
                <a:cubicBezTo>
                  <a:pt x="591" y="771"/>
                  <a:pt x="591" y="771"/>
                  <a:pt x="591" y="771"/>
                </a:cubicBezTo>
                <a:cubicBezTo>
                  <a:pt x="591" y="770"/>
                  <a:pt x="591" y="770"/>
                  <a:pt x="591" y="770"/>
                </a:cubicBezTo>
                <a:cubicBezTo>
                  <a:pt x="592" y="769"/>
                  <a:pt x="592" y="769"/>
                  <a:pt x="592" y="769"/>
                </a:cubicBezTo>
                <a:cubicBezTo>
                  <a:pt x="595" y="771"/>
                  <a:pt x="595" y="771"/>
                  <a:pt x="595" y="771"/>
                </a:cubicBezTo>
                <a:cubicBezTo>
                  <a:pt x="598" y="771"/>
                  <a:pt x="598" y="771"/>
                  <a:pt x="598" y="771"/>
                </a:cubicBezTo>
                <a:cubicBezTo>
                  <a:pt x="604" y="769"/>
                  <a:pt x="604" y="769"/>
                  <a:pt x="604" y="769"/>
                </a:cubicBezTo>
                <a:cubicBezTo>
                  <a:pt x="605" y="768"/>
                  <a:pt x="605" y="768"/>
                  <a:pt x="605" y="768"/>
                </a:cubicBezTo>
                <a:cubicBezTo>
                  <a:pt x="607" y="765"/>
                  <a:pt x="607" y="765"/>
                  <a:pt x="607" y="765"/>
                </a:cubicBezTo>
                <a:cubicBezTo>
                  <a:pt x="618" y="754"/>
                  <a:pt x="618" y="754"/>
                  <a:pt x="618" y="754"/>
                </a:cubicBezTo>
                <a:cubicBezTo>
                  <a:pt x="627" y="748"/>
                  <a:pt x="627" y="748"/>
                  <a:pt x="627" y="748"/>
                </a:cubicBezTo>
                <a:cubicBezTo>
                  <a:pt x="630" y="746"/>
                  <a:pt x="630" y="746"/>
                  <a:pt x="630" y="746"/>
                </a:cubicBezTo>
                <a:cubicBezTo>
                  <a:pt x="645" y="743"/>
                  <a:pt x="645" y="743"/>
                  <a:pt x="645" y="743"/>
                </a:cubicBezTo>
                <a:cubicBezTo>
                  <a:pt x="651" y="743"/>
                  <a:pt x="651" y="743"/>
                  <a:pt x="651" y="743"/>
                </a:cubicBezTo>
                <a:cubicBezTo>
                  <a:pt x="666" y="740"/>
                  <a:pt x="666" y="740"/>
                  <a:pt x="666" y="740"/>
                </a:cubicBezTo>
                <a:cubicBezTo>
                  <a:pt x="675" y="738"/>
                  <a:pt x="675" y="738"/>
                  <a:pt x="675" y="738"/>
                </a:cubicBezTo>
                <a:cubicBezTo>
                  <a:pt x="684" y="730"/>
                  <a:pt x="684" y="730"/>
                  <a:pt x="684" y="730"/>
                </a:cubicBezTo>
                <a:cubicBezTo>
                  <a:pt x="699" y="717"/>
                  <a:pt x="699" y="717"/>
                  <a:pt x="699" y="717"/>
                </a:cubicBezTo>
                <a:cubicBezTo>
                  <a:pt x="701" y="715"/>
                  <a:pt x="701" y="715"/>
                  <a:pt x="701" y="715"/>
                </a:cubicBezTo>
                <a:cubicBezTo>
                  <a:pt x="708" y="702"/>
                  <a:pt x="708" y="702"/>
                  <a:pt x="708" y="702"/>
                </a:cubicBezTo>
                <a:cubicBezTo>
                  <a:pt x="708" y="701"/>
                  <a:pt x="708" y="701"/>
                  <a:pt x="708" y="701"/>
                </a:cubicBezTo>
                <a:cubicBezTo>
                  <a:pt x="708" y="700"/>
                  <a:pt x="708" y="700"/>
                  <a:pt x="708" y="700"/>
                </a:cubicBezTo>
                <a:cubicBezTo>
                  <a:pt x="707" y="700"/>
                  <a:pt x="707" y="700"/>
                  <a:pt x="707" y="700"/>
                </a:cubicBezTo>
                <a:cubicBezTo>
                  <a:pt x="708" y="690"/>
                  <a:pt x="708" y="690"/>
                  <a:pt x="708" y="690"/>
                </a:cubicBezTo>
                <a:cubicBezTo>
                  <a:pt x="716" y="666"/>
                  <a:pt x="716" y="666"/>
                  <a:pt x="716" y="666"/>
                </a:cubicBezTo>
                <a:cubicBezTo>
                  <a:pt x="716" y="665"/>
                  <a:pt x="716" y="665"/>
                  <a:pt x="716" y="665"/>
                </a:cubicBezTo>
                <a:cubicBezTo>
                  <a:pt x="717" y="664"/>
                  <a:pt x="717" y="664"/>
                  <a:pt x="717" y="664"/>
                </a:cubicBezTo>
                <a:cubicBezTo>
                  <a:pt x="719" y="663"/>
                  <a:pt x="719" y="663"/>
                  <a:pt x="719" y="663"/>
                </a:cubicBezTo>
                <a:cubicBezTo>
                  <a:pt x="719" y="662"/>
                  <a:pt x="719" y="662"/>
                  <a:pt x="719" y="662"/>
                </a:cubicBezTo>
                <a:cubicBezTo>
                  <a:pt x="723" y="663"/>
                  <a:pt x="723" y="663"/>
                  <a:pt x="723" y="663"/>
                </a:cubicBezTo>
                <a:cubicBezTo>
                  <a:pt x="723" y="662"/>
                  <a:pt x="723" y="662"/>
                  <a:pt x="723" y="662"/>
                </a:cubicBezTo>
                <a:cubicBezTo>
                  <a:pt x="729" y="656"/>
                  <a:pt x="729" y="656"/>
                  <a:pt x="729" y="656"/>
                </a:cubicBezTo>
                <a:cubicBezTo>
                  <a:pt x="731" y="655"/>
                  <a:pt x="731" y="655"/>
                  <a:pt x="731" y="655"/>
                </a:cubicBezTo>
                <a:cubicBezTo>
                  <a:pt x="735" y="649"/>
                  <a:pt x="735" y="649"/>
                  <a:pt x="735" y="649"/>
                </a:cubicBezTo>
                <a:cubicBezTo>
                  <a:pt x="742" y="639"/>
                  <a:pt x="742" y="639"/>
                  <a:pt x="742" y="639"/>
                </a:cubicBezTo>
                <a:cubicBezTo>
                  <a:pt x="746" y="626"/>
                  <a:pt x="746" y="626"/>
                  <a:pt x="746" y="626"/>
                </a:cubicBezTo>
                <a:cubicBezTo>
                  <a:pt x="747" y="625"/>
                  <a:pt x="747" y="625"/>
                  <a:pt x="747" y="625"/>
                </a:cubicBezTo>
                <a:cubicBezTo>
                  <a:pt x="747" y="619"/>
                  <a:pt x="747" y="619"/>
                  <a:pt x="747" y="619"/>
                </a:cubicBezTo>
                <a:cubicBezTo>
                  <a:pt x="747" y="617"/>
                  <a:pt x="747" y="617"/>
                  <a:pt x="747" y="617"/>
                </a:cubicBezTo>
                <a:cubicBezTo>
                  <a:pt x="754" y="595"/>
                  <a:pt x="754" y="595"/>
                  <a:pt x="754" y="595"/>
                </a:cubicBezTo>
                <a:cubicBezTo>
                  <a:pt x="757" y="589"/>
                  <a:pt x="757" y="589"/>
                  <a:pt x="757" y="589"/>
                </a:cubicBezTo>
                <a:cubicBezTo>
                  <a:pt x="762" y="575"/>
                  <a:pt x="762" y="575"/>
                  <a:pt x="762" y="575"/>
                </a:cubicBezTo>
                <a:cubicBezTo>
                  <a:pt x="763" y="573"/>
                  <a:pt x="763" y="573"/>
                  <a:pt x="763" y="573"/>
                </a:cubicBezTo>
                <a:cubicBezTo>
                  <a:pt x="763" y="572"/>
                  <a:pt x="763" y="572"/>
                  <a:pt x="763" y="572"/>
                </a:cubicBezTo>
                <a:cubicBezTo>
                  <a:pt x="760" y="570"/>
                  <a:pt x="760" y="570"/>
                  <a:pt x="760" y="570"/>
                </a:cubicBezTo>
                <a:cubicBezTo>
                  <a:pt x="758" y="566"/>
                  <a:pt x="758" y="566"/>
                  <a:pt x="758" y="566"/>
                </a:cubicBezTo>
                <a:cubicBezTo>
                  <a:pt x="758" y="565"/>
                  <a:pt x="758" y="565"/>
                  <a:pt x="758" y="565"/>
                </a:cubicBezTo>
                <a:cubicBezTo>
                  <a:pt x="758" y="564"/>
                  <a:pt x="758" y="564"/>
                  <a:pt x="758" y="564"/>
                </a:cubicBezTo>
                <a:cubicBezTo>
                  <a:pt x="758" y="561"/>
                  <a:pt x="758" y="561"/>
                  <a:pt x="758" y="561"/>
                </a:cubicBezTo>
                <a:cubicBezTo>
                  <a:pt x="759" y="553"/>
                  <a:pt x="759" y="553"/>
                  <a:pt x="759" y="553"/>
                </a:cubicBezTo>
                <a:cubicBezTo>
                  <a:pt x="759" y="551"/>
                  <a:pt x="759" y="551"/>
                  <a:pt x="759" y="551"/>
                </a:cubicBezTo>
                <a:cubicBezTo>
                  <a:pt x="765" y="535"/>
                  <a:pt x="765" y="535"/>
                  <a:pt x="765" y="535"/>
                </a:cubicBezTo>
                <a:cubicBezTo>
                  <a:pt x="767" y="531"/>
                  <a:pt x="767" y="531"/>
                  <a:pt x="767" y="531"/>
                </a:cubicBezTo>
                <a:cubicBezTo>
                  <a:pt x="778" y="514"/>
                  <a:pt x="778" y="514"/>
                  <a:pt x="778" y="514"/>
                </a:cubicBezTo>
                <a:cubicBezTo>
                  <a:pt x="780" y="511"/>
                  <a:pt x="780" y="511"/>
                  <a:pt x="780" y="511"/>
                </a:cubicBezTo>
                <a:cubicBezTo>
                  <a:pt x="786" y="504"/>
                  <a:pt x="786" y="504"/>
                  <a:pt x="786" y="504"/>
                </a:cubicBezTo>
                <a:cubicBezTo>
                  <a:pt x="792" y="495"/>
                  <a:pt x="792" y="495"/>
                  <a:pt x="792" y="495"/>
                </a:cubicBezTo>
                <a:cubicBezTo>
                  <a:pt x="793" y="494"/>
                  <a:pt x="793" y="494"/>
                  <a:pt x="793" y="494"/>
                </a:cubicBezTo>
                <a:cubicBezTo>
                  <a:pt x="798" y="483"/>
                  <a:pt x="798" y="483"/>
                  <a:pt x="798" y="483"/>
                </a:cubicBezTo>
                <a:lnTo>
                  <a:pt x="787" y="455"/>
                </a:lnTo>
                <a:close/>
                <a:moveTo>
                  <a:pt x="369" y="929"/>
                </a:moveTo>
                <a:cubicBezTo>
                  <a:pt x="370" y="928"/>
                  <a:pt x="370" y="928"/>
                  <a:pt x="370" y="928"/>
                </a:cubicBezTo>
                <a:cubicBezTo>
                  <a:pt x="370" y="928"/>
                  <a:pt x="370" y="928"/>
                  <a:pt x="370" y="928"/>
                </a:cubicBezTo>
                <a:cubicBezTo>
                  <a:pt x="372" y="925"/>
                  <a:pt x="372" y="925"/>
                  <a:pt x="372" y="925"/>
                </a:cubicBezTo>
                <a:cubicBezTo>
                  <a:pt x="372" y="925"/>
                  <a:pt x="372" y="925"/>
                  <a:pt x="372" y="925"/>
                </a:cubicBezTo>
                <a:cubicBezTo>
                  <a:pt x="371" y="918"/>
                  <a:pt x="371" y="918"/>
                  <a:pt x="371" y="918"/>
                </a:cubicBezTo>
                <a:cubicBezTo>
                  <a:pt x="370" y="917"/>
                  <a:pt x="370" y="917"/>
                  <a:pt x="370" y="917"/>
                </a:cubicBezTo>
                <a:cubicBezTo>
                  <a:pt x="370" y="917"/>
                  <a:pt x="370" y="917"/>
                  <a:pt x="370" y="917"/>
                </a:cubicBezTo>
                <a:cubicBezTo>
                  <a:pt x="370" y="916"/>
                  <a:pt x="370" y="916"/>
                  <a:pt x="370" y="916"/>
                </a:cubicBezTo>
                <a:cubicBezTo>
                  <a:pt x="369" y="917"/>
                  <a:pt x="369" y="917"/>
                  <a:pt x="369" y="917"/>
                </a:cubicBezTo>
                <a:cubicBezTo>
                  <a:pt x="366" y="919"/>
                  <a:pt x="366" y="919"/>
                  <a:pt x="366" y="919"/>
                </a:cubicBezTo>
                <a:cubicBezTo>
                  <a:pt x="366" y="920"/>
                  <a:pt x="366" y="920"/>
                  <a:pt x="366" y="920"/>
                </a:cubicBezTo>
                <a:cubicBezTo>
                  <a:pt x="363" y="926"/>
                  <a:pt x="363" y="926"/>
                  <a:pt x="363" y="926"/>
                </a:cubicBezTo>
                <a:cubicBezTo>
                  <a:pt x="363" y="928"/>
                  <a:pt x="363" y="928"/>
                  <a:pt x="363" y="928"/>
                </a:cubicBezTo>
                <a:cubicBezTo>
                  <a:pt x="363" y="929"/>
                  <a:pt x="363" y="929"/>
                  <a:pt x="363" y="929"/>
                </a:cubicBezTo>
                <a:cubicBezTo>
                  <a:pt x="364" y="929"/>
                  <a:pt x="364" y="929"/>
                  <a:pt x="364" y="929"/>
                </a:cubicBezTo>
                <a:lnTo>
                  <a:pt x="369" y="929"/>
                </a:lnTo>
                <a:close/>
                <a:moveTo>
                  <a:pt x="186" y="747"/>
                </a:moveTo>
                <a:cubicBezTo>
                  <a:pt x="191" y="749"/>
                  <a:pt x="191" y="749"/>
                  <a:pt x="191" y="749"/>
                </a:cubicBezTo>
                <a:cubicBezTo>
                  <a:pt x="193" y="749"/>
                  <a:pt x="193" y="749"/>
                  <a:pt x="193" y="749"/>
                </a:cubicBezTo>
                <a:cubicBezTo>
                  <a:pt x="194" y="748"/>
                  <a:pt x="194" y="748"/>
                  <a:pt x="194" y="748"/>
                </a:cubicBezTo>
                <a:cubicBezTo>
                  <a:pt x="195" y="748"/>
                  <a:pt x="195" y="748"/>
                  <a:pt x="195" y="748"/>
                </a:cubicBezTo>
                <a:cubicBezTo>
                  <a:pt x="195" y="747"/>
                  <a:pt x="195" y="747"/>
                  <a:pt x="195" y="747"/>
                </a:cubicBezTo>
                <a:cubicBezTo>
                  <a:pt x="195" y="746"/>
                  <a:pt x="195" y="746"/>
                  <a:pt x="195" y="746"/>
                </a:cubicBezTo>
                <a:cubicBezTo>
                  <a:pt x="195" y="745"/>
                  <a:pt x="195" y="745"/>
                  <a:pt x="195" y="745"/>
                </a:cubicBezTo>
                <a:cubicBezTo>
                  <a:pt x="191" y="743"/>
                  <a:pt x="191" y="743"/>
                  <a:pt x="191" y="743"/>
                </a:cubicBezTo>
                <a:cubicBezTo>
                  <a:pt x="185" y="739"/>
                  <a:pt x="185" y="739"/>
                  <a:pt x="185" y="739"/>
                </a:cubicBezTo>
                <a:cubicBezTo>
                  <a:pt x="182" y="740"/>
                  <a:pt x="182" y="740"/>
                  <a:pt x="182" y="740"/>
                </a:cubicBezTo>
                <a:cubicBezTo>
                  <a:pt x="181" y="741"/>
                  <a:pt x="181" y="741"/>
                  <a:pt x="181" y="741"/>
                </a:cubicBezTo>
                <a:cubicBezTo>
                  <a:pt x="180" y="743"/>
                  <a:pt x="180" y="743"/>
                  <a:pt x="180" y="743"/>
                </a:cubicBezTo>
                <a:cubicBezTo>
                  <a:pt x="180" y="744"/>
                  <a:pt x="180" y="744"/>
                  <a:pt x="180" y="744"/>
                </a:cubicBezTo>
                <a:cubicBezTo>
                  <a:pt x="180" y="745"/>
                  <a:pt x="180" y="745"/>
                  <a:pt x="180" y="745"/>
                </a:cubicBezTo>
                <a:cubicBezTo>
                  <a:pt x="182" y="746"/>
                  <a:pt x="182" y="746"/>
                  <a:pt x="182" y="746"/>
                </a:cubicBezTo>
                <a:lnTo>
                  <a:pt x="186" y="747"/>
                </a:lnTo>
                <a:close/>
                <a:moveTo>
                  <a:pt x="235" y="874"/>
                </a:moveTo>
                <a:cubicBezTo>
                  <a:pt x="235" y="874"/>
                  <a:pt x="235" y="874"/>
                  <a:pt x="235" y="874"/>
                </a:cubicBezTo>
                <a:cubicBezTo>
                  <a:pt x="235" y="873"/>
                  <a:pt x="235" y="873"/>
                  <a:pt x="235" y="873"/>
                </a:cubicBezTo>
                <a:cubicBezTo>
                  <a:pt x="227" y="876"/>
                  <a:pt x="227" y="876"/>
                  <a:pt x="227" y="876"/>
                </a:cubicBezTo>
                <a:cubicBezTo>
                  <a:pt x="224" y="877"/>
                  <a:pt x="224" y="877"/>
                  <a:pt x="224" y="877"/>
                </a:cubicBezTo>
                <a:cubicBezTo>
                  <a:pt x="218" y="877"/>
                  <a:pt x="218" y="877"/>
                  <a:pt x="218" y="877"/>
                </a:cubicBezTo>
                <a:cubicBezTo>
                  <a:pt x="214" y="876"/>
                  <a:pt x="214" y="876"/>
                  <a:pt x="214" y="876"/>
                </a:cubicBezTo>
                <a:cubicBezTo>
                  <a:pt x="208" y="878"/>
                  <a:pt x="208" y="878"/>
                  <a:pt x="208" y="878"/>
                </a:cubicBezTo>
                <a:cubicBezTo>
                  <a:pt x="206" y="879"/>
                  <a:pt x="206" y="879"/>
                  <a:pt x="206" y="879"/>
                </a:cubicBezTo>
                <a:cubicBezTo>
                  <a:pt x="201" y="889"/>
                  <a:pt x="201" y="889"/>
                  <a:pt x="201" y="889"/>
                </a:cubicBezTo>
                <a:cubicBezTo>
                  <a:pt x="199" y="891"/>
                  <a:pt x="199" y="891"/>
                  <a:pt x="199" y="891"/>
                </a:cubicBezTo>
                <a:cubicBezTo>
                  <a:pt x="199" y="893"/>
                  <a:pt x="199" y="893"/>
                  <a:pt x="199" y="893"/>
                </a:cubicBezTo>
                <a:cubicBezTo>
                  <a:pt x="199" y="901"/>
                  <a:pt x="199" y="901"/>
                  <a:pt x="199" y="901"/>
                </a:cubicBezTo>
                <a:cubicBezTo>
                  <a:pt x="200" y="903"/>
                  <a:pt x="200" y="903"/>
                  <a:pt x="200" y="903"/>
                </a:cubicBezTo>
                <a:cubicBezTo>
                  <a:pt x="202" y="909"/>
                  <a:pt x="202" y="909"/>
                  <a:pt x="202" y="909"/>
                </a:cubicBezTo>
                <a:cubicBezTo>
                  <a:pt x="203" y="911"/>
                  <a:pt x="203" y="911"/>
                  <a:pt x="203" y="911"/>
                </a:cubicBezTo>
                <a:cubicBezTo>
                  <a:pt x="204" y="912"/>
                  <a:pt x="204" y="912"/>
                  <a:pt x="204" y="912"/>
                </a:cubicBezTo>
                <a:cubicBezTo>
                  <a:pt x="210" y="916"/>
                  <a:pt x="210" y="916"/>
                  <a:pt x="210" y="916"/>
                </a:cubicBezTo>
                <a:cubicBezTo>
                  <a:pt x="218" y="917"/>
                  <a:pt x="218" y="917"/>
                  <a:pt x="218" y="917"/>
                </a:cubicBezTo>
                <a:cubicBezTo>
                  <a:pt x="219" y="916"/>
                  <a:pt x="219" y="916"/>
                  <a:pt x="219" y="916"/>
                </a:cubicBezTo>
                <a:cubicBezTo>
                  <a:pt x="236" y="879"/>
                  <a:pt x="236" y="879"/>
                  <a:pt x="236" y="879"/>
                </a:cubicBezTo>
                <a:cubicBezTo>
                  <a:pt x="236" y="877"/>
                  <a:pt x="236" y="877"/>
                  <a:pt x="236" y="877"/>
                </a:cubicBezTo>
                <a:lnTo>
                  <a:pt x="235" y="874"/>
                </a:lnTo>
                <a:close/>
                <a:moveTo>
                  <a:pt x="154" y="780"/>
                </a:moveTo>
                <a:cubicBezTo>
                  <a:pt x="152" y="784"/>
                  <a:pt x="152" y="784"/>
                  <a:pt x="152" y="784"/>
                </a:cubicBezTo>
                <a:cubicBezTo>
                  <a:pt x="153" y="785"/>
                  <a:pt x="153" y="785"/>
                  <a:pt x="153" y="785"/>
                </a:cubicBezTo>
                <a:cubicBezTo>
                  <a:pt x="154" y="786"/>
                  <a:pt x="154" y="786"/>
                  <a:pt x="154" y="786"/>
                </a:cubicBezTo>
                <a:cubicBezTo>
                  <a:pt x="155" y="787"/>
                  <a:pt x="155" y="787"/>
                  <a:pt x="155" y="787"/>
                </a:cubicBezTo>
                <a:cubicBezTo>
                  <a:pt x="157" y="785"/>
                  <a:pt x="157" y="785"/>
                  <a:pt x="157" y="785"/>
                </a:cubicBezTo>
                <a:cubicBezTo>
                  <a:pt x="158" y="783"/>
                  <a:pt x="158" y="783"/>
                  <a:pt x="158" y="783"/>
                </a:cubicBezTo>
                <a:cubicBezTo>
                  <a:pt x="160" y="782"/>
                  <a:pt x="160" y="782"/>
                  <a:pt x="160" y="782"/>
                </a:cubicBezTo>
                <a:cubicBezTo>
                  <a:pt x="161" y="781"/>
                  <a:pt x="161" y="781"/>
                  <a:pt x="161" y="781"/>
                </a:cubicBezTo>
                <a:cubicBezTo>
                  <a:pt x="161" y="779"/>
                  <a:pt x="161" y="779"/>
                  <a:pt x="161" y="779"/>
                </a:cubicBezTo>
                <a:cubicBezTo>
                  <a:pt x="161" y="778"/>
                  <a:pt x="161" y="778"/>
                  <a:pt x="161" y="778"/>
                </a:cubicBezTo>
                <a:cubicBezTo>
                  <a:pt x="161" y="777"/>
                  <a:pt x="161" y="777"/>
                  <a:pt x="161" y="777"/>
                </a:cubicBezTo>
                <a:cubicBezTo>
                  <a:pt x="161" y="777"/>
                  <a:pt x="161" y="777"/>
                  <a:pt x="161" y="777"/>
                </a:cubicBezTo>
                <a:cubicBezTo>
                  <a:pt x="157" y="777"/>
                  <a:pt x="157" y="777"/>
                  <a:pt x="157" y="777"/>
                </a:cubicBezTo>
                <a:lnTo>
                  <a:pt x="154" y="780"/>
                </a:lnTo>
                <a:close/>
                <a:moveTo>
                  <a:pt x="186" y="607"/>
                </a:moveTo>
                <a:cubicBezTo>
                  <a:pt x="185" y="606"/>
                  <a:pt x="185" y="606"/>
                  <a:pt x="185" y="606"/>
                </a:cubicBezTo>
                <a:cubicBezTo>
                  <a:pt x="185" y="605"/>
                  <a:pt x="185" y="605"/>
                  <a:pt x="185" y="605"/>
                </a:cubicBezTo>
                <a:cubicBezTo>
                  <a:pt x="182" y="602"/>
                  <a:pt x="182" y="602"/>
                  <a:pt x="182" y="602"/>
                </a:cubicBezTo>
                <a:cubicBezTo>
                  <a:pt x="176" y="597"/>
                  <a:pt x="176" y="597"/>
                  <a:pt x="176" y="597"/>
                </a:cubicBezTo>
                <a:cubicBezTo>
                  <a:pt x="174" y="596"/>
                  <a:pt x="174" y="596"/>
                  <a:pt x="174" y="596"/>
                </a:cubicBezTo>
                <a:cubicBezTo>
                  <a:pt x="171" y="596"/>
                  <a:pt x="171" y="596"/>
                  <a:pt x="171" y="596"/>
                </a:cubicBezTo>
                <a:cubicBezTo>
                  <a:pt x="167" y="597"/>
                  <a:pt x="167" y="597"/>
                  <a:pt x="167" y="597"/>
                </a:cubicBezTo>
                <a:cubicBezTo>
                  <a:pt x="166" y="597"/>
                  <a:pt x="166" y="597"/>
                  <a:pt x="166" y="597"/>
                </a:cubicBezTo>
                <a:cubicBezTo>
                  <a:pt x="162" y="601"/>
                  <a:pt x="162" y="601"/>
                  <a:pt x="162" y="601"/>
                </a:cubicBezTo>
                <a:cubicBezTo>
                  <a:pt x="157" y="607"/>
                  <a:pt x="157" y="607"/>
                  <a:pt x="157" y="607"/>
                </a:cubicBezTo>
                <a:cubicBezTo>
                  <a:pt x="160" y="612"/>
                  <a:pt x="160" y="612"/>
                  <a:pt x="160" y="612"/>
                </a:cubicBezTo>
                <a:cubicBezTo>
                  <a:pt x="165" y="618"/>
                  <a:pt x="165" y="618"/>
                  <a:pt x="165" y="618"/>
                </a:cubicBezTo>
                <a:cubicBezTo>
                  <a:pt x="173" y="626"/>
                  <a:pt x="173" y="626"/>
                  <a:pt x="173" y="626"/>
                </a:cubicBezTo>
                <a:cubicBezTo>
                  <a:pt x="174" y="627"/>
                  <a:pt x="174" y="627"/>
                  <a:pt x="174" y="627"/>
                </a:cubicBezTo>
                <a:cubicBezTo>
                  <a:pt x="176" y="626"/>
                  <a:pt x="176" y="626"/>
                  <a:pt x="176" y="626"/>
                </a:cubicBezTo>
                <a:cubicBezTo>
                  <a:pt x="178" y="625"/>
                  <a:pt x="178" y="625"/>
                  <a:pt x="178" y="625"/>
                </a:cubicBezTo>
                <a:cubicBezTo>
                  <a:pt x="180" y="623"/>
                  <a:pt x="180" y="623"/>
                  <a:pt x="180" y="623"/>
                </a:cubicBezTo>
                <a:cubicBezTo>
                  <a:pt x="182" y="621"/>
                  <a:pt x="182" y="621"/>
                  <a:pt x="182" y="621"/>
                </a:cubicBezTo>
                <a:cubicBezTo>
                  <a:pt x="183" y="619"/>
                  <a:pt x="183" y="619"/>
                  <a:pt x="183" y="619"/>
                </a:cubicBezTo>
                <a:cubicBezTo>
                  <a:pt x="184" y="618"/>
                  <a:pt x="184" y="618"/>
                  <a:pt x="184" y="618"/>
                </a:cubicBezTo>
                <a:cubicBezTo>
                  <a:pt x="184" y="612"/>
                  <a:pt x="184" y="612"/>
                  <a:pt x="184" y="612"/>
                </a:cubicBezTo>
                <a:cubicBezTo>
                  <a:pt x="185" y="612"/>
                  <a:pt x="185" y="612"/>
                  <a:pt x="185" y="612"/>
                </a:cubicBezTo>
                <a:cubicBezTo>
                  <a:pt x="185" y="611"/>
                  <a:pt x="185" y="611"/>
                  <a:pt x="185" y="611"/>
                </a:cubicBezTo>
                <a:lnTo>
                  <a:pt x="186" y="607"/>
                </a:lnTo>
                <a:close/>
                <a:moveTo>
                  <a:pt x="147" y="593"/>
                </a:moveTo>
                <a:cubicBezTo>
                  <a:pt x="145" y="593"/>
                  <a:pt x="145" y="593"/>
                  <a:pt x="145" y="593"/>
                </a:cubicBezTo>
                <a:cubicBezTo>
                  <a:pt x="143" y="593"/>
                  <a:pt x="143" y="593"/>
                  <a:pt x="143" y="593"/>
                </a:cubicBezTo>
                <a:cubicBezTo>
                  <a:pt x="141" y="593"/>
                  <a:pt x="141" y="593"/>
                  <a:pt x="141" y="593"/>
                </a:cubicBezTo>
                <a:cubicBezTo>
                  <a:pt x="135" y="596"/>
                  <a:pt x="135" y="596"/>
                  <a:pt x="135" y="596"/>
                </a:cubicBezTo>
                <a:cubicBezTo>
                  <a:pt x="135" y="596"/>
                  <a:pt x="135" y="596"/>
                  <a:pt x="135" y="596"/>
                </a:cubicBezTo>
                <a:cubicBezTo>
                  <a:pt x="134" y="597"/>
                  <a:pt x="134" y="597"/>
                  <a:pt x="134" y="597"/>
                </a:cubicBezTo>
                <a:cubicBezTo>
                  <a:pt x="135" y="599"/>
                  <a:pt x="135" y="599"/>
                  <a:pt x="135" y="599"/>
                </a:cubicBezTo>
                <a:cubicBezTo>
                  <a:pt x="135" y="600"/>
                  <a:pt x="135" y="600"/>
                  <a:pt x="135" y="600"/>
                </a:cubicBezTo>
                <a:cubicBezTo>
                  <a:pt x="136" y="600"/>
                  <a:pt x="136" y="600"/>
                  <a:pt x="136" y="600"/>
                </a:cubicBezTo>
                <a:cubicBezTo>
                  <a:pt x="148" y="597"/>
                  <a:pt x="148" y="597"/>
                  <a:pt x="148" y="597"/>
                </a:cubicBezTo>
                <a:cubicBezTo>
                  <a:pt x="150" y="596"/>
                  <a:pt x="150" y="596"/>
                  <a:pt x="150" y="596"/>
                </a:cubicBezTo>
                <a:cubicBezTo>
                  <a:pt x="151" y="596"/>
                  <a:pt x="151" y="596"/>
                  <a:pt x="151" y="596"/>
                </a:cubicBezTo>
                <a:cubicBezTo>
                  <a:pt x="151" y="595"/>
                  <a:pt x="151" y="595"/>
                  <a:pt x="151" y="595"/>
                </a:cubicBezTo>
                <a:cubicBezTo>
                  <a:pt x="151" y="595"/>
                  <a:pt x="151" y="595"/>
                  <a:pt x="151" y="595"/>
                </a:cubicBezTo>
                <a:cubicBezTo>
                  <a:pt x="151" y="593"/>
                  <a:pt x="151" y="593"/>
                  <a:pt x="151" y="593"/>
                </a:cubicBezTo>
                <a:cubicBezTo>
                  <a:pt x="150" y="593"/>
                  <a:pt x="150" y="593"/>
                  <a:pt x="150" y="593"/>
                </a:cubicBezTo>
                <a:lnTo>
                  <a:pt x="147" y="593"/>
                </a:lnTo>
                <a:close/>
                <a:moveTo>
                  <a:pt x="207" y="926"/>
                </a:moveTo>
                <a:cubicBezTo>
                  <a:pt x="206" y="924"/>
                  <a:pt x="206" y="924"/>
                  <a:pt x="206" y="924"/>
                </a:cubicBezTo>
                <a:cubicBezTo>
                  <a:pt x="204" y="921"/>
                  <a:pt x="204" y="921"/>
                  <a:pt x="204" y="921"/>
                </a:cubicBezTo>
                <a:cubicBezTo>
                  <a:pt x="201" y="919"/>
                  <a:pt x="201" y="919"/>
                  <a:pt x="201" y="919"/>
                </a:cubicBezTo>
                <a:cubicBezTo>
                  <a:pt x="199" y="916"/>
                  <a:pt x="199" y="916"/>
                  <a:pt x="199" y="916"/>
                </a:cubicBezTo>
                <a:cubicBezTo>
                  <a:pt x="198" y="911"/>
                  <a:pt x="198" y="911"/>
                  <a:pt x="198" y="911"/>
                </a:cubicBezTo>
                <a:cubicBezTo>
                  <a:pt x="196" y="896"/>
                  <a:pt x="196" y="896"/>
                  <a:pt x="196" y="896"/>
                </a:cubicBezTo>
                <a:cubicBezTo>
                  <a:pt x="195" y="886"/>
                  <a:pt x="195" y="886"/>
                  <a:pt x="195" y="886"/>
                </a:cubicBezTo>
                <a:cubicBezTo>
                  <a:pt x="195" y="884"/>
                  <a:pt x="195" y="884"/>
                  <a:pt x="195" y="884"/>
                </a:cubicBezTo>
                <a:cubicBezTo>
                  <a:pt x="196" y="883"/>
                  <a:pt x="196" y="883"/>
                  <a:pt x="196" y="883"/>
                </a:cubicBezTo>
                <a:cubicBezTo>
                  <a:pt x="197" y="881"/>
                  <a:pt x="197" y="881"/>
                  <a:pt x="197" y="881"/>
                </a:cubicBezTo>
                <a:cubicBezTo>
                  <a:pt x="197" y="880"/>
                  <a:pt x="197" y="880"/>
                  <a:pt x="197" y="880"/>
                </a:cubicBezTo>
                <a:cubicBezTo>
                  <a:pt x="197" y="880"/>
                  <a:pt x="197" y="880"/>
                  <a:pt x="197" y="880"/>
                </a:cubicBezTo>
                <a:cubicBezTo>
                  <a:pt x="193" y="880"/>
                  <a:pt x="193" y="880"/>
                  <a:pt x="193" y="880"/>
                </a:cubicBezTo>
                <a:cubicBezTo>
                  <a:pt x="166" y="892"/>
                  <a:pt x="166" y="892"/>
                  <a:pt x="166" y="892"/>
                </a:cubicBezTo>
                <a:cubicBezTo>
                  <a:pt x="151" y="899"/>
                  <a:pt x="151" y="899"/>
                  <a:pt x="151" y="899"/>
                </a:cubicBezTo>
                <a:cubicBezTo>
                  <a:pt x="150" y="900"/>
                  <a:pt x="150" y="900"/>
                  <a:pt x="150" y="900"/>
                </a:cubicBezTo>
                <a:cubicBezTo>
                  <a:pt x="149" y="902"/>
                  <a:pt x="149" y="902"/>
                  <a:pt x="149" y="902"/>
                </a:cubicBezTo>
                <a:cubicBezTo>
                  <a:pt x="148" y="903"/>
                  <a:pt x="148" y="903"/>
                  <a:pt x="148" y="903"/>
                </a:cubicBezTo>
                <a:cubicBezTo>
                  <a:pt x="145" y="915"/>
                  <a:pt x="145" y="915"/>
                  <a:pt x="145" y="915"/>
                </a:cubicBezTo>
                <a:cubicBezTo>
                  <a:pt x="138" y="940"/>
                  <a:pt x="138" y="940"/>
                  <a:pt x="138" y="940"/>
                </a:cubicBezTo>
                <a:cubicBezTo>
                  <a:pt x="138" y="941"/>
                  <a:pt x="138" y="941"/>
                  <a:pt x="138" y="941"/>
                </a:cubicBezTo>
                <a:cubicBezTo>
                  <a:pt x="139" y="946"/>
                  <a:pt x="139" y="946"/>
                  <a:pt x="139" y="946"/>
                </a:cubicBezTo>
                <a:cubicBezTo>
                  <a:pt x="139" y="946"/>
                  <a:pt x="139" y="946"/>
                  <a:pt x="139" y="946"/>
                </a:cubicBezTo>
                <a:cubicBezTo>
                  <a:pt x="140" y="947"/>
                  <a:pt x="140" y="947"/>
                  <a:pt x="140" y="947"/>
                </a:cubicBezTo>
                <a:cubicBezTo>
                  <a:pt x="145" y="946"/>
                  <a:pt x="145" y="946"/>
                  <a:pt x="145" y="946"/>
                </a:cubicBezTo>
                <a:cubicBezTo>
                  <a:pt x="149" y="943"/>
                  <a:pt x="149" y="943"/>
                  <a:pt x="149" y="943"/>
                </a:cubicBezTo>
                <a:cubicBezTo>
                  <a:pt x="152" y="941"/>
                  <a:pt x="152" y="941"/>
                  <a:pt x="152" y="941"/>
                </a:cubicBezTo>
                <a:cubicBezTo>
                  <a:pt x="153" y="939"/>
                  <a:pt x="153" y="939"/>
                  <a:pt x="153" y="939"/>
                </a:cubicBezTo>
                <a:cubicBezTo>
                  <a:pt x="156" y="936"/>
                  <a:pt x="156" y="936"/>
                  <a:pt x="156" y="936"/>
                </a:cubicBezTo>
                <a:cubicBezTo>
                  <a:pt x="157" y="935"/>
                  <a:pt x="157" y="935"/>
                  <a:pt x="157" y="935"/>
                </a:cubicBezTo>
                <a:cubicBezTo>
                  <a:pt x="160" y="927"/>
                  <a:pt x="160" y="927"/>
                  <a:pt x="160" y="927"/>
                </a:cubicBezTo>
                <a:cubicBezTo>
                  <a:pt x="162" y="923"/>
                  <a:pt x="162" y="923"/>
                  <a:pt x="162" y="923"/>
                </a:cubicBezTo>
                <a:cubicBezTo>
                  <a:pt x="163" y="920"/>
                  <a:pt x="163" y="920"/>
                  <a:pt x="163" y="920"/>
                </a:cubicBezTo>
                <a:cubicBezTo>
                  <a:pt x="164" y="920"/>
                  <a:pt x="164" y="920"/>
                  <a:pt x="164" y="920"/>
                </a:cubicBezTo>
                <a:cubicBezTo>
                  <a:pt x="174" y="920"/>
                  <a:pt x="174" y="920"/>
                  <a:pt x="174" y="920"/>
                </a:cubicBezTo>
                <a:cubicBezTo>
                  <a:pt x="175" y="920"/>
                  <a:pt x="175" y="920"/>
                  <a:pt x="175" y="920"/>
                </a:cubicBezTo>
                <a:cubicBezTo>
                  <a:pt x="176" y="920"/>
                  <a:pt x="176" y="920"/>
                  <a:pt x="176" y="920"/>
                </a:cubicBezTo>
                <a:cubicBezTo>
                  <a:pt x="176" y="921"/>
                  <a:pt x="176" y="921"/>
                  <a:pt x="176" y="921"/>
                </a:cubicBezTo>
                <a:cubicBezTo>
                  <a:pt x="176" y="922"/>
                  <a:pt x="176" y="922"/>
                  <a:pt x="176" y="922"/>
                </a:cubicBezTo>
                <a:cubicBezTo>
                  <a:pt x="176" y="923"/>
                  <a:pt x="176" y="923"/>
                  <a:pt x="176" y="923"/>
                </a:cubicBezTo>
                <a:cubicBezTo>
                  <a:pt x="175" y="924"/>
                  <a:pt x="175" y="924"/>
                  <a:pt x="175" y="924"/>
                </a:cubicBezTo>
                <a:cubicBezTo>
                  <a:pt x="173" y="925"/>
                  <a:pt x="173" y="925"/>
                  <a:pt x="173" y="925"/>
                </a:cubicBezTo>
                <a:cubicBezTo>
                  <a:pt x="170" y="937"/>
                  <a:pt x="170" y="937"/>
                  <a:pt x="170" y="937"/>
                </a:cubicBezTo>
                <a:cubicBezTo>
                  <a:pt x="165" y="959"/>
                  <a:pt x="165" y="959"/>
                  <a:pt x="165" y="959"/>
                </a:cubicBezTo>
                <a:cubicBezTo>
                  <a:pt x="164" y="965"/>
                  <a:pt x="164" y="965"/>
                  <a:pt x="164" y="965"/>
                </a:cubicBezTo>
                <a:cubicBezTo>
                  <a:pt x="164" y="966"/>
                  <a:pt x="164" y="966"/>
                  <a:pt x="164" y="966"/>
                </a:cubicBezTo>
                <a:cubicBezTo>
                  <a:pt x="171" y="970"/>
                  <a:pt x="171" y="970"/>
                  <a:pt x="171" y="970"/>
                </a:cubicBezTo>
                <a:cubicBezTo>
                  <a:pt x="174" y="969"/>
                  <a:pt x="174" y="969"/>
                  <a:pt x="174" y="969"/>
                </a:cubicBezTo>
                <a:cubicBezTo>
                  <a:pt x="175" y="969"/>
                  <a:pt x="175" y="969"/>
                  <a:pt x="175" y="969"/>
                </a:cubicBezTo>
                <a:cubicBezTo>
                  <a:pt x="195" y="957"/>
                  <a:pt x="195" y="957"/>
                  <a:pt x="195" y="957"/>
                </a:cubicBezTo>
                <a:cubicBezTo>
                  <a:pt x="200" y="953"/>
                  <a:pt x="200" y="953"/>
                  <a:pt x="200" y="953"/>
                </a:cubicBezTo>
                <a:cubicBezTo>
                  <a:pt x="209" y="946"/>
                  <a:pt x="209" y="946"/>
                  <a:pt x="209" y="946"/>
                </a:cubicBezTo>
                <a:cubicBezTo>
                  <a:pt x="210" y="944"/>
                  <a:pt x="210" y="944"/>
                  <a:pt x="210" y="944"/>
                </a:cubicBezTo>
                <a:cubicBezTo>
                  <a:pt x="210" y="943"/>
                  <a:pt x="210" y="943"/>
                  <a:pt x="210" y="943"/>
                </a:cubicBezTo>
                <a:cubicBezTo>
                  <a:pt x="209" y="935"/>
                  <a:pt x="209" y="935"/>
                  <a:pt x="209" y="935"/>
                </a:cubicBezTo>
                <a:lnTo>
                  <a:pt x="207" y="926"/>
                </a:lnTo>
                <a:close/>
                <a:moveTo>
                  <a:pt x="141" y="712"/>
                </a:moveTo>
                <a:cubicBezTo>
                  <a:pt x="146" y="706"/>
                  <a:pt x="146" y="706"/>
                  <a:pt x="146" y="706"/>
                </a:cubicBezTo>
                <a:cubicBezTo>
                  <a:pt x="149" y="703"/>
                  <a:pt x="149" y="703"/>
                  <a:pt x="149" y="703"/>
                </a:cubicBezTo>
                <a:cubicBezTo>
                  <a:pt x="154" y="692"/>
                  <a:pt x="154" y="692"/>
                  <a:pt x="154" y="692"/>
                </a:cubicBezTo>
                <a:cubicBezTo>
                  <a:pt x="154" y="691"/>
                  <a:pt x="154" y="691"/>
                  <a:pt x="154" y="691"/>
                </a:cubicBezTo>
                <a:cubicBezTo>
                  <a:pt x="155" y="690"/>
                  <a:pt x="155" y="690"/>
                  <a:pt x="155" y="690"/>
                </a:cubicBezTo>
                <a:cubicBezTo>
                  <a:pt x="155" y="690"/>
                  <a:pt x="155" y="690"/>
                  <a:pt x="155" y="690"/>
                </a:cubicBezTo>
                <a:cubicBezTo>
                  <a:pt x="154" y="689"/>
                  <a:pt x="154" y="689"/>
                  <a:pt x="154" y="689"/>
                </a:cubicBezTo>
                <a:cubicBezTo>
                  <a:pt x="147" y="691"/>
                  <a:pt x="147" y="691"/>
                  <a:pt x="147" y="691"/>
                </a:cubicBezTo>
                <a:cubicBezTo>
                  <a:pt x="141" y="695"/>
                  <a:pt x="141" y="695"/>
                  <a:pt x="141" y="695"/>
                </a:cubicBezTo>
                <a:cubicBezTo>
                  <a:pt x="130" y="704"/>
                  <a:pt x="130" y="704"/>
                  <a:pt x="130" y="704"/>
                </a:cubicBezTo>
                <a:cubicBezTo>
                  <a:pt x="122" y="714"/>
                  <a:pt x="122" y="714"/>
                  <a:pt x="122" y="714"/>
                </a:cubicBezTo>
                <a:cubicBezTo>
                  <a:pt x="120" y="720"/>
                  <a:pt x="120" y="720"/>
                  <a:pt x="120" y="720"/>
                </a:cubicBezTo>
                <a:cubicBezTo>
                  <a:pt x="130" y="717"/>
                  <a:pt x="130" y="717"/>
                  <a:pt x="130" y="717"/>
                </a:cubicBezTo>
                <a:cubicBezTo>
                  <a:pt x="136" y="715"/>
                  <a:pt x="136" y="715"/>
                  <a:pt x="136" y="715"/>
                </a:cubicBezTo>
                <a:cubicBezTo>
                  <a:pt x="140" y="713"/>
                  <a:pt x="140" y="713"/>
                  <a:pt x="140" y="713"/>
                </a:cubicBezTo>
                <a:lnTo>
                  <a:pt x="141" y="712"/>
                </a:lnTo>
                <a:close/>
                <a:moveTo>
                  <a:pt x="112" y="303"/>
                </a:moveTo>
                <a:cubicBezTo>
                  <a:pt x="118" y="307"/>
                  <a:pt x="118" y="307"/>
                  <a:pt x="118" y="307"/>
                </a:cubicBezTo>
                <a:cubicBezTo>
                  <a:pt x="119" y="308"/>
                  <a:pt x="119" y="308"/>
                  <a:pt x="119" y="308"/>
                </a:cubicBezTo>
                <a:cubicBezTo>
                  <a:pt x="119" y="307"/>
                  <a:pt x="119" y="307"/>
                  <a:pt x="119" y="307"/>
                </a:cubicBezTo>
                <a:cubicBezTo>
                  <a:pt x="119" y="306"/>
                  <a:pt x="119" y="306"/>
                  <a:pt x="119" y="306"/>
                </a:cubicBezTo>
                <a:cubicBezTo>
                  <a:pt x="119" y="303"/>
                  <a:pt x="119" y="303"/>
                  <a:pt x="119" y="303"/>
                </a:cubicBezTo>
                <a:cubicBezTo>
                  <a:pt x="118" y="302"/>
                  <a:pt x="118" y="302"/>
                  <a:pt x="118" y="302"/>
                </a:cubicBezTo>
                <a:cubicBezTo>
                  <a:pt x="116" y="300"/>
                  <a:pt x="116" y="300"/>
                  <a:pt x="116" y="300"/>
                </a:cubicBezTo>
                <a:cubicBezTo>
                  <a:pt x="111" y="294"/>
                  <a:pt x="111" y="294"/>
                  <a:pt x="111" y="294"/>
                </a:cubicBezTo>
                <a:cubicBezTo>
                  <a:pt x="111" y="294"/>
                  <a:pt x="111" y="294"/>
                  <a:pt x="111" y="294"/>
                </a:cubicBezTo>
                <a:cubicBezTo>
                  <a:pt x="107" y="293"/>
                  <a:pt x="107" y="293"/>
                  <a:pt x="107" y="293"/>
                </a:cubicBezTo>
                <a:cubicBezTo>
                  <a:pt x="106" y="293"/>
                  <a:pt x="106" y="293"/>
                  <a:pt x="106" y="293"/>
                </a:cubicBezTo>
                <a:cubicBezTo>
                  <a:pt x="105" y="294"/>
                  <a:pt x="105" y="294"/>
                  <a:pt x="105" y="294"/>
                </a:cubicBezTo>
                <a:cubicBezTo>
                  <a:pt x="105" y="295"/>
                  <a:pt x="105" y="295"/>
                  <a:pt x="105" y="295"/>
                </a:cubicBezTo>
                <a:cubicBezTo>
                  <a:pt x="106" y="296"/>
                  <a:pt x="106" y="296"/>
                  <a:pt x="106" y="296"/>
                </a:cubicBezTo>
                <a:lnTo>
                  <a:pt x="112" y="303"/>
                </a:lnTo>
                <a:close/>
                <a:moveTo>
                  <a:pt x="630" y="154"/>
                </a:moveTo>
                <a:cubicBezTo>
                  <a:pt x="631" y="150"/>
                  <a:pt x="631" y="150"/>
                  <a:pt x="631" y="150"/>
                </a:cubicBezTo>
                <a:cubicBezTo>
                  <a:pt x="631" y="149"/>
                  <a:pt x="631" y="149"/>
                  <a:pt x="631" y="149"/>
                </a:cubicBezTo>
                <a:cubicBezTo>
                  <a:pt x="633" y="149"/>
                  <a:pt x="633" y="149"/>
                  <a:pt x="633" y="149"/>
                </a:cubicBezTo>
                <a:cubicBezTo>
                  <a:pt x="634" y="148"/>
                  <a:pt x="634" y="148"/>
                  <a:pt x="634" y="148"/>
                </a:cubicBezTo>
                <a:cubicBezTo>
                  <a:pt x="634" y="148"/>
                  <a:pt x="634" y="148"/>
                  <a:pt x="634" y="148"/>
                </a:cubicBezTo>
                <a:cubicBezTo>
                  <a:pt x="635" y="147"/>
                  <a:pt x="635" y="147"/>
                  <a:pt x="635" y="147"/>
                </a:cubicBezTo>
                <a:cubicBezTo>
                  <a:pt x="635" y="147"/>
                  <a:pt x="635" y="147"/>
                  <a:pt x="635" y="147"/>
                </a:cubicBezTo>
                <a:cubicBezTo>
                  <a:pt x="633" y="145"/>
                  <a:pt x="633" y="145"/>
                  <a:pt x="633" y="145"/>
                </a:cubicBezTo>
                <a:cubicBezTo>
                  <a:pt x="632" y="143"/>
                  <a:pt x="632" y="143"/>
                  <a:pt x="632" y="143"/>
                </a:cubicBezTo>
                <a:cubicBezTo>
                  <a:pt x="632" y="143"/>
                  <a:pt x="632" y="143"/>
                  <a:pt x="632" y="143"/>
                </a:cubicBezTo>
                <a:cubicBezTo>
                  <a:pt x="630" y="143"/>
                  <a:pt x="630" y="143"/>
                  <a:pt x="630" y="143"/>
                </a:cubicBezTo>
                <a:cubicBezTo>
                  <a:pt x="618" y="145"/>
                  <a:pt x="618" y="145"/>
                  <a:pt x="618" y="145"/>
                </a:cubicBezTo>
                <a:cubicBezTo>
                  <a:pt x="617" y="145"/>
                  <a:pt x="617" y="145"/>
                  <a:pt x="617" y="145"/>
                </a:cubicBezTo>
                <a:cubicBezTo>
                  <a:pt x="614" y="148"/>
                  <a:pt x="614" y="148"/>
                  <a:pt x="614" y="148"/>
                </a:cubicBezTo>
                <a:cubicBezTo>
                  <a:pt x="614" y="149"/>
                  <a:pt x="614" y="149"/>
                  <a:pt x="614" y="149"/>
                </a:cubicBezTo>
                <a:cubicBezTo>
                  <a:pt x="622" y="165"/>
                  <a:pt x="622" y="165"/>
                  <a:pt x="622" y="165"/>
                </a:cubicBezTo>
                <a:cubicBezTo>
                  <a:pt x="623" y="168"/>
                  <a:pt x="623" y="168"/>
                  <a:pt x="623" y="168"/>
                </a:cubicBezTo>
                <a:cubicBezTo>
                  <a:pt x="625" y="169"/>
                  <a:pt x="625" y="169"/>
                  <a:pt x="625" y="169"/>
                </a:cubicBezTo>
                <a:cubicBezTo>
                  <a:pt x="626" y="170"/>
                  <a:pt x="626" y="170"/>
                  <a:pt x="626" y="170"/>
                </a:cubicBezTo>
                <a:cubicBezTo>
                  <a:pt x="627" y="170"/>
                  <a:pt x="627" y="170"/>
                  <a:pt x="627" y="170"/>
                </a:cubicBezTo>
                <a:cubicBezTo>
                  <a:pt x="630" y="170"/>
                  <a:pt x="630" y="170"/>
                  <a:pt x="630" y="170"/>
                </a:cubicBezTo>
                <a:cubicBezTo>
                  <a:pt x="631" y="170"/>
                  <a:pt x="631" y="170"/>
                  <a:pt x="631" y="170"/>
                </a:cubicBezTo>
                <a:cubicBezTo>
                  <a:pt x="631" y="166"/>
                  <a:pt x="631" y="166"/>
                  <a:pt x="631" y="166"/>
                </a:cubicBezTo>
                <a:cubicBezTo>
                  <a:pt x="631" y="164"/>
                  <a:pt x="631" y="164"/>
                  <a:pt x="631" y="164"/>
                </a:cubicBezTo>
                <a:cubicBezTo>
                  <a:pt x="631" y="164"/>
                  <a:pt x="631" y="164"/>
                  <a:pt x="631" y="164"/>
                </a:cubicBezTo>
                <a:cubicBezTo>
                  <a:pt x="629" y="162"/>
                  <a:pt x="629" y="162"/>
                  <a:pt x="629" y="162"/>
                </a:cubicBezTo>
                <a:cubicBezTo>
                  <a:pt x="629" y="161"/>
                  <a:pt x="629" y="161"/>
                  <a:pt x="629" y="161"/>
                </a:cubicBezTo>
                <a:cubicBezTo>
                  <a:pt x="629" y="160"/>
                  <a:pt x="629" y="160"/>
                  <a:pt x="629" y="160"/>
                </a:cubicBezTo>
                <a:lnTo>
                  <a:pt x="630" y="154"/>
                </a:lnTo>
                <a:close/>
                <a:moveTo>
                  <a:pt x="666" y="61"/>
                </a:moveTo>
                <a:cubicBezTo>
                  <a:pt x="665" y="61"/>
                  <a:pt x="665" y="61"/>
                  <a:pt x="665" y="61"/>
                </a:cubicBezTo>
                <a:cubicBezTo>
                  <a:pt x="661" y="62"/>
                  <a:pt x="661" y="62"/>
                  <a:pt x="661" y="62"/>
                </a:cubicBezTo>
                <a:cubicBezTo>
                  <a:pt x="660" y="63"/>
                  <a:pt x="660" y="63"/>
                  <a:pt x="660" y="63"/>
                </a:cubicBezTo>
                <a:cubicBezTo>
                  <a:pt x="660" y="63"/>
                  <a:pt x="660" y="63"/>
                  <a:pt x="660" y="63"/>
                </a:cubicBezTo>
                <a:cubicBezTo>
                  <a:pt x="657" y="80"/>
                  <a:pt x="657" y="80"/>
                  <a:pt x="657" y="80"/>
                </a:cubicBezTo>
                <a:cubicBezTo>
                  <a:pt x="658" y="81"/>
                  <a:pt x="658" y="81"/>
                  <a:pt x="658" y="81"/>
                </a:cubicBezTo>
                <a:cubicBezTo>
                  <a:pt x="658" y="82"/>
                  <a:pt x="658" y="82"/>
                  <a:pt x="658" y="82"/>
                </a:cubicBezTo>
                <a:cubicBezTo>
                  <a:pt x="659" y="83"/>
                  <a:pt x="659" y="83"/>
                  <a:pt x="659" y="83"/>
                </a:cubicBezTo>
                <a:cubicBezTo>
                  <a:pt x="661" y="83"/>
                  <a:pt x="661" y="83"/>
                  <a:pt x="661" y="83"/>
                </a:cubicBezTo>
                <a:cubicBezTo>
                  <a:pt x="662" y="82"/>
                  <a:pt x="662" y="82"/>
                  <a:pt x="662" y="82"/>
                </a:cubicBezTo>
                <a:cubicBezTo>
                  <a:pt x="675" y="75"/>
                  <a:pt x="675" y="75"/>
                  <a:pt x="675" y="75"/>
                </a:cubicBezTo>
                <a:cubicBezTo>
                  <a:pt x="676" y="71"/>
                  <a:pt x="676" y="71"/>
                  <a:pt x="676" y="71"/>
                </a:cubicBezTo>
                <a:cubicBezTo>
                  <a:pt x="672" y="66"/>
                  <a:pt x="672" y="66"/>
                  <a:pt x="672" y="66"/>
                </a:cubicBezTo>
                <a:cubicBezTo>
                  <a:pt x="671" y="65"/>
                  <a:pt x="671" y="65"/>
                  <a:pt x="671" y="65"/>
                </a:cubicBezTo>
                <a:lnTo>
                  <a:pt x="666" y="61"/>
                </a:lnTo>
                <a:close/>
                <a:moveTo>
                  <a:pt x="690" y="12"/>
                </a:moveTo>
                <a:cubicBezTo>
                  <a:pt x="694" y="11"/>
                  <a:pt x="694" y="11"/>
                  <a:pt x="694" y="11"/>
                </a:cubicBezTo>
                <a:cubicBezTo>
                  <a:pt x="694" y="10"/>
                  <a:pt x="694" y="10"/>
                  <a:pt x="694" y="10"/>
                </a:cubicBezTo>
                <a:cubicBezTo>
                  <a:pt x="693" y="9"/>
                  <a:pt x="693" y="9"/>
                  <a:pt x="693" y="9"/>
                </a:cubicBezTo>
                <a:cubicBezTo>
                  <a:pt x="692" y="8"/>
                  <a:pt x="692" y="8"/>
                  <a:pt x="692" y="8"/>
                </a:cubicBezTo>
                <a:cubicBezTo>
                  <a:pt x="692" y="7"/>
                  <a:pt x="692" y="7"/>
                  <a:pt x="692" y="7"/>
                </a:cubicBezTo>
                <a:cubicBezTo>
                  <a:pt x="693" y="4"/>
                  <a:pt x="693" y="4"/>
                  <a:pt x="693" y="4"/>
                </a:cubicBezTo>
                <a:cubicBezTo>
                  <a:pt x="694" y="4"/>
                  <a:pt x="694" y="4"/>
                  <a:pt x="694" y="4"/>
                </a:cubicBezTo>
                <a:cubicBezTo>
                  <a:pt x="695" y="3"/>
                  <a:pt x="695" y="3"/>
                  <a:pt x="695" y="3"/>
                </a:cubicBezTo>
                <a:cubicBezTo>
                  <a:pt x="696" y="3"/>
                  <a:pt x="696" y="3"/>
                  <a:pt x="696" y="3"/>
                </a:cubicBezTo>
                <a:cubicBezTo>
                  <a:pt x="696" y="2"/>
                  <a:pt x="696" y="2"/>
                  <a:pt x="696" y="2"/>
                </a:cubicBezTo>
                <a:cubicBezTo>
                  <a:pt x="696" y="1"/>
                  <a:pt x="696" y="1"/>
                  <a:pt x="696" y="1"/>
                </a:cubicBezTo>
                <a:cubicBezTo>
                  <a:pt x="695" y="0"/>
                  <a:pt x="695" y="0"/>
                  <a:pt x="695" y="0"/>
                </a:cubicBezTo>
                <a:cubicBezTo>
                  <a:pt x="694" y="0"/>
                  <a:pt x="694" y="0"/>
                  <a:pt x="694" y="0"/>
                </a:cubicBezTo>
                <a:cubicBezTo>
                  <a:pt x="689" y="3"/>
                  <a:pt x="689" y="3"/>
                  <a:pt x="689" y="3"/>
                </a:cubicBezTo>
                <a:cubicBezTo>
                  <a:pt x="688" y="4"/>
                  <a:pt x="688" y="4"/>
                  <a:pt x="688" y="4"/>
                </a:cubicBezTo>
                <a:cubicBezTo>
                  <a:pt x="687" y="9"/>
                  <a:pt x="687" y="9"/>
                  <a:pt x="687" y="9"/>
                </a:cubicBezTo>
                <a:cubicBezTo>
                  <a:pt x="687" y="11"/>
                  <a:pt x="687" y="11"/>
                  <a:pt x="687" y="11"/>
                </a:cubicBezTo>
                <a:cubicBezTo>
                  <a:pt x="687" y="11"/>
                  <a:pt x="687" y="11"/>
                  <a:pt x="687" y="11"/>
                </a:cubicBezTo>
                <a:lnTo>
                  <a:pt x="690" y="12"/>
                </a:lnTo>
                <a:close/>
                <a:moveTo>
                  <a:pt x="221" y="529"/>
                </a:moveTo>
                <a:cubicBezTo>
                  <a:pt x="219" y="529"/>
                  <a:pt x="219" y="529"/>
                  <a:pt x="219" y="529"/>
                </a:cubicBezTo>
                <a:cubicBezTo>
                  <a:pt x="218" y="530"/>
                  <a:pt x="218" y="530"/>
                  <a:pt x="218" y="530"/>
                </a:cubicBezTo>
                <a:cubicBezTo>
                  <a:pt x="218" y="531"/>
                  <a:pt x="218" y="531"/>
                  <a:pt x="218" y="531"/>
                </a:cubicBezTo>
                <a:cubicBezTo>
                  <a:pt x="217" y="532"/>
                  <a:pt x="217" y="532"/>
                  <a:pt x="217" y="532"/>
                </a:cubicBezTo>
                <a:cubicBezTo>
                  <a:pt x="217" y="535"/>
                  <a:pt x="217" y="535"/>
                  <a:pt x="217" y="535"/>
                </a:cubicBezTo>
                <a:cubicBezTo>
                  <a:pt x="218" y="537"/>
                  <a:pt x="218" y="537"/>
                  <a:pt x="218" y="537"/>
                </a:cubicBezTo>
                <a:cubicBezTo>
                  <a:pt x="220" y="539"/>
                  <a:pt x="220" y="539"/>
                  <a:pt x="220" y="539"/>
                </a:cubicBezTo>
                <a:cubicBezTo>
                  <a:pt x="222" y="542"/>
                  <a:pt x="222" y="542"/>
                  <a:pt x="222" y="542"/>
                </a:cubicBezTo>
                <a:cubicBezTo>
                  <a:pt x="226" y="542"/>
                  <a:pt x="226" y="542"/>
                  <a:pt x="226" y="542"/>
                </a:cubicBezTo>
                <a:cubicBezTo>
                  <a:pt x="230" y="539"/>
                  <a:pt x="230" y="539"/>
                  <a:pt x="230" y="539"/>
                </a:cubicBezTo>
                <a:cubicBezTo>
                  <a:pt x="231" y="538"/>
                  <a:pt x="231" y="538"/>
                  <a:pt x="231" y="538"/>
                </a:cubicBezTo>
                <a:cubicBezTo>
                  <a:pt x="231" y="536"/>
                  <a:pt x="231" y="536"/>
                  <a:pt x="231" y="536"/>
                </a:cubicBezTo>
                <a:cubicBezTo>
                  <a:pt x="231" y="535"/>
                  <a:pt x="231" y="535"/>
                  <a:pt x="231" y="535"/>
                </a:cubicBezTo>
                <a:cubicBezTo>
                  <a:pt x="231" y="535"/>
                  <a:pt x="231" y="535"/>
                  <a:pt x="231" y="535"/>
                </a:cubicBezTo>
                <a:cubicBezTo>
                  <a:pt x="230" y="533"/>
                  <a:pt x="230" y="533"/>
                  <a:pt x="230" y="533"/>
                </a:cubicBezTo>
                <a:cubicBezTo>
                  <a:pt x="230" y="533"/>
                  <a:pt x="230" y="533"/>
                  <a:pt x="230" y="533"/>
                </a:cubicBezTo>
                <a:cubicBezTo>
                  <a:pt x="228" y="532"/>
                  <a:pt x="228" y="532"/>
                  <a:pt x="228" y="532"/>
                </a:cubicBezTo>
                <a:cubicBezTo>
                  <a:pt x="224" y="530"/>
                  <a:pt x="224" y="530"/>
                  <a:pt x="224" y="530"/>
                </a:cubicBezTo>
                <a:lnTo>
                  <a:pt x="221" y="529"/>
                </a:lnTo>
                <a:close/>
                <a:moveTo>
                  <a:pt x="580" y="160"/>
                </a:moveTo>
                <a:cubicBezTo>
                  <a:pt x="580" y="160"/>
                  <a:pt x="580" y="160"/>
                  <a:pt x="580" y="160"/>
                </a:cubicBezTo>
                <a:cubicBezTo>
                  <a:pt x="581" y="161"/>
                  <a:pt x="581" y="161"/>
                  <a:pt x="581" y="161"/>
                </a:cubicBezTo>
                <a:cubicBezTo>
                  <a:pt x="589" y="160"/>
                  <a:pt x="589" y="160"/>
                  <a:pt x="589" y="160"/>
                </a:cubicBezTo>
                <a:cubicBezTo>
                  <a:pt x="598" y="159"/>
                  <a:pt x="598" y="159"/>
                  <a:pt x="598" y="159"/>
                </a:cubicBezTo>
                <a:cubicBezTo>
                  <a:pt x="600" y="158"/>
                  <a:pt x="600" y="158"/>
                  <a:pt x="600" y="158"/>
                </a:cubicBezTo>
                <a:cubicBezTo>
                  <a:pt x="601" y="157"/>
                  <a:pt x="601" y="157"/>
                  <a:pt x="601" y="157"/>
                </a:cubicBezTo>
                <a:cubicBezTo>
                  <a:pt x="601" y="154"/>
                  <a:pt x="601" y="154"/>
                  <a:pt x="601" y="154"/>
                </a:cubicBezTo>
                <a:cubicBezTo>
                  <a:pt x="601" y="152"/>
                  <a:pt x="601" y="152"/>
                  <a:pt x="601" y="152"/>
                </a:cubicBezTo>
                <a:cubicBezTo>
                  <a:pt x="600" y="152"/>
                  <a:pt x="600" y="152"/>
                  <a:pt x="600" y="152"/>
                </a:cubicBezTo>
                <a:cubicBezTo>
                  <a:pt x="597" y="153"/>
                  <a:pt x="597" y="153"/>
                  <a:pt x="597" y="153"/>
                </a:cubicBezTo>
                <a:cubicBezTo>
                  <a:pt x="595" y="153"/>
                  <a:pt x="595" y="153"/>
                  <a:pt x="595" y="153"/>
                </a:cubicBezTo>
                <a:cubicBezTo>
                  <a:pt x="593" y="152"/>
                  <a:pt x="593" y="152"/>
                  <a:pt x="593" y="152"/>
                </a:cubicBezTo>
                <a:cubicBezTo>
                  <a:pt x="591" y="145"/>
                  <a:pt x="591" y="145"/>
                  <a:pt x="591" y="145"/>
                </a:cubicBezTo>
                <a:cubicBezTo>
                  <a:pt x="591" y="144"/>
                  <a:pt x="591" y="144"/>
                  <a:pt x="591" y="144"/>
                </a:cubicBezTo>
                <a:cubicBezTo>
                  <a:pt x="592" y="143"/>
                  <a:pt x="592" y="143"/>
                  <a:pt x="592" y="143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3" y="141"/>
                  <a:pt x="593" y="141"/>
                  <a:pt x="593" y="141"/>
                </a:cubicBezTo>
                <a:cubicBezTo>
                  <a:pt x="593" y="141"/>
                  <a:pt x="593" y="141"/>
                  <a:pt x="593" y="141"/>
                </a:cubicBezTo>
                <a:cubicBezTo>
                  <a:pt x="590" y="135"/>
                  <a:pt x="590" y="135"/>
                  <a:pt x="590" y="135"/>
                </a:cubicBezTo>
                <a:cubicBezTo>
                  <a:pt x="589" y="134"/>
                  <a:pt x="589" y="134"/>
                  <a:pt x="589" y="134"/>
                </a:cubicBezTo>
                <a:cubicBezTo>
                  <a:pt x="588" y="133"/>
                  <a:pt x="588" y="133"/>
                  <a:pt x="588" y="133"/>
                </a:cubicBezTo>
                <a:cubicBezTo>
                  <a:pt x="588" y="132"/>
                  <a:pt x="588" y="132"/>
                  <a:pt x="588" y="132"/>
                </a:cubicBezTo>
                <a:cubicBezTo>
                  <a:pt x="575" y="123"/>
                  <a:pt x="575" y="123"/>
                  <a:pt x="575" y="123"/>
                </a:cubicBezTo>
                <a:cubicBezTo>
                  <a:pt x="574" y="122"/>
                  <a:pt x="574" y="122"/>
                  <a:pt x="574" y="122"/>
                </a:cubicBezTo>
                <a:cubicBezTo>
                  <a:pt x="573" y="122"/>
                  <a:pt x="573" y="122"/>
                  <a:pt x="573" y="122"/>
                </a:cubicBezTo>
                <a:cubicBezTo>
                  <a:pt x="571" y="123"/>
                  <a:pt x="571" y="123"/>
                  <a:pt x="571" y="123"/>
                </a:cubicBezTo>
                <a:cubicBezTo>
                  <a:pt x="565" y="125"/>
                  <a:pt x="565" y="125"/>
                  <a:pt x="565" y="125"/>
                </a:cubicBezTo>
                <a:cubicBezTo>
                  <a:pt x="564" y="126"/>
                  <a:pt x="564" y="126"/>
                  <a:pt x="564" y="126"/>
                </a:cubicBezTo>
                <a:cubicBezTo>
                  <a:pt x="563" y="128"/>
                  <a:pt x="563" y="128"/>
                  <a:pt x="563" y="128"/>
                </a:cubicBezTo>
                <a:cubicBezTo>
                  <a:pt x="562" y="135"/>
                  <a:pt x="562" y="135"/>
                  <a:pt x="562" y="135"/>
                </a:cubicBezTo>
                <a:cubicBezTo>
                  <a:pt x="562" y="136"/>
                  <a:pt x="562" y="136"/>
                  <a:pt x="562" y="136"/>
                </a:cubicBezTo>
                <a:cubicBezTo>
                  <a:pt x="562" y="137"/>
                  <a:pt x="562" y="137"/>
                  <a:pt x="562" y="137"/>
                </a:cubicBezTo>
                <a:lnTo>
                  <a:pt x="580" y="160"/>
                </a:lnTo>
                <a:close/>
                <a:moveTo>
                  <a:pt x="602" y="143"/>
                </a:moveTo>
                <a:cubicBezTo>
                  <a:pt x="600" y="146"/>
                  <a:pt x="600" y="146"/>
                  <a:pt x="600" y="146"/>
                </a:cubicBezTo>
                <a:cubicBezTo>
                  <a:pt x="599" y="147"/>
                  <a:pt x="599" y="147"/>
                  <a:pt x="599" y="147"/>
                </a:cubicBezTo>
                <a:cubicBezTo>
                  <a:pt x="600" y="149"/>
                  <a:pt x="600" y="149"/>
                  <a:pt x="600" y="149"/>
                </a:cubicBezTo>
                <a:cubicBezTo>
                  <a:pt x="600" y="150"/>
                  <a:pt x="600" y="150"/>
                  <a:pt x="600" y="150"/>
                </a:cubicBezTo>
                <a:cubicBezTo>
                  <a:pt x="602" y="151"/>
                  <a:pt x="602" y="151"/>
                  <a:pt x="602" y="151"/>
                </a:cubicBezTo>
                <a:cubicBezTo>
                  <a:pt x="604" y="151"/>
                  <a:pt x="604" y="151"/>
                  <a:pt x="604" y="151"/>
                </a:cubicBezTo>
                <a:cubicBezTo>
                  <a:pt x="608" y="151"/>
                  <a:pt x="608" y="151"/>
                  <a:pt x="608" y="151"/>
                </a:cubicBezTo>
                <a:cubicBezTo>
                  <a:pt x="608" y="150"/>
                  <a:pt x="608" y="150"/>
                  <a:pt x="608" y="150"/>
                </a:cubicBezTo>
                <a:cubicBezTo>
                  <a:pt x="608" y="147"/>
                  <a:pt x="608" y="147"/>
                  <a:pt x="608" y="147"/>
                </a:cubicBezTo>
                <a:cubicBezTo>
                  <a:pt x="609" y="144"/>
                  <a:pt x="609" y="144"/>
                  <a:pt x="609" y="144"/>
                </a:cubicBezTo>
                <a:cubicBezTo>
                  <a:pt x="609" y="142"/>
                  <a:pt x="609" y="142"/>
                  <a:pt x="609" y="142"/>
                </a:cubicBezTo>
                <a:cubicBezTo>
                  <a:pt x="609" y="141"/>
                  <a:pt x="609" y="141"/>
                  <a:pt x="609" y="141"/>
                </a:cubicBezTo>
                <a:cubicBezTo>
                  <a:pt x="608" y="141"/>
                  <a:pt x="608" y="141"/>
                  <a:pt x="608" y="141"/>
                </a:cubicBezTo>
                <a:lnTo>
                  <a:pt x="602" y="143"/>
                </a:lnTo>
                <a:close/>
                <a:moveTo>
                  <a:pt x="656" y="54"/>
                </a:moveTo>
                <a:cubicBezTo>
                  <a:pt x="657" y="55"/>
                  <a:pt x="657" y="55"/>
                  <a:pt x="657" y="55"/>
                </a:cubicBezTo>
                <a:cubicBezTo>
                  <a:pt x="657" y="55"/>
                  <a:pt x="657" y="55"/>
                  <a:pt x="657" y="55"/>
                </a:cubicBezTo>
                <a:cubicBezTo>
                  <a:pt x="682" y="35"/>
                  <a:pt x="682" y="35"/>
                  <a:pt x="682" y="35"/>
                </a:cubicBezTo>
                <a:cubicBezTo>
                  <a:pt x="684" y="31"/>
                  <a:pt x="684" y="31"/>
                  <a:pt x="684" y="31"/>
                </a:cubicBezTo>
                <a:cubicBezTo>
                  <a:pt x="689" y="29"/>
                  <a:pt x="689" y="29"/>
                  <a:pt x="689" y="29"/>
                </a:cubicBezTo>
                <a:cubicBezTo>
                  <a:pt x="693" y="30"/>
                  <a:pt x="693" y="30"/>
                  <a:pt x="693" y="30"/>
                </a:cubicBezTo>
                <a:cubicBezTo>
                  <a:pt x="693" y="30"/>
                  <a:pt x="693" y="30"/>
                  <a:pt x="693" y="30"/>
                </a:cubicBezTo>
                <a:cubicBezTo>
                  <a:pt x="694" y="29"/>
                  <a:pt x="694" y="29"/>
                  <a:pt x="694" y="29"/>
                </a:cubicBezTo>
                <a:cubicBezTo>
                  <a:pt x="694" y="29"/>
                  <a:pt x="694" y="29"/>
                  <a:pt x="694" y="29"/>
                </a:cubicBezTo>
                <a:cubicBezTo>
                  <a:pt x="693" y="24"/>
                  <a:pt x="693" y="24"/>
                  <a:pt x="693" y="24"/>
                </a:cubicBezTo>
                <a:cubicBezTo>
                  <a:pt x="692" y="21"/>
                  <a:pt x="692" y="21"/>
                  <a:pt x="692" y="21"/>
                </a:cubicBezTo>
                <a:cubicBezTo>
                  <a:pt x="692" y="21"/>
                  <a:pt x="692" y="21"/>
                  <a:pt x="692" y="21"/>
                </a:cubicBezTo>
                <a:cubicBezTo>
                  <a:pt x="691" y="21"/>
                  <a:pt x="691" y="21"/>
                  <a:pt x="691" y="21"/>
                </a:cubicBezTo>
                <a:cubicBezTo>
                  <a:pt x="690" y="21"/>
                  <a:pt x="690" y="21"/>
                  <a:pt x="690" y="21"/>
                </a:cubicBezTo>
                <a:cubicBezTo>
                  <a:pt x="675" y="27"/>
                  <a:pt x="675" y="27"/>
                  <a:pt x="675" y="27"/>
                </a:cubicBezTo>
                <a:cubicBezTo>
                  <a:pt x="667" y="31"/>
                  <a:pt x="667" y="31"/>
                  <a:pt x="667" y="31"/>
                </a:cubicBezTo>
                <a:cubicBezTo>
                  <a:pt x="657" y="45"/>
                  <a:pt x="657" y="45"/>
                  <a:pt x="657" y="45"/>
                </a:cubicBezTo>
                <a:cubicBezTo>
                  <a:pt x="656" y="47"/>
                  <a:pt x="656" y="47"/>
                  <a:pt x="656" y="47"/>
                </a:cubicBezTo>
                <a:cubicBezTo>
                  <a:pt x="656" y="48"/>
                  <a:pt x="656" y="48"/>
                  <a:pt x="656" y="48"/>
                </a:cubicBezTo>
                <a:cubicBezTo>
                  <a:pt x="656" y="52"/>
                  <a:pt x="656" y="52"/>
                  <a:pt x="656" y="52"/>
                </a:cubicBezTo>
                <a:cubicBezTo>
                  <a:pt x="656" y="53"/>
                  <a:pt x="656" y="53"/>
                  <a:pt x="656" y="53"/>
                </a:cubicBezTo>
                <a:lnTo>
                  <a:pt x="656" y="54"/>
                </a:lnTo>
                <a:close/>
                <a:moveTo>
                  <a:pt x="630" y="85"/>
                </a:moveTo>
                <a:cubicBezTo>
                  <a:pt x="628" y="87"/>
                  <a:pt x="628" y="87"/>
                  <a:pt x="628" y="87"/>
                </a:cubicBezTo>
                <a:cubicBezTo>
                  <a:pt x="626" y="93"/>
                  <a:pt x="626" y="93"/>
                  <a:pt x="626" y="93"/>
                </a:cubicBezTo>
                <a:cubicBezTo>
                  <a:pt x="626" y="94"/>
                  <a:pt x="626" y="94"/>
                  <a:pt x="626" y="94"/>
                </a:cubicBezTo>
                <a:cubicBezTo>
                  <a:pt x="627" y="95"/>
                  <a:pt x="627" y="95"/>
                  <a:pt x="627" y="95"/>
                </a:cubicBezTo>
                <a:cubicBezTo>
                  <a:pt x="628" y="95"/>
                  <a:pt x="628" y="95"/>
                  <a:pt x="628" y="95"/>
                </a:cubicBezTo>
                <a:cubicBezTo>
                  <a:pt x="638" y="96"/>
                  <a:pt x="638" y="96"/>
                  <a:pt x="638" y="96"/>
                </a:cubicBezTo>
                <a:cubicBezTo>
                  <a:pt x="642" y="91"/>
                  <a:pt x="642" y="91"/>
                  <a:pt x="642" y="91"/>
                </a:cubicBezTo>
                <a:cubicBezTo>
                  <a:pt x="642" y="82"/>
                  <a:pt x="642" y="82"/>
                  <a:pt x="642" y="82"/>
                </a:cubicBezTo>
                <a:cubicBezTo>
                  <a:pt x="642" y="81"/>
                  <a:pt x="642" y="81"/>
                  <a:pt x="642" y="81"/>
                </a:cubicBezTo>
                <a:cubicBezTo>
                  <a:pt x="642" y="81"/>
                  <a:pt x="642" y="81"/>
                  <a:pt x="642" y="81"/>
                </a:cubicBezTo>
                <a:cubicBezTo>
                  <a:pt x="640" y="81"/>
                  <a:pt x="640" y="81"/>
                  <a:pt x="640" y="81"/>
                </a:cubicBezTo>
                <a:cubicBezTo>
                  <a:pt x="630" y="84"/>
                  <a:pt x="630" y="84"/>
                  <a:pt x="630" y="84"/>
                </a:cubicBezTo>
                <a:lnTo>
                  <a:pt x="630" y="85"/>
                </a:lnTo>
                <a:close/>
                <a:moveTo>
                  <a:pt x="648" y="66"/>
                </a:moveTo>
                <a:cubicBezTo>
                  <a:pt x="650" y="65"/>
                  <a:pt x="650" y="65"/>
                  <a:pt x="650" y="65"/>
                </a:cubicBezTo>
                <a:cubicBezTo>
                  <a:pt x="650" y="64"/>
                  <a:pt x="650" y="64"/>
                  <a:pt x="650" y="64"/>
                </a:cubicBezTo>
                <a:cubicBezTo>
                  <a:pt x="651" y="63"/>
                  <a:pt x="651" y="63"/>
                  <a:pt x="651" y="63"/>
                </a:cubicBezTo>
                <a:cubicBezTo>
                  <a:pt x="650" y="63"/>
                  <a:pt x="650" y="63"/>
                  <a:pt x="650" y="63"/>
                </a:cubicBezTo>
                <a:cubicBezTo>
                  <a:pt x="648" y="62"/>
                  <a:pt x="648" y="62"/>
                  <a:pt x="648" y="62"/>
                </a:cubicBezTo>
                <a:cubicBezTo>
                  <a:pt x="647" y="61"/>
                  <a:pt x="647" y="61"/>
                  <a:pt x="647" y="61"/>
                </a:cubicBezTo>
                <a:cubicBezTo>
                  <a:pt x="647" y="61"/>
                  <a:pt x="647" y="61"/>
                  <a:pt x="647" y="61"/>
                </a:cubicBezTo>
                <a:cubicBezTo>
                  <a:pt x="647" y="54"/>
                  <a:pt x="647" y="54"/>
                  <a:pt x="647" y="54"/>
                </a:cubicBezTo>
                <a:cubicBezTo>
                  <a:pt x="647" y="54"/>
                  <a:pt x="647" y="54"/>
                  <a:pt x="647" y="54"/>
                </a:cubicBezTo>
                <a:cubicBezTo>
                  <a:pt x="649" y="49"/>
                  <a:pt x="649" y="49"/>
                  <a:pt x="649" y="49"/>
                </a:cubicBezTo>
                <a:cubicBezTo>
                  <a:pt x="651" y="47"/>
                  <a:pt x="651" y="47"/>
                  <a:pt x="651" y="47"/>
                </a:cubicBezTo>
                <a:cubicBezTo>
                  <a:pt x="651" y="45"/>
                  <a:pt x="651" y="45"/>
                  <a:pt x="651" y="45"/>
                </a:cubicBezTo>
                <a:cubicBezTo>
                  <a:pt x="650" y="44"/>
                  <a:pt x="650" y="44"/>
                  <a:pt x="650" y="44"/>
                </a:cubicBezTo>
                <a:cubicBezTo>
                  <a:pt x="650" y="43"/>
                  <a:pt x="650" y="43"/>
                  <a:pt x="650" y="43"/>
                </a:cubicBezTo>
                <a:cubicBezTo>
                  <a:pt x="647" y="39"/>
                  <a:pt x="647" y="39"/>
                  <a:pt x="647" y="39"/>
                </a:cubicBezTo>
                <a:cubicBezTo>
                  <a:pt x="646" y="38"/>
                  <a:pt x="646" y="38"/>
                  <a:pt x="646" y="38"/>
                </a:cubicBezTo>
                <a:cubicBezTo>
                  <a:pt x="645" y="39"/>
                  <a:pt x="645" y="39"/>
                  <a:pt x="645" y="39"/>
                </a:cubicBezTo>
                <a:cubicBezTo>
                  <a:pt x="643" y="40"/>
                  <a:pt x="643" y="40"/>
                  <a:pt x="643" y="40"/>
                </a:cubicBezTo>
                <a:cubicBezTo>
                  <a:pt x="642" y="40"/>
                  <a:pt x="642" y="40"/>
                  <a:pt x="642" y="40"/>
                </a:cubicBezTo>
                <a:cubicBezTo>
                  <a:pt x="642" y="44"/>
                  <a:pt x="642" y="44"/>
                  <a:pt x="642" y="44"/>
                </a:cubicBezTo>
                <a:cubicBezTo>
                  <a:pt x="642" y="61"/>
                  <a:pt x="642" y="61"/>
                  <a:pt x="642" y="61"/>
                </a:cubicBezTo>
                <a:cubicBezTo>
                  <a:pt x="644" y="67"/>
                  <a:pt x="644" y="67"/>
                  <a:pt x="644" y="67"/>
                </a:cubicBezTo>
                <a:lnTo>
                  <a:pt x="648" y="66"/>
                </a:lnTo>
                <a:close/>
                <a:moveTo>
                  <a:pt x="627" y="21"/>
                </a:moveTo>
                <a:cubicBezTo>
                  <a:pt x="629" y="21"/>
                  <a:pt x="629" y="21"/>
                  <a:pt x="629" y="21"/>
                </a:cubicBezTo>
                <a:cubicBezTo>
                  <a:pt x="630" y="20"/>
                  <a:pt x="630" y="20"/>
                  <a:pt x="630" y="20"/>
                </a:cubicBezTo>
                <a:cubicBezTo>
                  <a:pt x="631" y="19"/>
                  <a:pt x="631" y="19"/>
                  <a:pt x="631" y="19"/>
                </a:cubicBezTo>
                <a:cubicBezTo>
                  <a:pt x="630" y="16"/>
                  <a:pt x="630" y="16"/>
                  <a:pt x="630" y="16"/>
                </a:cubicBezTo>
                <a:cubicBezTo>
                  <a:pt x="630" y="12"/>
                  <a:pt x="630" y="12"/>
                  <a:pt x="630" y="12"/>
                </a:cubicBezTo>
                <a:cubicBezTo>
                  <a:pt x="630" y="11"/>
                  <a:pt x="630" y="11"/>
                  <a:pt x="630" y="11"/>
                </a:cubicBezTo>
                <a:cubicBezTo>
                  <a:pt x="631" y="9"/>
                  <a:pt x="631" y="9"/>
                  <a:pt x="631" y="9"/>
                </a:cubicBezTo>
                <a:cubicBezTo>
                  <a:pt x="631" y="8"/>
                  <a:pt x="631" y="8"/>
                  <a:pt x="631" y="8"/>
                </a:cubicBezTo>
                <a:cubicBezTo>
                  <a:pt x="631" y="8"/>
                  <a:pt x="631" y="8"/>
                  <a:pt x="631" y="8"/>
                </a:cubicBezTo>
                <a:cubicBezTo>
                  <a:pt x="630" y="6"/>
                  <a:pt x="630" y="6"/>
                  <a:pt x="630" y="6"/>
                </a:cubicBezTo>
                <a:cubicBezTo>
                  <a:pt x="629" y="6"/>
                  <a:pt x="629" y="6"/>
                  <a:pt x="629" y="6"/>
                </a:cubicBezTo>
                <a:cubicBezTo>
                  <a:pt x="628" y="6"/>
                  <a:pt x="628" y="6"/>
                  <a:pt x="628" y="6"/>
                </a:cubicBezTo>
                <a:cubicBezTo>
                  <a:pt x="628" y="7"/>
                  <a:pt x="628" y="7"/>
                  <a:pt x="628" y="7"/>
                </a:cubicBezTo>
                <a:cubicBezTo>
                  <a:pt x="626" y="14"/>
                  <a:pt x="626" y="14"/>
                  <a:pt x="626" y="14"/>
                </a:cubicBezTo>
                <a:cubicBezTo>
                  <a:pt x="626" y="15"/>
                  <a:pt x="626" y="15"/>
                  <a:pt x="626" y="15"/>
                </a:cubicBezTo>
                <a:cubicBezTo>
                  <a:pt x="626" y="17"/>
                  <a:pt x="626" y="17"/>
                  <a:pt x="626" y="17"/>
                </a:cubicBezTo>
                <a:cubicBezTo>
                  <a:pt x="626" y="18"/>
                  <a:pt x="626" y="18"/>
                  <a:pt x="626" y="18"/>
                </a:cubicBezTo>
                <a:lnTo>
                  <a:pt x="627" y="21"/>
                </a:lnTo>
                <a:close/>
                <a:moveTo>
                  <a:pt x="628" y="63"/>
                </a:moveTo>
                <a:cubicBezTo>
                  <a:pt x="628" y="63"/>
                  <a:pt x="628" y="63"/>
                  <a:pt x="628" y="63"/>
                </a:cubicBezTo>
                <a:cubicBezTo>
                  <a:pt x="627" y="61"/>
                  <a:pt x="627" y="61"/>
                  <a:pt x="627" y="61"/>
                </a:cubicBezTo>
                <a:cubicBezTo>
                  <a:pt x="627" y="61"/>
                  <a:pt x="627" y="61"/>
                  <a:pt x="627" y="61"/>
                </a:cubicBezTo>
                <a:cubicBezTo>
                  <a:pt x="624" y="61"/>
                  <a:pt x="624" y="61"/>
                  <a:pt x="624" y="61"/>
                </a:cubicBezTo>
                <a:cubicBezTo>
                  <a:pt x="623" y="62"/>
                  <a:pt x="623" y="62"/>
                  <a:pt x="623" y="62"/>
                </a:cubicBezTo>
                <a:cubicBezTo>
                  <a:pt x="623" y="64"/>
                  <a:pt x="623" y="64"/>
                  <a:pt x="623" y="64"/>
                </a:cubicBezTo>
                <a:cubicBezTo>
                  <a:pt x="623" y="66"/>
                  <a:pt x="623" y="66"/>
                  <a:pt x="623" y="66"/>
                </a:cubicBezTo>
                <a:cubicBezTo>
                  <a:pt x="624" y="69"/>
                  <a:pt x="624" y="69"/>
                  <a:pt x="624" y="69"/>
                </a:cubicBezTo>
                <a:cubicBezTo>
                  <a:pt x="625" y="71"/>
                  <a:pt x="625" y="71"/>
                  <a:pt x="625" y="71"/>
                </a:cubicBezTo>
                <a:cubicBezTo>
                  <a:pt x="626" y="71"/>
                  <a:pt x="626" y="71"/>
                  <a:pt x="626" y="71"/>
                </a:cubicBezTo>
                <a:cubicBezTo>
                  <a:pt x="626" y="70"/>
                  <a:pt x="626" y="70"/>
                  <a:pt x="626" y="70"/>
                </a:cubicBezTo>
                <a:cubicBezTo>
                  <a:pt x="628" y="64"/>
                  <a:pt x="628" y="64"/>
                  <a:pt x="628" y="64"/>
                </a:cubicBezTo>
                <a:lnTo>
                  <a:pt x="628" y="63"/>
                </a:lnTo>
                <a:close/>
                <a:moveTo>
                  <a:pt x="572" y="110"/>
                </a:moveTo>
                <a:cubicBezTo>
                  <a:pt x="572" y="112"/>
                  <a:pt x="572" y="112"/>
                  <a:pt x="572" y="112"/>
                </a:cubicBezTo>
                <a:cubicBezTo>
                  <a:pt x="577" y="117"/>
                  <a:pt x="577" y="117"/>
                  <a:pt x="577" y="117"/>
                </a:cubicBezTo>
                <a:cubicBezTo>
                  <a:pt x="578" y="117"/>
                  <a:pt x="578" y="117"/>
                  <a:pt x="578" y="117"/>
                </a:cubicBezTo>
                <a:cubicBezTo>
                  <a:pt x="593" y="126"/>
                  <a:pt x="593" y="126"/>
                  <a:pt x="593" y="126"/>
                </a:cubicBezTo>
                <a:cubicBezTo>
                  <a:pt x="595" y="126"/>
                  <a:pt x="595" y="126"/>
                  <a:pt x="595" y="126"/>
                </a:cubicBezTo>
                <a:cubicBezTo>
                  <a:pt x="602" y="124"/>
                  <a:pt x="602" y="124"/>
                  <a:pt x="602" y="124"/>
                </a:cubicBezTo>
                <a:cubicBezTo>
                  <a:pt x="617" y="117"/>
                  <a:pt x="617" y="117"/>
                  <a:pt x="617" y="117"/>
                </a:cubicBezTo>
                <a:cubicBezTo>
                  <a:pt x="624" y="120"/>
                  <a:pt x="624" y="120"/>
                  <a:pt x="624" y="120"/>
                </a:cubicBezTo>
                <a:cubicBezTo>
                  <a:pt x="624" y="122"/>
                  <a:pt x="624" y="122"/>
                  <a:pt x="624" y="122"/>
                </a:cubicBezTo>
                <a:cubicBezTo>
                  <a:pt x="629" y="130"/>
                  <a:pt x="629" y="130"/>
                  <a:pt x="629" y="130"/>
                </a:cubicBezTo>
                <a:cubicBezTo>
                  <a:pt x="630" y="130"/>
                  <a:pt x="630" y="130"/>
                  <a:pt x="630" y="130"/>
                </a:cubicBezTo>
                <a:cubicBezTo>
                  <a:pt x="641" y="133"/>
                  <a:pt x="641" y="133"/>
                  <a:pt x="641" y="133"/>
                </a:cubicBezTo>
                <a:cubicBezTo>
                  <a:pt x="642" y="133"/>
                  <a:pt x="642" y="133"/>
                  <a:pt x="642" y="133"/>
                </a:cubicBezTo>
                <a:cubicBezTo>
                  <a:pt x="642" y="133"/>
                  <a:pt x="642" y="133"/>
                  <a:pt x="642" y="133"/>
                </a:cubicBezTo>
                <a:cubicBezTo>
                  <a:pt x="656" y="117"/>
                  <a:pt x="656" y="117"/>
                  <a:pt x="656" y="117"/>
                </a:cubicBezTo>
                <a:cubicBezTo>
                  <a:pt x="658" y="112"/>
                  <a:pt x="658" y="112"/>
                  <a:pt x="658" y="112"/>
                </a:cubicBezTo>
                <a:cubicBezTo>
                  <a:pt x="654" y="112"/>
                  <a:pt x="654" y="112"/>
                  <a:pt x="654" y="112"/>
                </a:cubicBezTo>
                <a:cubicBezTo>
                  <a:pt x="651" y="111"/>
                  <a:pt x="651" y="111"/>
                  <a:pt x="651" y="111"/>
                </a:cubicBezTo>
                <a:cubicBezTo>
                  <a:pt x="629" y="106"/>
                  <a:pt x="629" y="106"/>
                  <a:pt x="629" y="106"/>
                </a:cubicBezTo>
                <a:cubicBezTo>
                  <a:pt x="617" y="100"/>
                  <a:pt x="617" y="100"/>
                  <a:pt x="617" y="100"/>
                </a:cubicBezTo>
                <a:cubicBezTo>
                  <a:pt x="616" y="99"/>
                  <a:pt x="616" y="99"/>
                  <a:pt x="616" y="99"/>
                </a:cubicBezTo>
                <a:cubicBezTo>
                  <a:pt x="614" y="100"/>
                  <a:pt x="614" y="100"/>
                  <a:pt x="614" y="100"/>
                </a:cubicBezTo>
                <a:cubicBezTo>
                  <a:pt x="612" y="101"/>
                  <a:pt x="612" y="101"/>
                  <a:pt x="612" y="101"/>
                </a:cubicBezTo>
                <a:cubicBezTo>
                  <a:pt x="612" y="102"/>
                  <a:pt x="612" y="102"/>
                  <a:pt x="612" y="102"/>
                </a:cubicBezTo>
                <a:cubicBezTo>
                  <a:pt x="612" y="105"/>
                  <a:pt x="612" y="105"/>
                  <a:pt x="612" y="105"/>
                </a:cubicBezTo>
                <a:cubicBezTo>
                  <a:pt x="611" y="106"/>
                  <a:pt x="611" y="106"/>
                  <a:pt x="611" y="106"/>
                </a:cubicBezTo>
                <a:cubicBezTo>
                  <a:pt x="610" y="107"/>
                  <a:pt x="610" y="107"/>
                  <a:pt x="610" y="107"/>
                </a:cubicBezTo>
                <a:cubicBezTo>
                  <a:pt x="608" y="107"/>
                  <a:pt x="608" y="107"/>
                  <a:pt x="608" y="107"/>
                </a:cubicBezTo>
                <a:cubicBezTo>
                  <a:pt x="601" y="104"/>
                  <a:pt x="601" y="104"/>
                  <a:pt x="601" y="104"/>
                </a:cubicBezTo>
                <a:cubicBezTo>
                  <a:pt x="600" y="103"/>
                  <a:pt x="600" y="103"/>
                  <a:pt x="600" y="103"/>
                </a:cubicBezTo>
                <a:cubicBezTo>
                  <a:pt x="609" y="94"/>
                  <a:pt x="609" y="94"/>
                  <a:pt x="609" y="94"/>
                </a:cubicBezTo>
                <a:cubicBezTo>
                  <a:pt x="612" y="92"/>
                  <a:pt x="612" y="92"/>
                  <a:pt x="612" y="92"/>
                </a:cubicBezTo>
                <a:cubicBezTo>
                  <a:pt x="614" y="91"/>
                  <a:pt x="614" y="91"/>
                  <a:pt x="614" y="91"/>
                </a:cubicBezTo>
                <a:cubicBezTo>
                  <a:pt x="617" y="89"/>
                  <a:pt x="617" y="89"/>
                  <a:pt x="617" y="89"/>
                </a:cubicBezTo>
                <a:cubicBezTo>
                  <a:pt x="617" y="86"/>
                  <a:pt x="617" y="86"/>
                  <a:pt x="617" y="86"/>
                </a:cubicBezTo>
                <a:cubicBezTo>
                  <a:pt x="607" y="73"/>
                  <a:pt x="607" y="73"/>
                  <a:pt x="607" y="73"/>
                </a:cubicBezTo>
                <a:cubicBezTo>
                  <a:pt x="606" y="72"/>
                  <a:pt x="606" y="72"/>
                  <a:pt x="606" y="72"/>
                </a:cubicBezTo>
                <a:cubicBezTo>
                  <a:pt x="590" y="66"/>
                  <a:pt x="590" y="66"/>
                  <a:pt x="590" y="66"/>
                </a:cubicBezTo>
                <a:cubicBezTo>
                  <a:pt x="587" y="66"/>
                  <a:pt x="587" y="66"/>
                  <a:pt x="587" y="66"/>
                </a:cubicBezTo>
                <a:cubicBezTo>
                  <a:pt x="583" y="67"/>
                  <a:pt x="583" y="67"/>
                  <a:pt x="583" y="67"/>
                </a:cubicBezTo>
                <a:cubicBezTo>
                  <a:pt x="575" y="71"/>
                  <a:pt x="575" y="71"/>
                  <a:pt x="575" y="71"/>
                </a:cubicBezTo>
                <a:cubicBezTo>
                  <a:pt x="571" y="76"/>
                  <a:pt x="571" y="76"/>
                  <a:pt x="571" y="76"/>
                </a:cubicBezTo>
                <a:cubicBezTo>
                  <a:pt x="569" y="101"/>
                  <a:pt x="569" y="101"/>
                  <a:pt x="569" y="101"/>
                </a:cubicBezTo>
                <a:cubicBezTo>
                  <a:pt x="569" y="101"/>
                  <a:pt x="569" y="101"/>
                  <a:pt x="569" y="101"/>
                </a:cubicBezTo>
                <a:cubicBezTo>
                  <a:pt x="570" y="106"/>
                  <a:pt x="570" y="106"/>
                  <a:pt x="570" y="106"/>
                </a:cubicBezTo>
                <a:lnTo>
                  <a:pt x="572" y="110"/>
                </a:lnTo>
                <a:close/>
                <a:moveTo>
                  <a:pt x="35" y="471"/>
                </a:moveTo>
                <a:cubicBezTo>
                  <a:pt x="33" y="470"/>
                  <a:pt x="33" y="470"/>
                  <a:pt x="33" y="470"/>
                </a:cubicBezTo>
                <a:cubicBezTo>
                  <a:pt x="33" y="470"/>
                  <a:pt x="33" y="470"/>
                  <a:pt x="33" y="470"/>
                </a:cubicBezTo>
                <a:cubicBezTo>
                  <a:pt x="29" y="471"/>
                  <a:pt x="29" y="471"/>
                  <a:pt x="29" y="471"/>
                </a:cubicBezTo>
                <a:cubicBezTo>
                  <a:pt x="29" y="471"/>
                  <a:pt x="29" y="471"/>
                  <a:pt x="29" y="471"/>
                </a:cubicBezTo>
                <a:cubicBezTo>
                  <a:pt x="29" y="472"/>
                  <a:pt x="29" y="472"/>
                  <a:pt x="29" y="472"/>
                </a:cubicBezTo>
                <a:cubicBezTo>
                  <a:pt x="32" y="480"/>
                  <a:pt x="32" y="480"/>
                  <a:pt x="32" y="480"/>
                </a:cubicBezTo>
                <a:cubicBezTo>
                  <a:pt x="32" y="481"/>
                  <a:pt x="32" y="481"/>
                  <a:pt x="32" y="481"/>
                </a:cubicBezTo>
                <a:cubicBezTo>
                  <a:pt x="34" y="481"/>
                  <a:pt x="34" y="481"/>
                  <a:pt x="34" y="481"/>
                </a:cubicBezTo>
                <a:cubicBezTo>
                  <a:pt x="35" y="481"/>
                  <a:pt x="35" y="481"/>
                  <a:pt x="35" y="481"/>
                </a:cubicBezTo>
                <a:cubicBezTo>
                  <a:pt x="36" y="479"/>
                  <a:pt x="36" y="479"/>
                  <a:pt x="36" y="479"/>
                </a:cubicBezTo>
                <a:cubicBezTo>
                  <a:pt x="36" y="475"/>
                  <a:pt x="36" y="475"/>
                  <a:pt x="36" y="475"/>
                </a:cubicBezTo>
                <a:cubicBezTo>
                  <a:pt x="36" y="474"/>
                  <a:pt x="36" y="474"/>
                  <a:pt x="36" y="474"/>
                </a:cubicBezTo>
                <a:cubicBezTo>
                  <a:pt x="36" y="473"/>
                  <a:pt x="36" y="473"/>
                  <a:pt x="36" y="473"/>
                </a:cubicBezTo>
                <a:lnTo>
                  <a:pt x="35" y="471"/>
                </a:lnTo>
                <a:close/>
                <a:moveTo>
                  <a:pt x="602" y="65"/>
                </a:moveTo>
                <a:cubicBezTo>
                  <a:pt x="605" y="68"/>
                  <a:pt x="605" y="68"/>
                  <a:pt x="605" y="68"/>
                </a:cubicBezTo>
                <a:cubicBezTo>
                  <a:pt x="607" y="69"/>
                  <a:pt x="607" y="69"/>
                  <a:pt x="607" y="69"/>
                </a:cubicBezTo>
                <a:cubicBezTo>
                  <a:pt x="608" y="70"/>
                  <a:pt x="608" y="70"/>
                  <a:pt x="608" y="70"/>
                </a:cubicBezTo>
                <a:cubicBezTo>
                  <a:pt x="609" y="71"/>
                  <a:pt x="609" y="71"/>
                  <a:pt x="609" y="71"/>
                </a:cubicBezTo>
                <a:cubicBezTo>
                  <a:pt x="610" y="72"/>
                  <a:pt x="610" y="72"/>
                  <a:pt x="610" y="72"/>
                </a:cubicBezTo>
                <a:cubicBezTo>
                  <a:pt x="615" y="72"/>
                  <a:pt x="615" y="72"/>
                  <a:pt x="615" y="72"/>
                </a:cubicBezTo>
                <a:cubicBezTo>
                  <a:pt x="616" y="71"/>
                  <a:pt x="616" y="71"/>
                  <a:pt x="616" y="71"/>
                </a:cubicBezTo>
                <a:cubicBezTo>
                  <a:pt x="618" y="71"/>
                  <a:pt x="618" y="71"/>
                  <a:pt x="618" y="71"/>
                </a:cubicBezTo>
                <a:cubicBezTo>
                  <a:pt x="620" y="69"/>
                  <a:pt x="620" y="69"/>
                  <a:pt x="620" y="69"/>
                </a:cubicBezTo>
                <a:cubicBezTo>
                  <a:pt x="620" y="69"/>
                  <a:pt x="620" y="69"/>
                  <a:pt x="620" y="69"/>
                </a:cubicBezTo>
                <a:cubicBezTo>
                  <a:pt x="621" y="60"/>
                  <a:pt x="621" y="60"/>
                  <a:pt x="621" y="60"/>
                </a:cubicBezTo>
                <a:cubicBezTo>
                  <a:pt x="622" y="59"/>
                  <a:pt x="622" y="59"/>
                  <a:pt x="622" y="59"/>
                </a:cubicBezTo>
                <a:cubicBezTo>
                  <a:pt x="622" y="59"/>
                  <a:pt x="622" y="59"/>
                  <a:pt x="622" y="59"/>
                </a:cubicBezTo>
                <a:cubicBezTo>
                  <a:pt x="622" y="58"/>
                  <a:pt x="622" y="58"/>
                  <a:pt x="622" y="58"/>
                </a:cubicBezTo>
                <a:cubicBezTo>
                  <a:pt x="619" y="55"/>
                  <a:pt x="619" y="55"/>
                  <a:pt x="619" y="55"/>
                </a:cubicBezTo>
                <a:cubicBezTo>
                  <a:pt x="608" y="52"/>
                  <a:pt x="608" y="52"/>
                  <a:pt x="608" y="52"/>
                </a:cubicBezTo>
                <a:cubicBezTo>
                  <a:pt x="606" y="52"/>
                  <a:pt x="606" y="52"/>
                  <a:pt x="606" y="52"/>
                </a:cubicBezTo>
                <a:cubicBezTo>
                  <a:pt x="606" y="53"/>
                  <a:pt x="606" y="53"/>
                  <a:pt x="606" y="53"/>
                </a:cubicBezTo>
                <a:cubicBezTo>
                  <a:pt x="600" y="59"/>
                  <a:pt x="600" y="59"/>
                  <a:pt x="600" y="59"/>
                </a:cubicBezTo>
                <a:cubicBezTo>
                  <a:pt x="600" y="60"/>
                  <a:pt x="600" y="60"/>
                  <a:pt x="600" y="60"/>
                </a:cubicBezTo>
                <a:cubicBezTo>
                  <a:pt x="600" y="62"/>
                  <a:pt x="600" y="62"/>
                  <a:pt x="600" y="62"/>
                </a:cubicBezTo>
                <a:cubicBezTo>
                  <a:pt x="601" y="64"/>
                  <a:pt x="601" y="64"/>
                  <a:pt x="601" y="64"/>
                </a:cubicBezTo>
                <a:lnTo>
                  <a:pt x="602" y="65"/>
                </a:lnTo>
                <a:close/>
                <a:moveTo>
                  <a:pt x="57" y="415"/>
                </a:moveTo>
                <a:cubicBezTo>
                  <a:pt x="58" y="413"/>
                  <a:pt x="58" y="413"/>
                  <a:pt x="58" y="413"/>
                </a:cubicBezTo>
                <a:cubicBezTo>
                  <a:pt x="57" y="412"/>
                  <a:pt x="57" y="412"/>
                  <a:pt x="57" y="412"/>
                </a:cubicBezTo>
                <a:cubicBezTo>
                  <a:pt x="56" y="411"/>
                  <a:pt x="56" y="411"/>
                  <a:pt x="56" y="411"/>
                </a:cubicBezTo>
                <a:cubicBezTo>
                  <a:pt x="56" y="411"/>
                  <a:pt x="56" y="411"/>
                  <a:pt x="56" y="411"/>
                </a:cubicBezTo>
                <a:cubicBezTo>
                  <a:pt x="55" y="410"/>
                  <a:pt x="55" y="410"/>
                  <a:pt x="55" y="410"/>
                </a:cubicBezTo>
                <a:cubicBezTo>
                  <a:pt x="54" y="410"/>
                  <a:pt x="54" y="410"/>
                  <a:pt x="54" y="410"/>
                </a:cubicBezTo>
                <a:cubicBezTo>
                  <a:pt x="53" y="411"/>
                  <a:pt x="53" y="411"/>
                  <a:pt x="53" y="411"/>
                </a:cubicBezTo>
                <a:cubicBezTo>
                  <a:pt x="50" y="412"/>
                  <a:pt x="50" y="412"/>
                  <a:pt x="50" y="412"/>
                </a:cubicBezTo>
                <a:cubicBezTo>
                  <a:pt x="49" y="413"/>
                  <a:pt x="49" y="413"/>
                  <a:pt x="49" y="413"/>
                </a:cubicBezTo>
                <a:cubicBezTo>
                  <a:pt x="49" y="415"/>
                  <a:pt x="49" y="415"/>
                  <a:pt x="49" y="415"/>
                </a:cubicBezTo>
                <a:cubicBezTo>
                  <a:pt x="49" y="415"/>
                  <a:pt x="49" y="415"/>
                  <a:pt x="49" y="415"/>
                </a:cubicBezTo>
                <a:cubicBezTo>
                  <a:pt x="53" y="416"/>
                  <a:pt x="53" y="416"/>
                  <a:pt x="53" y="416"/>
                </a:cubicBezTo>
                <a:lnTo>
                  <a:pt x="57" y="415"/>
                </a:lnTo>
                <a:close/>
                <a:moveTo>
                  <a:pt x="54" y="429"/>
                </a:moveTo>
                <a:cubicBezTo>
                  <a:pt x="54" y="430"/>
                  <a:pt x="54" y="430"/>
                  <a:pt x="54" y="430"/>
                </a:cubicBezTo>
                <a:cubicBezTo>
                  <a:pt x="55" y="430"/>
                  <a:pt x="55" y="430"/>
                  <a:pt x="55" y="430"/>
                </a:cubicBezTo>
                <a:cubicBezTo>
                  <a:pt x="57" y="430"/>
                  <a:pt x="57" y="430"/>
                  <a:pt x="57" y="430"/>
                </a:cubicBezTo>
                <a:cubicBezTo>
                  <a:pt x="60" y="430"/>
                  <a:pt x="60" y="430"/>
                  <a:pt x="60" y="430"/>
                </a:cubicBezTo>
                <a:cubicBezTo>
                  <a:pt x="63" y="427"/>
                  <a:pt x="63" y="427"/>
                  <a:pt x="63" y="427"/>
                </a:cubicBezTo>
                <a:cubicBezTo>
                  <a:pt x="64" y="426"/>
                  <a:pt x="64" y="426"/>
                  <a:pt x="64" y="426"/>
                </a:cubicBezTo>
                <a:cubicBezTo>
                  <a:pt x="64" y="424"/>
                  <a:pt x="64" y="424"/>
                  <a:pt x="64" y="424"/>
                </a:cubicBezTo>
                <a:cubicBezTo>
                  <a:pt x="65" y="424"/>
                  <a:pt x="65" y="424"/>
                  <a:pt x="65" y="424"/>
                </a:cubicBezTo>
                <a:cubicBezTo>
                  <a:pt x="65" y="424"/>
                  <a:pt x="65" y="424"/>
                  <a:pt x="65" y="424"/>
                </a:cubicBezTo>
                <a:cubicBezTo>
                  <a:pt x="65" y="423"/>
                  <a:pt x="65" y="423"/>
                  <a:pt x="65" y="423"/>
                </a:cubicBezTo>
                <a:cubicBezTo>
                  <a:pt x="64" y="422"/>
                  <a:pt x="64" y="422"/>
                  <a:pt x="64" y="422"/>
                </a:cubicBezTo>
                <a:cubicBezTo>
                  <a:pt x="64" y="422"/>
                  <a:pt x="64" y="422"/>
                  <a:pt x="64" y="422"/>
                </a:cubicBezTo>
                <a:cubicBezTo>
                  <a:pt x="59" y="422"/>
                  <a:pt x="59" y="422"/>
                  <a:pt x="59" y="422"/>
                </a:cubicBezTo>
                <a:cubicBezTo>
                  <a:pt x="58" y="422"/>
                  <a:pt x="58" y="422"/>
                  <a:pt x="58" y="422"/>
                </a:cubicBezTo>
                <a:cubicBezTo>
                  <a:pt x="57" y="423"/>
                  <a:pt x="57" y="423"/>
                  <a:pt x="57" y="423"/>
                </a:cubicBezTo>
                <a:lnTo>
                  <a:pt x="54" y="429"/>
                </a:lnTo>
                <a:close/>
                <a:moveTo>
                  <a:pt x="64" y="352"/>
                </a:moveTo>
                <a:cubicBezTo>
                  <a:pt x="64" y="353"/>
                  <a:pt x="64" y="353"/>
                  <a:pt x="64" y="353"/>
                </a:cubicBezTo>
                <a:cubicBezTo>
                  <a:pt x="69" y="354"/>
                  <a:pt x="69" y="354"/>
                  <a:pt x="69" y="354"/>
                </a:cubicBezTo>
                <a:cubicBezTo>
                  <a:pt x="71" y="354"/>
                  <a:pt x="71" y="354"/>
                  <a:pt x="71" y="354"/>
                </a:cubicBezTo>
                <a:cubicBezTo>
                  <a:pt x="72" y="353"/>
                  <a:pt x="72" y="353"/>
                  <a:pt x="72" y="353"/>
                </a:cubicBezTo>
                <a:cubicBezTo>
                  <a:pt x="73" y="353"/>
                  <a:pt x="73" y="353"/>
                  <a:pt x="73" y="353"/>
                </a:cubicBezTo>
                <a:cubicBezTo>
                  <a:pt x="73" y="352"/>
                  <a:pt x="73" y="352"/>
                  <a:pt x="73" y="352"/>
                </a:cubicBezTo>
                <a:cubicBezTo>
                  <a:pt x="72" y="348"/>
                  <a:pt x="72" y="348"/>
                  <a:pt x="72" y="348"/>
                </a:cubicBezTo>
                <a:cubicBezTo>
                  <a:pt x="71" y="347"/>
                  <a:pt x="71" y="347"/>
                  <a:pt x="71" y="347"/>
                </a:cubicBezTo>
                <a:cubicBezTo>
                  <a:pt x="71" y="346"/>
                  <a:pt x="71" y="346"/>
                  <a:pt x="71" y="346"/>
                </a:cubicBezTo>
                <a:cubicBezTo>
                  <a:pt x="69" y="346"/>
                  <a:pt x="69" y="346"/>
                  <a:pt x="69" y="346"/>
                </a:cubicBezTo>
                <a:cubicBezTo>
                  <a:pt x="67" y="346"/>
                  <a:pt x="67" y="346"/>
                  <a:pt x="67" y="346"/>
                </a:cubicBezTo>
                <a:cubicBezTo>
                  <a:pt x="64" y="348"/>
                  <a:pt x="64" y="348"/>
                  <a:pt x="64" y="348"/>
                </a:cubicBezTo>
                <a:cubicBezTo>
                  <a:pt x="63" y="349"/>
                  <a:pt x="63" y="349"/>
                  <a:pt x="63" y="349"/>
                </a:cubicBezTo>
                <a:cubicBezTo>
                  <a:pt x="64" y="352"/>
                  <a:pt x="64" y="352"/>
                  <a:pt x="64" y="352"/>
                </a:cubicBezTo>
                <a:close/>
                <a:moveTo>
                  <a:pt x="4" y="620"/>
                </a:moveTo>
                <a:cubicBezTo>
                  <a:pt x="1" y="620"/>
                  <a:pt x="1" y="620"/>
                  <a:pt x="1" y="620"/>
                </a:cubicBezTo>
                <a:cubicBezTo>
                  <a:pt x="0" y="620"/>
                  <a:pt x="0" y="620"/>
                  <a:pt x="0" y="620"/>
                </a:cubicBezTo>
                <a:cubicBezTo>
                  <a:pt x="0" y="623"/>
                  <a:pt x="0" y="623"/>
                  <a:pt x="0" y="623"/>
                </a:cubicBezTo>
                <a:cubicBezTo>
                  <a:pt x="2" y="628"/>
                  <a:pt x="2" y="628"/>
                  <a:pt x="2" y="628"/>
                </a:cubicBezTo>
                <a:cubicBezTo>
                  <a:pt x="2" y="629"/>
                  <a:pt x="2" y="629"/>
                  <a:pt x="2" y="629"/>
                </a:cubicBezTo>
                <a:cubicBezTo>
                  <a:pt x="5" y="628"/>
                  <a:pt x="5" y="628"/>
                  <a:pt x="5" y="628"/>
                </a:cubicBezTo>
                <a:cubicBezTo>
                  <a:pt x="8" y="627"/>
                  <a:pt x="8" y="627"/>
                  <a:pt x="8" y="627"/>
                </a:cubicBezTo>
                <a:cubicBezTo>
                  <a:pt x="8" y="627"/>
                  <a:pt x="8" y="627"/>
                  <a:pt x="8" y="627"/>
                </a:cubicBezTo>
                <a:cubicBezTo>
                  <a:pt x="9" y="626"/>
                  <a:pt x="9" y="626"/>
                  <a:pt x="9" y="626"/>
                </a:cubicBezTo>
                <a:cubicBezTo>
                  <a:pt x="10" y="623"/>
                  <a:pt x="10" y="623"/>
                  <a:pt x="10" y="623"/>
                </a:cubicBezTo>
                <a:cubicBezTo>
                  <a:pt x="11" y="623"/>
                  <a:pt x="11" y="623"/>
                  <a:pt x="11" y="623"/>
                </a:cubicBezTo>
                <a:cubicBezTo>
                  <a:pt x="12" y="623"/>
                  <a:pt x="12" y="623"/>
                  <a:pt x="12" y="623"/>
                </a:cubicBezTo>
                <a:cubicBezTo>
                  <a:pt x="11" y="622"/>
                  <a:pt x="11" y="622"/>
                  <a:pt x="11" y="622"/>
                </a:cubicBezTo>
                <a:lnTo>
                  <a:pt x="4" y="620"/>
                </a:lnTo>
                <a:close/>
                <a:moveTo>
                  <a:pt x="221" y="480"/>
                </a:moveTo>
                <a:cubicBezTo>
                  <a:pt x="222" y="483"/>
                  <a:pt x="222" y="483"/>
                  <a:pt x="222" y="483"/>
                </a:cubicBezTo>
                <a:cubicBezTo>
                  <a:pt x="223" y="482"/>
                  <a:pt x="223" y="482"/>
                  <a:pt x="223" y="482"/>
                </a:cubicBezTo>
                <a:cubicBezTo>
                  <a:pt x="224" y="481"/>
                  <a:pt x="224" y="481"/>
                  <a:pt x="224" y="481"/>
                </a:cubicBezTo>
                <a:cubicBezTo>
                  <a:pt x="225" y="480"/>
                  <a:pt x="225" y="480"/>
                  <a:pt x="225" y="480"/>
                </a:cubicBezTo>
                <a:cubicBezTo>
                  <a:pt x="224" y="479"/>
                  <a:pt x="224" y="479"/>
                  <a:pt x="224" y="479"/>
                </a:cubicBezTo>
                <a:cubicBezTo>
                  <a:pt x="225" y="477"/>
                  <a:pt x="225" y="477"/>
                  <a:pt x="225" y="477"/>
                </a:cubicBezTo>
                <a:cubicBezTo>
                  <a:pt x="225" y="473"/>
                  <a:pt x="225" y="473"/>
                  <a:pt x="225" y="473"/>
                </a:cubicBezTo>
                <a:cubicBezTo>
                  <a:pt x="226" y="469"/>
                  <a:pt x="226" y="469"/>
                  <a:pt x="226" y="469"/>
                </a:cubicBezTo>
                <a:cubicBezTo>
                  <a:pt x="227" y="466"/>
                  <a:pt x="227" y="466"/>
                  <a:pt x="227" y="466"/>
                </a:cubicBezTo>
                <a:cubicBezTo>
                  <a:pt x="227" y="465"/>
                  <a:pt x="227" y="465"/>
                  <a:pt x="227" y="465"/>
                </a:cubicBezTo>
                <a:cubicBezTo>
                  <a:pt x="227" y="464"/>
                  <a:pt x="227" y="464"/>
                  <a:pt x="227" y="464"/>
                </a:cubicBezTo>
                <a:cubicBezTo>
                  <a:pt x="226" y="463"/>
                  <a:pt x="226" y="463"/>
                  <a:pt x="226" y="463"/>
                </a:cubicBezTo>
                <a:cubicBezTo>
                  <a:pt x="222" y="468"/>
                  <a:pt x="222" y="468"/>
                  <a:pt x="222" y="468"/>
                </a:cubicBezTo>
                <a:cubicBezTo>
                  <a:pt x="221" y="469"/>
                  <a:pt x="221" y="469"/>
                  <a:pt x="221" y="469"/>
                </a:cubicBezTo>
                <a:cubicBezTo>
                  <a:pt x="220" y="474"/>
                  <a:pt x="220" y="474"/>
                  <a:pt x="220" y="474"/>
                </a:cubicBezTo>
                <a:cubicBezTo>
                  <a:pt x="220" y="476"/>
                  <a:pt x="220" y="476"/>
                  <a:pt x="220" y="476"/>
                </a:cubicBezTo>
                <a:cubicBezTo>
                  <a:pt x="221" y="479"/>
                  <a:pt x="221" y="479"/>
                  <a:pt x="221" y="479"/>
                </a:cubicBezTo>
                <a:lnTo>
                  <a:pt x="221" y="480"/>
                </a:lnTo>
                <a:close/>
                <a:moveTo>
                  <a:pt x="20" y="596"/>
                </a:moveTo>
                <a:cubicBezTo>
                  <a:pt x="18" y="598"/>
                  <a:pt x="18" y="598"/>
                  <a:pt x="18" y="598"/>
                </a:cubicBezTo>
                <a:cubicBezTo>
                  <a:pt x="16" y="600"/>
                  <a:pt x="16" y="600"/>
                  <a:pt x="16" y="600"/>
                </a:cubicBezTo>
                <a:cubicBezTo>
                  <a:pt x="2" y="614"/>
                  <a:pt x="2" y="614"/>
                  <a:pt x="2" y="614"/>
                </a:cubicBezTo>
                <a:cubicBezTo>
                  <a:pt x="2" y="615"/>
                  <a:pt x="2" y="615"/>
                  <a:pt x="2" y="615"/>
                </a:cubicBezTo>
                <a:cubicBezTo>
                  <a:pt x="1" y="616"/>
                  <a:pt x="1" y="616"/>
                  <a:pt x="1" y="616"/>
                </a:cubicBezTo>
                <a:cubicBezTo>
                  <a:pt x="2" y="617"/>
                  <a:pt x="2" y="617"/>
                  <a:pt x="2" y="617"/>
                </a:cubicBezTo>
                <a:cubicBezTo>
                  <a:pt x="2" y="618"/>
                  <a:pt x="2" y="618"/>
                  <a:pt x="2" y="618"/>
                </a:cubicBezTo>
                <a:cubicBezTo>
                  <a:pt x="3" y="618"/>
                  <a:pt x="3" y="618"/>
                  <a:pt x="3" y="618"/>
                </a:cubicBezTo>
                <a:cubicBezTo>
                  <a:pt x="6" y="619"/>
                  <a:pt x="6" y="619"/>
                  <a:pt x="6" y="619"/>
                </a:cubicBezTo>
                <a:cubicBezTo>
                  <a:pt x="15" y="620"/>
                  <a:pt x="15" y="620"/>
                  <a:pt x="15" y="620"/>
                </a:cubicBezTo>
                <a:cubicBezTo>
                  <a:pt x="19" y="619"/>
                  <a:pt x="19" y="619"/>
                  <a:pt x="19" y="619"/>
                </a:cubicBezTo>
                <a:cubicBezTo>
                  <a:pt x="24" y="613"/>
                  <a:pt x="24" y="613"/>
                  <a:pt x="24" y="613"/>
                </a:cubicBezTo>
                <a:cubicBezTo>
                  <a:pt x="24" y="606"/>
                  <a:pt x="24" y="606"/>
                  <a:pt x="24" y="606"/>
                </a:cubicBezTo>
                <a:lnTo>
                  <a:pt x="20" y="596"/>
                </a:lnTo>
                <a:close/>
                <a:moveTo>
                  <a:pt x="54" y="533"/>
                </a:moveTo>
                <a:cubicBezTo>
                  <a:pt x="53" y="532"/>
                  <a:pt x="53" y="532"/>
                  <a:pt x="53" y="532"/>
                </a:cubicBezTo>
                <a:cubicBezTo>
                  <a:pt x="53" y="532"/>
                  <a:pt x="53" y="532"/>
                  <a:pt x="53" y="532"/>
                </a:cubicBezTo>
                <a:cubicBezTo>
                  <a:pt x="51" y="528"/>
                  <a:pt x="51" y="528"/>
                  <a:pt x="51" y="528"/>
                </a:cubicBezTo>
                <a:cubicBezTo>
                  <a:pt x="38" y="521"/>
                  <a:pt x="38" y="521"/>
                  <a:pt x="38" y="521"/>
                </a:cubicBezTo>
                <a:cubicBezTo>
                  <a:pt x="30" y="518"/>
                  <a:pt x="30" y="518"/>
                  <a:pt x="30" y="518"/>
                </a:cubicBezTo>
                <a:cubicBezTo>
                  <a:pt x="27" y="521"/>
                  <a:pt x="27" y="521"/>
                  <a:pt x="27" y="521"/>
                </a:cubicBezTo>
                <a:cubicBezTo>
                  <a:pt x="23" y="537"/>
                  <a:pt x="23" y="537"/>
                  <a:pt x="23" y="537"/>
                </a:cubicBezTo>
                <a:cubicBezTo>
                  <a:pt x="21" y="545"/>
                  <a:pt x="21" y="545"/>
                  <a:pt x="21" y="545"/>
                </a:cubicBezTo>
                <a:cubicBezTo>
                  <a:pt x="22" y="558"/>
                  <a:pt x="22" y="558"/>
                  <a:pt x="22" y="558"/>
                </a:cubicBezTo>
                <a:cubicBezTo>
                  <a:pt x="22" y="561"/>
                  <a:pt x="22" y="561"/>
                  <a:pt x="22" y="561"/>
                </a:cubicBezTo>
                <a:cubicBezTo>
                  <a:pt x="23" y="570"/>
                  <a:pt x="23" y="570"/>
                  <a:pt x="23" y="570"/>
                </a:cubicBezTo>
                <a:cubicBezTo>
                  <a:pt x="26" y="578"/>
                  <a:pt x="26" y="578"/>
                  <a:pt x="26" y="578"/>
                </a:cubicBezTo>
                <a:cubicBezTo>
                  <a:pt x="26" y="578"/>
                  <a:pt x="26" y="578"/>
                  <a:pt x="26" y="578"/>
                </a:cubicBezTo>
                <a:cubicBezTo>
                  <a:pt x="28" y="580"/>
                  <a:pt x="28" y="580"/>
                  <a:pt x="28" y="580"/>
                </a:cubicBezTo>
                <a:cubicBezTo>
                  <a:pt x="29" y="580"/>
                  <a:pt x="29" y="580"/>
                  <a:pt x="29" y="580"/>
                </a:cubicBezTo>
                <a:cubicBezTo>
                  <a:pt x="30" y="581"/>
                  <a:pt x="30" y="581"/>
                  <a:pt x="30" y="581"/>
                </a:cubicBezTo>
                <a:cubicBezTo>
                  <a:pt x="47" y="583"/>
                  <a:pt x="47" y="583"/>
                  <a:pt x="47" y="583"/>
                </a:cubicBezTo>
                <a:cubicBezTo>
                  <a:pt x="48" y="583"/>
                  <a:pt x="48" y="583"/>
                  <a:pt x="48" y="583"/>
                </a:cubicBezTo>
                <a:cubicBezTo>
                  <a:pt x="49" y="583"/>
                  <a:pt x="49" y="583"/>
                  <a:pt x="49" y="583"/>
                </a:cubicBezTo>
                <a:cubicBezTo>
                  <a:pt x="49" y="582"/>
                  <a:pt x="49" y="582"/>
                  <a:pt x="49" y="582"/>
                </a:cubicBezTo>
                <a:cubicBezTo>
                  <a:pt x="49" y="581"/>
                  <a:pt x="49" y="581"/>
                  <a:pt x="49" y="581"/>
                </a:cubicBezTo>
                <a:cubicBezTo>
                  <a:pt x="49" y="579"/>
                  <a:pt x="49" y="579"/>
                  <a:pt x="49" y="579"/>
                </a:cubicBezTo>
                <a:cubicBezTo>
                  <a:pt x="48" y="578"/>
                  <a:pt x="48" y="578"/>
                  <a:pt x="48" y="578"/>
                </a:cubicBezTo>
                <a:cubicBezTo>
                  <a:pt x="46" y="574"/>
                  <a:pt x="46" y="574"/>
                  <a:pt x="46" y="574"/>
                </a:cubicBezTo>
                <a:cubicBezTo>
                  <a:pt x="46" y="573"/>
                  <a:pt x="46" y="573"/>
                  <a:pt x="46" y="573"/>
                </a:cubicBezTo>
                <a:cubicBezTo>
                  <a:pt x="45" y="568"/>
                  <a:pt x="45" y="568"/>
                  <a:pt x="45" y="568"/>
                </a:cubicBezTo>
                <a:cubicBezTo>
                  <a:pt x="44" y="557"/>
                  <a:pt x="44" y="557"/>
                  <a:pt x="44" y="557"/>
                </a:cubicBezTo>
                <a:cubicBezTo>
                  <a:pt x="44" y="550"/>
                  <a:pt x="44" y="550"/>
                  <a:pt x="44" y="550"/>
                </a:cubicBezTo>
                <a:lnTo>
                  <a:pt x="54" y="533"/>
                </a:lnTo>
                <a:close/>
                <a:moveTo>
                  <a:pt x="87" y="385"/>
                </a:moveTo>
                <a:cubicBezTo>
                  <a:pt x="88" y="385"/>
                  <a:pt x="88" y="385"/>
                  <a:pt x="88" y="385"/>
                </a:cubicBezTo>
                <a:cubicBezTo>
                  <a:pt x="89" y="383"/>
                  <a:pt x="89" y="383"/>
                  <a:pt x="89" y="383"/>
                </a:cubicBezTo>
                <a:cubicBezTo>
                  <a:pt x="90" y="382"/>
                  <a:pt x="90" y="382"/>
                  <a:pt x="90" y="382"/>
                </a:cubicBezTo>
                <a:cubicBezTo>
                  <a:pt x="90" y="382"/>
                  <a:pt x="90" y="382"/>
                  <a:pt x="90" y="382"/>
                </a:cubicBezTo>
                <a:cubicBezTo>
                  <a:pt x="90" y="381"/>
                  <a:pt x="90" y="381"/>
                  <a:pt x="90" y="381"/>
                </a:cubicBezTo>
                <a:cubicBezTo>
                  <a:pt x="89" y="379"/>
                  <a:pt x="89" y="379"/>
                  <a:pt x="89" y="379"/>
                </a:cubicBezTo>
                <a:cubicBezTo>
                  <a:pt x="89" y="377"/>
                  <a:pt x="89" y="377"/>
                  <a:pt x="89" y="377"/>
                </a:cubicBezTo>
                <a:cubicBezTo>
                  <a:pt x="89" y="377"/>
                  <a:pt x="89" y="377"/>
                  <a:pt x="89" y="377"/>
                </a:cubicBezTo>
                <a:cubicBezTo>
                  <a:pt x="88" y="376"/>
                  <a:pt x="88" y="376"/>
                  <a:pt x="88" y="376"/>
                </a:cubicBezTo>
                <a:cubicBezTo>
                  <a:pt x="85" y="377"/>
                  <a:pt x="85" y="377"/>
                  <a:pt x="85" y="377"/>
                </a:cubicBezTo>
                <a:cubicBezTo>
                  <a:pt x="77" y="384"/>
                  <a:pt x="77" y="384"/>
                  <a:pt x="77" y="384"/>
                </a:cubicBezTo>
                <a:cubicBezTo>
                  <a:pt x="77" y="385"/>
                  <a:pt x="77" y="385"/>
                  <a:pt x="77" y="385"/>
                </a:cubicBezTo>
                <a:cubicBezTo>
                  <a:pt x="77" y="387"/>
                  <a:pt x="77" y="387"/>
                  <a:pt x="77" y="387"/>
                </a:cubicBezTo>
                <a:cubicBezTo>
                  <a:pt x="77" y="387"/>
                  <a:pt x="77" y="387"/>
                  <a:pt x="77" y="387"/>
                </a:cubicBezTo>
                <a:lnTo>
                  <a:pt x="87" y="385"/>
                </a:lnTo>
                <a:close/>
                <a:moveTo>
                  <a:pt x="615" y="36"/>
                </a:moveTo>
                <a:cubicBezTo>
                  <a:pt x="633" y="41"/>
                  <a:pt x="633" y="41"/>
                  <a:pt x="633" y="41"/>
                </a:cubicBezTo>
                <a:cubicBezTo>
                  <a:pt x="636" y="39"/>
                  <a:pt x="636" y="39"/>
                  <a:pt x="636" y="39"/>
                </a:cubicBezTo>
                <a:cubicBezTo>
                  <a:pt x="637" y="39"/>
                  <a:pt x="637" y="39"/>
                  <a:pt x="637" y="39"/>
                </a:cubicBezTo>
                <a:cubicBezTo>
                  <a:pt x="637" y="37"/>
                  <a:pt x="637" y="37"/>
                  <a:pt x="637" y="37"/>
                </a:cubicBezTo>
                <a:cubicBezTo>
                  <a:pt x="636" y="35"/>
                  <a:pt x="636" y="35"/>
                  <a:pt x="636" y="35"/>
                </a:cubicBezTo>
                <a:cubicBezTo>
                  <a:pt x="629" y="26"/>
                  <a:pt x="629" y="26"/>
                  <a:pt x="629" y="26"/>
                </a:cubicBezTo>
                <a:cubicBezTo>
                  <a:pt x="627" y="26"/>
                  <a:pt x="627" y="26"/>
                  <a:pt x="627" y="26"/>
                </a:cubicBezTo>
                <a:cubicBezTo>
                  <a:pt x="626" y="27"/>
                  <a:pt x="626" y="27"/>
                  <a:pt x="626" y="27"/>
                </a:cubicBezTo>
                <a:cubicBezTo>
                  <a:pt x="625" y="27"/>
                  <a:pt x="625" y="27"/>
                  <a:pt x="625" y="27"/>
                </a:cubicBezTo>
                <a:cubicBezTo>
                  <a:pt x="616" y="23"/>
                  <a:pt x="616" y="23"/>
                  <a:pt x="616" y="23"/>
                </a:cubicBezTo>
                <a:cubicBezTo>
                  <a:pt x="616" y="22"/>
                  <a:pt x="616" y="22"/>
                  <a:pt x="616" y="22"/>
                </a:cubicBezTo>
                <a:cubicBezTo>
                  <a:pt x="619" y="17"/>
                  <a:pt x="619" y="17"/>
                  <a:pt x="619" y="17"/>
                </a:cubicBezTo>
                <a:cubicBezTo>
                  <a:pt x="620" y="16"/>
                  <a:pt x="620" y="16"/>
                  <a:pt x="620" y="16"/>
                </a:cubicBezTo>
                <a:cubicBezTo>
                  <a:pt x="621" y="15"/>
                  <a:pt x="621" y="15"/>
                  <a:pt x="621" y="15"/>
                </a:cubicBezTo>
                <a:cubicBezTo>
                  <a:pt x="621" y="15"/>
                  <a:pt x="621" y="15"/>
                  <a:pt x="621" y="15"/>
                </a:cubicBezTo>
                <a:cubicBezTo>
                  <a:pt x="622" y="14"/>
                  <a:pt x="622" y="14"/>
                  <a:pt x="622" y="14"/>
                </a:cubicBezTo>
                <a:cubicBezTo>
                  <a:pt x="621" y="13"/>
                  <a:pt x="621" y="13"/>
                  <a:pt x="621" y="13"/>
                </a:cubicBezTo>
                <a:cubicBezTo>
                  <a:pt x="620" y="13"/>
                  <a:pt x="620" y="13"/>
                  <a:pt x="620" y="13"/>
                </a:cubicBezTo>
                <a:cubicBezTo>
                  <a:pt x="618" y="13"/>
                  <a:pt x="618" y="13"/>
                  <a:pt x="618" y="13"/>
                </a:cubicBezTo>
                <a:cubicBezTo>
                  <a:pt x="605" y="19"/>
                  <a:pt x="605" y="19"/>
                  <a:pt x="605" y="19"/>
                </a:cubicBezTo>
                <a:cubicBezTo>
                  <a:pt x="605" y="20"/>
                  <a:pt x="605" y="20"/>
                  <a:pt x="605" y="20"/>
                </a:cubicBezTo>
                <a:cubicBezTo>
                  <a:pt x="605" y="21"/>
                  <a:pt x="605" y="21"/>
                  <a:pt x="605" y="21"/>
                </a:cubicBezTo>
                <a:cubicBezTo>
                  <a:pt x="615" y="36"/>
                  <a:pt x="615" y="36"/>
                  <a:pt x="615" y="36"/>
                </a:cubicBezTo>
                <a:close/>
                <a:moveTo>
                  <a:pt x="212" y="529"/>
                </a:moveTo>
                <a:cubicBezTo>
                  <a:pt x="214" y="529"/>
                  <a:pt x="214" y="529"/>
                  <a:pt x="214" y="529"/>
                </a:cubicBezTo>
                <a:cubicBezTo>
                  <a:pt x="217" y="527"/>
                  <a:pt x="217" y="527"/>
                  <a:pt x="217" y="527"/>
                </a:cubicBezTo>
                <a:cubicBezTo>
                  <a:pt x="218" y="526"/>
                  <a:pt x="218" y="526"/>
                  <a:pt x="218" y="526"/>
                </a:cubicBezTo>
                <a:cubicBezTo>
                  <a:pt x="221" y="524"/>
                  <a:pt x="221" y="524"/>
                  <a:pt x="221" y="524"/>
                </a:cubicBezTo>
                <a:cubicBezTo>
                  <a:pt x="221" y="523"/>
                  <a:pt x="221" y="523"/>
                  <a:pt x="221" y="523"/>
                </a:cubicBezTo>
                <a:cubicBezTo>
                  <a:pt x="222" y="521"/>
                  <a:pt x="222" y="521"/>
                  <a:pt x="222" y="521"/>
                </a:cubicBezTo>
                <a:cubicBezTo>
                  <a:pt x="222" y="520"/>
                  <a:pt x="222" y="520"/>
                  <a:pt x="222" y="520"/>
                </a:cubicBezTo>
                <a:cubicBezTo>
                  <a:pt x="220" y="497"/>
                  <a:pt x="220" y="497"/>
                  <a:pt x="220" y="497"/>
                </a:cubicBezTo>
                <a:cubicBezTo>
                  <a:pt x="223" y="488"/>
                  <a:pt x="223" y="488"/>
                  <a:pt x="223" y="488"/>
                </a:cubicBezTo>
                <a:cubicBezTo>
                  <a:pt x="223" y="488"/>
                  <a:pt x="223" y="488"/>
                  <a:pt x="223" y="488"/>
                </a:cubicBezTo>
                <a:cubicBezTo>
                  <a:pt x="223" y="487"/>
                  <a:pt x="223" y="487"/>
                  <a:pt x="223" y="487"/>
                </a:cubicBezTo>
                <a:cubicBezTo>
                  <a:pt x="223" y="486"/>
                  <a:pt x="223" y="486"/>
                  <a:pt x="223" y="486"/>
                </a:cubicBezTo>
                <a:cubicBezTo>
                  <a:pt x="222" y="485"/>
                  <a:pt x="222" y="485"/>
                  <a:pt x="222" y="485"/>
                </a:cubicBezTo>
                <a:cubicBezTo>
                  <a:pt x="221" y="486"/>
                  <a:pt x="221" y="486"/>
                  <a:pt x="221" y="486"/>
                </a:cubicBezTo>
                <a:cubicBezTo>
                  <a:pt x="212" y="497"/>
                  <a:pt x="212" y="497"/>
                  <a:pt x="212" y="497"/>
                </a:cubicBezTo>
                <a:cubicBezTo>
                  <a:pt x="211" y="499"/>
                  <a:pt x="211" y="499"/>
                  <a:pt x="211" y="499"/>
                </a:cubicBezTo>
                <a:cubicBezTo>
                  <a:pt x="210" y="504"/>
                  <a:pt x="210" y="504"/>
                  <a:pt x="210" y="504"/>
                </a:cubicBezTo>
                <a:cubicBezTo>
                  <a:pt x="209" y="521"/>
                  <a:pt x="209" y="521"/>
                  <a:pt x="209" y="521"/>
                </a:cubicBezTo>
                <a:cubicBezTo>
                  <a:pt x="211" y="528"/>
                  <a:pt x="211" y="528"/>
                  <a:pt x="211" y="528"/>
                </a:cubicBezTo>
                <a:lnTo>
                  <a:pt x="212" y="529"/>
                </a:lnTo>
                <a:close/>
                <a:moveTo>
                  <a:pt x="109" y="303"/>
                </a:moveTo>
                <a:cubicBezTo>
                  <a:pt x="108" y="303"/>
                  <a:pt x="108" y="303"/>
                  <a:pt x="108" y="303"/>
                </a:cubicBezTo>
                <a:cubicBezTo>
                  <a:pt x="108" y="304"/>
                  <a:pt x="108" y="304"/>
                  <a:pt x="108" y="304"/>
                </a:cubicBezTo>
                <a:cubicBezTo>
                  <a:pt x="108" y="305"/>
                  <a:pt x="108" y="305"/>
                  <a:pt x="108" y="305"/>
                </a:cubicBezTo>
                <a:cubicBezTo>
                  <a:pt x="110" y="306"/>
                  <a:pt x="110" y="306"/>
                  <a:pt x="110" y="306"/>
                </a:cubicBezTo>
                <a:cubicBezTo>
                  <a:pt x="110" y="306"/>
                  <a:pt x="110" y="306"/>
                  <a:pt x="110" y="306"/>
                </a:cubicBezTo>
                <a:cubicBezTo>
                  <a:pt x="110" y="305"/>
                  <a:pt x="110" y="305"/>
                  <a:pt x="110" y="305"/>
                </a:cubicBezTo>
                <a:cubicBezTo>
                  <a:pt x="110" y="305"/>
                  <a:pt x="110" y="305"/>
                  <a:pt x="110" y="305"/>
                </a:cubicBezTo>
                <a:cubicBezTo>
                  <a:pt x="110" y="304"/>
                  <a:pt x="110" y="304"/>
                  <a:pt x="110" y="304"/>
                </a:cubicBezTo>
                <a:cubicBezTo>
                  <a:pt x="109" y="304"/>
                  <a:pt x="109" y="304"/>
                  <a:pt x="109" y="304"/>
                </a:cubicBezTo>
                <a:lnTo>
                  <a:pt x="109" y="303"/>
                </a:lnTo>
                <a:close/>
                <a:moveTo>
                  <a:pt x="80" y="345"/>
                </a:moveTo>
                <a:cubicBezTo>
                  <a:pt x="74" y="351"/>
                  <a:pt x="74" y="351"/>
                  <a:pt x="74" y="351"/>
                </a:cubicBezTo>
                <a:cubicBezTo>
                  <a:pt x="71" y="357"/>
                  <a:pt x="71" y="357"/>
                  <a:pt x="71" y="357"/>
                </a:cubicBezTo>
                <a:cubicBezTo>
                  <a:pt x="71" y="358"/>
                  <a:pt x="71" y="358"/>
                  <a:pt x="71" y="358"/>
                </a:cubicBezTo>
                <a:cubicBezTo>
                  <a:pt x="71" y="359"/>
                  <a:pt x="71" y="359"/>
                  <a:pt x="71" y="359"/>
                </a:cubicBezTo>
                <a:cubicBezTo>
                  <a:pt x="77" y="364"/>
                  <a:pt x="77" y="364"/>
                  <a:pt x="77" y="364"/>
                </a:cubicBezTo>
                <a:cubicBezTo>
                  <a:pt x="81" y="367"/>
                  <a:pt x="81" y="367"/>
                  <a:pt x="81" y="367"/>
                </a:cubicBezTo>
                <a:cubicBezTo>
                  <a:pt x="82" y="368"/>
                  <a:pt x="82" y="368"/>
                  <a:pt x="82" y="368"/>
                </a:cubicBezTo>
                <a:cubicBezTo>
                  <a:pt x="86" y="370"/>
                  <a:pt x="86" y="370"/>
                  <a:pt x="86" y="370"/>
                </a:cubicBezTo>
                <a:cubicBezTo>
                  <a:pt x="87" y="369"/>
                  <a:pt x="87" y="369"/>
                  <a:pt x="87" y="369"/>
                </a:cubicBezTo>
                <a:cubicBezTo>
                  <a:pt x="87" y="368"/>
                  <a:pt x="87" y="368"/>
                  <a:pt x="87" y="368"/>
                </a:cubicBezTo>
                <a:cubicBezTo>
                  <a:pt x="89" y="367"/>
                  <a:pt x="89" y="367"/>
                  <a:pt x="89" y="367"/>
                </a:cubicBezTo>
                <a:cubicBezTo>
                  <a:pt x="99" y="371"/>
                  <a:pt x="99" y="371"/>
                  <a:pt x="99" y="371"/>
                </a:cubicBezTo>
                <a:cubicBezTo>
                  <a:pt x="107" y="376"/>
                  <a:pt x="107" y="376"/>
                  <a:pt x="107" y="376"/>
                </a:cubicBezTo>
                <a:cubicBezTo>
                  <a:pt x="110" y="381"/>
                  <a:pt x="110" y="381"/>
                  <a:pt x="110" y="381"/>
                </a:cubicBezTo>
                <a:cubicBezTo>
                  <a:pt x="110" y="382"/>
                  <a:pt x="110" y="382"/>
                  <a:pt x="110" y="382"/>
                </a:cubicBezTo>
                <a:cubicBezTo>
                  <a:pt x="109" y="382"/>
                  <a:pt x="109" y="382"/>
                  <a:pt x="109" y="382"/>
                </a:cubicBezTo>
                <a:cubicBezTo>
                  <a:pt x="106" y="382"/>
                  <a:pt x="106" y="382"/>
                  <a:pt x="106" y="382"/>
                </a:cubicBezTo>
                <a:cubicBezTo>
                  <a:pt x="100" y="382"/>
                  <a:pt x="100" y="382"/>
                  <a:pt x="100" y="382"/>
                </a:cubicBezTo>
                <a:cubicBezTo>
                  <a:pt x="99" y="381"/>
                  <a:pt x="99" y="381"/>
                  <a:pt x="99" y="381"/>
                </a:cubicBezTo>
                <a:cubicBezTo>
                  <a:pt x="99" y="380"/>
                  <a:pt x="99" y="380"/>
                  <a:pt x="99" y="380"/>
                </a:cubicBezTo>
                <a:cubicBezTo>
                  <a:pt x="98" y="380"/>
                  <a:pt x="98" y="380"/>
                  <a:pt x="98" y="380"/>
                </a:cubicBezTo>
                <a:cubicBezTo>
                  <a:pt x="96" y="379"/>
                  <a:pt x="96" y="379"/>
                  <a:pt x="96" y="379"/>
                </a:cubicBezTo>
                <a:cubicBezTo>
                  <a:pt x="95" y="379"/>
                  <a:pt x="95" y="379"/>
                  <a:pt x="95" y="379"/>
                </a:cubicBezTo>
                <a:cubicBezTo>
                  <a:pt x="92" y="382"/>
                  <a:pt x="92" y="382"/>
                  <a:pt x="92" y="382"/>
                </a:cubicBezTo>
                <a:cubicBezTo>
                  <a:pt x="73" y="398"/>
                  <a:pt x="73" y="398"/>
                  <a:pt x="73" y="398"/>
                </a:cubicBezTo>
                <a:cubicBezTo>
                  <a:pt x="72" y="398"/>
                  <a:pt x="72" y="398"/>
                  <a:pt x="72" y="398"/>
                </a:cubicBezTo>
                <a:cubicBezTo>
                  <a:pt x="68" y="396"/>
                  <a:pt x="68" y="396"/>
                  <a:pt x="68" y="396"/>
                </a:cubicBezTo>
                <a:cubicBezTo>
                  <a:pt x="67" y="397"/>
                  <a:pt x="67" y="397"/>
                  <a:pt x="67" y="397"/>
                </a:cubicBezTo>
                <a:cubicBezTo>
                  <a:pt x="65" y="397"/>
                  <a:pt x="65" y="397"/>
                  <a:pt x="65" y="397"/>
                </a:cubicBezTo>
                <a:cubicBezTo>
                  <a:pt x="68" y="402"/>
                  <a:pt x="68" y="402"/>
                  <a:pt x="68" y="402"/>
                </a:cubicBezTo>
                <a:cubicBezTo>
                  <a:pt x="78" y="413"/>
                  <a:pt x="78" y="413"/>
                  <a:pt x="78" y="413"/>
                </a:cubicBezTo>
                <a:cubicBezTo>
                  <a:pt x="82" y="417"/>
                  <a:pt x="82" y="417"/>
                  <a:pt x="82" y="417"/>
                </a:cubicBezTo>
                <a:cubicBezTo>
                  <a:pt x="91" y="425"/>
                  <a:pt x="91" y="425"/>
                  <a:pt x="91" y="425"/>
                </a:cubicBezTo>
                <a:cubicBezTo>
                  <a:pt x="113" y="406"/>
                  <a:pt x="113" y="406"/>
                  <a:pt x="113" y="406"/>
                </a:cubicBezTo>
                <a:cubicBezTo>
                  <a:pt x="114" y="406"/>
                  <a:pt x="114" y="406"/>
                  <a:pt x="114" y="406"/>
                </a:cubicBezTo>
                <a:cubicBezTo>
                  <a:pt x="119" y="400"/>
                  <a:pt x="119" y="400"/>
                  <a:pt x="119" y="400"/>
                </a:cubicBezTo>
                <a:cubicBezTo>
                  <a:pt x="130" y="387"/>
                  <a:pt x="130" y="387"/>
                  <a:pt x="130" y="387"/>
                </a:cubicBezTo>
                <a:cubicBezTo>
                  <a:pt x="130" y="386"/>
                  <a:pt x="130" y="386"/>
                  <a:pt x="130" y="386"/>
                </a:cubicBezTo>
                <a:cubicBezTo>
                  <a:pt x="130" y="385"/>
                  <a:pt x="130" y="385"/>
                  <a:pt x="130" y="385"/>
                </a:cubicBezTo>
                <a:cubicBezTo>
                  <a:pt x="127" y="375"/>
                  <a:pt x="127" y="375"/>
                  <a:pt x="127" y="375"/>
                </a:cubicBezTo>
                <a:cubicBezTo>
                  <a:pt x="125" y="371"/>
                  <a:pt x="125" y="371"/>
                  <a:pt x="125" y="371"/>
                </a:cubicBezTo>
                <a:cubicBezTo>
                  <a:pt x="124" y="370"/>
                  <a:pt x="124" y="370"/>
                  <a:pt x="124" y="370"/>
                </a:cubicBezTo>
                <a:cubicBezTo>
                  <a:pt x="123" y="368"/>
                  <a:pt x="123" y="368"/>
                  <a:pt x="123" y="368"/>
                </a:cubicBezTo>
                <a:cubicBezTo>
                  <a:pt x="122" y="355"/>
                  <a:pt x="122" y="355"/>
                  <a:pt x="122" y="355"/>
                </a:cubicBezTo>
                <a:cubicBezTo>
                  <a:pt x="122" y="353"/>
                  <a:pt x="122" y="353"/>
                  <a:pt x="122" y="353"/>
                </a:cubicBezTo>
                <a:cubicBezTo>
                  <a:pt x="123" y="352"/>
                  <a:pt x="123" y="352"/>
                  <a:pt x="123" y="352"/>
                </a:cubicBezTo>
                <a:cubicBezTo>
                  <a:pt x="125" y="349"/>
                  <a:pt x="125" y="349"/>
                  <a:pt x="125" y="349"/>
                </a:cubicBezTo>
                <a:cubicBezTo>
                  <a:pt x="128" y="348"/>
                  <a:pt x="128" y="348"/>
                  <a:pt x="128" y="348"/>
                </a:cubicBezTo>
                <a:cubicBezTo>
                  <a:pt x="128" y="348"/>
                  <a:pt x="128" y="348"/>
                  <a:pt x="128" y="348"/>
                </a:cubicBezTo>
                <a:cubicBezTo>
                  <a:pt x="129" y="349"/>
                  <a:pt x="129" y="349"/>
                  <a:pt x="129" y="349"/>
                </a:cubicBezTo>
                <a:cubicBezTo>
                  <a:pt x="129" y="349"/>
                  <a:pt x="129" y="349"/>
                  <a:pt x="129" y="349"/>
                </a:cubicBezTo>
                <a:cubicBezTo>
                  <a:pt x="126" y="355"/>
                  <a:pt x="126" y="355"/>
                  <a:pt x="126" y="355"/>
                </a:cubicBezTo>
                <a:cubicBezTo>
                  <a:pt x="125" y="362"/>
                  <a:pt x="125" y="362"/>
                  <a:pt x="125" y="362"/>
                </a:cubicBezTo>
                <a:cubicBezTo>
                  <a:pt x="126" y="363"/>
                  <a:pt x="126" y="363"/>
                  <a:pt x="126" y="363"/>
                </a:cubicBezTo>
                <a:cubicBezTo>
                  <a:pt x="126" y="365"/>
                  <a:pt x="126" y="365"/>
                  <a:pt x="126" y="365"/>
                </a:cubicBezTo>
                <a:cubicBezTo>
                  <a:pt x="127" y="367"/>
                  <a:pt x="127" y="367"/>
                  <a:pt x="127" y="367"/>
                </a:cubicBezTo>
                <a:cubicBezTo>
                  <a:pt x="127" y="367"/>
                  <a:pt x="127" y="367"/>
                  <a:pt x="127" y="367"/>
                </a:cubicBezTo>
                <a:cubicBezTo>
                  <a:pt x="134" y="377"/>
                  <a:pt x="134" y="377"/>
                  <a:pt x="134" y="377"/>
                </a:cubicBezTo>
                <a:cubicBezTo>
                  <a:pt x="144" y="380"/>
                  <a:pt x="144" y="380"/>
                  <a:pt x="144" y="380"/>
                </a:cubicBezTo>
                <a:cubicBezTo>
                  <a:pt x="148" y="379"/>
                  <a:pt x="148" y="379"/>
                  <a:pt x="148" y="379"/>
                </a:cubicBezTo>
                <a:cubicBezTo>
                  <a:pt x="157" y="373"/>
                  <a:pt x="157" y="373"/>
                  <a:pt x="157" y="373"/>
                </a:cubicBezTo>
                <a:cubicBezTo>
                  <a:pt x="158" y="372"/>
                  <a:pt x="158" y="372"/>
                  <a:pt x="158" y="372"/>
                </a:cubicBezTo>
                <a:cubicBezTo>
                  <a:pt x="158" y="372"/>
                  <a:pt x="158" y="372"/>
                  <a:pt x="158" y="372"/>
                </a:cubicBezTo>
                <a:cubicBezTo>
                  <a:pt x="170" y="356"/>
                  <a:pt x="170" y="356"/>
                  <a:pt x="170" y="356"/>
                </a:cubicBezTo>
                <a:cubicBezTo>
                  <a:pt x="172" y="353"/>
                  <a:pt x="172" y="353"/>
                  <a:pt x="172" y="353"/>
                </a:cubicBezTo>
                <a:cubicBezTo>
                  <a:pt x="173" y="349"/>
                  <a:pt x="173" y="349"/>
                  <a:pt x="173" y="349"/>
                </a:cubicBezTo>
                <a:cubicBezTo>
                  <a:pt x="173" y="348"/>
                  <a:pt x="173" y="348"/>
                  <a:pt x="173" y="348"/>
                </a:cubicBezTo>
                <a:cubicBezTo>
                  <a:pt x="174" y="344"/>
                  <a:pt x="174" y="344"/>
                  <a:pt x="174" y="344"/>
                </a:cubicBezTo>
                <a:cubicBezTo>
                  <a:pt x="172" y="332"/>
                  <a:pt x="172" y="332"/>
                  <a:pt x="172" y="332"/>
                </a:cubicBezTo>
                <a:cubicBezTo>
                  <a:pt x="170" y="332"/>
                  <a:pt x="170" y="332"/>
                  <a:pt x="170" y="332"/>
                </a:cubicBezTo>
                <a:cubicBezTo>
                  <a:pt x="153" y="336"/>
                  <a:pt x="153" y="336"/>
                  <a:pt x="153" y="336"/>
                </a:cubicBezTo>
                <a:cubicBezTo>
                  <a:pt x="170" y="327"/>
                  <a:pt x="170" y="327"/>
                  <a:pt x="170" y="327"/>
                </a:cubicBezTo>
                <a:cubicBezTo>
                  <a:pt x="172" y="310"/>
                  <a:pt x="172" y="310"/>
                  <a:pt x="172" y="310"/>
                </a:cubicBezTo>
                <a:cubicBezTo>
                  <a:pt x="190" y="314"/>
                  <a:pt x="190" y="314"/>
                  <a:pt x="190" y="314"/>
                </a:cubicBezTo>
                <a:cubicBezTo>
                  <a:pt x="191" y="314"/>
                  <a:pt x="191" y="314"/>
                  <a:pt x="191" y="314"/>
                </a:cubicBezTo>
                <a:cubicBezTo>
                  <a:pt x="191" y="314"/>
                  <a:pt x="191" y="314"/>
                  <a:pt x="191" y="314"/>
                </a:cubicBezTo>
                <a:cubicBezTo>
                  <a:pt x="193" y="314"/>
                  <a:pt x="193" y="314"/>
                  <a:pt x="193" y="314"/>
                </a:cubicBezTo>
                <a:cubicBezTo>
                  <a:pt x="197" y="313"/>
                  <a:pt x="197" y="313"/>
                  <a:pt x="197" y="313"/>
                </a:cubicBezTo>
                <a:cubicBezTo>
                  <a:pt x="203" y="307"/>
                  <a:pt x="203" y="307"/>
                  <a:pt x="203" y="307"/>
                </a:cubicBezTo>
                <a:cubicBezTo>
                  <a:pt x="205" y="306"/>
                  <a:pt x="205" y="306"/>
                  <a:pt x="205" y="306"/>
                </a:cubicBezTo>
                <a:cubicBezTo>
                  <a:pt x="206" y="305"/>
                  <a:pt x="206" y="305"/>
                  <a:pt x="206" y="305"/>
                </a:cubicBezTo>
                <a:cubicBezTo>
                  <a:pt x="206" y="304"/>
                  <a:pt x="206" y="304"/>
                  <a:pt x="206" y="304"/>
                </a:cubicBezTo>
                <a:cubicBezTo>
                  <a:pt x="206" y="296"/>
                  <a:pt x="206" y="296"/>
                  <a:pt x="206" y="296"/>
                </a:cubicBezTo>
                <a:cubicBezTo>
                  <a:pt x="206" y="295"/>
                  <a:pt x="206" y="295"/>
                  <a:pt x="206" y="295"/>
                </a:cubicBezTo>
                <a:cubicBezTo>
                  <a:pt x="205" y="294"/>
                  <a:pt x="205" y="294"/>
                  <a:pt x="205" y="294"/>
                </a:cubicBezTo>
                <a:cubicBezTo>
                  <a:pt x="203" y="294"/>
                  <a:pt x="203" y="294"/>
                  <a:pt x="203" y="294"/>
                </a:cubicBezTo>
                <a:cubicBezTo>
                  <a:pt x="198" y="298"/>
                  <a:pt x="198" y="298"/>
                  <a:pt x="198" y="298"/>
                </a:cubicBezTo>
                <a:cubicBezTo>
                  <a:pt x="196" y="300"/>
                  <a:pt x="196" y="300"/>
                  <a:pt x="196" y="300"/>
                </a:cubicBezTo>
                <a:cubicBezTo>
                  <a:pt x="193" y="304"/>
                  <a:pt x="193" y="304"/>
                  <a:pt x="193" y="304"/>
                </a:cubicBezTo>
                <a:cubicBezTo>
                  <a:pt x="186" y="307"/>
                  <a:pt x="186" y="307"/>
                  <a:pt x="186" y="307"/>
                </a:cubicBezTo>
                <a:cubicBezTo>
                  <a:pt x="185" y="307"/>
                  <a:pt x="185" y="307"/>
                  <a:pt x="185" y="307"/>
                </a:cubicBezTo>
                <a:cubicBezTo>
                  <a:pt x="176" y="304"/>
                  <a:pt x="176" y="304"/>
                  <a:pt x="176" y="304"/>
                </a:cubicBezTo>
                <a:cubicBezTo>
                  <a:pt x="176" y="304"/>
                  <a:pt x="176" y="304"/>
                  <a:pt x="176" y="304"/>
                </a:cubicBezTo>
                <a:cubicBezTo>
                  <a:pt x="176" y="302"/>
                  <a:pt x="176" y="302"/>
                  <a:pt x="176" y="302"/>
                </a:cubicBezTo>
                <a:cubicBezTo>
                  <a:pt x="181" y="294"/>
                  <a:pt x="181" y="294"/>
                  <a:pt x="181" y="294"/>
                </a:cubicBezTo>
                <a:cubicBezTo>
                  <a:pt x="197" y="268"/>
                  <a:pt x="197" y="268"/>
                  <a:pt x="197" y="268"/>
                </a:cubicBezTo>
                <a:cubicBezTo>
                  <a:pt x="203" y="255"/>
                  <a:pt x="203" y="255"/>
                  <a:pt x="203" y="255"/>
                </a:cubicBezTo>
                <a:cubicBezTo>
                  <a:pt x="203" y="253"/>
                  <a:pt x="203" y="253"/>
                  <a:pt x="203" y="253"/>
                </a:cubicBezTo>
                <a:cubicBezTo>
                  <a:pt x="202" y="241"/>
                  <a:pt x="202" y="241"/>
                  <a:pt x="202" y="241"/>
                </a:cubicBezTo>
                <a:cubicBezTo>
                  <a:pt x="194" y="233"/>
                  <a:pt x="194" y="233"/>
                  <a:pt x="194" y="233"/>
                </a:cubicBezTo>
                <a:cubicBezTo>
                  <a:pt x="190" y="230"/>
                  <a:pt x="190" y="230"/>
                  <a:pt x="190" y="230"/>
                </a:cubicBezTo>
                <a:cubicBezTo>
                  <a:pt x="189" y="229"/>
                  <a:pt x="189" y="229"/>
                  <a:pt x="189" y="229"/>
                </a:cubicBezTo>
                <a:cubicBezTo>
                  <a:pt x="188" y="230"/>
                  <a:pt x="188" y="230"/>
                  <a:pt x="188" y="230"/>
                </a:cubicBezTo>
                <a:cubicBezTo>
                  <a:pt x="188" y="231"/>
                  <a:pt x="188" y="231"/>
                  <a:pt x="188" y="231"/>
                </a:cubicBezTo>
                <a:cubicBezTo>
                  <a:pt x="188" y="231"/>
                  <a:pt x="188" y="231"/>
                  <a:pt x="188" y="231"/>
                </a:cubicBezTo>
                <a:cubicBezTo>
                  <a:pt x="188" y="232"/>
                  <a:pt x="188" y="232"/>
                  <a:pt x="188" y="232"/>
                </a:cubicBezTo>
                <a:cubicBezTo>
                  <a:pt x="188" y="233"/>
                  <a:pt x="188" y="233"/>
                  <a:pt x="188" y="233"/>
                </a:cubicBezTo>
                <a:cubicBezTo>
                  <a:pt x="188" y="235"/>
                  <a:pt x="188" y="235"/>
                  <a:pt x="188" y="235"/>
                </a:cubicBezTo>
                <a:cubicBezTo>
                  <a:pt x="188" y="235"/>
                  <a:pt x="188" y="235"/>
                  <a:pt x="188" y="235"/>
                </a:cubicBezTo>
                <a:cubicBezTo>
                  <a:pt x="185" y="238"/>
                  <a:pt x="185" y="238"/>
                  <a:pt x="185" y="238"/>
                </a:cubicBezTo>
                <a:cubicBezTo>
                  <a:pt x="179" y="243"/>
                  <a:pt x="179" y="243"/>
                  <a:pt x="179" y="243"/>
                </a:cubicBezTo>
                <a:cubicBezTo>
                  <a:pt x="166" y="251"/>
                  <a:pt x="166" y="251"/>
                  <a:pt x="166" y="251"/>
                </a:cubicBezTo>
                <a:cubicBezTo>
                  <a:pt x="158" y="259"/>
                  <a:pt x="158" y="259"/>
                  <a:pt x="158" y="259"/>
                </a:cubicBezTo>
                <a:cubicBezTo>
                  <a:pt x="153" y="267"/>
                  <a:pt x="153" y="267"/>
                  <a:pt x="153" y="267"/>
                </a:cubicBezTo>
                <a:cubicBezTo>
                  <a:pt x="143" y="271"/>
                  <a:pt x="143" y="271"/>
                  <a:pt x="143" y="271"/>
                </a:cubicBezTo>
                <a:cubicBezTo>
                  <a:pt x="139" y="272"/>
                  <a:pt x="139" y="272"/>
                  <a:pt x="139" y="272"/>
                </a:cubicBezTo>
                <a:cubicBezTo>
                  <a:pt x="130" y="274"/>
                  <a:pt x="130" y="274"/>
                  <a:pt x="130" y="274"/>
                </a:cubicBezTo>
                <a:cubicBezTo>
                  <a:pt x="129" y="274"/>
                  <a:pt x="129" y="274"/>
                  <a:pt x="129" y="274"/>
                </a:cubicBezTo>
                <a:cubicBezTo>
                  <a:pt x="118" y="281"/>
                  <a:pt x="118" y="281"/>
                  <a:pt x="118" y="281"/>
                </a:cubicBezTo>
                <a:cubicBezTo>
                  <a:pt x="115" y="286"/>
                  <a:pt x="115" y="286"/>
                  <a:pt x="115" y="286"/>
                </a:cubicBezTo>
                <a:cubicBezTo>
                  <a:pt x="115" y="286"/>
                  <a:pt x="115" y="286"/>
                  <a:pt x="115" y="286"/>
                </a:cubicBezTo>
                <a:cubicBezTo>
                  <a:pt x="116" y="293"/>
                  <a:pt x="116" y="293"/>
                  <a:pt x="116" y="293"/>
                </a:cubicBezTo>
                <a:cubicBezTo>
                  <a:pt x="117" y="295"/>
                  <a:pt x="117" y="295"/>
                  <a:pt x="117" y="295"/>
                </a:cubicBezTo>
                <a:cubicBezTo>
                  <a:pt x="118" y="298"/>
                  <a:pt x="118" y="298"/>
                  <a:pt x="118" y="298"/>
                </a:cubicBezTo>
                <a:cubicBezTo>
                  <a:pt x="119" y="299"/>
                  <a:pt x="119" y="299"/>
                  <a:pt x="119" y="299"/>
                </a:cubicBezTo>
                <a:cubicBezTo>
                  <a:pt x="123" y="311"/>
                  <a:pt x="123" y="311"/>
                  <a:pt x="123" y="311"/>
                </a:cubicBezTo>
                <a:cubicBezTo>
                  <a:pt x="112" y="309"/>
                  <a:pt x="112" y="309"/>
                  <a:pt x="112" y="309"/>
                </a:cubicBezTo>
                <a:cubicBezTo>
                  <a:pt x="102" y="306"/>
                  <a:pt x="102" y="306"/>
                  <a:pt x="102" y="306"/>
                </a:cubicBezTo>
                <a:cubicBezTo>
                  <a:pt x="102" y="305"/>
                  <a:pt x="102" y="305"/>
                  <a:pt x="102" y="305"/>
                </a:cubicBezTo>
                <a:cubicBezTo>
                  <a:pt x="101" y="303"/>
                  <a:pt x="101" y="303"/>
                  <a:pt x="101" y="303"/>
                </a:cubicBezTo>
                <a:cubicBezTo>
                  <a:pt x="98" y="300"/>
                  <a:pt x="98" y="300"/>
                  <a:pt x="98" y="300"/>
                </a:cubicBezTo>
                <a:cubicBezTo>
                  <a:pt x="87" y="296"/>
                  <a:pt x="87" y="296"/>
                  <a:pt x="87" y="296"/>
                </a:cubicBezTo>
                <a:cubicBezTo>
                  <a:pt x="86" y="296"/>
                  <a:pt x="86" y="296"/>
                  <a:pt x="86" y="296"/>
                </a:cubicBezTo>
                <a:cubicBezTo>
                  <a:pt x="76" y="312"/>
                  <a:pt x="76" y="312"/>
                  <a:pt x="76" y="312"/>
                </a:cubicBezTo>
                <a:cubicBezTo>
                  <a:pt x="76" y="312"/>
                  <a:pt x="76" y="312"/>
                  <a:pt x="76" y="312"/>
                </a:cubicBezTo>
                <a:cubicBezTo>
                  <a:pt x="72" y="323"/>
                  <a:pt x="72" y="323"/>
                  <a:pt x="72" y="323"/>
                </a:cubicBezTo>
                <a:cubicBezTo>
                  <a:pt x="72" y="324"/>
                  <a:pt x="72" y="324"/>
                  <a:pt x="72" y="324"/>
                </a:cubicBezTo>
                <a:cubicBezTo>
                  <a:pt x="72" y="327"/>
                  <a:pt x="72" y="327"/>
                  <a:pt x="72" y="327"/>
                </a:cubicBezTo>
                <a:cubicBezTo>
                  <a:pt x="76" y="339"/>
                  <a:pt x="76" y="339"/>
                  <a:pt x="76" y="339"/>
                </a:cubicBezTo>
                <a:lnTo>
                  <a:pt x="80" y="34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reeform 17">
            <a:extLst>
              <a:ext uri="{FF2B5EF4-FFF2-40B4-BE49-F238E27FC236}">
                <a16:creationId xmlns:a16="http://schemas.microsoft.com/office/drawing/2014/main" id="{A9912C52-C536-452F-931B-82D536C2BFD4}"/>
              </a:ext>
            </a:extLst>
          </p:cNvPr>
          <p:cNvSpPr>
            <a:spLocks/>
          </p:cNvSpPr>
          <p:nvPr/>
        </p:nvSpPr>
        <p:spPr bwMode="auto">
          <a:xfrm>
            <a:off x="5422721" y="5759744"/>
            <a:ext cx="192617" cy="87312"/>
          </a:xfrm>
          <a:custGeom>
            <a:avLst/>
            <a:gdLst>
              <a:gd name="T0" fmla="*/ 0 w 80"/>
              <a:gd name="T1" fmla="*/ 13 h 39"/>
              <a:gd name="T2" fmla="*/ 11 w 80"/>
              <a:gd name="T3" fmla="*/ 13 h 39"/>
              <a:gd name="T4" fmla="*/ 20 w 80"/>
              <a:gd name="T5" fmla="*/ 10 h 39"/>
              <a:gd name="T6" fmla="*/ 25 w 80"/>
              <a:gd name="T7" fmla="*/ 10 h 39"/>
              <a:gd name="T8" fmla="*/ 31 w 80"/>
              <a:gd name="T9" fmla="*/ 10 h 39"/>
              <a:gd name="T10" fmla="*/ 38 w 80"/>
              <a:gd name="T11" fmla="*/ 2 h 39"/>
              <a:gd name="T12" fmla="*/ 45 w 80"/>
              <a:gd name="T13" fmla="*/ 2 h 39"/>
              <a:gd name="T14" fmla="*/ 49 w 80"/>
              <a:gd name="T15" fmla="*/ 2 h 39"/>
              <a:gd name="T16" fmla="*/ 60 w 80"/>
              <a:gd name="T17" fmla="*/ 2 h 39"/>
              <a:gd name="T18" fmla="*/ 68 w 80"/>
              <a:gd name="T19" fmla="*/ 1 h 39"/>
              <a:gd name="T20" fmla="*/ 71 w 80"/>
              <a:gd name="T21" fmla="*/ 4 h 39"/>
              <a:gd name="T22" fmla="*/ 80 w 80"/>
              <a:gd name="T23" fmla="*/ 8 h 39"/>
              <a:gd name="T24" fmla="*/ 80 w 80"/>
              <a:gd name="T25" fmla="*/ 14 h 39"/>
              <a:gd name="T26" fmla="*/ 76 w 80"/>
              <a:gd name="T27" fmla="*/ 14 h 39"/>
              <a:gd name="T28" fmla="*/ 71 w 80"/>
              <a:gd name="T29" fmla="*/ 18 h 39"/>
              <a:gd name="T30" fmla="*/ 67 w 80"/>
              <a:gd name="T31" fmla="*/ 21 h 39"/>
              <a:gd name="T32" fmla="*/ 67 w 80"/>
              <a:gd name="T33" fmla="*/ 27 h 39"/>
              <a:gd name="T34" fmla="*/ 64 w 80"/>
              <a:gd name="T35" fmla="*/ 33 h 39"/>
              <a:gd name="T36" fmla="*/ 61 w 80"/>
              <a:gd name="T37" fmla="*/ 33 h 39"/>
              <a:gd name="T38" fmla="*/ 53 w 80"/>
              <a:gd name="T39" fmla="*/ 38 h 39"/>
              <a:gd name="T40" fmla="*/ 49 w 80"/>
              <a:gd name="T41" fmla="*/ 39 h 39"/>
              <a:gd name="T42" fmla="*/ 40 w 80"/>
              <a:gd name="T43" fmla="*/ 35 h 39"/>
              <a:gd name="T44" fmla="*/ 39 w 80"/>
              <a:gd name="T45" fmla="*/ 32 h 39"/>
              <a:gd name="T46" fmla="*/ 31 w 80"/>
              <a:gd name="T47" fmla="*/ 27 h 39"/>
              <a:gd name="T48" fmla="*/ 24 w 80"/>
              <a:gd name="T49" fmla="*/ 25 h 39"/>
              <a:gd name="T50" fmla="*/ 17 w 80"/>
              <a:gd name="T51" fmla="*/ 23 h 39"/>
              <a:gd name="T52" fmla="*/ 14 w 80"/>
              <a:gd name="T53" fmla="*/ 23 h 39"/>
              <a:gd name="T54" fmla="*/ 14 w 80"/>
              <a:gd name="T55" fmla="*/ 23 h 39"/>
              <a:gd name="T56" fmla="*/ 9 w 80"/>
              <a:gd name="T57" fmla="*/ 23 h 39"/>
              <a:gd name="T58" fmla="*/ 0 w 80"/>
              <a:gd name="T59" fmla="*/ 20 h 39"/>
              <a:gd name="T60" fmla="*/ 0 w 80"/>
              <a:gd name="T61" fmla="*/ 16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0" h="39">
                <a:moveTo>
                  <a:pt x="0" y="13"/>
                </a:moveTo>
                <a:cubicBezTo>
                  <a:pt x="0" y="13"/>
                  <a:pt x="9" y="15"/>
                  <a:pt x="11" y="13"/>
                </a:cubicBezTo>
                <a:cubicBezTo>
                  <a:pt x="13" y="11"/>
                  <a:pt x="20" y="10"/>
                  <a:pt x="20" y="10"/>
                </a:cubicBezTo>
                <a:cubicBezTo>
                  <a:pt x="25" y="10"/>
                  <a:pt x="25" y="10"/>
                  <a:pt x="25" y="10"/>
                </a:cubicBezTo>
                <a:cubicBezTo>
                  <a:pt x="31" y="10"/>
                  <a:pt x="31" y="10"/>
                  <a:pt x="31" y="10"/>
                </a:cubicBezTo>
                <a:cubicBezTo>
                  <a:pt x="31" y="10"/>
                  <a:pt x="35" y="2"/>
                  <a:pt x="38" y="2"/>
                </a:cubicBezTo>
                <a:cubicBezTo>
                  <a:pt x="41" y="2"/>
                  <a:pt x="45" y="2"/>
                  <a:pt x="45" y="2"/>
                </a:cubicBezTo>
                <a:cubicBezTo>
                  <a:pt x="45" y="2"/>
                  <a:pt x="45" y="5"/>
                  <a:pt x="49" y="2"/>
                </a:cubicBezTo>
                <a:cubicBezTo>
                  <a:pt x="53" y="0"/>
                  <a:pt x="60" y="2"/>
                  <a:pt x="60" y="2"/>
                </a:cubicBezTo>
                <a:cubicBezTo>
                  <a:pt x="68" y="1"/>
                  <a:pt x="68" y="1"/>
                  <a:pt x="68" y="1"/>
                </a:cubicBezTo>
                <a:cubicBezTo>
                  <a:pt x="68" y="1"/>
                  <a:pt x="66" y="3"/>
                  <a:pt x="71" y="4"/>
                </a:cubicBezTo>
                <a:cubicBezTo>
                  <a:pt x="76" y="6"/>
                  <a:pt x="80" y="8"/>
                  <a:pt x="80" y="8"/>
                </a:cubicBezTo>
                <a:cubicBezTo>
                  <a:pt x="80" y="14"/>
                  <a:pt x="80" y="14"/>
                  <a:pt x="80" y="14"/>
                </a:cubicBezTo>
                <a:cubicBezTo>
                  <a:pt x="76" y="14"/>
                  <a:pt x="76" y="14"/>
                  <a:pt x="76" y="14"/>
                </a:cubicBezTo>
                <a:cubicBezTo>
                  <a:pt x="71" y="18"/>
                  <a:pt x="71" y="18"/>
                  <a:pt x="71" y="18"/>
                </a:cubicBezTo>
                <a:cubicBezTo>
                  <a:pt x="67" y="21"/>
                  <a:pt x="67" y="21"/>
                  <a:pt x="67" y="21"/>
                </a:cubicBezTo>
                <a:cubicBezTo>
                  <a:pt x="67" y="21"/>
                  <a:pt x="68" y="25"/>
                  <a:pt x="67" y="27"/>
                </a:cubicBezTo>
                <a:cubicBezTo>
                  <a:pt x="66" y="29"/>
                  <a:pt x="64" y="33"/>
                  <a:pt x="64" y="33"/>
                </a:cubicBezTo>
                <a:cubicBezTo>
                  <a:pt x="61" y="33"/>
                  <a:pt x="61" y="33"/>
                  <a:pt x="61" y="33"/>
                </a:cubicBezTo>
                <a:cubicBezTo>
                  <a:pt x="53" y="38"/>
                  <a:pt x="53" y="38"/>
                  <a:pt x="53" y="38"/>
                </a:cubicBezTo>
                <a:cubicBezTo>
                  <a:pt x="49" y="39"/>
                  <a:pt x="53" y="39"/>
                  <a:pt x="49" y="39"/>
                </a:cubicBezTo>
                <a:cubicBezTo>
                  <a:pt x="44" y="39"/>
                  <a:pt x="41" y="37"/>
                  <a:pt x="40" y="35"/>
                </a:cubicBezTo>
                <a:cubicBezTo>
                  <a:pt x="39" y="32"/>
                  <a:pt x="39" y="32"/>
                  <a:pt x="39" y="32"/>
                </a:cubicBezTo>
                <a:cubicBezTo>
                  <a:pt x="39" y="32"/>
                  <a:pt x="35" y="28"/>
                  <a:pt x="31" y="27"/>
                </a:cubicBezTo>
                <a:cubicBezTo>
                  <a:pt x="27" y="27"/>
                  <a:pt x="27" y="25"/>
                  <a:pt x="24" y="25"/>
                </a:cubicBezTo>
                <a:cubicBezTo>
                  <a:pt x="21" y="25"/>
                  <a:pt x="20" y="23"/>
                  <a:pt x="17" y="23"/>
                </a:cubicBezTo>
                <a:cubicBezTo>
                  <a:pt x="14" y="23"/>
                  <a:pt x="14" y="23"/>
                  <a:pt x="14" y="23"/>
                </a:cubicBezTo>
                <a:cubicBezTo>
                  <a:pt x="14" y="23"/>
                  <a:pt x="18" y="24"/>
                  <a:pt x="14" y="23"/>
                </a:cubicBezTo>
                <a:cubicBezTo>
                  <a:pt x="9" y="23"/>
                  <a:pt x="12" y="23"/>
                  <a:pt x="9" y="23"/>
                </a:cubicBezTo>
                <a:cubicBezTo>
                  <a:pt x="6" y="22"/>
                  <a:pt x="0" y="20"/>
                  <a:pt x="0" y="20"/>
                </a:cubicBezTo>
                <a:cubicBezTo>
                  <a:pt x="0" y="16"/>
                  <a:pt x="0" y="16"/>
                  <a:pt x="0" y="16"/>
                </a:cubicBezTo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Freeform 50">
            <a:extLst>
              <a:ext uri="{FF2B5EF4-FFF2-40B4-BE49-F238E27FC236}">
                <a16:creationId xmlns:a16="http://schemas.microsoft.com/office/drawing/2014/main" id="{14C87497-764A-46D9-9D5E-49DA0E0408D9}"/>
              </a:ext>
            </a:extLst>
          </p:cNvPr>
          <p:cNvSpPr>
            <a:spLocks/>
          </p:cNvSpPr>
          <p:nvPr/>
        </p:nvSpPr>
        <p:spPr bwMode="auto">
          <a:xfrm>
            <a:off x="6870030" y="4939006"/>
            <a:ext cx="30956" cy="20638"/>
          </a:xfrm>
          <a:custGeom>
            <a:avLst/>
            <a:gdLst>
              <a:gd name="T0" fmla="*/ 16 w 18"/>
              <a:gd name="T1" fmla="*/ 0 h 13"/>
              <a:gd name="T2" fmla="*/ 15 w 18"/>
              <a:gd name="T3" fmla="*/ 0 h 13"/>
              <a:gd name="T4" fmla="*/ 1 w 18"/>
              <a:gd name="T5" fmla="*/ 9 h 13"/>
              <a:gd name="T6" fmla="*/ 0 w 18"/>
              <a:gd name="T7" fmla="*/ 12 h 13"/>
              <a:gd name="T8" fmla="*/ 0 w 18"/>
              <a:gd name="T9" fmla="*/ 12 h 13"/>
              <a:gd name="T10" fmla="*/ 1 w 18"/>
              <a:gd name="T11" fmla="*/ 13 h 13"/>
              <a:gd name="T12" fmla="*/ 2 w 18"/>
              <a:gd name="T13" fmla="*/ 13 h 13"/>
              <a:gd name="T14" fmla="*/ 15 w 18"/>
              <a:gd name="T15" fmla="*/ 9 h 13"/>
              <a:gd name="T16" fmla="*/ 15 w 18"/>
              <a:gd name="T17" fmla="*/ 7 h 13"/>
              <a:gd name="T18" fmla="*/ 16 w 18"/>
              <a:gd name="T19" fmla="*/ 6 h 13"/>
              <a:gd name="T20" fmla="*/ 18 w 18"/>
              <a:gd name="T21" fmla="*/ 5 h 13"/>
              <a:gd name="T22" fmla="*/ 18 w 18"/>
              <a:gd name="T23" fmla="*/ 3 h 13"/>
              <a:gd name="T24" fmla="*/ 18 w 18"/>
              <a:gd name="T25" fmla="*/ 2 h 13"/>
              <a:gd name="T26" fmla="*/ 18 w 18"/>
              <a:gd name="T27" fmla="*/ 0 h 13"/>
              <a:gd name="T28" fmla="*/ 16 w 18"/>
              <a:gd name="T29" fmla="*/ 0 h 13"/>
              <a:gd name="T30" fmla="*/ 16 w 18"/>
              <a:gd name="T31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8" h="13">
                <a:moveTo>
                  <a:pt x="16" y="0"/>
                </a:moveTo>
                <a:lnTo>
                  <a:pt x="15" y="0"/>
                </a:lnTo>
                <a:lnTo>
                  <a:pt x="1" y="9"/>
                </a:lnTo>
                <a:lnTo>
                  <a:pt x="0" y="12"/>
                </a:lnTo>
                <a:lnTo>
                  <a:pt x="0" y="12"/>
                </a:lnTo>
                <a:lnTo>
                  <a:pt x="1" y="13"/>
                </a:lnTo>
                <a:lnTo>
                  <a:pt x="2" y="13"/>
                </a:lnTo>
                <a:lnTo>
                  <a:pt x="15" y="9"/>
                </a:lnTo>
                <a:lnTo>
                  <a:pt x="15" y="7"/>
                </a:lnTo>
                <a:lnTo>
                  <a:pt x="16" y="6"/>
                </a:lnTo>
                <a:lnTo>
                  <a:pt x="18" y="5"/>
                </a:lnTo>
                <a:lnTo>
                  <a:pt x="18" y="3"/>
                </a:lnTo>
                <a:lnTo>
                  <a:pt x="18" y="2"/>
                </a:lnTo>
                <a:lnTo>
                  <a:pt x="18" y="0"/>
                </a:lnTo>
                <a:lnTo>
                  <a:pt x="16" y="0"/>
                </a:lnTo>
                <a:lnTo>
                  <a:pt x="1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2" name="Rounded Rectangular Callout 2">
            <a:extLst>
              <a:ext uri="{FF2B5EF4-FFF2-40B4-BE49-F238E27FC236}">
                <a16:creationId xmlns:a16="http://schemas.microsoft.com/office/drawing/2014/main" id="{DE3B981B-AC2F-40E3-B136-FC0BCB386F59}"/>
              </a:ext>
            </a:extLst>
          </p:cNvPr>
          <p:cNvSpPr/>
          <p:nvPr/>
        </p:nvSpPr>
        <p:spPr>
          <a:xfrm>
            <a:off x="6616256" y="2692562"/>
            <a:ext cx="2030924" cy="1238200"/>
          </a:xfrm>
          <a:prstGeom prst="wedgeRoundRectCallout">
            <a:avLst>
              <a:gd name="adj1" fmla="val -95425"/>
              <a:gd name="adj2" fmla="val 86749"/>
              <a:gd name="adj3" fmla="val 1666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Label 1</a:t>
            </a:r>
          </a:p>
        </p:txBody>
      </p:sp>
    </p:spTree>
    <p:extLst>
      <p:ext uri="{BB962C8B-B14F-4D97-AF65-F5344CB8AC3E}">
        <p14:creationId xmlns:p14="http://schemas.microsoft.com/office/powerpoint/2010/main" val="102080493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4FC34A-AF29-4981-9E63-03A6613AE5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84A6B27-0E67-4280-8F39-2F7E5C64E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K county map (click on each county to change colouring to highlight) </a:t>
            </a:r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EE7DBCB9-44C8-4AA3-97B7-F325A7459308}"/>
              </a:ext>
            </a:extLst>
          </p:cNvPr>
          <p:cNvSpPr>
            <a:spLocks/>
          </p:cNvSpPr>
          <p:nvPr/>
        </p:nvSpPr>
        <p:spPr bwMode="auto">
          <a:xfrm>
            <a:off x="4947324" y="4179419"/>
            <a:ext cx="227013" cy="157163"/>
          </a:xfrm>
          <a:custGeom>
            <a:avLst/>
            <a:gdLst>
              <a:gd name="T0" fmla="*/ 2 w 94"/>
              <a:gd name="T1" fmla="*/ 24 h 70"/>
              <a:gd name="T2" fmla="*/ 6 w 94"/>
              <a:gd name="T3" fmla="*/ 24 h 70"/>
              <a:gd name="T4" fmla="*/ 9 w 94"/>
              <a:gd name="T5" fmla="*/ 24 h 70"/>
              <a:gd name="T6" fmla="*/ 14 w 94"/>
              <a:gd name="T7" fmla="*/ 24 h 70"/>
              <a:gd name="T8" fmla="*/ 17 w 94"/>
              <a:gd name="T9" fmla="*/ 27 h 70"/>
              <a:gd name="T10" fmla="*/ 18 w 94"/>
              <a:gd name="T11" fmla="*/ 30 h 70"/>
              <a:gd name="T12" fmla="*/ 23 w 94"/>
              <a:gd name="T13" fmla="*/ 30 h 70"/>
              <a:gd name="T14" fmla="*/ 26 w 94"/>
              <a:gd name="T15" fmla="*/ 26 h 70"/>
              <a:gd name="T16" fmla="*/ 32 w 94"/>
              <a:gd name="T17" fmla="*/ 25 h 70"/>
              <a:gd name="T18" fmla="*/ 34 w 94"/>
              <a:gd name="T19" fmla="*/ 30 h 70"/>
              <a:gd name="T20" fmla="*/ 35 w 94"/>
              <a:gd name="T21" fmla="*/ 34 h 70"/>
              <a:gd name="T22" fmla="*/ 38 w 94"/>
              <a:gd name="T23" fmla="*/ 32 h 70"/>
              <a:gd name="T24" fmla="*/ 44 w 94"/>
              <a:gd name="T25" fmla="*/ 33 h 70"/>
              <a:gd name="T26" fmla="*/ 44 w 94"/>
              <a:gd name="T27" fmla="*/ 40 h 70"/>
              <a:gd name="T28" fmla="*/ 42 w 94"/>
              <a:gd name="T29" fmla="*/ 43 h 70"/>
              <a:gd name="T30" fmla="*/ 39 w 94"/>
              <a:gd name="T31" fmla="*/ 46 h 70"/>
              <a:gd name="T32" fmla="*/ 41 w 94"/>
              <a:gd name="T33" fmla="*/ 48 h 70"/>
              <a:gd name="T34" fmla="*/ 45 w 94"/>
              <a:gd name="T35" fmla="*/ 52 h 70"/>
              <a:gd name="T36" fmla="*/ 49 w 94"/>
              <a:gd name="T37" fmla="*/ 50 h 70"/>
              <a:gd name="T38" fmla="*/ 51 w 94"/>
              <a:gd name="T39" fmla="*/ 50 h 70"/>
              <a:gd name="T40" fmla="*/ 55 w 94"/>
              <a:gd name="T41" fmla="*/ 52 h 70"/>
              <a:gd name="T42" fmla="*/ 60 w 94"/>
              <a:gd name="T43" fmla="*/ 54 h 70"/>
              <a:gd name="T44" fmla="*/ 61 w 94"/>
              <a:gd name="T45" fmla="*/ 59 h 70"/>
              <a:gd name="T46" fmla="*/ 59 w 94"/>
              <a:gd name="T47" fmla="*/ 64 h 70"/>
              <a:gd name="T48" fmla="*/ 59 w 94"/>
              <a:gd name="T49" fmla="*/ 64 h 70"/>
              <a:gd name="T50" fmla="*/ 55 w 94"/>
              <a:gd name="T51" fmla="*/ 66 h 70"/>
              <a:gd name="T52" fmla="*/ 53 w 94"/>
              <a:gd name="T53" fmla="*/ 69 h 70"/>
              <a:gd name="T54" fmla="*/ 55 w 94"/>
              <a:gd name="T55" fmla="*/ 70 h 70"/>
              <a:gd name="T56" fmla="*/ 55 w 94"/>
              <a:gd name="T57" fmla="*/ 68 h 70"/>
              <a:gd name="T58" fmla="*/ 59 w 94"/>
              <a:gd name="T59" fmla="*/ 67 h 70"/>
              <a:gd name="T60" fmla="*/ 62 w 94"/>
              <a:gd name="T61" fmla="*/ 66 h 70"/>
              <a:gd name="T62" fmla="*/ 65 w 94"/>
              <a:gd name="T63" fmla="*/ 66 h 70"/>
              <a:gd name="T64" fmla="*/ 70 w 94"/>
              <a:gd name="T65" fmla="*/ 64 h 70"/>
              <a:gd name="T66" fmla="*/ 75 w 94"/>
              <a:gd name="T67" fmla="*/ 63 h 70"/>
              <a:gd name="T68" fmla="*/ 75 w 94"/>
              <a:gd name="T69" fmla="*/ 61 h 70"/>
              <a:gd name="T70" fmla="*/ 77 w 94"/>
              <a:gd name="T71" fmla="*/ 57 h 70"/>
              <a:gd name="T72" fmla="*/ 77 w 94"/>
              <a:gd name="T73" fmla="*/ 57 h 70"/>
              <a:gd name="T74" fmla="*/ 79 w 94"/>
              <a:gd name="T75" fmla="*/ 55 h 70"/>
              <a:gd name="T76" fmla="*/ 85 w 94"/>
              <a:gd name="T77" fmla="*/ 52 h 70"/>
              <a:gd name="T78" fmla="*/ 85 w 94"/>
              <a:gd name="T79" fmla="*/ 51 h 70"/>
              <a:gd name="T80" fmla="*/ 86 w 94"/>
              <a:gd name="T81" fmla="*/ 48 h 70"/>
              <a:gd name="T82" fmla="*/ 92 w 94"/>
              <a:gd name="T83" fmla="*/ 44 h 70"/>
              <a:gd name="T84" fmla="*/ 93 w 94"/>
              <a:gd name="T85" fmla="*/ 44 h 70"/>
              <a:gd name="T86" fmla="*/ 93 w 94"/>
              <a:gd name="T87" fmla="*/ 40 h 70"/>
              <a:gd name="T88" fmla="*/ 91 w 94"/>
              <a:gd name="T89" fmla="*/ 36 h 70"/>
              <a:gd name="T90" fmla="*/ 89 w 94"/>
              <a:gd name="T91" fmla="*/ 35 h 70"/>
              <a:gd name="T92" fmla="*/ 83 w 94"/>
              <a:gd name="T93" fmla="*/ 32 h 70"/>
              <a:gd name="T94" fmla="*/ 75 w 94"/>
              <a:gd name="T95" fmla="*/ 27 h 70"/>
              <a:gd name="T96" fmla="*/ 75 w 94"/>
              <a:gd name="T97" fmla="*/ 28 h 70"/>
              <a:gd name="T98" fmla="*/ 73 w 94"/>
              <a:gd name="T99" fmla="*/ 29 h 70"/>
              <a:gd name="T100" fmla="*/ 70 w 94"/>
              <a:gd name="T101" fmla="*/ 27 h 70"/>
              <a:gd name="T102" fmla="*/ 69 w 94"/>
              <a:gd name="T103" fmla="*/ 25 h 70"/>
              <a:gd name="T104" fmla="*/ 40 w 94"/>
              <a:gd name="T105" fmla="*/ 2 h 70"/>
              <a:gd name="T106" fmla="*/ 34 w 94"/>
              <a:gd name="T107" fmla="*/ 0 h 70"/>
              <a:gd name="T108" fmla="*/ 26 w 94"/>
              <a:gd name="T109" fmla="*/ 1 h 70"/>
              <a:gd name="T110" fmla="*/ 0 w 94"/>
              <a:gd name="T111" fmla="*/ 15 h 70"/>
              <a:gd name="T112" fmla="*/ 2 w 94"/>
              <a:gd name="T113" fmla="*/ 17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4" h="70">
                <a:moveTo>
                  <a:pt x="2" y="17"/>
                </a:moveTo>
                <a:cubicBezTo>
                  <a:pt x="2" y="24"/>
                  <a:pt x="2" y="24"/>
                  <a:pt x="2" y="24"/>
                </a:cubicBezTo>
                <a:cubicBezTo>
                  <a:pt x="4" y="24"/>
                  <a:pt x="4" y="24"/>
                  <a:pt x="4" y="24"/>
                </a:cubicBezTo>
                <a:cubicBezTo>
                  <a:pt x="4" y="24"/>
                  <a:pt x="5" y="24"/>
                  <a:pt x="6" y="24"/>
                </a:cubicBezTo>
                <a:cubicBezTo>
                  <a:pt x="7" y="24"/>
                  <a:pt x="8" y="24"/>
                  <a:pt x="9" y="24"/>
                </a:cubicBezTo>
                <a:cubicBezTo>
                  <a:pt x="9" y="24"/>
                  <a:pt x="9" y="24"/>
                  <a:pt x="9" y="24"/>
                </a:cubicBezTo>
                <a:cubicBezTo>
                  <a:pt x="11" y="24"/>
                  <a:pt x="11" y="24"/>
                  <a:pt x="11" y="24"/>
                </a:cubicBezTo>
                <a:cubicBezTo>
                  <a:pt x="14" y="24"/>
                  <a:pt x="14" y="24"/>
                  <a:pt x="14" y="24"/>
                </a:cubicBezTo>
                <a:cubicBezTo>
                  <a:pt x="15" y="24"/>
                  <a:pt x="15" y="25"/>
                  <a:pt x="15" y="25"/>
                </a:cubicBezTo>
                <a:cubicBezTo>
                  <a:pt x="17" y="27"/>
                  <a:pt x="17" y="27"/>
                  <a:pt x="17" y="27"/>
                </a:cubicBezTo>
                <a:cubicBezTo>
                  <a:pt x="18" y="27"/>
                  <a:pt x="18" y="28"/>
                  <a:pt x="18" y="28"/>
                </a:cubicBezTo>
                <a:cubicBezTo>
                  <a:pt x="18" y="30"/>
                  <a:pt x="18" y="30"/>
                  <a:pt x="18" y="30"/>
                </a:cubicBezTo>
                <a:cubicBezTo>
                  <a:pt x="19" y="30"/>
                  <a:pt x="19" y="30"/>
                  <a:pt x="19" y="30"/>
                </a:cubicBezTo>
                <a:cubicBezTo>
                  <a:pt x="23" y="30"/>
                  <a:pt x="23" y="30"/>
                  <a:pt x="23" y="30"/>
                </a:cubicBezTo>
                <a:cubicBezTo>
                  <a:pt x="24" y="30"/>
                  <a:pt x="24" y="30"/>
                  <a:pt x="24" y="30"/>
                </a:cubicBezTo>
                <a:cubicBezTo>
                  <a:pt x="26" y="26"/>
                  <a:pt x="26" y="26"/>
                  <a:pt x="26" y="26"/>
                </a:cubicBezTo>
                <a:cubicBezTo>
                  <a:pt x="26" y="25"/>
                  <a:pt x="27" y="25"/>
                  <a:pt x="28" y="25"/>
                </a:cubicBezTo>
                <a:cubicBezTo>
                  <a:pt x="32" y="25"/>
                  <a:pt x="32" y="25"/>
                  <a:pt x="32" y="25"/>
                </a:cubicBezTo>
                <a:cubicBezTo>
                  <a:pt x="33" y="25"/>
                  <a:pt x="34" y="26"/>
                  <a:pt x="34" y="27"/>
                </a:cubicBezTo>
                <a:cubicBezTo>
                  <a:pt x="34" y="30"/>
                  <a:pt x="34" y="30"/>
                  <a:pt x="34" y="30"/>
                </a:cubicBezTo>
                <a:cubicBezTo>
                  <a:pt x="34" y="30"/>
                  <a:pt x="35" y="31"/>
                  <a:pt x="35" y="32"/>
                </a:cubicBezTo>
                <a:cubicBezTo>
                  <a:pt x="35" y="34"/>
                  <a:pt x="35" y="34"/>
                  <a:pt x="35" y="34"/>
                </a:cubicBezTo>
                <a:cubicBezTo>
                  <a:pt x="35" y="33"/>
                  <a:pt x="36" y="33"/>
                  <a:pt x="36" y="33"/>
                </a:cubicBezTo>
                <a:cubicBezTo>
                  <a:pt x="38" y="32"/>
                  <a:pt x="38" y="32"/>
                  <a:pt x="38" y="32"/>
                </a:cubicBezTo>
                <a:cubicBezTo>
                  <a:pt x="39" y="32"/>
                  <a:pt x="40" y="31"/>
                  <a:pt x="42" y="31"/>
                </a:cubicBezTo>
                <a:cubicBezTo>
                  <a:pt x="43" y="32"/>
                  <a:pt x="43" y="32"/>
                  <a:pt x="44" y="33"/>
                </a:cubicBezTo>
                <a:cubicBezTo>
                  <a:pt x="45" y="35"/>
                  <a:pt x="44" y="37"/>
                  <a:pt x="44" y="38"/>
                </a:cubicBezTo>
                <a:cubicBezTo>
                  <a:pt x="44" y="40"/>
                  <a:pt x="44" y="40"/>
                  <a:pt x="44" y="40"/>
                </a:cubicBezTo>
                <a:cubicBezTo>
                  <a:pt x="44" y="41"/>
                  <a:pt x="44" y="42"/>
                  <a:pt x="44" y="42"/>
                </a:cubicBezTo>
                <a:cubicBezTo>
                  <a:pt x="43" y="42"/>
                  <a:pt x="43" y="43"/>
                  <a:pt x="42" y="43"/>
                </a:cubicBezTo>
                <a:cubicBezTo>
                  <a:pt x="41" y="43"/>
                  <a:pt x="41" y="43"/>
                  <a:pt x="41" y="43"/>
                </a:cubicBezTo>
                <a:cubicBezTo>
                  <a:pt x="39" y="46"/>
                  <a:pt x="39" y="46"/>
                  <a:pt x="39" y="46"/>
                </a:cubicBezTo>
                <a:cubicBezTo>
                  <a:pt x="39" y="47"/>
                  <a:pt x="39" y="47"/>
                  <a:pt x="39" y="47"/>
                </a:cubicBezTo>
                <a:cubicBezTo>
                  <a:pt x="40" y="47"/>
                  <a:pt x="40" y="47"/>
                  <a:pt x="41" y="48"/>
                </a:cubicBezTo>
                <a:cubicBezTo>
                  <a:pt x="45" y="52"/>
                  <a:pt x="45" y="52"/>
                  <a:pt x="45" y="52"/>
                </a:cubicBezTo>
                <a:cubicBezTo>
                  <a:pt x="45" y="52"/>
                  <a:pt x="45" y="52"/>
                  <a:pt x="45" y="52"/>
                </a:cubicBezTo>
                <a:cubicBezTo>
                  <a:pt x="46" y="51"/>
                  <a:pt x="46" y="51"/>
                  <a:pt x="46" y="51"/>
                </a:cubicBezTo>
                <a:cubicBezTo>
                  <a:pt x="49" y="50"/>
                  <a:pt x="49" y="50"/>
                  <a:pt x="49" y="50"/>
                </a:cubicBezTo>
                <a:cubicBezTo>
                  <a:pt x="49" y="50"/>
                  <a:pt x="49" y="50"/>
                  <a:pt x="50" y="50"/>
                </a:cubicBezTo>
                <a:cubicBezTo>
                  <a:pt x="51" y="50"/>
                  <a:pt x="51" y="50"/>
                  <a:pt x="51" y="50"/>
                </a:cubicBezTo>
                <a:cubicBezTo>
                  <a:pt x="52" y="50"/>
                  <a:pt x="52" y="51"/>
                  <a:pt x="52" y="51"/>
                </a:cubicBezTo>
                <a:cubicBezTo>
                  <a:pt x="55" y="52"/>
                  <a:pt x="55" y="52"/>
                  <a:pt x="55" y="52"/>
                </a:cubicBezTo>
                <a:cubicBezTo>
                  <a:pt x="58" y="52"/>
                  <a:pt x="58" y="52"/>
                  <a:pt x="58" y="52"/>
                </a:cubicBezTo>
                <a:cubicBezTo>
                  <a:pt x="59" y="52"/>
                  <a:pt x="60" y="53"/>
                  <a:pt x="60" y="54"/>
                </a:cubicBezTo>
                <a:cubicBezTo>
                  <a:pt x="60" y="57"/>
                  <a:pt x="60" y="57"/>
                  <a:pt x="60" y="57"/>
                </a:cubicBezTo>
                <a:cubicBezTo>
                  <a:pt x="61" y="58"/>
                  <a:pt x="61" y="58"/>
                  <a:pt x="61" y="59"/>
                </a:cubicBezTo>
                <a:cubicBezTo>
                  <a:pt x="61" y="62"/>
                  <a:pt x="61" y="62"/>
                  <a:pt x="61" y="62"/>
                </a:cubicBezTo>
                <a:cubicBezTo>
                  <a:pt x="61" y="63"/>
                  <a:pt x="61" y="64"/>
                  <a:pt x="59" y="64"/>
                </a:cubicBezTo>
                <a:cubicBezTo>
                  <a:pt x="59" y="64"/>
                  <a:pt x="59" y="64"/>
                  <a:pt x="59" y="64"/>
                </a:cubicBezTo>
                <a:cubicBezTo>
                  <a:pt x="59" y="64"/>
                  <a:pt x="59" y="64"/>
                  <a:pt x="59" y="64"/>
                </a:cubicBezTo>
                <a:cubicBezTo>
                  <a:pt x="59" y="65"/>
                  <a:pt x="58" y="66"/>
                  <a:pt x="57" y="66"/>
                </a:cubicBezTo>
                <a:cubicBezTo>
                  <a:pt x="55" y="66"/>
                  <a:pt x="55" y="66"/>
                  <a:pt x="55" y="66"/>
                </a:cubicBezTo>
                <a:cubicBezTo>
                  <a:pt x="54" y="67"/>
                  <a:pt x="54" y="68"/>
                  <a:pt x="53" y="69"/>
                </a:cubicBezTo>
                <a:cubicBezTo>
                  <a:pt x="53" y="69"/>
                  <a:pt x="53" y="69"/>
                  <a:pt x="53" y="69"/>
                </a:cubicBezTo>
                <a:cubicBezTo>
                  <a:pt x="53" y="70"/>
                  <a:pt x="53" y="70"/>
                  <a:pt x="53" y="70"/>
                </a:cubicBezTo>
                <a:cubicBezTo>
                  <a:pt x="55" y="70"/>
                  <a:pt x="55" y="70"/>
                  <a:pt x="55" y="70"/>
                </a:cubicBezTo>
                <a:cubicBezTo>
                  <a:pt x="55" y="69"/>
                  <a:pt x="55" y="69"/>
                  <a:pt x="55" y="69"/>
                </a:cubicBezTo>
                <a:cubicBezTo>
                  <a:pt x="55" y="68"/>
                  <a:pt x="55" y="68"/>
                  <a:pt x="55" y="68"/>
                </a:cubicBezTo>
                <a:cubicBezTo>
                  <a:pt x="56" y="67"/>
                  <a:pt x="56" y="67"/>
                  <a:pt x="57" y="67"/>
                </a:cubicBezTo>
                <a:cubicBezTo>
                  <a:pt x="59" y="67"/>
                  <a:pt x="59" y="67"/>
                  <a:pt x="59" y="67"/>
                </a:cubicBezTo>
                <a:cubicBezTo>
                  <a:pt x="61" y="66"/>
                  <a:pt x="61" y="66"/>
                  <a:pt x="61" y="66"/>
                </a:cubicBezTo>
                <a:cubicBezTo>
                  <a:pt x="61" y="66"/>
                  <a:pt x="61" y="66"/>
                  <a:pt x="62" y="66"/>
                </a:cubicBezTo>
                <a:cubicBezTo>
                  <a:pt x="64" y="66"/>
                  <a:pt x="64" y="66"/>
                  <a:pt x="64" y="66"/>
                </a:cubicBezTo>
                <a:cubicBezTo>
                  <a:pt x="65" y="66"/>
                  <a:pt x="65" y="66"/>
                  <a:pt x="65" y="66"/>
                </a:cubicBezTo>
                <a:cubicBezTo>
                  <a:pt x="68" y="65"/>
                  <a:pt x="70" y="64"/>
                  <a:pt x="70" y="64"/>
                </a:cubicBezTo>
                <a:cubicBezTo>
                  <a:pt x="70" y="64"/>
                  <a:pt x="70" y="64"/>
                  <a:pt x="70" y="64"/>
                </a:cubicBezTo>
                <a:cubicBezTo>
                  <a:pt x="72" y="64"/>
                  <a:pt x="72" y="64"/>
                  <a:pt x="72" y="64"/>
                </a:cubicBezTo>
                <a:cubicBezTo>
                  <a:pt x="75" y="63"/>
                  <a:pt x="75" y="63"/>
                  <a:pt x="75" y="63"/>
                </a:cubicBezTo>
                <a:cubicBezTo>
                  <a:pt x="75" y="62"/>
                  <a:pt x="75" y="62"/>
                  <a:pt x="75" y="62"/>
                </a:cubicBezTo>
                <a:cubicBezTo>
                  <a:pt x="75" y="61"/>
                  <a:pt x="75" y="61"/>
                  <a:pt x="75" y="61"/>
                </a:cubicBezTo>
                <a:cubicBezTo>
                  <a:pt x="75" y="59"/>
                  <a:pt x="75" y="59"/>
                  <a:pt x="75" y="59"/>
                </a:cubicBezTo>
                <a:cubicBezTo>
                  <a:pt x="75" y="58"/>
                  <a:pt x="76" y="58"/>
                  <a:pt x="77" y="57"/>
                </a:cubicBezTo>
                <a:cubicBezTo>
                  <a:pt x="77" y="57"/>
                  <a:pt x="77" y="57"/>
                  <a:pt x="77" y="57"/>
                </a:cubicBezTo>
                <a:cubicBezTo>
                  <a:pt x="77" y="57"/>
                  <a:pt x="77" y="57"/>
                  <a:pt x="77" y="57"/>
                </a:cubicBezTo>
                <a:cubicBezTo>
                  <a:pt x="78" y="56"/>
                  <a:pt x="78" y="56"/>
                  <a:pt x="78" y="56"/>
                </a:cubicBezTo>
                <a:cubicBezTo>
                  <a:pt x="78" y="55"/>
                  <a:pt x="78" y="55"/>
                  <a:pt x="79" y="55"/>
                </a:cubicBezTo>
                <a:cubicBezTo>
                  <a:pt x="81" y="53"/>
                  <a:pt x="81" y="53"/>
                  <a:pt x="81" y="53"/>
                </a:cubicBezTo>
                <a:cubicBezTo>
                  <a:pt x="85" y="52"/>
                  <a:pt x="85" y="52"/>
                  <a:pt x="85" y="52"/>
                </a:cubicBezTo>
                <a:cubicBezTo>
                  <a:pt x="85" y="52"/>
                  <a:pt x="85" y="52"/>
                  <a:pt x="85" y="51"/>
                </a:cubicBezTo>
                <a:cubicBezTo>
                  <a:pt x="85" y="51"/>
                  <a:pt x="85" y="51"/>
                  <a:pt x="85" y="51"/>
                </a:cubicBezTo>
                <a:cubicBezTo>
                  <a:pt x="85" y="50"/>
                  <a:pt x="85" y="50"/>
                  <a:pt x="85" y="50"/>
                </a:cubicBezTo>
                <a:cubicBezTo>
                  <a:pt x="84" y="49"/>
                  <a:pt x="85" y="48"/>
                  <a:pt x="86" y="48"/>
                </a:cubicBezTo>
                <a:cubicBezTo>
                  <a:pt x="87" y="47"/>
                  <a:pt x="90" y="45"/>
                  <a:pt x="90" y="45"/>
                </a:cubicBezTo>
                <a:cubicBezTo>
                  <a:pt x="90" y="44"/>
                  <a:pt x="91" y="44"/>
                  <a:pt x="92" y="44"/>
                </a:cubicBezTo>
                <a:cubicBezTo>
                  <a:pt x="92" y="45"/>
                  <a:pt x="92" y="45"/>
                  <a:pt x="92" y="45"/>
                </a:cubicBezTo>
                <a:cubicBezTo>
                  <a:pt x="93" y="44"/>
                  <a:pt x="93" y="44"/>
                  <a:pt x="93" y="44"/>
                </a:cubicBezTo>
                <a:cubicBezTo>
                  <a:pt x="93" y="43"/>
                  <a:pt x="94" y="43"/>
                  <a:pt x="94" y="43"/>
                </a:cubicBezTo>
                <a:cubicBezTo>
                  <a:pt x="93" y="42"/>
                  <a:pt x="92" y="41"/>
                  <a:pt x="93" y="40"/>
                </a:cubicBezTo>
                <a:cubicBezTo>
                  <a:pt x="93" y="39"/>
                  <a:pt x="93" y="39"/>
                  <a:pt x="93" y="39"/>
                </a:cubicBezTo>
                <a:cubicBezTo>
                  <a:pt x="92" y="37"/>
                  <a:pt x="91" y="36"/>
                  <a:pt x="91" y="36"/>
                </a:cubicBezTo>
                <a:cubicBezTo>
                  <a:pt x="90" y="36"/>
                  <a:pt x="90" y="36"/>
                  <a:pt x="90" y="35"/>
                </a:cubicBezTo>
                <a:cubicBezTo>
                  <a:pt x="90" y="35"/>
                  <a:pt x="90" y="35"/>
                  <a:pt x="89" y="35"/>
                </a:cubicBezTo>
                <a:cubicBezTo>
                  <a:pt x="87" y="35"/>
                  <a:pt x="87" y="35"/>
                  <a:pt x="87" y="35"/>
                </a:cubicBezTo>
                <a:cubicBezTo>
                  <a:pt x="87" y="34"/>
                  <a:pt x="85" y="34"/>
                  <a:pt x="83" y="32"/>
                </a:cubicBezTo>
                <a:cubicBezTo>
                  <a:pt x="81" y="31"/>
                  <a:pt x="79" y="29"/>
                  <a:pt x="78" y="29"/>
                </a:cubicBezTo>
                <a:cubicBezTo>
                  <a:pt x="75" y="27"/>
                  <a:pt x="75" y="27"/>
                  <a:pt x="75" y="27"/>
                </a:cubicBezTo>
                <a:cubicBezTo>
                  <a:pt x="75" y="28"/>
                  <a:pt x="75" y="28"/>
                  <a:pt x="75" y="28"/>
                </a:cubicBezTo>
                <a:cubicBezTo>
                  <a:pt x="75" y="28"/>
                  <a:pt x="75" y="28"/>
                  <a:pt x="75" y="28"/>
                </a:cubicBezTo>
                <a:cubicBezTo>
                  <a:pt x="74" y="29"/>
                  <a:pt x="74" y="29"/>
                  <a:pt x="74" y="29"/>
                </a:cubicBezTo>
                <a:cubicBezTo>
                  <a:pt x="73" y="29"/>
                  <a:pt x="73" y="29"/>
                  <a:pt x="73" y="29"/>
                </a:cubicBezTo>
                <a:cubicBezTo>
                  <a:pt x="72" y="28"/>
                  <a:pt x="72" y="28"/>
                  <a:pt x="72" y="28"/>
                </a:cubicBezTo>
                <a:cubicBezTo>
                  <a:pt x="70" y="27"/>
                  <a:pt x="70" y="27"/>
                  <a:pt x="70" y="27"/>
                </a:cubicBezTo>
                <a:cubicBezTo>
                  <a:pt x="70" y="26"/>
                  <a:pt x="70" y="26"/>
                  <a:pt x="70" y="26"/>
                </a:cubicBezTo>
                <a:cubicBezTo>
                  <a:pt x="69" y="25"/>
                  <a:pt x="69" y="25"/>
                  <a:pt x="69" y="25"/>
                </a:cubicBezTo>
                <a:cubicBezTo>
                  <a:pt x="68" y="24"/>
                  <a:pt x="68" y="24"/>
                  <a:pt x="68" y="24"/>
                </a:cubicBezTo>
                <a:cubicBezTo>
                  <a:pt x="40" y="2"/>
                  <a:pt x="40" y="2"/>
                  <a:pt x="40" y="2"/>
                </a:cubicBezTo>
                <a:cubicBezTo>
                  <a:pt x="37" y="1"/>
                  <a:pt x="37" y="1"/>
                  <a:pt x="37" y="1"/>
                </a:cubicBezTo>
                <a:cubicBezTo>
                  <a:pt x="34" y="0"/>
                  <a:pt x="34" y="0"/>
                  <a:pt x="34" y="0"/>
                </a:cubicBezTo>
                <a:cubicBezTo>
                  <a:pt x="29" y="1"/>
                  <a:pt x="29" y="1"/>
                  <a:pt x="29" y="1"/>
                </a:cubicBezTo>
                <a:cubicBezTo>
                  <a:pt x="26" y="1"/>
                  <a:pt x="26" y="1"/>
                  <a:pt x="26" y="1"/>
                </a:cubicBezTo>
                <a:cubicBezTo>
                  <a:pt x="14" y="8"/>
                  <a:pt x="14" y="8"/>
                  <a:pt x="14" y="8"/>
                </a:cubicBezTo>
                <a:cubicBezTo>
                  <a:pt x="0" y="15"/>
                  <a:pt x="0" y="15"/>
                  <a:pt x="0" y="15"/>
                </a:cubicBezTo>
                <a:cubicBezTo>
                  <a:pt x="1" y="15"/>
                  <a:pt x="1" y="15"/>
                  <a:pt x="1" y="15"/>
                </a:cubicBezTo>
                <a:cubicBezTo>
                  <a:pt x="2" y="15"/>
                  <a:pt x="2" y="16"/>
                  <a:pt x="2" y="1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id="{33D4B7E9-91D2-488B-8ED7-35ED0DB9C06E}"/>
              </a:ext>
            </a:extLst>
          </p:cNvPr>
          <p:cNvSpPr>
            <a:spLocks/>
          </p:cNvSpPr>
          <p:nvPr/>
        </p:nvSpPr>
        <p:spPr bwMode="auto">
          <a:xfrm>
            <a:off x="4863055" y="4215929"/>
            <a:ext cx="331920" cy="285750"/>
          </a:xfrm>
          <a:custGeom>
            <a:avLst/>
            <a:gdLst>
              <a:gd name="T0" fmla="*/ 11 w 138"/>
              <a:gd name="T1" fmla="*/ 9 h 128"/>
              <a:gd name="T2" fmla="*/ 4 w 138"/>
              <a:gd name="T3" fmla="*/ 13 h 128"/>
              <a:gd name="T4" fmla="*/ 3 w 138"/>
              <a:gd name="T5" fmla="*/ 19 h 128"/>
              <a:gd name="T6" fmla="*/ 1 w 138"/>
              <a:gd name="T7" fmla="*/ 28 h 128"/>
              <a:gd name="T8" fmla="*/ 3 w 138"/>
              <a:gd name="T9" fmla="*/ 32 h 128"/>
              <a:gd name="T10" fmla="*/ 12 w 138"/>
              <a:gd name="T11" fmla="*/ 37 h 128"/>
              <a:gd name="T12" fmla="*/ 1 w 138"/>
              <a:gd name="T13" fmla="*/ 43 h 128"/>
              <a:gd name="T14" fmla="*/ 3 w 138"/>
              <a:gd name="T15" fmla="*/ 53 h 128"/>
              <a:gd name="T16" fmla="*/ 4 w 138"/>
              <a:gd name="T17" fmla="*/ 62 h 128"/>
              <a:gd name="T18" fmla="*/ 12 w 138"/>
              <a:gd name="T19" fmla="*/ 66 h 128"/>
              <a:gd name="T20" fmla="*/ 20 w 138"/>
              <a:gd name="T21" fmla="*/ 71 h 128"/>
              <a:gd name="T22" fmla="*/ 28 w 138"/>
              <a:gd name="T23" fmla="*/ 67 h 128"/>
              <a:gd name="T24" fmla="*/ 32 w 138"/>
              <a:gd name="T25" fmla="*/ 77 h 128"/>
              <a:gd name="T26" fmla="*/ 41 w 138"/>
              <a:gd name="T27" fmla="*/ 77 h 128"/>
              <a:gd name="T28" fmla="*/ 52 w 138"/>
              <a:gd name="T29" fmla="*/ 76 h 128"/>
              <a:gd name="T30" fmla="*/ 44 w 138"/>
              <a:gd name="T31" fmla="*/ 66 h 128"/>
              <a:gd name="T32" fmla="*/ 59 w 138"/>
              <a:gd name="T33" fmla="*/ 56 h 128"/>
              <a:gd name="T34" fmla="*/ 70 w 138"/>
              <a:gd name="T35" fmla="*/ 63 h 128"/>
              <a:gd name="T36" fmla="*/ 76 w 138"/>
              <a:gd name="T37" fmla="*/ 68 h 128"/>
              <a:gd name="T38" fmla="*/ 85 w 138"/>
              <a:gd name="T39" fmla="*/ 73 h 128"/>
              <a:gd name="T40" fmla="*/ 91 w 138"/>
              <a:gd name="T41" fmla="*/ 79 h 128"/>
              <a:gd name="T42" fmla="*/ 91 w 138"/>
              <a:gd name="T43" fmla="*/ 87 h 128"/>
              <a:gd name="T44" fmla="*/ 82 w 138"/>
              <a:gd name="T45" fmla="*/ 88 h 128"/>
              <a:gd name="T46" fmla="*/ 75 w 138"/>
              <a:gd name="T47" fmla="*/ 91 h 128"/>
              <a:gd name="T48" fmla="*/ 66 w 138"/>
              <a:gd name="T49" fmla="*/ 105 h 128"/>
              <a:gd name="T50" fmla="*/ 68 w 138"/>
              <a:gd name="T51" fmla="*/ 110 h 128"/>
              <a:gd name="T52" fmla="*/ 75 w 138"/>
              <a:gd name="T53" fmla="*/ 116 h 128"/>
              <a:gd name="T54" fmla="*/ 79 w 138"/>
              <a:gd name="T55" fmla="*/ 123 h 128"/>
              <a:gd name="T56" fmla="*/ 88 w 138"/>
              <a:gd name="T57" fmla="*/ 125 h 128"/>
              <a:gd name="T58" fmla="*/ 97 w 138"/>
              <a:gd name="T59" fmla="*/ 121 h 128"/>
              <a:gd name="T60" fmla="*/ 97 w 138"/>
              <a:gd name="T61" fmla="*/ 117 h 128"/>
              <a:gd name="T62" fmla="*/ 96 w 138"/>
              <a:gd name="T63" fmla="*/ 108 h 128"/>
              <a:gd name="T64" fmla="*/ 97 w 138"/>
              <a:gd name="T65" fmla="*/ 101 h 128"/>
              <a:gd name="T66" fmla="*/ 107 w 138"/>
              <a:gd name="T67" fmla="*/ 97 h 128"/>
              <a:gd name="T68" fmla="*/ 110 w 138"/>
              <a:gd name="T69" fmla="*/ 92 h 128"/>
              <a:gd name="T70" fmla="*/ 117 w 138"/>
              <a:gd name="T71" fmla="*/ 87 h 128"/>
              <a:gd name="T72" fmla="*/ 122 w 138"/>
              <a:gd name="T73" fmla="*/ 80 h 128"/>
              <a:gd name="T74" fmla="*/ 128 w 138"/>
              <a:gd name="T75" fmla="*/ 72 h 128"/>
              <a:gd name="T76" fmla="*/ 138 w 138"/>
              <a:gd name="T77" fmla="*/ 65 h 128"/>
              <a:gd name="T78" fmla="*/ 131 w 138"/>
              <a:gd name="T79" fmla="*/ 43 h 128"/>
              <a:gd name="T80" fmla="*/ 123 w 138"/>
              <a:gd name="T81" fmla="*/ 39 h 128"/>
              <a:gd name="T82" fmla="*/ 114 w 138"/>
              <a:gd name="T83" fmla="*/ 45 h 128"/>
              <a:gd name="T84" fmla="*/ 106 w 138"/>
              <a:gd name="T85" fmla="*/ 52 h 128"/>
              <a:gd name="T86" fmla="*/ 95 w 138"/>
              <a:gd name="T87" fmla="*/ 55 h 128"/>
              <a:gd name="T88" fmla="*/ 87 w 138"/>
              <a:gd name="T89" fmla="*/ 58 h 128"/>
              <a:gd name="T90" fmla="*/ 87 w 138"/>
              <a:gd name="T91" fmla="*/ 47 h 128"/>
              <a:gd name="T92" fmla="*/ 91 w 138"/>
              <a:gd name="T93" fmla="*/ 43 h 128"/>
              <a:gd name="T94" fmla="*/ 85 w 138"/>
              <a:gd name="T95" fmla="*/ 38 h 128"/>
              <a:gd name="T96" fmla="*/ 73 w 138"/>
              <a:gd name="T97" fmla="*/ 35 h 128"/>
              <a:gd name="T98" fmla="*/ 73 w 138"/>
              <a:gd name="T99" fmla="*/ 24 h 128"/>
              <a:gd name="T100" fmla="*/ 75 w 138"/>
              <a:gd name="T101" fmla="*/ 19 h 128"/>
              <a:gd name="T102" fmla="*/ 70 w 138"/>
              <a:gd name="T103" fmla="*/ 24 h 128"/>
              <a:gd name="T104" fmla="*/ 65 w 138"/>
              <a:gd name="T105" fmla="*/ 13 h 128"/>
              <a:gd name="T106" fmla="*/ 53 w 138"/>
              <a:gd name="T107" fmla="*/ 18 h 128"/>
              <a:gd name="T108" fmla="*/ 48 w 138"/>
              <a:gd name="T109" fmla="*/ 12 h 128"/>
              <a:gd name="T110" fmla="*/ 35 w 138"/>
              <a:gd name="T111" fmla="*/ 12 h 128"/>
              <a:gd name="T112" fmla="*/ 27 w 138"/>
              <a:gd name="T113" fmla="*/ 2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38" h="128">
                <a:moveTo>
                  <a:pt x="11" y="6"/>
                </a:moveTo>
                <a:cubicBezTo>
                  <a:pt x="11" y="6"/>
                  <a:pt x="11" y="6"/>
                  <a:pt x="11" y="8"/>
                </a:cubicBezTo>
                <a:cubicBezTo>
                  <a:pt x="11" y="8"/>
                  <a:pt x="11" y="8"/>
                  <a:pt x="11" y="9"/>
                </a:cubicBezTo>
                <a:cubicBezTo>
                  <a:pt x="11" y="9"/>
                  <a:pt x="11" y="9"/>
                  <a:pt x="11" y="9"/>
                </a:cubicBezTo>
                <a:cubicBezTo>
                  <a:pt x="11" y="9"/>
                  <a:pt x="11" y="9"/>
                  <a:pt x="11" y="9"/>
                </a:cubicBezTo>
                <a:cubicBezTo>
                  <a:pt x="10" y="11"/>
                  <a:pt x="9" y="11"/>
                  <a:pt x="9" y="12"/>
                </a:cubicBezTo>
                <a:cubicBezTo>
                  <a:pt x="8" y="12"/>
                  <a:pt x="8" y="12"/>
                  <a:pt x="8" y="12"/>
                </a:cubicBezTo>
                <a:cubicBezTo>
                  <a:pt x="7" y="13"/>
                  <a:pt x="6" y="14"/>
                  <a:pt x="5" y="13"/>
                </a:cubicBezTo>
                <a:cubicBezTo>
                  <a:pt x="5" y="13"/>
                  <a:pt x="5" y="13"/>
                  <a:pt x="4" y="13"/>
                </a:cubicBezTo>
                <a:cubicBezTo>
                  <a:pt x="4" y="13"/>
                  <a:pt x="4" y="13"/>
                  <a:pt x="4" y="13"/>
                </a:cubicBezTo>
                <a:cubicBezTo>
                  <a:pt x="3" y="13"/>
                  <a:pt x="3" y="13"/>
                  <a:pt x="3" y="13"/>
                </a:cubicBezTo>
                <a:cubicBezTo>
                  <a:pt x="3" y="14"/>
                  <a:pt x="3" y="14"/>
                  <a:pt x="3" y="14"/>
                </a:cubicBezTo>
                <a:cubicBezTo>
                  <a:pt x="3" y="17"/>
                  <a:pt x="3" y="17"/>
                  <a:pt x="3" y="17"/>
                </a:cubicBezTo>
                <a:cubicBezTo>
                  <a:pt x="3" y="18"/>
                  <a:pt x="3" y="18"/>
                  <a:pt x="3" y="18"/>
                </a:cubicBezTo>
                <a:cubicBezTo>
                  <a:pt x="3" y="19"/>
                  <a:pt x="3" y="19"/>
                  <a:pt x="3" y="19"/>
                </a:cubicBezTo>
                <a:cubicBezTo>
                  <a:pt x="3" y="21"/>
                  <a:pt x="3" y="22"/>
                  <a:pt x="3" y="22"/>
                </a:cubicBezTo>
                <a:cubicBezTo>
                  <a:pt x="3" y="23"/>
                  <a:pt x="3" y="23"/>
                  <a:pt x="3" y="23"/>
                </a:cubicBezTo>
                <a:cubicBezTo>
                  <a:pt x="3" y="24"/>
                  <a:pt x="3" y="25"/>
                  <a:pt x="3" y="26"/>
                </a:cubicBezTo>
                <a:cubicBezTo>
                  <a:pt x="3" y="27"/>
                  <a:pt x="3" y="27"/>
                  <a:pt x="3" y="27"/>
                </a:cubicBezTo>
                <a:cubicBezTo>
                  <a:pt x="2" y="28"/>
                  <a:pt x="2" y="28"/>
                  <a:pt x="1" y="28"/>
                </a:cubicBezTo>
                <a:cubicBezTo>
                  <a:pt x="0" y="29"/>
                  <a:pt x="0" y="29"/>
                  <a:pt x="0" y="29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0"/>
                  <a:pt x="1" y="31"/>
                  <a:pt x="2" y="31"/>
                </a:cubicBezTo>
                <a:cubicBezTo>
                  <a:pt x="3" y="32"/>
                  <a:pt x="3" y="32"/>
                  <a:pt x="3" y="32"/>
                </a:cubicBezTo>
                <a:cubicBezTo>
                  <a:pt x="3" y="32"/>
                  <a:pt x="3" y="32"/>
                  <a:pt x="4" y="32"/>
                </a:cubicBezTo>
                <a:cubicBezTo>
                  <a:pt x="5" y="33"/>
                  <a:pt x="5" y="33"/>
                  <a:pt x="6" y="33"/>
                </a:cubicBezTo>
                <a:cubicBezTo>
                  <a:pt x="7" y="34"/>
                  <a:pt x="7" y="34"/>
                  <a:pt x="7" y="34"/>
                </a:cubicBezTo>
                <a:cubicBezTo>
                  <a:pt x="9" y="35"/>
                  <a:pt x="10" y="36"/>
                  <a:pt x="10" y="36"/>
                </a:cubicBezTo>
                <a:cubicBezTo>
                  <a:pt x="12" y="37"/>
                  <a:pt x="12" y="37"/>
                  <a:pt x="12" y="37"/>
                </a:cubicBezTo>
                <a:cubicBezTo>
                  <a:pt x="14" y="38"/>
                  <a:pt x="14" y="40"/>
                  <a:pt x="14" y="40"/>
                </a:cubicBezTo>
                <a:cubicBezTo>
                  <a:pt x="13" y="41"/>
                  <a:pt x="12" y="42"/>
                  <a:pt x="11" y="42"/>
                </a:cubicBezTo>
                <a:cubicBezTo>
                  <a:pt x="9" y="43"/>
                  <a:pt x="9" y="43"/>
                  <a:pt x="9" y="43"/>
                </a:cubicBezTo>
                <a:cubicBezTo>
                  <a:pt x="9" y="43"/>
                  <a:pt x="8" y="43"/>
                  <a:pt x="7" y="43"/>
                </a:cubicBezTo>
                <a:cubicBezTo>
                  <a:pt x="1" y="43"/>
                  <a:pt x="1" y="43"/>
                  <a:pt x="1" y="43"/>
                </a:cubicBezTo>
                <a:cubicBezTo>
                  <a:pt x="1" y="43"/>
                  <a:pt x="1" y="43"/>
                  <a:pt x="1" y="43"/>
                </a:cubicBezTo>
                <a:cubicBezTo>
                  <a:pt x="1" y="44"/>
                  <a:pt x="2" y="44"/>
                  <a:pt x="3" y="46"/>
                </a:cubicBezTo>
                <a:cubicBezTo>
                  <a:pt x="4" y="48"/>
                  <a:pt x="4" y="49"/>
                  <a:pt x="4" y="50"/>
                </a:cubicBezTo>
                <a:cubicBezTo>
                  <a:pt x="4" y="50"/>
                  <a:pt x="4" y="51"/>
                  <a:pt x="3" y="51"/>
                </a:cubicBezTo>
                <a:cubicBezTo>
                  <a:pt x="3" y="52"/>
                  <a:pt x="3" y="53"/>
                  <a:pt x="3" y="53"/>
                </a:cubicBezTo>
                <a:cubicBezTo>
                  <a:pt x="3" y="54"/>
                  <a:pt x="3" y="54"/>
                  <a:pt x="3" y="55"/>
                </a:cubicBezTo>
                <a:cubicBezTo>
                  <a:pt x="3" y="60"/>
                  <a:pt x="3" y="60"/>
                  <a:pt x="3" y="60"/>
                </a:cubicBezTo>
                <a:cubicBezTo>
                  <a:pt x="3" y="60"/>
                  <a:pt x="3" y="60"/>
                  <a:pt x="3" y="60"/>
                </a:cubicBezTo>
                <a:cubicBezTo>
                  <a:pt x="3" y="61"/>
                  <a:pt x="3" y="61"/>
                  <a:pt x="4" y="62"/>
                </a:cubicBezTo>
                <a:cubicBezTo>
                  <a:pt x="4" y="62"/>
                  <a:pt x="4" y="62"/>
                  <a:pt x="4" y="62"/>
                </a:cubicBezTo>
                <a:cubicBezTo>
                  <a:pt x="4" y="62"/>
                  <a:pt x="4" y="62"/>
                  <a:pt x="4" y="62"/>
                </a:cubicBezTo>
                <a:cubicBezTo>
                  <a:pt x="5" y="63"/>
                  <a:pt x="5" y="63"/>
                  <a:pt x="5" y="63"/>
                </a:cubicBezTo>
                <a:cubicBezTo>
                  <a:pt x="6" y="63"/>
                  <a:pt x="6" y="62"/>
                  <a:pt x="7" y="63"/>
                </a:cubicBezTo>
                <a:cubicBezTo>
                  <a:pt x="9" y="63"/>
                  <a:pt x="10" y="64"/>
                  <a:pt x="10" y="64"/>
                </a:cubicBezTo>
                <a:cubicBezTo>
                  <a:pt x="11" y="65"/>
                  <a:pt x="11" y="65"/>
                  <a:pt x="12" y="66"/>
                </a:cubicBezTo>
                <a:cubicBezTo>
                  <a:pt x="12" y="66"/>
                  <a:pt x="13" y="66"/>
                  <a:pt x="13" y="67"/>
                </a:cubicBezTo>
                <a:cubicBezTo>
                  <a:pt x="14" y="67"/>
                  <a:pt x="15" y="67"/>
                  <a:pt x="16" y="69"/>
                </a:cubicBezTo>
                <a:cubicBezTo>
                  <a:pt x="17" y="70"/>
                  <a:pt x="17" y="70"/>
                  <a:pt x="17" y="71"/>
                </a:cubicBezTo>
                <a:cubicBezTo>
                  <a:pt x="17" y="71"/>
                  <a:pt x="17" y="71"/>
                  <a:pt x="17" y="71"/>
                </a:cubicBezTo>
                <a:cubicBezTo>
                  <a:pt x="20" y="71"/>
                  <a:pt x="20" y="71"/>
                  <a:pt x="20" y="71"/>
                </a:cubicBezTo>
                <a:cubicBezTo>
                  <a:pt x="20" y="71"/>
                  <a:pt x="20" y="72"/>
                  <a:pt x="21" y="72"/>
                </a:cubicBezTo>
                <a:cubicBezTo>
                  <a:pt x="21" y="71"/>
                  <a:pt x="21" y="71"/>
                  <a:pt x="21" y="71"/>
                </a:cubicBezTo>
                <a:cubicBezTo>
                  <a:pt x="24" y="68"/>
                  <a:pt x="24" y="68"/>
                  <a:pt x="24" y="68"/>
                </a:cubicBezTo>
                <a:cubicBezTo>
                  <a:pt x="24" y="67"/>
                  <a:pt x="25" y="67"/>
                  <a:pt x="25" y="67"/>
                </a:cubicBezTo>
                <a:cubicBezTo>
                  <a:pt x="28" y="67"/>
                  <a:pt x="28" y="67"/>
                  <a:pt x="28" y="67"/>
                </a:cubicBezTo>
                <a:cubicBezTo>
                  <a:pt x="29" y="67"/>
                  <a:pt x="29" y="67"/>
                  <a:pt x="30" y="68"/>
                </a:cubicBezTo>
                <a:cubicBezTo>
                  <a:pt x="31" y="71"/>
                  <a:pt x="31" y="71"/>
                  <a:pt x="31" y="71"/>
                </a:cubicBezTo>
                <a:cubicBezTo>
                  <a:pt x="31" y="71"/>
                  <a:pt x="31" y="71"/>
                  <a:pt x="31" y="72"/>
                </a:cubicBezTo>
                <a:cubicBezTo>
                  <a:pt x="31" y="76"/>
                  <a:pt x="31" y="76"/>
                  <a:pt x="31" y="76"/>
                </a:cubicBezTo>
                <a:cubicBezTo>
                  <a:pt x="32" y="77"/>
                  <a:pt x="32" y="77"/>
                  <a:pt x="32" y="77"/>
                </a:cubicBezTo>
                <a:cubicBezTo>
                  <a:pt x="32" y="77"/>
                  <a:pt x="33" y="77"/>
                  <a:pt x="34" y="77"/>
                </a:cubicBezTo>
                <a:cubicBezTo>
                  <a:pt x="35" y="78"/>
                  <a:pt x="36" y="77"/>
                  <a:pt x="36" y="77"/>
                </a:cubicBezTo>
                <a:cubicBezTo>
                  <a:pt x="36" y="77"/>
                  <a:pt x="36" y="77"/>
                  <a:pt x="37" y="77"/>
                </a:cubicBezTo>
                <a:cubicBezTo>
                  <a:pt x="38" y="77"/>
                  <a:pt x="38" y="77"/>
                  <a:pt x="38" y="77"/>
                </a:cubicBezTo>
                <a:cubicBezTo>
                  <a:pt x="41" y="77"/>
                  <a:pt x="41" y="77"/>
                  <a:pt x="41" y="77"/>
                </a:cubicBezTo>
                <a:cubicBezTo>
                  <a:pt x="41" y="77"/>
                  <a:pt x="41" y="77"/>
                  <a:pt x="41" y="78"/>
                </a:cubicBezTo>
                <a:cubicBezTo>
                  <a:pt x="44" y="79"/>
                  <a:pt x="44" y="79"/>
                  <a:pt x="44" y="79"/>
                </a:cubicBezTo>
                <a:cubicBezTo>
                  <a:pt x="51" y="79"/>
                  <a:pt x="51" y="79"/>
                  <a:pt x="51" y="79"/>
                </a:cubicBezTo>
                <a:cubicBezTo>
                  <a:pt x="51" y="78"/>
                  <a:pt x="51" y="78"/>
                  <a:pt x="51" y="77"/>
                </a:cubicBezTo>
                <a:cubicBezTo>
                  <a:pt x="52" y="77"/>
                  <a:pt x="52" y="76"/>
                  <a:pt x="52" y="76"/>
                </a:cubicBezTo>
                <a:cubicBezTo>
                  <a:pt x="52" y="76"/>
                  <a:pt x="52" y="76"/>
                  <a:pt x="52" y="75"/>
                </a:cubicBezTo>
                <a:cubicBezTo>
                  <a:pt x="52" y="75"/>
                  <a:pt x="52" y="75"/>
                  <a:pt x="52" y="75"/>
                </a:cubicBezTo>
                <a:cubicBezTo>
                  <a:pt x="51" y="73"/>
                  <a:pt x="50" y="71"/>
                  <a:pt x="50" y="70"/>
                </a:cubicBezTo>
                <a:cubicBezTo>
                  <a:pt x="48" y="69"/>
                  <a:pt x="48" y="69"/>
                  <a:pt x="48" y="69"/>
                </a:cubicBezTo>
                <a:cubicBezTo>
                  <a:pt x="47" y="68"/>
                  <a:pt x="45" y="68"/>
                  <a:pt x="44" y="66"/>
                </a:cubicBezTo>
                <a:cubicBezTo>
                  <a:pt x="43" y="65"/>
                  <a:pt x="43" y="65"/>
                  <a:pt x="43" y="65"/>
                </a:cubicBezTo>
                <a:cubicBezTo>
                  <a:pt x="43" y="64"/>
                  <a:pt x="42" y="62"/>
                  <a:pt x="42" y="61"/>
                </a:cubicBezTo>
                <a:cubicBezTo>
                  <a:pt x="42" y="60"/>
                  <a:pt x="42" y="60"/>
                  <a:pt x="42" y="60"/>
                </a:cubicBezTo>
                <a:cubicBezTo>
                  <a:pt x="42" y="58"/>
                  <a:pt x="43" y="56"/>
                  <a:pt x="46" y="56"/>
                </a:cubicBezTo>
                <a:cubicBezTo>
                  <a:pt x="59" y="56"/>
                  <a:pt x="59" y="56"/>
                  <a:pt x="59" y="56"/>
                </a:cubicBezTo>
                <a:cubicBezTo>
                  <a:pt x="60" y="56"/>
                  <a:pt x="61" y="56"/>
                  <a:pt x="61" y="58"/>
                </a:cubicBezTo>
                <a:cubicBezTo>
                  <a:pt x="61" y="62"/>
                  <a:pt x="61" y="62"/>
                  <a:pt x="61" y="62"/>
                </a:cubicBezTo>
                <a:cubicBezTo>
                  <a:pt x="64" y="62"/>
                  <a:pt x="64" y="62"/>
                  <a:pt x="64" y="62"/>
                </a:cubicBezTo>
                <a:cubicBezTo>
                  <a:pt x="68" y="63"/>
                  <a:pt x="68" y="63"/>
                  <a:pt x="68" y="63"/>
                </a:cubicBezTo>
                <a:cubicBezTo>
                  <a:pt x="70" y="63"/>
                  <a:pt x="70" y="63"/>
                  <a:pt x="70" y="63"/>
                </a:cubicBezTo>
                <a:cubicBezTo>
                  <a:pt x="71" y="63"/>
                  <a:pt x="72" y="64"/>
                  <a:pt x="72" y="65"/>
                </a:cubicBezTo>
                <a:cubicBezTo>
                  <a:pt x="72" y="66"/>
                  <a:pt x="72" y="66"/>
                  <a:pt x="72" y="66"/>
                </a:cubicBezTo>
                <a:cubicBezTo>
                  <a:pt x="73" y="67"/>
                  <a:pt x="73" y="67"/>
                  <a:pt x="73" y="67"/>
                </a:cubicBezTo>
                <a:cubicBezTo>
                  <a:pt x="75" y="67"/>
                  <a:pt x="75" y="67"/>
                  <a:pt x="75" y="67"/>
                </a:cubicBezTo>
                <a:cubicBezTo>
                  <a:pt x="76" y="67"/>
                  <a:pt x="76" y="67"/>
                  <a:pt x="76" y="68"/>
                </a:cubicBezTo>
                <a:cubicBezTo>
                  <a:pt x="78" y="70"/>
                  <a:pt x="78" y="70"/>
                  <a:pt x="78" y="70"/>
                </a:cubicBezTo>
                <a:cubicBezTo>
                  <a:pt x="81" y="70"/>
                  <a:pt x="81" y="70"/>
                  <a:pt x="81" y="70"/>
                </a:cubicBezTo>
                <a:cubicBezTo>
                  <a:pt x="82" y="71"/>
                  <a:pt x="82" y="71"/>
                  <a:pt x="82" y="72"/>
                </a:cubicBezTo>
                <a:cubicBezTo>
                  <a:pt x="83" y="72"/>
                  <a:pt x="83" y="72"/>
                  <a:pt x="83" y="72"/>
                </a:cubicBezTo>
                <a:cubicBezTo>
                  <a:pt x="84" y="73"/>
                  <a:pt x="85" y="73"/>
                  <a:pt x="85" y="73"/>
                </a:cubicBezTo>
                <a:cubicBezTo>
                  <a:pt x="86" y="74"/>
                  <a:pt x="86" y="74"/>
                  <a:pt x="86" y="74"/>
                </a:cubicBezTo>
                <a:cubicBezTo>
                  <a:pt x="87" y="74"/>
                  <a:pt x="87" y="74"/>
                  <a:pt x="87" y="74"/>
                </a:cubicBezTo>
                <a:cubicBezTo>
                  <a:pt x="89" y="76"/>
                  <a:pt x="89" y="76"/>
                  <a:pt x="89" y="76"/>
                </a:cubicBezTo>
                <a:cubicBezTo>
                  <a:pt x="90" y="77"/>
                  <a:pt x="90" y="77"/>
                  <a:pt x="90" y="77"/>
                </a:cubicBezTo>
                <a:cubicBezTo>
                  <a:pt x="91" y="79"/>
                  <a:pt x="91" y="79"/>
                  <a:pt x="91" y="79"/>
                </a:cubicBezTo>
                <a:cubicBezTo>
                  <a:pt x="92" y="79"/>
                  <a:pt x="92" y="79"/>
                  <a:pt x="92" y="79"/>
                </a:cubicBezTo>
                <a:cubicBezTo>
                  <a:pt x="93" y="79"/>
                  <a:pt x="94" y="80"/>
                  <a:pt x="94" y="81"/>
                </a:cubicBezTo>
                <a:cubicBezTo>
                  <a:pt x="94" y="85"/>
                  <a:pt x="94" y="85"/>
                  <a:pt x="94" y="85"/>
                </a:cubicBezTo>
                <a:cubicBezTo>
                  <a:pt x="94" y="86"/>
                  <a:pt x="93" y="87"/>
                  <a:pt x="92" y="87"/>
                </a:cubicBezTo>
                <a:cubicBezTo>
                  <a:pt x="91" y="87"/>
                  <a:pt x="91" y="87"/>
                  <a:pt x="91" y="87"/>
                </a:cubicBezTo>
                <a:cubicBezTo>
                  <a:pt x="91" y="88"/>
                  <a:pt x="91" y="88"/>
                  <a:pt x="91" y="88"/>
                </a:cubicBezTo>
                <a:cubicBezTo>
                  <a:pt x="90" y="88"/>
                  <a:pt x="90" y="88"/>
                  <a:pt x="89" y="88"/>
                </a:cubicBezTo>
                <a:cubicBezTo>
                  <a:pt x="85" y="88"/>
                  <a:pt x="85" y="88"/>
                  <a:pt x="85" y="88"/>
                </a:cubicBezTo>
                <a:cubicBezTo>
                  <a:pt x="85" y="88"/>
                  <a:pt x="85" y="88"/>
                  <a:pt x="85" y="88"/>
                </a:cubicBezTo>
                <a:cubicBezTo>
                  <a:pt x="83" y="89"/>
                  <a:pt x="83" y="88"/>
                  <a:pt x="82" y="88"/>
                </a:cubicBezTo>
                <a:cubicBezTo>
                  <a:pt x="82" y="88"/>
                  <a:pt x="82" y="88"/>
                  <a:pt x="82" y="88"/>
                </a:cubicBezTo>
                <a:cubicBezTo>
                  <a:pt x="80" y="89"/>
                  <a:pt x="80" y="89"/>
                  <a:pt x="80" y="89"/>
                </a:cubicBezTo>
                <a:cubicBezTo>
                  <a:pt x="79" y="89"/>
                  <a:pt x="79" y="89"/>
                  <a:pt x="79" y="89"/>
                </a:cubicBezTo>
                <a:cubicBezTo>
                  <a:pt x="77" y="89"/>
                  <a:pt x="77" y="89"/>
                  <a:pt x="77" y="89"/>
                </a:cubicBezTo>
                <a:cubicBezTo>
                  <a:pt x="77" y="90"/>
                  <a:pt x="76" y="90"/>
                  <a:pt x="75" y="91"/>
                </a:cubicBezTo>
                <a:cubicBezTo>
                  <a:pt x="75" y="91"/>
                  <a:pt x="75" y="91"/>
                  <a:pt x="75" y="91"/>
                </a:cubicBezTo>
                <a:cubicBezTo>
                  <a:pt x="73" y="94"/>
                  <a:pt x="73" y="94"/>
                  <a:pt x="73" y="94"/>
                </a:cubicBezTo>
                <a:cubicBezTo>
                  <a:pt x="69" y="99"/>
                  <a:pt x="69" y="99"/>
                  <a:pt x="69" y="99"/>
                </a:cubicBezTo>
                <a:cubicBezTo>
                  <a:pt x="67" y="103"/>
                  <a:pt x="67" y="103"/>
                  <a:pt x="67" y="103"/>
                </a:cubicBezTo>
                <a:cubicBezTo>
                  <a:pt x="66" y="105"/>
                  <a:pt x="66" y="105"/>
                  <a:pt x="66" y="105"/>
                </a:cubicBezTo>
                <a:cubicBezTo>
                  <a:pt x="66" y="105"/>
                  <a:pt x="66" y="105"/>
                  <a:pt x="65" y="106"/>
                </a:cubicBezTo>
                <a:cubicBezTo>
                  <a:pt x="66" y="106"/>
                  <a:pt x="66" y="106"/>
                  <a:pt x="66" y="106"/>
                </a:cubicBezTo>
                <a:cubicBezTo>
                  <a:pt x="67" y="107"/>
                  <a:pt x="67" y="107"/>
                  <a:pt x="67" y="108"/>
                </a:cubicBezTo>
                <a:cubicBezTo>
                  <a:pt x="67" y="109"/>
                  <a:pt x="67" y="109"/>
                  <a:pt x="67" y="109"/>
                </a:cubicBezTo>
                <a:cubicBezTo>
                  <a:pt x="68" y="110"/>
                  <a:pt x="68" y="110"/>
                  <a:pt x="68" y="110"/>
                </a:cubicBezTo>
                <a:cubicBezTo>
                  <a:pt x="69" y="111"/>
                  <a:pt x="69" y="111"/>
                  <a:pt x="69" y="112"/>
                </a:cubicBezTo>
                <a:cubicBezTo>
                  <a:pt x="71" y="112"/>
                  <a:pt x="71" y="112"/>
                  <a:pt x="71" y="112"/>
                </a:cubicBezTo>
                <a:cubicBezTo>
                  <a:pt x="71" y="112"/>
                  <a:pt x="71" y="112"/>
                  <a:pt x="72" y="112"/>
                </a:cubicBezTo>
                <a:cubicBezTo>
                  <a:pt x="74" y="114"/>
                  <a:pt x="74" y="114"/>
                  <a:pt x="74" y="114"/>
                </a:cubicBezTo>
                <a:cubicBezTo>
                  <a:pt x="75" y="114"/>
                  <a:pt x="75" y="115"/>
                  <a:pt x="75" y="116"/>
                </a:cubicBezTo>
                <a:cubicBezTo>
                  <a:pt x="75" y="119"/>
                  <a:pt x="75" y="119"/>
                  <a:pt x="75" y="119"/>
                </a:cubicBezTo>
                <a:cubicBezTo>
                  <a:pt x="76" y="118"/>
                  <a:pt x="76" y="118"/>
                  <a:pt x="77" y="118"/>
                </a:cubicBezTo>
                <a:cubicBezTo>
                  <a:pt x="78" y="118"/>
                  <a:pt x="79" y="119"/>
                  <a:pt x="79" y="120"/>
                </a:cubicBezTo>
                <a:cubicBezTo>
                  <a:pt x="79" y="122"/>
                  <a:pt x="79" y="122"/>
                  <a:pt x="79" y="122"/>
                </a:cubicBezTo>
                <a:cubicBezTo>
                  <a:pt x="79" y="123"/>
                  <a:pt x="79" y="123"/>
                  <a:pt x="79" y="123"/>
                </a:cubicBezTo>
                <a:cubicBezTo>
                  <a:pt x="78" y="124"/>
                  <a:pt x="78" y="125"/>
                  <a:pt x="78" y="125"/>
                </a:cubicBezTo>
                <a:cubicBezTo>
                  <a:pt x="79" y="126"/>
                  <a:pt x="79" y="127"/>
                  <a:pt x="79" y="128"/>
                </a:cubicBezTo>
                <a:cubicBezTo>
                  <a:pt x="85" y="128"/>
                  <a:pt x="85" y="128"/>
                  <a:pt x="85" y="128"/>
                </a:cubicBezTo>
                <a:cubicBezTo>
                  <a:pt x="87" y="127"/>
                  <a:pt x="87" y="127"/>
                  <a:pt x="87" y="127"/>
                </a:cubicBezTo>
                <a:cubicBezTo>
                  <a:pt x="87" y="126"/>
                  <a:pt x="87" y="125"/>
                  <a:pt x="88" y="125"/>
                </a:cubicBezTo>
                <a:cubicBezTo>
                  <a:pt x="89" y="124"/>
                  <a:pt x="89" y="124"/>
                  <a:pt x="89" y="124"/>
                </a:cubicBezTo>
                <a:cubicBezTo>
                  <a:pt x="89" y="123"/>
                  <a:pt x="89" y="123"/>
                  <a:pt x="89" y="123"/>
                </a:cubicBezTo>
                <a:cubicBezTo>
                  <a:pt x="93" y="122"/>
                  <a:pt x="93" y="122"/>
                  <a:pt x="93" y="122"/>
                </a:cubicBezTo>
                <a:cubicBezTo>
                  <a:pt x="94" y="121"/>
                  <a:pt x="94" y="121"/>
                  <a:pt x="94" y="121"/>
                </a:cubicBezTo>
                <a:cubicBezTo>
                  <a:pt x="97" y="121"/>
                  <a:pt x="97" y="121"/>
                  <a:pt x="97" y="121"/>
                </a:cubicBezTo>
                <a:cubicBezTo>
                  <a:pt x="97" y="121"/>
                  <a:pt x="97" y="121"/>
                  <a:pt x="97" y="121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97" y="119"/>
                  <a:pt x="98" y="118"/>
                  <a:pt x="98" y="118"/>
                </a:cubicBezTo>
                <a:cubicBezTo>
                  <a:pt x="97" y="117"/>
                  <a:pt x="97" y="117"/>
                  <a:pt x="97" y="117"/>
                </a:cubicBezTo>
                <a:cubicBezTo>
                  <a:pt x="94" y="115"/>
                  <a:pt x="94" y="115"/>
                  <a:pt x="94" y="115"/>
                </a:cubicBezTo>
                <a:cubicBezTo>
                  <a:pt x="93" y="115"/>
                  <a:pt x="93" y="114"/>
                  <a:pt x="93" y="114"/>
                </a:cubicBezTo>
                <a:cubicBezTo>
                  <a:pt x="93" y="111"/>
                  <a:pt x="93" y="111"/>
                  <a:pt x="93" y="111"/>
                </a:cubicBezTo>
                <a:cubicBezTo>
                  <a:pt x="93" y="111"/>
                  <a:pt x="93" y="110"/>
                  <a:pt x="94" y="110"/>
                </a:cubicBezTo>
                <a:cubicBezTo>
                  <a:pt x="96" y="108"/>
                  <a:pt x="96" y="108"/>
                  <a:pt x="96" y="108"/>
                </a:cubicBezTo>
                <a:cubicBezTo>
                  <a:pt x="98" y="107"/>
                  <a:pt x="98" y="107"/>
                  <a:pt x="98" y="107"/>
                </a:cubicBezTo>
                <a:cubicBezTo>
                  <a:pt x="97" y="107"/>
                  <a:pt x="96" y="106"/>
                  <a:pt x="96" y="104"/>
                </a:cubicBezTo>
                <a:cubicBezTo>
                  <a:pt x="96" y="103"/>
                  <a:pt x="96" y="103"/>
                  <a:pt x="96" y="103"/>
                </a:cubicBezTo>
                <a:cubicBezTo>
                  <a:pt x="96" y="103"/>
                  <a:pt x="96" y="103"/>
                  <a:pt x="96" y="103"/>
                </a:cubicBezTo>
                <a:cubicBezTo>
                  <a:pt x="97" y="101"/>
                  <a:pt x="97" y="101"/>
                  <a:pt x="97" y="101"/>
                </a:cubicBezTo>
                <a:cubicBezTo>
                  <a:pt x="97" y="100"/>
                  <a:pt x="97" y="100"/>
                  <a:pt x="98" y="100"/>
                </a:cubicBezTo>
                <a:cubicBezTo>
                  <a:pt x="99" y="99"/>
                  <a:pt x="99" y="100"/>
                  <a:pt x="100" y="100"/>
                </a:cubicBezTo>
                <a:cubicBezTo>
                  <a:pt x="100" y="100"/>
                  <a:pt x="100" y="100"/>
                  <a:pt x="101" y="100"/>
                </a:cubicBezTo>
                <a:cubicBezTo>
                  <a:pt x="103" y="98"/>
                  <a:pt x="106" y="97"/>
                  <a:pt x="106" y="97"/>
                </a:cubicBezTo>
                <a:cubicBezTo>
                  <a:pt x="107" y="97"/>
                  <a:pt x="107" y="97"/>
                  <a:pt x="107" y="97"/>
                </a:cubicBezTo>
                <a:cubicBezTo>
                  <a:pt x="108" y="97"/>
                  <a:pt x="108" y="97"/>
                  <a:pt x="108" y="97"/>
                </a:cubicBezTo>
                <a:cubicBezTo>
                  <a:pt x="108" y="96"/>
                  <a:pt x="108" y="96"/>
                  <a:pt x="108" y="96"/>
                </a:cubicBezTo>
                <a:cubicBezTo>
                  <a:pt x="109" y="96"/>
                  <a:pt x="109" y="96"/>
                  <a:pt x="110" y="96"/>
                </a:cubicBezTo>
                <a:cubicBezTo>
                  <a:pt x="110" y="94"/>
                  <a:pt x="110" y="94"/>
                  <a:pt x="110" y="94"/>
                </a:cubicBezTo>
                <a:cubicBezTo>
                  <a:pt x="110" y="92"/>
                  <a:pt x="110" y="92"/>
                  <a:pt x="110" y="92"/>
                </a:cubicBezTo>
                <a:cubicBezTo>
                  <a:pt x="110" y="91"/>
                  <a:pt x="111" y="90"/>
                  <a:pt x="112" y="90"/>
                </a:cubicBezTo>
                <a:cubicBezTo>
                  <a:pt x="115" y="90"/>
                  <a:pt x="115" y="90"/>
                  <a:pt x="115" y="90"/>
                </a:cubicBezTo>
                <a:cubicBezTo>
                  <a:pt x="116" y="90"/>
                  <a:pt x="116" y="90"/>
                  <a:pt x="116" y="90"/>
                </a:cubicBezTo>
                <a:cubicBezTo>
                  <a:pt x="116" y="89"/>
                  <a:pt x="116" y="89"/>
                  <a:pt x="116" y="89"/>
                </a:cubicBezTo>
                <a:cubicBezTo>
                  <a:pt x="116" y="89"/>
                  <a:pt x="116" y="87"/>
                  <a:pt x="117" y="87"/>
                </a:cubicBezTo>
                <a:cubicBezTo>
                  <a:pt x="117" y="86"/>
                  <a:pt x="118" y="86"/>
                  <a:pt x="118" y="86"/>
                </a:cubicBezTo>
                <a:cubicBezTo>
                  <a:pt x="119" y="84"/>
                  <a:pt x="121" y="82"/>
                  <a:pt x="121" y="82"/>
                </a:cubicBezTo>
                <a:cubicBezTo>
                  <a:pt x="121" y="81"/>
                  <a:pt x="122" y="81"/>
                  <a:pt x="122" y="81"/>
                </a:cubicBezTo>
                <a:cubicBezTo>
                  <a:pt x="122" y="81"/>
                  <a:pt x="122" y="81"/>
                  <a:pt x="122" y="81"/>
                </a:cubicBezTo>
                <a:cubicBezTo>
                  <a:pt x="122" y="80"/>
                  <a:pt x="122" y="80"/>
                  <a:pt x="122" y="80"/>
                </a:cubicBezTo>
                <a:cubicBezTo>
                  <a:pt x="122" y="75"/>
                  <a:pt x="122" y="75"/>
                  <a:pt x="122" y="75"/>
                </a:cubicBezTo>
                <a:cubicBezTo>
                  <a:pt x="122" y="74"/>
                  <a:pt x="123" y="73"/>
                  <a:pt x="124" y="73"/>
                </a:cubicBezTo>
                <a:cubicBezTo>
                  <a:pt x="125" y="73"/>
                  <a:pt x="125" y="73"/>
                  <a:pt x="125" y="73"/>
                </a:cubicBezTo>
                <a:cubicBezTo>
                  <a:pt x="127" y="72"/>
                  <a:pt x="127" y="72"/>
                  <a:pt x="127" y="72"/>
                </a:cubicBezTo>
                <a:cubicBezTo>
                  <a:pt x="127" y="72"/>
                  <a:pt x="127" y="72"/>
                  <a:pt x="128" y="72"/>
                </a:cubicBezTo>
                <a:cubicBezTo>
                  <a:pt x="128" y="72"/>
                  <a:pt x="128" y="72"/>
                  <a:pt x="128" y="72"/>
                </a:cubicBezTo>
                <a:cubicBezTo>
                  <a:pt x="129" y="70"/>
                  <a:pt x="129" y="70"/>
                  <a:pt x="129" y="70"/>
                </a:cubicBezTo>
                <a:cubicBezTo>
                  <a:pt x="129" y="69"/>
                  <a:pt x="129" y="69"/>
                  <a:pt x="129" y="69"/>
                </a:cubicBezTo>
                <a:cubicBezTo>
                  <a:pt x="129" y="68"/>
                  <a:pt x="129" y="67"/>
                  <a:pt x="130" y="67"/>
                </a:cubicBezTo>
                <a:cubicBezTo>
                  <a:pt x="138" y="65"/>
                  <a:pt x="138" y="65"/>
                  <a:pt x="138" y="65"/>
                </a:cubicBezTo>
                <a:cubicBezTo>
                  <a:pt x="138" y="53"/>
                  <a:pt x="138" y="53"/>
                  <a:pt x="138" y="53"/>
                </a:cubicBezTo>
                <a:cubicBezTo>
                  <a:pt x="137" y="53"/>
                  <a:pt x="137" y="53"/>
                  <a:pt x="137" y="53"/>
                </a:cubicBezTo>
                <a:cubicBezTo>
                  <a:pt x="136" y="53"/>
                  <a:pt x="135" y="52"/>
                  <a:pt x="135" y="51"/>
                </a:cubicBezTo>
                <a:cubicBezTo>
                  <a:pt x="135" y="43"/>
                  <a:pt x="135" y="43"/>
                  <a:pt x="135" y="43"/>
                </a:cubicBezTo>
                <a:cubicBezTo>
                  <a:pt x="131" y="43"/>
                  <a:pt x="131" y="43"/>
                  <a:pt x="131" y="43"/>
                </a:cubicBezTo>
                <a:cubicBezTo>
                  <a:pt x="130" y="43"/>
                  <a:pt x="129" y="43"/>
                  <a:pt x="129" y="42"/>
                </a:cubicBezTo>
                <a:cubicBezTo>
                  <a:pt x="127" y="42"/>
                  <a:pt x="127" y="42"/>
                  <a:pt x="127" y="42"/>
                </a:cubicBezTo>
                <a:cubicBezTo>
                  <a:pt x="126" y="42"/>
                  <a:pt x="126" y="41"/>
                  <a:pt x="125" y="40"/>
                </a:cubicBezTo>
                <a:cubicBezTo>
                  <a:pt x="125" y="40"/>
                  <a:pt x="125" y="40"/>
                  <a:pt x="125" y="40"/>
                </a:cubicBezTo>
                <a:cubicBezTo>
                  <a:pt x="124" y="40"/>
                  <a:pt x="124" y="40"/>
                  <a:pt x="123" y="39"/>
                </a:cubicBezTo>
                <a:cubicBezTo>
                  <a:pt x="121" y="39"/>
                  <a:pt x="121" y="39"/>
                  <a:pt x="121" y="39"/>
                </a:cubicBezTo>
                <a:cubicBezTo>
                  <a:pt x="116" y="42"/>
                  <a:pt x="116" y="42"/>
                  <a:pt x="116" y="42"/>
                </a:cubicBezTo>
                <a:cubicBezTo>
                  <a:pt x="116" y="43"/>
                  <a:pt x="116" y="43"/>
                  <a:pt x="116" y="43"/>
                </a:cubicBezTo>
                <a:cubicBezTo>
                  <a:pt x="115" y="44"/>
                  <a:pt x="115" y="44"/>
                  <a:pt x="114" y="45"/>
                </a:cubicBezTo>
                <a:cubicBezTo>
                  <a:pt x="114" y="45"/>
                  <a:pt x="114" y="45"/>
                  <a:pt x="114" y="45"/>
                </a:cubicBezTo>
                <a:cubicBezTo>
                  <a:pt x="114" y="46"/>
                  <a:pt x="114" y="47"/>
                  <a:pt x="114" y="49"/>
                </a:cubicBezTo>
                <a:cubicBezTo>
                  <a:pt x="113" y="50"/>
                  <a:pt x="113" y="50"/>
                  <a:pt x="113" y="50"/>
                </a:cubicBezTo>
                <a:cubicBezTo>
                  <a:pt x="109" y="52"/>
                  <a:pt x="109" y="52"/>
                  <a:pt x="109" y="52"/>
                </a:cubicBezTo>
                <a:cubicBezTo>
                  <a:pt x="108" y="52"/>
                  <a:pt x="108" y="52"/>
                  <a:pt x="108" y="52"/>
                </a:cubicBezTo>
                <a:cubicBezTo>
                  <a:pt x="106" y="52"/>
                  <a:pt x="106" y="52"/>
                  <a:pt x="106" y="52"/>
                </a:cubicBezTo>
                <a:cubicBezTo>
                  <a:pt x="105" y="52"/>
                  <a:pt x="103" y="53"/>
                  <a:pt x="102" y="53"/>
                </a:cubicBezTo>
                <a:cubicBezTo>
                  <a:pt x="100" y="54"/>
                  <a:pt x="100" y="54"/>
                  <a:pt x="100" y="54"/>
                </a:cubicBezTo>
                <a:cubicBezTo>
                  <a:pt x="100" y="54"/>
                  <a:pt x="100" y="54"/>
                  <a:pt x="99" y="54"/>
                </a:cubicBezTo>
                <a:cubicBezTo>
                  <a:pt x="97" y="54"/>
                  <a:pt x="97" y="54"/>
                  <a:pt x="97" y="54"/>
                </a:cubicBezTo>
                <a:cubicBezTo>
                  <a:pt x="95" y="55"/>
                  <a:pt x="95" y="55"/>
                  <a:pt x="95" y="55"/>
                </a:cubicBezTo>
                <a:cubicBezTo>
                  <a:pt x="95" y="56"/>
                  <a:pt x="95" y="56"/>
                  <a:pt x="94" y="56"/>
                </a:cubicBezTo>
                <a:cubicBezTo>
                  <a:pt x="94" y="55"/>
                  <a:pt x="94" y="55"/>
                  <a:pt x="94" y="55"/>
                </a:cubicBezTo>
                <a:cubicBezTo>
                  <a:pt x="94" y="56"/>
                  <a:pt x="94" y="56"/>
                  <a:pt x="94" y="56"/>
                </a:cubicBezTo>
                <a:cubicBezTo>
                  <a:pt x="94" y="57"/>
                  <a:pt x="93" y="58"/>
                  <a:pt x="92" y="58"/>
                </a:cubicBezTo>
                <a:cubicBezTo>
                  <a:pt x="87" y="58"/>
                  <a:pt x="87" y="58"/>
                  <a:pt x="87" y="58"/>
                </a:cubicBezTo>
                <a:cubicBezTo>
                  <a:pt x="86" y="58"/>
                  <a:pt x="85" y="57"/>
                  <a:pt x="85" y="56"/>
                </a:cubicBezTo>
                <a:cubicBezTo>
                  <a:pt x="84" y="53"/>
                  <a:pt x="84" y="53"/>
                  <a:pt x="84" y="53"/>
                </a:cubicBezTo>
                <a:cubicBezTo>
                  <a:pt x="84" y="52"/>
                  <a:pt x="84" y="52"/>
                  <a:pt x="84" y="51"/>
                </a:cubicBezTo>
                <a:cubicBezTo>
                  <a:pt x="85" y="50"/>
                  <a:pt x="85" y="50"/>
                  <a:pt x="85" y="50"/>
                </a:cubicBezTo>
                <a:cubicBezTo>
                  <a:pt x="86" y="49"/>
                  <a:pt x="87" y="47"/>
                  <a:pt x="87" y="47"/>
                </a:cubicBezTo>
                <a:cubicBezTo>
                  <a:pt x="87" y="47"/>
                  <a:pt x="88" y="46"/>
                  <a:pt x="89" y="46"/>
                </a:cubicBezTo>
                <a:cubicBezTo>
                  <a:pt x="90" y="46"/>
                  <a:pt x="90" y="46"/>
                  <a:pt x="90" y="46"/>
                </a:cubicBezTo>
                <a:cubicBezTo>
                  <a:pt x="90" y="46"/>
                  <a:pt x="90" y="46"/>
                  <a:pt x="90" y="46"/>
                </a:cubicBezTo>
                <a:cubicBezTo>
                  <a:pt x="90" y="45"/>
                  <a:pt x="90" y="44"/>
                  <a:pt x="91" y="44"/>
                </a:cubicBezTo>
                <a:cubicBezTo>
                  <a:pt x="91" y="44"/>
                  <a:pt x="91" y="44"/>
                  <a:pt x="91" y="43"/>
                </a:cubicBezTo>
                <a:cubicBezTo>
                  <a:pt x="91" y="40"/>
                  <a:pt x="91" y="40"/>
                  <a:pt x="91" y="40"/>
                </a:cubicBezTo>
                <a:cubicBezTo>
                  <a:pt x="89" y="40"/>
                  <a:pt x="89" y="40"/>
                  <a:pt x="89" y="40"/>
                </a:cubicBezTo>
                <a:cubicBezTo>
                  <a:pt x="89" y="40"/>
                  <a:pt x="89" y="40"/>
                  <a:pt x="88" y="40"/>
                </a:cubicBezTo>
                <a:cubicBezTo>
                  <a:pt x="86" y="38"/>
                  <a:pt x="86" y="38"/>
                  <a:pt x="86" y="38"/>
                </a:cubicBezTo>
                <a:cubicBezTo>
                  <a:pt x="85" y="38"/>
                  <a:pt x="85" y="38"/>
                  <a:pt x="85" y="38"/>
                </a:cubicBezTo>
                <a:cubicBezTo>
                  <a:pt x="84" y="39"/>
                  <a:pt x="84" y="39"/>
                  <a:pt x="84" y="39"/>
                </a:cubicBezTo>
                <a:cubicBezTo>
                  <a:pt x="84" y="39"/>
                  <a:pt x="83" y="40"/>
                  <a:pt x="82" y="40"/>
                </a:cubicBezTo>
                <a:cubicBezTo>
                  <a:pt x="79" y="40"/>
                  <a:pt x="79" y="40"/>
                  <a:pt x="79" y="40"/>
                </a:cubicBezTo>
                <a:cubicBezTo>
                  <a:pt x="78" y="40"/>
                  <a:pt x="78" y="40"/>
                  <a:pt x="77" y="39"/>
                </a:cubicBezTo>
                <a:cubicBezTo>
                  <a:pt x="73" y="35"/>
                  <a:pt x="73" y="35"/>
                  <a:pt x="73" y="35"/>
                </a:cubicBezTo>
                <a:cubicBezTo>
                  <a:pt x="73" y="35"/>
                  <a:pt x="73" y="35"/>
                  <a:pt x="73" y="35"/>
                </a:cubicBezTo>
                <a:cubicBezTo>
                  <a:pt x="72" y="35"/>
                  <a:pt x="71" y="34"/>
                  <a:pt x="71" y="33"/>
                </a:cubicBezTo>
                <a:cubicBezTo>
                  <a:pt x="70" y="30"/>
                  <a:pt x="70" y="30"/>
                  <a:pt x="70" y="30"/>
                </a:cubicBezTo>
                <a:cubicBezTo>
                  <a:pt x="70" y="30"/>
                  <a:pt x="70" y="30"/>
                  <a:pt x="70" y="29"/>
                </a:cubicBezTo>
                <a:cubicBezTo>
                  <a:pt x="73" y="24"/>
                  <a:pt x="73" y="24"/>
                  <a:pt x="73" y="24"/>
                </a:cubicBezTo>
                <a:cubicBezTo>
                  <a:pt x="73" y="23"/>
                  <a:pt x="74" y="23"/>
                  <a:pt x="75" y="23"/>
                </a:cubicBezTo>
                <a:cubicBezTo>
                  <a:pt x="75" y="23"/>
                  <a:pt x="75" y="23"/>
                  <a:pt x="75" y="23"/>
                </a:cubicBezTo>
                <a:cubicBezTo>
                  <a:pt x="75" y="22"/>
                  <a:pt x="75" y="22"/>
                  <a:pt x="75" y="22"/>
                </a:cubicBezTo>
                <a:cubicBezTo>
                  <a:pt x="75" y="22"/>
                  <a:pt x="75" y="22"/>
                  <a:pt x="75" y="21"/>
                </a:cubicBezTo>
                <a:cubicBezTo>
                  <a:pt x="75" y="21"/>
                  <a:pt x="75" y="20"/>
                  <a:pt x="75" y="19"/>
                </a:cubicBezTo>
                <a:cubicBezTo>
                  <a:pt x="75" y="20"/>
                  <a:pt x="75" y="20"/>
                  <a:pt x="75" y="20"/>
                </a:cubicBezTo>
                <a:cubicBezTo>
                  <a:pt x="75" y="20"/>
                  <a:pt x="75" y="20"/>
                  <a:pt x="75" y="20"/>
                </a:cubicBezTo>
                <a:cubicBezTo>
                  <a:pt x="73" y="20"/>
                  <a:pt x="73" y="20"/>
                  <a:pt x="73" y="20"/>
                </a:cubicBezTo>
                <a:cubicBezTo>
                  <a:pt x="73" y="22"/>
                  <a:pt x="73" y="22"/>
                  <a:pt x="73" y="22"/>
                </a:cubicBezTo>
                <a:cubicBezTo>
                  <a:pt x="72" y="24"/>
                  <a:pt x="71" y="24"/>
                  <a:pt x="70" y="24"/>
                </a:cubicBezTo>
                <a:cubicBezTo>
                  <a:pt x="68" y="24"/>
                  <a:pt x="67" y="22"/>
                  <a:pt x="67" y="22"/>
                </a:cubicBezTo>
                <a:cubicBezTo>
                  <a:pt x="66" y="22"/>
                  <a:pt x="66" y="21"/>
                  <a:pt x="66" y="21"/>
                </a:cubicBezTo>
                <a:cubicBezTo>
                  <a:pt x="66" y="18"/>
                  <a:pt x="66" y="18"/>
                  <a:pt x="66" y="18"/>
                </a:cubicBezTo>
                <a:cubicBezTo>
                  <a:pt x="65" y="18"/>
                  <a:pt x="65" y="17"/>
                  <a:pt x="65" y="16"/>
                </a:cubicBezTo>
                <a:cubicBezTo>
                  <a:pt x="65" y="13"/>
                  <a:pt x="65" y="13"/>
                  <a:pt x="65" y="13"/>
                </a:cubicBezTo>
                <a:cubicBezTo>
                  <a:pt x="64" y="13"/>
                  <a:pt x="64" y="13"/>
                  <a:pt x="64" y="13"/>
                </a:cubicBezTo>
                <a:cubicBezTo>
                  <a:pt x="63" y="15"/>
                  <a:pt x="63" y="15"/>
                  <a:pt x="63" y="15"/>
                </a:cubicBezTo>
                <a:cubicBezTo>
                  <a:pt x="63" y="16"/>
                  <a:pt x="62" y="17"/>
                  <a:pt x="59" y="18"/>
                </a:cubicBezTo>
                <a:cubicBezTo>
                  <a:pt x="58" y="18"/>
                  <a:pt x="58" y="18"/>
                  <a:pt x="58" y="18"/>
                </a:cubicBezTo>
                <a:cubicBezTo>
                  <a:pt x="53" y="18"/>
                  <a:pt x="53" y="18"/>
                  <a:pt x="53" y="18"/>
                </a:cubicBezTo>
                <a:cubicBezTo>
                  <a:pt x="52" y="18"/>
                  <a:pt x="52" y="18"/>
                  <a:pt x="52" y="18"/>
                </a:cubicBezTo>
                <a:cubicBezTo>
                  <a:pt x="50" y="16"/>
                  <a:pt x="50" y="16"/>
                  <a:pt x="50" y="16"/>
                </a:cubicBezTo>
                <a:cubicBezTo>
                  <a:pt x="49" y="16"/>
                  <a:pt x="49" y="15"/>
                  <a:pt x="49" y="15"/>
                </a:cubicBezTo>
                <a:cubicBezTo>
                  <a:pt x="49" y="13"/>
                  <a:pt x="49" y="13"/>
                  <a:pt x="49" y="13"/>
                </a:cubicBezTo>
                <a:cubicBezTo>
                  <a:pt x="48" y="12"/>
                  <a:pt x="48" y="12"/>
                  <a:pt x="48" y="12"/>
                </a:cubicBezTo>
                <a:cubicBezTo>
                  <a:pt x="44" y="12"/>
                  <a:pt x="44" y="12"/>
                  <a:pt x="44" y="12"/>
                </a:cubicBezTo>
                <a:cubicBezTo>
                  <a:pt x="43" y="12"/>
                  <a:pt x="42" y="13"/>
                  <a:pt x="40" y="12"/>
                </a:cubicBezTo>
                <a:cubicBezTo>
                  <a:pt x="40" y="12"/>
                  <a:pt x="40" y="12"/>
                  <a:pt x="40" y="12"/>
                </a:cubicBezTo>
                <a:cubicBezTo>
                  <a:pt x="39" y="12"/>
                  <a:pt x="39" y="12"/>
                  <a:pt x="39" y="12"/>
                </a:cubicBezTo>
                <a:cubicBezTo>
                  <a:pt x="35" y="12"/>
                  <a:pt x="35" y="12"/>
                  <a:pt x="35" y="12"/>
                </a:cubicBezTo>
                <a:cubicBezTo>
                  <a:pt x="34" y="12"/>
                  <a:pt x="33" y="11"/>
                  <a:pt x="33" y="10"/>
                </a:cubicBezTo>
                <a:cubicBezTo>
                  <a:pt x="33" y="1"/>
                  <a:pt x="33" y="1"/>
                  <a:pt x="33" y="1"/>
                </a:cubicBezTo>
                <a:cubicBezTo>
                  <a:pt x="33" y="0"/>
                  <a:pt x="33" y="0"/>
                  <a:pt x="33" y="0"/>
                </a:cubicBezTo>
                <a:cubicBezTo>
                  <a:pt x="31" y="2"/>
                  <a:pt x="31" y="2"/>
                  <a:pt x="31" y="2"/>
                </a:cubicBezTo>
                <a:cubicBezTo>
                  <a:pt x="27" y="2"/>
                  <a:pt x="27" y="2"/>
                  <a:pt x="27" y="2"/>
                </a:cubicBezTo>
                <a:cubicBezTo>
                  <a:pt x="17" y="1"/>
                  <a:pt x="17" y="1"/>
                  <a:pt x="17" y="1"/>
                </a:cubicBezTo>
                <a:cubicBezTo>
                  <a:pt x="12" y="1"/>
                  <a:pt x="12" y="1"/>
                  <a:pt x="12" y="1"/>
                </a:cubicBezTo>
                <a:cubicBezTo>
                  <a:pt x="12" y="4"/>
                  <a:pt x="12" y="4"/>
                  <a:pt x="12" y="4"/>
                </a:cubicBezTo>
                <a:cubicBezTo>
                  <a:pt x="12" y="5"/>
                  <a:pt x="12" y="5"/>
                  <a:pt x="11" y="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7DCD5CB8-879F-4B98-9003-E874D71388EC}"/>
              </a:ext>
            </a:extLst>
          </p:cNvPr>
          <p:cNvSpPr>
            <a:spLocks/>
          </p:cNvSpPr>
          <p:nvPr/>
        </p:nvSpPr>
        <p:spPr bwMode="auto">
          <a:xfrm>
            <a:off x="4732351" y="3011019"/>
            <a:ext cx="479822" cy="258763"/>
          </a:xfrm>
          <a:custGeom>
            <a:avLst/>
            <a:gdLst>
              <a:gd name="T0" fmla="*/ 164 w 199"/>
              <a:gd name="T1" fmla="*/ 106 h 116"/>
              <a:gd name="T2" fmla="*/ 171 w 199"/>
              <a:gd name="T3" fmla="*/ 99 h 116"/>
              <a:gd name="T4" fmla="*/ 183 w 199"/>
              <a:gd name="T5" fmla="*/ 97 h 116"/>
              <a:gd name="T6" fmla="*/ 187 w 199"/>
              <a:gd name="T7" fmla="*/ 93 h 116"/>
              <a:gd name="T8" fmla="*/ 192 w 199"/>
              <a:gd name="T9" fmla="*/ 88 h 116"/>
              <a:gd name="T10" fmla="*/ 194 w 199"/>
              <a:gd name="T11" fmla="*/ 82 h 116"/>
              <a:gd name="T12" fmla="*/ 190 w 199"/>
              <a:gd name="T13" fmla="*/ 73 h 116"/>
              <a:gd name="T14" fmla="*/ 193 w 199"/>
              <a:gd name="T15" fmla="*/ 61 h 116"/>
              <a:gd name="T16" fmla="*/ 198 w 199"/>
              <a:gd name="T17" fmla="*/ 55 h 116"/>
              <a:gd name="T18" fmla="*/ 195 w 199"/>
              <a:gd name="T19" fmla="*/ 49 h 116"/>
              <a:gd name="T20" fmla="*/ 180 w 199"/>
              <a:gd name="T21" fmla="*/ 50 h 116"/>
              <a:gd name="T22" fmla="*/ 173 w 199"/>
              <a:gd name="T23" fmla="*/ 53 h 116"/>
              <a:gd name="T24" fmla="*/ 168 w 199"/>
              <a:gd name="T25" fmla="*/ 47 h 116"/>
              <a:gd name="T26" fmla="*/ 162 w 199"/>
              <a:gd name="T27" fmla="*/ 37 h 116"/>
              <a:gd name="T28" fmla="*/ 150 w 199"/>
              <a:gd name="T29" fmla="*/ 29 h 116"/>
              <a:gd name="T30" fmla="*/ 145 w 199"/>
              <a:gd name="T31" fmla="*/ 27 h 116"/>
              <a:gd name="T32" fmla="*/ 129 w 199"/>
              <a:gd name="T33" fmla="*/ 29 h 116"/>
              <a:gd name="T34" fmla="*/ 127 w 199"/>
              <a:gd name="T35" fmla="*/ 16 h 116"/>
              <a:gd name="T36" fmla="*/ 132 w 199"/>
              <a:gd name="T37" fmla="*/ 13 h 116"/>
              <a:gd name="T38" fmla="*/ 139 w 199"/>
              <a:gd name="T39" fmla="*/ 13 h 116"/>
              <a:gd name="T40" fmla="*/ 130 w 199"/>
              <a:gd name="T41" fmla="*/ 9 h 116"/>
              <a:gd name="T42" fmla="*/ 127 w 199"/>
              <a:gd name="T43" fmla="*/ 13 h 116"/>
              <a:gd name="T44" fmla="*/ 115 w 199"/>
              <a:gd name="T45" fmla="*/ 17 h 116"/>
              <a:gd name="T46" fmla="*/ 107 w 199"/>
              <a:gd name="T47" fmla="*/ 17 h 116"/>
              <a:gd name="T48" fmla="*/ 92 w 199"/>
              <a:gd name="T49" fmla="*/ 21 h 116"/>
              <a:gd name="T50" fmla="*/ 87 w 199"/>
              <a:gd name="T51" fmla="*/ 27 h 116"/>
              <a:gd name="T52" fmla="*/ 88 w 199"/>
              <a:gd name="T53" fmla="*/ 35 h 116"/>
              <a:gd name="T54" fmla="*/ 81 w 199"/>
              <a:gd name="T55" fmla="*/ 42 h 116"/>
              <a:gd name="T56" fmla="*/ 80 w 199"/>
              <a:gd name="T57" fmla="*/ 45 h 116"/>
              <a:gd name="T58" fmla="*/ 76 w 199"/>
              <a:gd name="T59" fmla="*/ 46 h 116"/>
              <a:gd name="T60" fmla="*/ 67 w 199"/>
              <a:gd name="T61" fmla="*/ 41 h 116"/>
              <a:gd name="T62" fmla="*/ 63 w 199"/>
              <a:gd name="T63" fmla="*/ 28 h 116"/>
              <a:gd name="T64" fmla="*/ 59 w 199"/>
              <a:gd name="T65" fmla="*/ 27 h 116"/>
              <a:gd name="T66" fmla="*/ 54 w 199"/>
              <a:gd name="T67" fmla="*/ 16 h 116"/>
              <a:gd name="T68" fmla="*/ 49 w 199"/>
              <a:gd name="T69" fmla="*/ 8 h 116"/>
              <a:gd name="T70" fmla="*/ 42 w 199"/>
              <a:gd name="T71" fmla="*/ 4 h 116"/>
              <a:gd name="T72" fmla="*/ 33 w 199"/>
              <a:gd name="T73" fmla="*/ 1 h 116"/>
              <a:gd name="T74" fmla="*/ 21 w 199"/>
              <a:gd name="T75" fmla="*/ 1 h 116"/>
              <a:gd name="T76" fmla="*/ 20 w 199"/>
              <a:gd name="T77" fmla="*/ 8 h 116"/>
              <a:gd name="T78" fmla="*/ 12 w 199"/>
              <a:gd name="T79" fmla="*/ 8 h 116"/>
              <a:gd name="T80" fmla="*/ 8 w 199"/>
              <a:gd name="T81" fmla="*/ 11 h 116"/>
              <a:gd name="T82" fmla="*/ 1 w 199"/>
              <a:gd name="T83" fmla="*/ 26 h 116"/>
              <a:gd name="T84" fmla="*/ 1 w 199"/>
              <a:gd name="T85" fmla="*/ 36 h 116"/>
              <a:gd name="T86" fmla="*/ 2 w 199"/>
              <a:gd name="T87" fmla="*/ 38 h 116"/>
              <a:gd name="T88" fmla="*/ 7 w 199"/>
              <a:gd name="T89" fmla="*/ 40 h 116"/>
              <a:gd name="T90" fmla="*/ 14 w 199"/>
              <a:gd name="T91" fmla="*/ 42 h 116"/>
              <a:gd name="T92" fmla="*/ 17 w 199"/>
              <a:gd name="T93" fmla="*/ 61 h 116"/>
              <a:gd name="T94" fmla="*/ 19 w 199"/>
              <a:gd name="T95" fmla="*/ 72 h 116"/>
              <a:gd name="T96" fmla="*/ 31 w 199"/>
              <a:gd name="T97" fmla="*/ 78 h 116"/>
              <a:gd name="T98" fmla="*/ 36 w 199"/>
              <a:gd name="T99" fmla="*/ 79 h 116"/>
              <a:gd name="T100" fmla="*/ 52 w 199"/>
              <a:gd name="T101" fmla="*/ 85 h 116"/>
              <a:gd name="T102" fmla="*/ 55 w 199"/>
              <a:gd name="T103" fmla="*/ 89 h 116"/>
              <a:gd name="T104" fmla="*/ 63 w 199"/>
              <a:gd name="T105" fmla="*/ 92 h 116"/>
              <a:gd name="T106" fmla="*/ 74 w 199"/>
              <a:gd name="T107" fmla="*/ 89 h 116"/>
              <a:gd name="T108" fmla="*/ 83 w 199"/>
              <a:gd name="T109" fmla="*/ 93 h 116"/>
              <a:gd name="T110" fmla="*/ 84 w 199"/>
              <a:gd name="T111" fmla="*/ 103 h 116"/>
              <a:gd name="T112" fmla="*/ 82 w 199"/>
              <a:gd name="T113" fmla="*/ 112 h 116"/>
              <a:gd name="T114" fmla="*/ 101 w 199"/>
              <a:gd name="T115" fmla="*/ 111 h 116"/>
              <a:gd name="T116" fmla="*/ 126 w 199"/>
              <a:gd name="T117" fmla="*/ 116 h 116"/>
              <a:gd name="T118" fmla="*/ 147 w 199"/>
              <a:gd name="T119" fmla="*/ 114 h 116"/>
              <a:gd name="T120" fmla="*/ 160 w 199"/>
              <a:gd name="T121" fmla="*/ 110 h 116"/>
              <a:gd name="T122" fmla="*/ 163 w 199"/>
              <a:gd name="T123" fmla="*/ 112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99" h="116">
                <a:moveTo>
                  <a:pt x="164" y="110"/>
                </a:moveTo>
                <a:cubicBezTo>
                  <a:pt x="164" y="109"/>
                  <a:pt x="164" y="109"/>
                  <a:pt x="164" y="109"/>
                </a:cubicBezTo>
                <a:cubicBezTo>
                  <a:pt x="164" y="108"/>
                  <a:pt x="164" y="107"/>
                  <a:pt x="164" y="106"/>
                </a:cubicBezTo>
                <a:cubicBezTo>
                  <a:pt x="163" y="104"/>
                  <a:pt x="164" y="102"/>
                  <a:pt x="165" y="101"/>
                </a:cubicBezTo>
                <a:cubicBezTo>
                  <a:pt x="167" y="100"/>
                  <a:pt x="170" y="99"/>
                  <a:pt x="171" y="99"/>
                </a:cubicBezTo>
                <a:cubicBezTo>
                  <a:pt x="171" y="99"/>
                  <a:pt x="171" y="99"/>
                  <a:pt x="171" y="99"/>
                </a:cubicBezTo>
                <a:cubicBezTo>
                  <a:pt x="180" y="99"/>
                  <a:pt x="180" y="99"/>
                  <a:pt x="180" y="99"/>
                </a:cubicBezTo>
                <a:cubicBezTo>
                  <a:pt x="181" y="99"/>
                  <a:pt x="181" y="99"/>
                  <a:pt x="181" y="99"/>
                </a:cubicBezTo>
                <a:cubicBezTo>
                  <a:pt x="182" y="98"/>
                  <a:pt x="182" y="97"/>
                  <a:pt x="183" y="97"/>
                </a:cubicBezTo>
                <a:cubicBezTo>
                  <a:pt x="183" y="97"/>
                  <a:pt x="183" y="97"/>
                  <a:pt x="183" y="97"/>
                </a:cubicBezTo>
                <a:cubicBezTo>
                  <a:pt x="183" y="96"/>
                  <a:pt x="183" y="95"/>
                  <a:pt x="184" y="95"/>
                </a:cubicBezTo>
                <a:cubicBezTo>
                  <a:pt x="187" y="93"/>
                  <a:pt x="187" y="93"/>
                  <a:pt x="187" y="93"/>
                </a:cubicBezTo>
                <a:cubicBezTo>
                  <a:pt x="190" y="91"/>
                  <a:pt x="190" y="91"/>
                  <a:pt x="190" y="91"/>
                </a:cubicBezTo>
                <a:cubicBezTo>
                  <a:pt x="190" y="91"/>
                  <a:pt x="191" y="91"/>
                  <a:pt x="191" y="90"/>
                </a:cubicBezTo>
                <a:cubicBezTo>
                  <a:pt x="192" y="89"/>
                  <a:pt x="192" y="88"/>
                  <a:pt x="192" y="88"/>
                </a:cubicBezTo>
                <a:cubicBezTo>
                  <a:pt x="192" y="87"/>
                  <a:pt x="194" y="86"/>
                  <a:pt x="195" y="85"/>
                </a:cubicBezTo>
                <a:cubicBezTo>
                  <a:pt x="196" y="85"/>
                  <a:pt x="197" y="84"/>
                  <a:pt x="197" y="84"/>
                </a:cubicBezTo>
                <a:cubicBezTo>
                  <a:pt x="194" y="82"/>
                  <a:pt x="194" y="82"/>
                  <a:pt x="194" y="82"/>
                </a:cubicBezTo>
                <a:cubicBezTo>
                  <a:pt x="193" y="82"/>
                  <a:pt x="193" y="82"/>
                  <a:pt x="193" y="82"/>
                </a:cubicBezTo>
                <a:cubicBezTo>
                  <a:pt x="192" y="82"/>
                  <a:pt x="191" y="81"/>
                  <a:pt x="191" y="80"/>
                </a:cubicBezTo>
                <a:cubicBezTo>
                  <a:pt x="191" y="78"/>
                  <a:pt x="190" y="74"/>
                  <a:pt x="190" y="73"/>
                </a:cubicBezTo>
                <a:cubicBezTo>
                  <a:pt x="190" y="69"/>
                  <a:pt x="190" y="69"/>
                  <a:pt x="190" y="69"/>
                </a:cubicBezTo>
                <a:cubicBezTo>
                  <a:pt x="190" y="68"/>
                  <a:pt x="191" y="65"/>
                  <a:pt x="191" y="64"/>
                </a:cubicBezTo>
                <a:cubicBezTo>
                  <a:pt x="193" y="61"/>
                  <a:pt x="193" y="61"/>
                  <a:pt x="193" y="61"/>
                </a:cubicBezTo>
                <a:cubicBezTo>
                  <a:pt x="195" y="56"/>
                  <a:pt x="195" y="56"/>
                  <a:pt x="195" y="56"/>
                </a:cubicBezTo>
                <a:cubicBezTo>
                  <a:pt x="195" y="55"/>
                  <a:pt x="196" y="55"/>
                  <a:pt x="197" y="55"/>
                </a:cubicBezTo>
                <a:cubicBezTo>
                  <a:pt x="198" y="55"/>
                  <a:pt x="198" y="55"/>
                  <a:pt x="198" y="55"/>
                </a:cubicBezTo>
                <a:cubicBezTo>
                  <a:pt x="199" y="54"/>
                  <a:pt x="199" y="54"/>
                  <a:pt x="199" y="54"/>
                </a:cubicBezTo>
                <a:cubicBezTo>
                  <a:pt x="199" y="50"/>
                  <a:pt x="199" y="50"/>
                  <a:pt x="199" y="50"/>
                </a:cubicBezTo>
                <a:cubicBezTo>
                  <a:pt x="195" y="49"/>
                  <a:pt x="195" y="49"/>
                  <a:pt x="195" y="49"/>
                </a:cubicBezTo>
                <a:cubicBezTo>
                  <a:pt x="185" y="49"/>
                  <a:pt x="185" y="49"/>
                  <a:pt x="185" y="49"/>
                </a:cubicBezTo>
                <a:cubicBezTo>
                  <a:pt x="183" y="49"/>
                  <a:pt x="183" y="49"/>
                  <a:pt x="183" y="49"/>
                </a:cubicBezTo>
                <a:cubicBezTo>
                  <a:pt x="182" y="49"/>
                  <a:pt x="180" y="50"/>
                  <a:pt x="180" y="50"/>
                </a:cubicBezTo>
                <a:cubicBezTo>
                  <a:pt x="179" y="52"/>
                  <a:pt x="178" y="54"/>
                  <a:pt x="175" y="53"/>
                </a:cubicBezTo>
                <a:cubicBezTo>
                  <a:pt x="174" y="53"/>
                  <a:pt x="174" y="53"/>
                  <a:pt x="174" y="53"/>
                </a:cubicBezTo>
                <a:cubicBezTo>
                  <a:pt x="173" y="53"/>
                  <a:pt x="173" y="53"/>
                  <a:pt x="173" y="53"/>
                </a:cubicBezTo>
                <a:cubicBezTo>
                  <a:pt x="169" y="51"/>
                  <a:pt x="169" y="51"/>
                  <a:pt x="169" y="51"/>
                </a:cubicBezTo>
                <a:cubicBezTo>
                  <a:pt x="168" y="50"/>
                  <a:pt x="168" y="50"/>
                  <a:pt x="168" y="49"/>
                </a:cubicBezTo>
                <a:cubicBezTo>
                  <a:pt x="168" y="47"/>
                  <a:pt x="168" y="47"/>
                  <a:pt x="168" y="47"/>
                </a:cubicBezTo>
                <a:cubicBezTo>
                  <a:pt x="165" y="43"/>
                  <a:pt x="165" y="43"/>
                  <a:pt x="165" y="43"/>
                </a:cubicBezTo>
                <a:cubicBezTo>
                  <a:pt x="165" y="43"/>
                  <a:pt x="165" y="43"/>
                  <a:pt x="164" y="42"/>
                </a:cubicBezTo>
                <a:cubicBezTo>
                  <a:pt x="162" y="37"/>
                  <a:pt x="162" y="37"/>
                  <a:pt x="162" y="37"/>
                </a:cubicBezTo>
                <a:cubicBezTo>
                  <a:pt x="162" y="36"/>
                  <a:pt x="160" y="33"/>
                  <a:pt x="160" y="30"/>
                </a:cubicBezTo>
                <a:cubicBezTo>
                  <a:pt x="159" y="30"/>
                  <a:pt x="158" y="30"/>
                  <a:pt x="158" y="30"/>
                </a:cubicBezTo>
                <a:cubicBezTo>
                  <a:pt x="156" y="30"/>
                  <a:pt x="151" y="29"/>
                  <a:pt x="150" y="29"/>
                </a:cubicBezTo>
                <a:cubicBezTo>
                  <a:pt x="150" y="29"/>
                  <a:pt x="149" y="29"/>
                  <a:pt x="149" y="28"/>
                </a:cubicBezTo>
                <a:cubicBezTo>
                  <a:pt x="148" y="27"/>
                  <a:pt x="148" y="27"/>
                  <a:pt x="148" y="27"/>
                </a:cubicBezTo>
                <a:cubicBezTo>
                  <a:pt x="145" y="27"/>
                  <a:pt x="145" y="27"/>
                  <a:pt x="145" y="27"/>
                </a:cubicBezTo>
                <a:cubicBezTo>
                  <a:pt x="144" y="27"/>
                  <a:pt x="141" y="28"/>
                  <a:pt x="139" y="28"/>
                </a:cubicBezTo>
                <a:cubicBezTo>
                  <a:pt x="137" y="30"/>
                  <a:pt x="134" y="30"/>
                  <a:pt x="133" y="30"/>
                </a:cubicBezTo>
                <a:cubicBezTo>
                  <a:pt x="130" y="30"/>
                  <a:pt x="129" y="29"/>
                  <a:pt x="129" y="29"/>
                </a:cubicBezTo>
                <a:cubicBezTo>
                  <a:pt x="128" y="29"/>
                  <a:pt x="128" y="29"/>
                  <a:pt x="128" y="28"/>
                </a:cubicBezTo>
                <a:cubicBezTo>
                  <a:pt x="126" y="22"/>
                  <a:pt x="126" y="22"/>
                  <a:pt x="126" y="22"/>
                </a:cubicBezTo>
                <a:cubicBezTo>
                  <a:pt x="126" y="21"/>
                  <a:pt x="126" y="19"/>
                  <a:pt x="127" y="16"/>
                </a:cubicBezTo>
                <a:cubicBezTo>
                  <a:pt x="128" y="15"/>
                  <a:pt x="128" y="14"/>
                  <a:pt x="129" y="14"/>
                </a:cubicBezTo>
                <a:cubicBezTo>
                  <a:pt x="129" y="14"/>
                  <a:pt x="129" y="14"/>
                  <a:pt x="129" y="14"/>
                </a:cubicBezTo>
                <a:cubicBezTo>
                  <a:pt x="130" y="13"/>
                  <a:pt x="132" y="12"/>
                  <a:pt x="132" y="13"/>
                </a:cubicBezTo>
                <a:cubicBezTo>
                  <a:pt x="133" y="13"/>
                  <a:pt x="133" y="13"/>
                  <a:pt x="134" y="13"/>
                </a:cubicBezTo>
                <a:cubicBezTo>
                  <a:pt x="135" y="13"/>
                  <a:pt x="137" y="12"/>
                  <a:pt x="138" y="13"/>
                </a:cubicBezTo>
                <a:cubicBezTo>
                  <a:pt x="139" y="13"/>
                  <a:pt x="139" y="13"/>
                  <a:pt x="139" y="13"/>
                </a:cubicBezTo>
                <a:cubicBezTo>
                  <a:pt x="134" y="11"/>
                  <a:pt x="134" y="11"/>
                  <a:pt x="134" y="11"/>
                </a:cubicBezTo>
                <a:cubicBezTo>
                  <a:pt x="134" y="11"/>
                  <a:pt x="134" y="11"/>
                  <a:pt x="134" y="11"/>
                </a:cubicBezTo>
                <a:cubicBezTo>
                  <a:pt x="130" y="9"/>
                  <a:pt x="130" y="9"/>
                  <a:pt x="130" y="9"/>
                </a:cubicBezTo>
                <a:cubicBezTo>
                  <a:pt x="128" y="8"/>
                  <a:pt x="128" y="8"/>
                  <a:pt x="128" y="8"/>
                </a:cubicBezTo>
                <a:cubicBezTo>
                  <a:pt x="127" y="8"/>
                  <a:pt x="127" y="8"/>
                  <a:pt x="127" y="8"/>
                </a:cubicBezTo>
                <a:cubicBezTo>
                  <a:pt x="127" y="10"/>
                  <a:pt x="127" y="12"/>
                  <a:pt x="127" y="13"/>
                </a:cubicBezTo>
                <a:cubicBezTo>
                  <a:pt x="127" y="14"/>
                  <a:pt x="126" y="15"/>
                  <a:pt x="120" y="17"/>
                </a:cubicBezTo>
                <a:cubicBezTo>
                  <a:pt x="119" y="17"/>
                  <a:pt x="119" y="17"/>
                  <a:pt x="119" y="17"/>
                </a:cubicBezTo>
                <a:cubicBezTo>
                  <a:pt x="115" y="17"/>
                  <a:pt x="115" y="17"/>
                  <a:pt x="115" y="17"/>
                </a:cubicBezTo>
                <a:cubicBezTo>
                  <a:pt x="114" y="18"/>
                  <a:pt x="112" y="18"/>
                  <a:pt x="109" y="17"/>
                </a:cubicBezTo>
                <a:cubicBezTo>
                  <a:pt x="108" y="17"/>
                  <a:pt x="108" y="17"/>
                  <a:pt x="107" y="17"/>
                </a:cubicBezTo>
                <a:cubicBezTo>
                  <a:pt x="107" y="17"/>
                  <a:pt x="107" y="17"/>
                  <a:pt x="107" y="17"/>
                </a:cubicBezTo>
                <a:cubicBezTo>
                  <a:pt x="100" y="19"/>
                  <a:pt x="100" y="19"/>
                  <a:pt x="100" y="19"/>
                </a:cubicBezTo>
                <a:cubicBezTo>
                  <a:pt x="92" y="20"/>
                  <a:pt x="92" y="20"/>
                  <a:pt x="92" y="20"/>
                </a:cubicBezTo>
                <a:cubicBezTo>
                  <a:pt x="92" y="21"/>
                  <a:pt x="92" y="21"/>
                  <a:pt x="92" y="21"/>
                </a:cubicBezTo>
                <a:cubicBezTo>
                  <a:pt x="92" y="22"/>
                  <a:pt x="92" y="22"/>
                  <a:pt x="91" y="23"/>
                </a:cubicBezTo>
                <a:cubicBezTo>
                  <a:pt x="90" y="23"/>
                  <a:pt x="90" y="24"/>
                  <a:pt x="89" y="24"/>
                </a:cubicBezTo>
                <a:cubicBezTo>
                  <a:pt x="89" y="25"/>
                  <a:pt x="88" y="26"/>
                  <a:pt x="87" y="27"/>
                </a:cubicBezTo>
                <a:cubicBezTo>
                  <a:pt x="88" y="28"/>
                  <a:pt x="88" y="30"/>
                  <a:pt x="87" y="32"/>
                </a:cubicBezTo>
                <a:cubicBezTo>
                  <a:pt x="87" y="33"/>
                  <a:pt x="87" y="33"/>
                  <a:pt x="87" y="33"/>
                </a:cubicBezTo>
                <a:cubicBezTo>
                  <a:pt x="87" y="34"/>
                  <a:pt x="87" y="34"/>
                  <a:pt x="88" y="35"/>
                </a:cubicBezTo>
                <a:cubicBezTo>
                  <a:pt x="88" y="36"/>
                  <a:pt x="87" y="37"/>
                  <a:pt x="87" y="37"/>
                </a:cubicBezTo>
                <a:cubicBezTo>
                  <a:pt x="85" y="39"/>
                  <a:pt x="83" y="39"/>
                  <a:pt x="82" y="38"/>
                </a:cubicBezTo>
                <a:cubicBezTo>
                  <a:pt x="82" y="39"/>
                  <a:pt x="81" y="40"/>
                  <a:pt x="81" y="42"/>
                </a:cubicBezTo>
                <a:cubicBezTo>
                  <a:pt x="81" y="42"/>
                  <a:pt x="81" y="43"/>
                  <a:pt x="80" y="43"/>
                </a:cubicBezTo>
                <a:cubicBezTo>
                  <a:pt x="80" y="43"/>
                  <a:pt x="80" y="43"/>
                  <a:pt x="80" y="43"/>
                </a:cubicBezTo>
                <a:cubicBezTo>
                  <a:pt x="81" y="43"/>
                  <a:pt x="81" y="44"/>
                  <a:pt x="80" y="45"/>
                </a:cubicBezTo>
                <a:cubicBezTo>
                  <a:pt x="79" y="46"/>
                  <a:pt x="78" y="46"/>
                  <a:pt x="77" y="46"/>
                </a:cubicBezTo>
                <a:cubicBezTo>
                  <a:pt x="77" y="46"/>
                  <a:pt x="77" y="46"/>
                  <a:pt x="77" y="46"/>
                </a:cubicBezTo>
                <a:cubicBezTo>
                  <a:pt x="76" y="46"/>
                  <a:pt x="76" y="46"/>
                  <a:pt x="76" y="46"/>
                </a:cubicBezTo>
                <a:cubicBezTo>
                  <a:pt x="75" y="46"/>
                  <a:pt x="75" y="46"/>
                  <a:pt x="75" y="46"/>
                </a:cubicBezTo>
                <a:cubicBezTo>
                  <a:pt x="75" y="46"/>
                  <a:pt x="71" y="44"/>
                  <a:pt x="70" y="44"/>
                </a:cubicBezTo>
                <a:cubicBezTo>
                  <a:pt x="68" y="43"/>
                  <a:pt x="68" y="41"/>
                  <a:pt x="67" y="41"/>
                </a:cubicBezTo>
                <a:cubicBezTo>
                  <a:pt x="63" y="34"/>
                  <a:pt x="63" y="34"/>
                  <a:pt x="63" y="34"/>
                </a:cubicBezTo>
                <a:cubicBezTo>
                  <a:pt x="63" y="33"/>
                  <a:pt x="63" y="33"/>
                  <a:pt x="63" y="33"/>
                </a:cubicBezTo>
                <a:cubicBezTo>
                  <a:pt x="63" y="31"/>
                  <a:pt x="63" y="29"/>
                  <a:pt x="63" y="28"/>
                </a:cubicBezTo>
                <a:cubicBezTo>
                  <a:pt x="63" y="28"/>
                  <a:pt x="63" y="28"/>
                  <a:pt x="63" y="27"/>
                </a:cubicBezTo>
                <a:cubicBezTo>
                  <a:pt x="60" y="27"/>
                  <a:pt x="60" y="27"/>
                  <a:pt x="60" y="27"/>
                </a:cubicBezTo>
                <a:cubicBezTo>
                  <a:pt x="59" y="27"/>
                  <a:pt x="59" y="27"/>
                  <a:pt x="59" y="27"/>
                </a:cubicBezTo>
                <a:cubicBezTo>
                  <a:pt x="55" y="21"/>
                  <a:pt x="55" y="21"/>
                  <a:pt x="55" y="21"/>
                </a:cubicBezTo>
                <a:cubicBezTo>
                  <a:pt x="54" y="21"/>
                  <a:pt x="54" y="20"/>
                  <a:pt x="54" y="20"/>
                </a:cubicBezTo>
                <a:cubicBezTo>
                  <a:pt x="54" y="16"/>
                  <a:pt x="54" y="16"/>
                  <a:pt x="54" y="16"/>
                </a:cubicBezTo>
                <a:cubicBezTo>
                  <a:pt x="53" y="14"/>
                  <a:pt x="53" y="14"/>
                  <a:pt x="53" y="14"/>
                </a:cubicBezTo>
                <a:cubicBezTo>
                  <a:pt x="53" y="14"/>
                  <a:pt x="51" y="11"/>
                  <a:pt x="50" y="9"/>
                </a:cubicBezTo>
                <a:cubicBezTo>
                  <a:pt x="50" y="9"/>
                  <a:pt x="50" y="9"/>
                  <a:pt x="49" y="8"/>
                </a:cubicBezTo>
                <a:cubicBezTo>
                  <a:pt x="49" y="8"/>
                  <a:pt x="47" y="7"/>
                  <a:pt x="46" y="7"/>
                </a:cubicBezTo>
                <a:cubicBezTo>
                  <a:pt x="46" y="7"/>
                  <a:pt x="46" y="7"/>
                  <a:pt x="46" y="7"/>
                </a:cubicBezTo>
                <a:cubicBezTo>
                  <a:pt x="42" y="4"/>
                  <a:pt x="42" y="4"/>
                  <a:pt x="42" y="4"/>
                </a:cubicBezTo>
                <a:cubicBezTo>
                  <a:pt x="41" y="3"/>
                  <a:pt x="41" y="3"/>
                  <a:pt x="41" y="3"/>
                </a:cubicBezTo>
                <a:cubicBezTo>
                  <a:pt x="39" y="3"/>
                  <a:pt x="39" y="2"/>
                  <a:pt x="38" y="1"/>
                </a:cubicBezTo>
                <a:cubicBezTo>
                  <a:pt x="33" y="1"/>
                  <a:pt x="33" y="1"/>
                  <a:pt x="33" y="1"/>
                </a:cubicBezTo>
                <a:cubicBezTo>
                  <a:pt x="33" y="1"/>
                  <a:pt x="31" y="1"/>
                  <a:pt x="29" y="1"/>
                </a:cubicBezTo>
                <a:cubicBezTo>
                  <a:pt x="28" y="0"/>
                  <a:pt x="26" y="1"/>
                  <a:pt x="26" y="1"/>
                </a:cubicBezTo>
                <a:cubicBezTo>
                  <a:pt x="21" y="1"/>
                  <a:pt x="21" y="1"/>
                  <a:pt x="21" y="1"/>
                </a:cubicBezTo>
                <a:cubicBezTo>
                  <a:pt x="21" y="1"/>
                  <a:pt x="21" y="1"/>
                  <a:pt x="21" y="1"/>
                </a:cubicBezTo>
                <a:cubicBezTo>
                  <a:pt x="22" y="3"/>
                  <a:pt x="22" y="3"/>
                  <a:pt x="22" y="3"/>
                </a:cubicBezTo>
                <a:cubicBezTo>
                  <a:pt x="22" y="5"/>
                  <a:pt x="20" y="7"/>
                  <a:pt x="20" y="8"/>
                </a:cubicBezTo>
                <a:cubicBezTo>
                  <a:pt x="19" y="8"/>
                  <a:pt x="19" y="8"/>
                  <a:pt x="18" y="8"/>
                </a:cubicBezTo>
                <a:cubicBezTo>
                  <a:pt x="13" y="8"/>
                  <a:pt x="13" y="8"/>
                  <a:pt x="13" y="8"/>
                </a:cubicBezTo>
                <a:cubicBezTo>
                  <a:pt x="12" y="8"/>
                  <a:pt x="12" y="8"/>
                  <a:pt x="12" y="8"/>
                </a:cubicBezTo>
                <a:cubicBezTo>
                  <a:pt x="10" y="10"/>
                  <a:pt x="8" y="10"/>
                  <a:pt x="8" y="10"/>
                </a:cubicBezTo>
                <a:cubicBezTo>
                  <a:pt x="8" y="10"/>
                  <a:pt x="8" y="10"/>
                  <a:pt x="8" y="10"/>
                </a:cubicBezTo>
                <a:cubicBezTo>
                  <a:pt x="8" y="11"/>
                  <a:pt x="8" y="11"/>
                  <a:pt x="8" y="11"/>
                </a:cubicBezTo>
                <a:cubicBezTo>
                  <a:pt x="8" y="12"/>
                  <a:pt x="8" y="13"/>
                  <a:pt x="4" y="17"/>
                </a:cubicBezTo>
                <a:cubicBezTo>
                  <a:pt x="3" y="18"/>
                  <a:pt x="1" y="19"/>
                  <a:pt x="0" y="20"/>
                </a:cubicBezTo>
                <a:cubicBezTo>
                  <a:pt x="1" y="26"/>
                  <a:pt x="1" y="26"/>
                  <a:pt x="1" y="26"/>
                </a:cubicBezTo>
                <a:cubicBezTo>
                  <a:pt x="1" y="27"/>
                  <a:pt x="1" y="27"/>
                  <a:pt x="0" y="28"/>
                </a:cubicBezTo>
                <a:cubicBezTo>
                  <a:pt x="0" y="28"/>
                  <a:pt x="0" y="28"/>
                  <a:pt x="1" y="29"/>
                </a:cubicBezTo>
                <a:cubicBezTo>
                  <a:pt x="1" y="32"/>
                  <a:pt x="1" y="35"/>
                  <a:pt x="1" y="36"/>
                </a:cubicBezTo>
                <a:cubicBezTo>
                  <a:pt x="1" y="37"/>
                  <a:pt x="1" y="37"/>
                  <a:pt x="1" y="37"/>
                </a:cubicBezTo>
                <a:cubicBezTo>
                  <a:pt x="1" y="37"/>
                  <a:pt x="1" y="37"/>
                  <a:pt x="1" y="37"/>
                </a:cubicBezTo>
                <a:cubicBezTo>
                  <a:pt x="1" y="37"/>
                  <a:pt x="1" y="37"/>
                  <a:pt x="2" y="38"/>
                </a:cubicBezTo>
                <a:cubicBezTo>
                  <a:pt x="4" y="41"/>
                  <a:pt x="4" y="41"/>
                  <a:pt x="4" y="41"/>
                </a:cubicBezTo>
                <a:cubicBezTo>
                  <a:pt x="6" y="40"/>
                  <a:pt x="6" y="40"/>
                  <a:pt x="6" y="40"/>
                </a:cubicBezTo>
                <a:cubicBezTo>
                  <a:pt x="6" y="40"/>
                  <a:pt x="6" y="40"/>
                  <a:pt x="7" y="40"/>
                </a:cubicBezTo>
                <a:cubicBezTo>
                  <a:pt x="11" y="40"/>
                  <a:pt x="11" y="40"/>
                  <a:pt x="11" y="40"/>
                </a:cubicBezTo>
                <a:cubicBezTo>
                  <a:pt x="12" y="40"/>
                  <a:pt x="12" y="40"/>
                  <a:pt x="13" y="40"/>
                </a:cubicBezTo>
                <a:cubicBezTo>
                  <a:pt x="14" y="42"/>
                  <a:pt x="14" y="42"/>
                  <a:pt x="14" y="42"/>
                </a:cubicBezTo>
                <a:cubicBezTo>
                  <a:pt x="15" y="43"/>
                  <a:pt x="15" y="43"/>
                  <a:pt x="15" y="43"/>
                </a:cubicBezTo>
                <a:cubicBezTo>
                  <a:pt x="15" y="51"/>
                  <a:pt x="15" y="51"/>
                  <a:pt x="15" y="51"/>
                </a:cubicBezTo>
                <a:cubicBezTo>
                  <a:pt x="17" y="61"/>
                  <a:pt x="17" y="61"/>
                  <a:pt x="17" y="61"/>
                </a:cubicBezTo>
                <a:cubicBezTo>
                  <a:pt x="19" y="68"/>
                  <a:pt x="19" y="68"/>
                  <a:pt x="19" y="68"/>
                </a:cubicBezTo>
                <a:cubicBezTo>
                  <a:pt x="19" y="68"/>
                  <a:pt x="19" y="68"/>
                  <a:pt x="19" y="69"/>
                </a:cubicBezTo>
                <a:cubicBezTo>
                  <a:pt x="19" y="72"/>
                  <a:pt x="19" y="72"/>
                  <a:pt x="19" y="72"/>
                </a:cubicBezTo>
                <a:cubicBezTo>
                  <a:pt x="26" y="76"/>
                  <a:pt x="26" y="76"/>
                  <a:pt x="26" y="76"/>
                </a:cubicBezTo>
                <a:cubicBezTo>
                  <a:pt x="31" y="77"/>
                  <a:pt x="31" y="77"/>
                  <a:pt x="31" y="77"/>
                </a:cubicBezTo>
                <a:cubicBezTo>
                  <a:pt x="31" y="78"/>
                  <a:pt x="31" y="78"/>
                  <a:pt x="31" y="78"/>
                </a:cubicBezTo>
                <a:cubicBezTo>
                  <a:pt x="33" y="79"/>
                  <a:pt x="33" y="79"/>
                  <a:pt x="33" y="79"/>
                </a:cubicBezTo>
                <a:cubicBezTo>
                  <a:pt x="35" y="79"/>
                  <a:pt x="35" y="79"/>
                  <a:pt x="35" y="79"/>
                </a:cubicBezTo>
                <a:cubicBezTo>
                  <a:pt x="36" y="79"/>
                  <a:pt x="36" y="79"/>
                  <a:pt x="36" y="79"/>
                </a:cubicBezTo>
                <a:cubicBezTo>
                  <a:pt x="37" y="79"/>
                  <a:pt x="37" y="79"/>
                  <a:pt x="40" y="79"/>
                </a:cubicBezTo>
                <a:cubicBezTo>
                  <a:pt x="40" y="79"/>
                  <a:pt x="50" y="81"/>
                  <a:pt x="51" y="85"/>
                </a:cubicBezTo>
                <a:cubicBezTo>
                  <a:pt x="51" y="85"/>
                  <a:pt x="51" y="85"/>
                  <a:pt x="52" y="85"/>
                </a:cubicBezTo>
                <a:cubicBezTo>
                  <a:pt x="52" y="86"/>
                  <a:pt x="53" y="87"/>
                  <a:pt x="54" y="88"/>
                </a:cubicBezTo>
                <a:cubicBezTo>
                  <a:pt x="54" y="89"/>
                  <a:pt x="54" y="89"/>
                  <a:pt x="54" y="89"/>
                </a:cubicBezTo>
                <a:cubicBezTo>
                  <a:pt x="55" y="89"/>
                  <a:pt x="55" y="89"/>
                  <a:pt x="55" y="89"/>
                </a:cubicBezTo>
                <a:cubicBezTo>
                  <a:pt x="57" y="89"/>
                  <a:pt x="59" y="89"/>
                  <a:pt x="59" y="89"/>
                </a:cubicBezTo>
                <a:cubicBezTo>
                  <a:pt x="60" y="89"/>
                  <a:pt x="60" y="90"/>
                  <a:pt x="60" y="90"/>
                </a:cubicBezTo>
                <a:cubicBezTo>
                  <a:pt x="63" y="92"/>
                  <a:pt x="63" y="92"/>
                  <a:pt x="63" y="92"/>
                </a:cubicBezTo>
                <a:cubicBezTo>
                  <a:pt x="64" y="91"/>
                  <a:pt x="64" y="91"/>
                  <a:pt x="64" y="91"/>
                </a:cubicBezTo>
                <a:cubicBezTo>
                  <a:pt x="65" y="91"/>
                  <a:pt x="67" y="88"/>
                  <a:pt x="70" y="89"/>
                </a:cubicBezTo>
                <a:cubicBezTo>
                  <a:pt x="71" y="89"/>
                  <a:pt x="73" y="89"/>
                  <a:pt x="74" y="89"/>
                </a:cubicBezTo>
                <a:cubicBezTo>
                  <a:pt x="79" y="90"/>
                  <a:pt x="79" y="90"/>
                  <a:pt x="79" y="90"/>
                </a:cubicBezTo>
                <a:cubicBezTo>
                  <a:pt x="80" y="90"/>
                  <a:pt x="80" y="90"/>
                  <a:pt x="80" y="90"/>
                </a:cubicBezTo>
                <a:cubicBezTo>
                  <a:pt x="83" y="93"/>
                  <a:pt x="83" y="93"/>
                  <a:pt x="83" y="93"/>
                </a:cubicBezTo>
                <a:cubicBezTo>
                  <a:pt x="84" y="93"/>
                  <a:pt x="84" y="94"/>
                  <a:pt x="84" y="95"/>
                </a:cubicBezTo>
                <a:cubicBezTo>
                  <a:pt x="84" y="95"/>
                  <a:pt x="84" y="96"/>
                  <a:pt x="84" y="97"/>
                </a:cubicBezTo>
                <a:cubicBezTo>
                  <a:pt x="84" y="98"/>
                  <a:pt x="84" y="101"/>
                  <a:pt x="84" y="103"/>
                </a:cubicBezTo>
                <a:cubicBezTo>
                  <a:pt x="84" y="109"/>
                  <a:pt x="84" y="109"/>
                  <a:pt x="84" y="109"/>
                </a:cubicBezTo>
                <a:cubicBezTo>
                  <a:pt x="84" y="112"/>
                  <a:pt x="84" y="112"/>
                  <a:pt x="84" y="112"/>
                </a:cubicBezTo>
                <a:cubicBezTo>
                  <a:pt x="82" y="112"/>
                  <a:pt x="82" y="112"/>
                  <a:pt x="82" y="112"/>
                </a:cubicBezTo>
                <a:cubicBezTo>
                  <a:pt x="98" y="111"/>
                  <a:pt x="98" y="111"/>
                  <a:pt x="98" y="111"/>
                </a:cubicBezTo>
                <a:cubicBezTo>
                  <a:pt x="99" y="111"/>
                  <a:pt x="99" y="111"/>
                  <a:pt x="99" y="111"/>
                </a:cubicBezTo>
                <a:cubicBezTo>
                  <a:pt x="101" y="111"/>
                  <a:pt x="101" y="111"/>
                  <a:pt x="101" y="111"/>
                </a:cubicBezTo>
                <a:cubicBezTo>
                  <a:pt x="103" y="112"/>
                  <a:pt x="103" y="112"/>
                  <a:pt x="103" y="112"/>
                </a:cubicBezTo>
                <a:cubicBezTo>
                  <a:pt x="113" y="114"/>
                  <a:pt x="113" y="114"/>
                  <a:pt x="113" y="114"/>
                </a:cubicBezTo>
                <a:cubicBezTo>
                  <a:pt x="126" y="116"/>
                  <a:pt x="126" y="116"/>
                  <a:pt x="126" y="116"/>
                </a:cubicBezTo>
                <a:cubicBezTo>
                  <a:pt x="142" y="116"/>
                  <a:pt x="142" y="116"/>
                  <a:pt x="142" y="116"/>
                </a:cubicBezTo>
                <a:cubicBezTo>
                  <a:pt x="143" y="115"/>
                  <a:pt x="143" y="115"/>
                  <a:pt x="143" y="115"/>
                </a:cubicBezTo>
                <a:cubicBezTo>
                  <a:pt x="147" y="114"/>
                  <a:pt x="147" y="114"/>
                  <a:pt x="147" y="114"/>
                </a:cubicBezTo>
                <a:cubicBezTo>
                  <a:pt x="157" y="110"/>
                  <a:pt x="157" y="110"/>
                  <a:pt x="157" y="110"/>
                </a:cubicBezTo>
                <a:cubicBezTo>
                  <a:pt x="160" y="110"/>
                  <a:pt x="160" y="110"/>
                  <a:pt x="160" y="110"/>
                </a:cubicBezTo>
                <a:cubicBezTo>
                  <a:pt x="160" y="110"/>
                  <a:pt x="160" y="110"/>
                  <a:pt x="160" y="110"/>
                </a:cubicBezTo>
                <a:cubicBezTo>
                  <a:pt x="161" y="111"/>
                  <a:pt x="161" y="111"/>
                  <a:pt x="161" y="111"/>
                </a:cubicBezTo>
                <a:cubicBezTo>
                  <a:pt x="161" y="113"/>
                  <a:pt x="161" y="113"/>
                  <a:pt x="161" y="113"/>
                </a:cubicBezTo>
                <a:cubicBezTo>
                  <a:pt x="163" y="112"/>
                  <a:pt x="163" y="112"/>
                  <a:pt x="163" y="112"/>
                </a:cubicBezTo>
                <a:cubicBezTo>
                  <a:pt x="163" y="111"/>
                  <a:pt x="164" y="110"/>
                  <a:pt x="164" y="11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Freeform 9">
            <a:extLst>
              <a:ext uri="{FF2B5EF4-FFF2-40B4-BE49-F238E27FC236}">
                <a16:creationId xmlns:a16="http://schemas.microsoft.com/office/drawing/2014/main" id="{E5644C7F-BA8F-46C4-A9D8-E56E1052CEF2}"/>
              </a:ext>
            </a:extLst>
          </p:cNvPr>
          <p:cNvSpPr>
            <a:spLocks/>
          </p:cNvSpPr>
          <p:nvPr/>
        </p:nvSpPr>
        <p:spPr bwMode="auto">
          <a:xfrm>
            <a:off x="4691076" y="5060479"/>
            <a:ext cx="484982" cy="228600"/>
          </a:xfrm>
          <a:custGeom>
            <a:avLst/>
            <a:gdLst>
              <a:gd name="T0" fmla="*/ 198 w 201"/>
              <a:gd name="T1" fmla="*/ 59 h 102"/>
              <a:gd name="T2" fmla="*/ 193 w 201"/>
              <a:gd name="T3" fmla="*/ 57 h 102"/>
              <a:gd name="T4" fmla="*/ 186 w 201"/>
              <a:gd name="T5" fmla="*/ 57 h 102"/>
              <a:gd name="T6" fmla="*/ 178 w 201"/>
              <a:gd name="T7" fmla="*/ 50 h 102"/>
              <a:gd name="T8" fmla="*/ 175 w 201"/>
              <a:gd name="T9" fmla="*/ 40 h 102"/>
              <a:gd name="T10" fmla="*/ 177 w 201"/>
              <a:gd name="T11" fmla="*/ 35 h 102"/>
              <a:gd name="T12" fmla="*/ 177 w 201"/>
              <a:gd name="T13" fmla="*/ 32 h 102"/>
              <a:gd name="T14" fmla="*/ 176 w 201"/>
              <a:gd name="T15" fmla="*/ 21 h 102"/>
              <a:gd name="T16" fmla="*/ 173 w 201"/>
              <a:gd name="T17" fmla="*/ 17 h 102"/>
              <a:gd name="T18" fmla="*/ 168 w 201"/>
              <a:gd name="T19" fmla="*/ 13 h 102"/>
              <a:gd name="T20" fmla="*/ 166 w 201"/>
              <a:gd name="T21" fmla="*/ 8 h 102"/>
              <a:gd name="T22" fmla="*/ 164 w 201"/>
              <a:gd name="T23" fmla="*/ 6 h 102"/>
              <a:gd name="T24" fmla="*/ 158 w 201"/>
              <a:gd name="T25" fmla="*/ 5 h 102"/>
              <a:gd name="T26" fmla="*/ 156 w 201"/>
              <a:gd name="T27" fmla="*/ 6 h 102"/>
              <a:gd name="T28" fmla="*/ 146 w 201"/>
              <a:gd name="T29" fmla="*/ 8 h 102"/>
              <a:gd name="T30" fmla="*/ 141 w 201"/>
              <a:gd name="T31" fmla="*/ 13 h 102"/>
              <a:gd name="T32" fmla="*/ 138 w 201"/>
              <a:gd name="T33" fmla="*/ 17 h 102"/>
              <a:gd name="T34" fmla="*/ 132 w 201"/>
              <a:gd name="T35" fmla="*/ 15 h 102"/>
              <a:gd name="T36" fmla="*/ 128 w 201"/>
              <a:gd name="T37" fmla="*/ 13 h 102"/>
              <a:gd name="T38" fmla="*/ 123 w 201"/>
              <a:gd name="T39" fmla="*/ 12 h 102"/>
              <a:gd name="T40" fmla="*/ 120 w 201"/>
              <a:gd name="T41" fmla="*/ 12 h 102"/>
              <a:gd name="T42" fmla="*/ 116 w 201"/>
              <a:gd name="T43" fmla="*/ 11 h 102"/>
              <a:gd name="T44" fmla="*/ 114 w 201"/>
              <a:gd name="T45" fmla="*/ 7 h 102"/>
              <a:gd name="T46" fmla="*/ 109 w 201"/>
              <a:gd name="T47" fmla="*/ 7 h 102"/>
              <a:gd name="T48" fmla="*/ 105 w 201"/>
              <a:gd name="T49" fmla="*/ 5 h 102"/>
              <a:gd name="T50" fmla="*/ 97 w 201"/>
              <a:gd name="T51" fmla="*/ 7 h 102"/>
              <a:gd name="T52" fmla="*/ 94 w 201"/>
              <a:gd name="T53" fmla="*/ 9 h 102"/>
              <a:gd name="T54" fmla="*/ 86 w 201"/>
              <a:gd name="T55" fmla="*/ 10 h 102"/>
              <a:gd name="T56" fmla="*/ 82 w 201"/>
              <a:gd name="T57" fmla="*/ 5 h 102"/>
              <a:gd name="T58" fmla="*/ 74 w 201"/>
              <a:gd name="T59" fmla="*/ 2 h 102"/>
              <a:gd name="T60" fmla="*/ 70 w 201"/>
              <a:gd name="T61" fmla="*/ 0 h 102"/>
              <a:gd name="T62" fmla="*/ 68 w 201"/>
              <a:gd name="T63" fmla="*/ 2 h 102"/>
              <a:gd name="T64" fmla="*/ 69 w 201"/>
              <a:gd name="T65" fmla="*/ 10 h 102"/>
              <a:gd name="T66" fmla="*/ 63 w 201"/>
              <a:gd name="T67" fmla="*/ 12 h 102"/>
              <a:gd name="T68" fmla="*/ 57 w 201"/>
              <a:gd name="T69" fmla="*/ 12 h 102"/>
              <a:gd name="T70" fmla="*/ 56 w 201"/>
              <a:gd name="T71" fmla="*/ 12 h 102"/>
              <a:gd name="T72" fmla="*/ 49 w 201"/>
              <a:gd name="T73" fmla="*/ 11 h 102"/>
              <a:gd name="T74" fmla="*/ 44 w 201"/>
              <a:gd name="T75" fmla="*/ 16 h 102"/>
              <a:gd name="T76" fmla="*/ 41 w 201"/>
              <a:gd name="T77" fmla="*/ 21 h 102"/>
              <a:gd name="T78" fmla="*/ 39 w 201"/>
              <a:gd name="T79" fmla="*/ 28 h 102"/>
              <a:gd name="T80" fmla="*/ 38 w 201"/>
              <a:gd name="T81" fmla="*/ 29 h 102"/>
              <a:gd name="T82" fmla="*/ 35 w 201"/>
              <a:gd name="T83" fmla="*/ 32 h 102"/>
              <a:gd name="T84" fmla="*/ 33 w 201"/>
              <a:gd name="T85" fmla="*/ 37 h 102"/>
              <a:gd name="T86" fmla="*/ 20 w 201"/>
              <a:gd name="T87" fmla="*/ 42 h 102"/>
              <a:gd name="T88" fmla="*/ 10 w 201"/>
              <a:gd name="T89" fmla="*/ 42 h 102"/>
              <a:gd name="T90" fmla="*/ 0 w 201"/>
              <a:gd name="T91" fmla="*/ 47 h 102"/>
              <a:gd name="T92" fmla="*/ 2 w 201"/>
              <a:gd name="T93" fmla="*/ 60 h 102"/>
              <a:gd name="T94" fmla="*/ 12 w 201"/>
              <a:gd name="T95" fmla="*/ 66 h 102"/>
              <a:gd name="T96" fmla="*/ 36 w 201"/>
              <a:gd name="T97" fmla="*/ 60 h 102"/>
              <a:gd name="T98" fmla="*/ 46 w 201"/>
              <a:gd name="T99" fmla="*/ 49 h 102"/>
              <a:gd name="T100" fmla="*/ 53 w 201"/>
              <a:gd name="T101" fmla="*/ 45 h 102"/>
              <a:gd name="T102" fmla="*/ 81 w 201"/>
              <a:gd name="T103" fmla="*/ 58 h 102"/>
              <a:gd name="T104" fmla="*/ 101 w 201"/>
              <a:gd name="T105" fmla="*/ 80 h 102"/>
              <a:gd name="T106" fmla="*/ 120 w 201"/>
              <a:gd name="T107" fmla="*/ 98 h 102"/>
              <a:gd name="T108" fmla="*/ 147 w 201"/>
              <a:gd name="T109" fmla="*/ 102 h 102"/>
              <a:gd name="T110" fmla="*/ 175 w 201"/>
              <a:gd name="T111" fmla="*/ 97 h 102"/>
              <a:gd name="T112" fmla="*/ 179 w 201"/>
              <a:gd name="T113" fmla="*/ 90 h 102"/>
              <a:gd name="T114" fmla="*/ 180 w 201"/>
              <a:gd name="T115" fmla="*/ 82 h 102"/>
              <a:gd name="T116" fmla="*/ 185 w 201"/>
              <a:gd name="T117" fmla="*/ 73 h 102"/>
              <a:gd name="T118" fmla="*/ 201 w 201"/>
              <a:gd name="T119" fmla="*/ 59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01" h="102">
                <a:moveTo>
                  <a:pt x="201" y="59"/>
                </a:moveTo>
                <a:cubicBezTo>
                  <a:pt x="201" y="59"/>
                  <a:pt x="201" y="59"/>
                  <a:pt x="200" y="59"/>
                </a:cubicBezTo>
                <a:cubicBezTo>
                  <a:pt x="198" y="59"/>
                  <a:pt x="198" y="59"/>
                  <a:pt x="198" y="59"/>
                </a:cubicBezTo>
                <a:cubicBezTo>
                  <a:pt x="198" y="59"/>
                  <a:pt x="195" y="58"/>
                  <a:pt x="193" y="57"/>
                </a:cubicBezTo>
                <a:cubicBezTo>
                  <a:pt x="193" y="57"/>
                  <a:pt x="193" y="57"/>
                  <a:pt x="193" y="57"/>
                </a:cubicBezTo>
                <a:cubicBezTo>
                  <a:pt x="193" y="57"/>
                  <a:pt x="193" y="57"/>
                  <a:pt x="193" y="57"/>
                </a:cubicBezTo>
                <a:cubicBezTo>
                  <a:pt x="192" y="57"/>
                  <a:pt x="190" y="58"/>
                  <a:pt x="188" y="57"/>
                </a:cubicBezTo>
                <a:cubicBezTo>
                  <a:pt x="188" y="57"/>
                  <a:pt x="188" y="57"/>
                  <a:pt x="187" y="57"/>
                </a:cubicBezTo>
                <a:cubicBezTo>
                  <a:pt x="186" y="57"/>
                  <a:pt x="186" y="57"/>
                  <a:pt x="186" y="57"/>
                </a:cubicBezTo>
                <a:cubicBezTo>
                  <a:pt x="186" y="57"/>
                  <a:pt x="184" y="57"/>
                  <a:pt x="182" y="55"/>
                </a:cubicBezTo>
                <a:cubicBezTo>
                  <a:pt x="179" y="53"/>
                  <a:pt x="179" y="53"/>
                  <a:pt x="179" y="53"/>
                </a:cubicBezTo>
                <a:cubicBezTo>
                  <a:pt x="178" y="50"/>
                  <a:pt x="178" y="50"/>
                  <a:pt x="178" y="50"/>
                </a:cubicBezTo>
                <a:cubicBezTo>
                  <a:pt x="178" y="50"/>
                  <a:pt x="178" y="50"/>
                  <a:pt x="178" y="50"/>
                </a:cubicBezTo>
                <a:cubicBezTo>
                  <a:pt x="175" y="44"/>
                  <a:pt x="175" y="44"/>
                  <a:pt x="175" y="44"/>
                </a:cubicBezTo>
                <a:cubicBezTo>
                  <a:pt x="175" y="40"/>
                  <a:pt x="175" y="40"/>
                  <a:pt x="175" y="40"/>
                </a:cubicBezTo>
                <a:cubicBezTo>
                  <a:pt x="174" y="40"/>
                  <a:pt x="175" y="39"/>
                  <a:pt x="175" y="39"/>
                </a:cubicBezTo>
                <a:cubicBezTo>
                  <a:pt x="175" y="39"/>
                  <a:pt x="176" y="37"/>
                  <a:pt x="177" y="36"/>
                </a:cubicBezTo>
                <a:cubicBezTo>
                  <a:pt x="177" y="35"/>
                  <a:pt x="177" y="35"/>
                  <a:pt x="177" y="35"/>
                </a:cubicBezTo>
                <a:cubicBezTo>
                  <a:pt x="177" y="33"/>
                  <a:pt x="177" y="33"/>
                  <a:pt x="177" y="33"/>
                </a:cubicBezTo>
                <a:cubicBezTo>
                  <a:pt x="177" y="33"/>
                  <a:pt x="177" y="33"/>
                  <a:pt x="177" y="33"/>
                </a:cubicBezTo>
                <a:cubicBezTo>
                  <a:pt x="177" y="32"/>
                  <a:pt x="177" y="32"/>
                  <a:pt x="177" y="32"/>
                </a:cubicBezTo>
                <a:cubicBezTo>
                  <a:pt x="177" y="32"/>
                  <a:pt x="176" y="31"/>
                  <a:pt x="177" y="29"/>
                </a:cubicBezTo>
                <a:cubicBezTo>
                  <a:pt x="177" y="22"/>
                  <a:pt x="177" y="22"/>
                  <a:pt x="177" y="22"/>
                </a:cubicBezTo>
                <a:cubicBezTo>
                  <a:pt x="176" y="21"/>
                  <a:pt x="176" y="21"/>
                  <a:pt x="176" y="21"/>
                </a:cubicBezTo>
                <a:cubicBezTo>
                  <a:pt x="175" y="21"/>
                  <a:pt x="175" y="21"/>
                  <a:pt x="175" y="21"/>
                </a:cubicBezTo>
                <a:cubicBezTo>
                  <a:pt x="174" y="21"/>
                  <a:pt x="173" y="21"/>
                  <a:pt x="173" y="19"/>
                </a:cubicBezTo>
                <a:cubicBezTo>
                  <a:pt x="173" y="17"/>
                  <a:pt x="173" y="17"/>
                  <a:pt x="173" y="17"/>
                </a:cubicBezTo>
                <a:cubicBezTo>
                  <a:pt x="173" y="17"/>
                  <a:pt x="173" y="17"/>
                  <a:pt x="173" y="17"/>
                </a:cubicBezTo>
                <a:cubicBezTo>
                  <a:pt x="170" y="13"/>
                  <a:pt x="170" y="13"/>
                  <a:pt x="170" y="13"/>
                </a:cubicBezTo>
                <a:cubicBezTo>
                  <a:pt x="168" y="13"/>
                  <a:pt x="168" y="13"/>
                  <a:pt x="168" y="13"/>
                </a:cubicBezTo>
                <a:cubicBezTo>
                  <a:pt x="168" y="13"/>
                  <a:pt x="167" y="12"/>
                  <a:pt x="167" y="11"/>
                </a:cubicBezTo>
                <a:cubicBezTo>
                  <a:pt x="167" y="9"/>
                  <a:pt x="167" y="9"/>
                  <a:pt x="167" y="9"/>
                </a:cubicBezTo>
                <a:cubicBezTo>
                  <a:pt x="166" y="8"/>
                  <a:pt x="166" y="8"/>
                  <a:pt x="166" y="8"/>
                </a:cubicBezTo>
                <a:cubicBezTo>
                  <a:pt x="166" y="7"/>
                  <a:pt x="166" y="7"/>
                  <a:pt x="166" y="7"/>
                </a:cubicBezTo>
                <a:cubicBezTo>
                  <a:pt x="166" y="6"/>
                  <a:pt x="166" y="6"/>
                  <a:pt x="166" y="6"/>
                </a:cubicBezTo>
                <a:cubicBezTo>
                  <a:pt x="164" y="6"/>
                  <a:pt x="164" y="6"/>
                  <a:pt x="164" y="6"/>
                </a:cubicBezTo>
                <a:cubicBezTo>
                  <a:pt x="162" y="5"/>
                  <a:pt x="162" y="5"/>
                  <a:pt x="162" y="5"/>
                </a:cubicBezTo>
                <a:cubicBezTo>
                  <a:pt x="161" y="5"/>
                  <a:pt x="161" y="5"/>
                  <a:pt x="160" y="5"/>
                </a:cubicBezTo>
                <a:cubicBezTo>
                  <a:pt x="160" y="5"/>
                  <a:pt x="159" y="5"/>
                  <a:pt x="158" y="5"/>
                </a:cubicBezTo>
                <a:cubicBezTo>
                  <a:pt x="158" y="5"/>
                  <a:pt x="158" y="5"/>
                  <a:pt x="158" y="5"/>
                </a:cubicBezTo>
                <a:cubicBezTo>
                  <a:pt x="158" y="6"/>
                  <a:pt x="157" y="6"/>
                  <a:pt x="157" y="6"/>
                </a:cubicBezTo>
                <a:cubicBezTo>
                  <a:pt x="156" y="6"/>
                  <a:pt x="156" y="6"/>
                  <a:pt x="156" y="6"/>
                </a:cubicBezTo>
                <a:cubicBezTo>
                  <a:pt x="155" y="7"/>
                  <a:pt x="155" y="7"/>
                  <a:pt x="155" y="7"/>
                </a:cubicBezTo>
                <a:cubicBezTo>
                  <a:pt x="154" y="8"/>
                  <a:pt x="154" y="8"/>
                  <a:pt x="153" y="8"/>
                </a:cubicBezTo>
                <a:cubicBezTo>
                  <a:pt x="146" y="8"/>
                  <a:pt x="146" y="8"/>
                  <a:pt x="146" y="8"/>
                </a:cubicBezTo>
                <a:cubicBezTo>
                  <a:pt x="144" y="8"/>
                  <a:pt x="144" y="8"/>
                  <a:pt x="144" y="8"/>
                </a:cubicBezTo>
                <a:cubicBezTo>
                  <a:pt x="144" y="8"/>
                  <a:pt x="144" y="8"/>
                  <a:pt x="144" y="9"/>
                </a:cubicBezTo>
                <a:cubicBezTo>
                  <a:pt x="143" y="11"/>
                  <a:pt x="142" y="12"/>
                  <a:pt x="141" y="13"/>
                </a:cubicBezTo>
                <a:cubicBezTo>
                  <a:pt x="140" y="14"/>
                  <a:pt x="140" y="14"/>
                  <a:pt x="140" y="14"/>
                </a:cubicBezTo>
                <a:cubicBezTo>
                  <a:pt x="141" y="15"/>
                  <a:pt x="141" y="15"/>
                  <a:pt x="140" y="16"/>
                </a:cubicBezTo>
                <a:cubicBezTo>
                  <a:pt x="140" y="17"/>
                  <a:pt x="139" y="17"/>
                  <a:pt x="138" y="17"/>
                </a:cubicBezTo>
                <a:cubicBezTo>
                  <a:pt x="136" y="17"/>
                  <a:pt x="136" y="17"/>
                  <a:pt x="136" y="17"/>
                </a:cubicBezTo>
                <a:cubicBezTo>
                  <a:pt x="136" y="17"/>
                  <a:pt x="136" y="17"/>
                  <a:pt x="135" y="17"/>
                </a:cubicBezTo>
                <a:cubicBezTo>
                  <a:pt x="132" y="15"/>
                  <a:pt x="132" y="15"/>
                  <a:pt x="132" y="15"/>
                </a:cubicBezTo>
                <a:cubicBezTo>
                  <a:pt x="132" y="15"/>
                  <a:pt x="132" y="15"/>
                  <a:pt x="132" y="15"/>
                </a:cubicBezTo>
                <a:cubicBezTo>
                  <a:pt x="131" y="14"/>
                  <a:pt x="130" y="14"/>
                  <a:pt x="130" y="14"/>
                </a:cubicBezTo>
                <a:cubicBezTo>
                  <a:pt x="129" y="14"/>
                  <a:pt x="128" y="13"/>
                  <a:pt x="128" y="13"/>
                </a:cubicBezTo>
                <a:cubicBezTo>
                  <a:pt x="125" y="13"/>
                  <a:pt x="125" y="13"/>
                  <a:pt x="125" y="13"/>
                </a:cubicBezTo>
                <a:cubicBezTo>
                  <a:pt x="125" y="13"/>
                  <a:pt x="125" y="13"/>
                  <a:pt x="124" y="13"/>
                </a:cubicBezTo>
                <a:cubicBezTo>
                  <a:pt x="123" y="12"/>
                  <a:pt x="123" y="12"/>
                  <a:pt x="123" y="12"/>
                </a:cubicBezTo>
                <a:cubicBezTo>
                  <a:pt x="123" y="12"/>
                  <a:pt x="123" y="12"/>
                  <a:pt x="123" y="12"/>
                </a:cubicBezTo>
                <a:cubicBezTo>
                  <a:pt x="122" y="12"/>
                  <a:pt x="121" y="12"/>
                  <a:pt x="120" y="12"/>
                </a:cubicBezTo>
                <a:cubicBezTo>
                  <a:pt x="120" y="12"/>
                  <a:pt x="120" y="12"/>
                  <a:pt x="120" y="12"/>
                </a:cubicBezTo>
                <a:cubicBezTo>
                  <a:pt x="120" y="12"/>
                  <a:pt x="120" y="12"/>
                  <a:pt x="119" y="12"/>
                </a:cubicBezTo>
                <a:cubicBezTo>
                  <a:pt x="117" y="12"/>
                  <a:pt x="117" y="12"/>
                  <a:pt x="117" y="12"/>
                </a:cubicBezTo>
                <a:cubicBezTo>
                  <a:pt x="117" y="12"/>
                  <a:pt x="116" y="12"/>
                  <a:pt x="116" y="11"/>
                </a:cubicBezTo>
                <a:cubicBezTo>
                  <a:pt x="114" y="10"/>
                  <a:pt x="114" y="10"/>
                  <a:pt x="114" y="10"/>
                </a:cubicBezTo>
                <a:cubicBezTo>
                  <a:pt x="114" y="9"/>
                  <a:pt x="114" y="9"/>
                  <a:pt x="114" y="8"/>
                </a:cubicBezTo>
                <a:cubicBezTo>
                  <a:pt x="114" y="7"/>
                  <a:pt x="114" y="7"/>
                  <a:pt x="114" y="7"/>
                </a:cubicBezTo>
                <a:cubicBezTo>
                  <a:pt x="113" y="7"/>
                  <a:pt x="113" y="7"/>
                  <a:pt x="113" y="7"/>
                </a:cubicBezTo>
                <a:cubicBezTo>
                  <a:pt x="110" y="7"/>
                  <a:pt x="110" y="7"/>
                  <a:pt x="110" y="7"/>
                </a:cubicBezTo>
                <a:cubicBezTo>
                  <a:pt x="109" y="7"/>
                  <a:pt x="109" y="7"/>
                  <a:pt x="109" y="7"/>
                </a:cubicBezTo>
                <a:cubicBezTo>
                  <a:pt x="107" y="6"/>
                  <a:pt x="107" y="6"/>
                  <a:pt x="107" y="6"/>
                </a:cubicBezTo>
                <a:cubicBezTo>
                  <a:pt x="106" y="6"/>
                  <a:pt x="106" y="6"/>
                  <a:pt x="106" y="6"/>
                </a:cubicBezTo>
                <a:cubicBezTo>
                  <a:pt x="105" y="5"/>
                  <a:pt x="105" y="5"/>
                  <a:pt x="105" y="5"/>
                </a:cubicBezTo>
                <a:cubicBezTo>
                  <a:pt x="100" y="5"/>
                  <a:pt x="100" y="5"/>
                  <a:pt x="100" y="5"/>
                </a:cubicBezTo>
                <a:cubicBezTo>
                  <a:pt x="98" y="6"/>
                  <a:pt x="98" y="6"/>
                  <a:pt x="98" y="6"/>
                </a:cubicBezTo>
                <a:cubicBezTo>
                  <a:pt x="98" y="7"/>
                  <a:pt x="97" y="7"/>
                  <a:pt x="97" y="7"/>
                </a:cubicBezTo>
                <a:cubicBezTo>
                  <a:pt x="95" y="7"/>
                  <a:pt x="95" y="7"/>
                  <a:pt x="95" y="7"/>
                </a:cubicBezTo>
                <a:cubicBezTo>
                  <a:pt x="95" y="8"/>
                  <a:pt x="95" y="8"/>
                  <a:pt x="95" y="8"/>
                </a:cubicBezTo>
                <a:cubicBezTo>
                  <a:pt x="95" y="8"/>
                  <a:pt x="94" y="8"/>
                  <a:pt x="94" y="9"/>
                </a:cubicBezTo>
                <a:cubicBezTo>
                  <a:pt x="92" y="10"/>
                  <a:pt x="92" y="10"/>
                  <a:pt x="92" y="10"/>
                </a:cubicBezTo>
                <a:cubicBezTo>
                  <a:pt x="92" y="10"/>
                  <a:pt x="92" y="10"/>
                  <a:pt x="91" y="10"/>
                </a:cubicBezTo>
                <a:cubicBezTo>
                  <a:pt x="86" y="10"/>
                  <a:pt x="86" y="10"/>
                  <a:pt x="86" y="10"/>
                </a:cubicBezTo>
                <a:cubicBezTo>
                  <a:pt x="85" y="10"/>
                  <a:pt x="84" y="9"/>
                  <a:pt x="84" y="8"/>
                </a:cubicBezTo>
                <a:cubicBezTo>
                  <a:pt x="83" y="5"/>
                  <a:pt x="83" y="5"/>
                  <a:pt x="83" y="5"/>
                </a:cubicBezTo>
                <a:cubicBezTo>
                  <a:pt x="82" y="5"/>
                  <a:pt x="82" y="5"/>
                  <a:pt x="82" y="5"/>
                </a:cubicBezTo>
                <a:cubicBezTo>
                  <a:pt x="81" y="5"/>
                  <a:pt x="80" y="5"/>
                  <a:pt x="79" y="5"/>
                </a:cubicBezTo>
                <a:cubicBezTo>
                  <a:pt x="77" y="4"/>
                  <a:pt x="75" y="3"/>
                  <a:pt x="75" y="3"/>
                </a:cubicBezTo>
                <a:cubicBezTo>
                  <a:pt x="75" y="3"/>
                  <a:pt x="75" y="2"/>
                  <a:pt x="74" y="2"/>
                </a:cubicBezTo>
                <a:cubicBezTo>
                  <a:pt x="74" y="2"/>
                  <a:pt x="74" y="2"/>
                  <a:pt x="73" y="2"/>
                </a:cubicBezTo>
                <a:cubicBezTo>
                  <a:pt x="72" y="1"/>
                  <a:pt x="71" y="0"/>
                  <a:pt x="71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69" y="0"/>
                  <a:pt x="69" y="0"/>
                  <a:pt x="68" y="0"/>
                </a:cubicBezTo>
                <a:cubicBezTo>
                  <a:pt x="68" y="1"/>
                  <a:pt x="68" y="1"/>
                  <a:pt x="68" y="2"/>
                </a:cubicBezTo>
                <a:cubicBezTo>
                  <a:pt x="68" y="7"/>
                  <a:pt x="68" y="7"/>
                  <a:pt x="68" y="7"/>
                </a:cubicBezTo>
                <a:cubicBezTo>
                  <a:pt x="68" y="7"/>
                  <a:pt x="68" y="7"/>
                  <a:pt x="68" y="7"/>
                </a:cubicBezTo>
                <a:cubicBezTo>
                  <a:pt x="69" y="7"/>
                  <a:pt x="70" y="9"/>
                  <a:pt x="69" y="10"/>
                </a:cubicBezTo>
                <a:cubicBezTo>
                  <a:pt x="69" y="11"/>
                  <a:pt x="68" y="11"/>
                  <a:pt x="66" y="11"/>
                </a:cubicBezTo>
                <a:cubicBezTo>
                  <a:pt x="65" y="11"/>
                  <a:pt x="65" y="11"/>
                  <a:pt x="64" y="12"/>
                </a:cubicBezTo>
                <a:cubicBezTo>
                  <a:pt x="63" y="12"/>
                  <a:pt x="63" y="12"/>
                  <a:pt x="63" y="12"/>
                </a:cubicBezTo>
                <a:cubicBezTo>
                  <a:pt x="62" y="12"/>
                  <a:pt x="61" y="12"/>
                  <a:pt x="60" y="12"/>
                </a:cubicBezTo>
                <a:cubicBezTo>
                  <a:pt x="58" y="11"/>
                  <a:pt x="58" y="11"/>
                  <a:pt x="57" y="12"/>
                </a:cubicBezTo>
                <a:cubicBezTo>
                  <a:pt x="57" y="12"/>
                  <a:pt x="57" y="12"/>
                  <a:pt x="57" y="12"/>
                </a:cubicBezTo>
                <a:cubicBezTo>
                  <a:pt x="56" y="12"/>
                  <a:pt x="56" y="12"/>
                  <a:pt x="56" y="12"/>
                </a:cubicBezTo>
                <a:cubicBezTo>
                  <a:pt x="56" y="12"/>
                  <a:pt x="56" y="12"/>
                  <a:pt x="56" y="12"/>
                </a:cubicBezTo>
                <a:cubicBezTo>
                  <a:pt x="56" y="12"/>
                  <a:pt x="56" y="12"/>
                  <a:pt x="56" y="12"/>
                </a:cubicBezTo>
                <a:cubicBezTo>
                  <a:pt x="55" y="12"/>
                  <a:pt x="54" y="12"/>
                  <a:pt x="53" y="12"/>
                </a:cubicBezTo>
                <a:cubicBezTo>
                  <a:pt x="52" y="12"/>
                  <a:pt x="51" y="13"/>
                  <a:pt x="49" y="11"/>
                </a:cubicBezTo>
                <a:cubicBezTo>
                  <a:pt x="49" y="11"/>
                  <a:pt x="49" y="11"/>
                  <a:pt x="49" y="11"/>
                </a:cubicBezTo>
                <a:cubicBezTo>
                  <a:pt x="49" y="12"/>
                  <a:pt x="49" y="12"/>
                  <a:pt x="49" y="12"/>
                </a:cubicBezTo>
                <a:cubicBezTo>
                  <a:pt x="49" y="13"/>
                  <a:pt x="49" y="13"/>
                  <a:pt x="49" y="13"/>
                </a:cubicBezTo>
                <a:cubicBezTo>
                  <a:pt x="46" y="15"/>
                  <a:pt x="46" y="16"/>
                  <a:pt x="44" y="16"/>
                </a:cubicBezTo>
                <a:cubicBezTo>
                  <a:pt x="44" y="16"/>
                  <a:pt x="44" y="16"/>
                  <a:pt x="44" y="16"/>
                </a:cubicBezTo>
                <a:cubicBezTo>
                  <a:pt x="42" y="18"/>
                  <a:pt x="42" y="19"/>
                  <a:pt x="42" y="19"/>
                </a:cubicBezTo>
                <a:cubicBezTo>
                  <a:pt x="42" y="19"/>
                  <a:pt x="41" y="20"/>
                  <a:pt x="41" y="21"/>
                </a:cubicBezTo>
                <a:cubicBezTo>
                  <a:pt x="41" y="22"/>
                  <a:pt x="41" y="23"/>
                  <a:pt x="40" y="24"/>
                </a:cubicBezTo>
                <a:cubicBezTo>
                  <a:pt x="40" y="25"/>
                  <a:pt x="39" y="26"/>
                  <a:pt x="39" y="27"/>
                </a:cubicBezTo>
                <a:cubicBezTo>
                  <a:pt x="39" y="28"/>
                  <a:pt x="39" y="28"/>
                  <a:pt x="39" y="28"/>
                </a:cubicBezTo>
                <a:cubicBezTo>
                  <a:pt x="38" y="29"/>
                  <a:pt x="38" y="29"/>
                  <a:pt x="38" y="29"/>
                </a:cubicBezTo>
                <a:cubicBezTo>
                  <a:pt x="38" y="29"/>
                  <a:pt x="38" y="29"/>
                  <a:pt x="38" y="29"/>
                </a:cubicBezTo>
                <a:cubicBezTo>
                  <a:pt x="38" y="29"/>
                  <a:pt x="38" y="29"/>
                  <a:pt x="38" y="29"/>
                </a:cubicBezTo>
                <a:cubicBezTo>
                  <a:pt x="38" y="30"/>
                  <a:pt x="37" y="30"/>
                  <a:pt x="37" y="30"/>
                </a:cubicBezTo>
                <a:cubicBezTo>
                  <a:pt x="35" y="31"/>
                  <a:pt x="35" y="31"/>
                  <a:pt x="35" y="31"/>
                </a:cubicBezTo>
                <a:cubicBezTo>
                  <a:pt x="35" y="32"/>
                  <a:pt x="35" y="32"/>
                  <a:pt x="35" y="32"/>
                </a:cubicBezTo>
                <a:cubicBezTo>
                  <a:pt x="35" y="33"/>
                  <a:pt x="35" y="33"/>
                  <a:pt x="35" y="33"/>
                </a:cubicBezTo>
                <a:cubicBezTo>
                  <a:pt x="34" y="36"/>
                  <a:pt x="34" y="36"/>
                  <a:pt x="34" y="36"/>
                </a:cubicBezTo>
                <a:cubicBezTo>
                  <a:pt x="33" y="37"/>
                  <a:pt x="33" y="37"/>
                  <a:pt x="33" y="37"/>
                </a:cubicBezTo>
                <a:cubicBezTo>
                  <a:pt x="29" y="39"/>
                  <a:pt x="29" y="39"/>
                  <a:pt x="29" y="39"/>
                </a:cubicBezTo>
                <a:cubicBezTo>
                  <a:pt x="24" y="41"/>
                  <a:pt x="24" y="41"/>
                  <a:pt x="24" y="41"/>
                </a:cubicBezTo>
                <a:cubicBezTo>
                  <a:pt x="20" y="42"/>
                  <a:pt x="20" y="42"/>
                  <a:pt x="20" y="42"/>
                </a:cubicBezTo>
                <a:cubicBezTo>
                  <a:pt x="17" y="43"/>
                  <a:pt x="17" y="43"/>
                  <a:pt x="17" y="43"/>
                </a:cubicBezTo>
                <a:cubicBezTo>
                  <a:pt x="11" y="43"/>
                  <a:pt x="11" y="43"/>
                  <a:pt x="11" y="43"/>
                </a:cubicBezTo>
                <a:cubicBezTo>
                  <a:pt x="10" y="42"/>
                  <a:pt x="10" y="42"/>
                  <a:pt x="10" y="42"/>
                </a:cubicBezTo>
                <a:cubicBezTo>
                  <a:pt x="9" y="42"/>
                  <a:pt x="9" y="42"/>
                  <a:pt x="9" y="42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47"/>
                  <a:pt x="0" y="47"/>
                  <a:pt x="0" y="47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57"/>
                  <a:pt x="0" y="57"/>
                  <a:pt x="0" y="57"/>
                </a:cubicBezTo>
                <a:cubicBezTo>
                  <a:pt x="2" y="60"/>
                  <a:pt x="2" y="60"/>
                  <a:pt x="2" y="60"/>
                </a:cubicBezTo>
                <a:cubicBezTo>
                  <a:pt x="7" y="63"/>
                  <a:pt x="7" y="63"/>
                  <a:pt x="7" y="63"/>
                </a:cubicBezTo>
                <a:cubicBezTo>
                  <a:pt x="11" y="65"/>
                  <a:pt x="11" y="65"/>
                  <a:pt x="11" y="65"/>
                </a:cubicBezTo>
                <a:cubicBezTo>
                  <a:pt x="12" y="66"/>
                  <a:pt x="12" y="66"/>
                  <a:pt x="12" y="66"/>
                </a:cubicBezTo>
                <a:cubicBezTo>
                  <a:pt x="13" y="66"/>
                  <a:pt x="13" y="66"/>
                  <a:pt x="13" y="66"/>
                </a:cubicBezTo>
                <a:cubicBezTo>
                  <a:pt x="22" y="64"/>
                  <a:pt x="22" y="64"/>
                  <a:pt x="22" y="64"/>
                </a:cubicBezTo>
                <a:cubicBezTo>
                  <a:pt x="36" y="60"/>
                  <a:pt x="36" y="60"/>
                  <a:pt x="36" y="60"/>
                </a:cubicBezTo>
                <a:cubicBezTo>
                  <a:pt x="45" y="51"/>
                  <a:pt x="45" y="51"/>
                  <a:pt x="45" y="51"/>
                </a:cubicBezTo>
                <a:cubicBezTo>
                  <a:pt x="46" y="50"/>
                  <a:pt x="46" y="50"/>
                  <a:pt x="46" y="50"/>
                </a:cubicBezTo>
                <a:cubicBezTo>
                  <a:pt x="46" y="49"/>
                  <a:pt x="46" y="49"/>
                  <a:pt x="46" y="49"/>
                </a:cubicBezTo>
                <a:cubicBezTo>
                  <a:pt x="48" y="47"/>
                  <a:pt x="48" y="47"/>
                  <a:pt x="48" y="47"/>
                </a:cubicBezTo>
                <a:cubicBezTo>
                  <a:pt x="51" y="46"/>
                  <a:pt x="51" y="46"/>
                  <a:pt x="51" y="46"/>
                </a:cubicBezTo>
                <a:cubicBezTo>
                  <a:pt x="53" y="45"/>
                  <a:pt x="53" y="45"/>
                  <a:pt x="53" y="45"/>
                </a:cubicBezTo>
                <a:cubicBezTo>
                  <a:pt x="71" y="43"/>
                  <a:pt x="71" y="43"/>
                  <a:pt x="71" y="43"/>
                </a:cubicBezTo>
                <a:cubicBezTo>
                  <a:pt x="71" y="43"/>
                  <a:pt x="71" y="43"/>
                  <a:pt x="71" y="43"/>
                </a:cubicBezTo>
                <a:cubicBezTo>
                  <a:pt x="81" y="58"/>
                  <a:pt x="81" y="58"/>
                  <a:pt x="81" y="58"/>
                </a:cubicBezTo>
                <a:cubicBezTo>
                  <a:pt x="83" y="61"/>
                  <a:pt x="83" y="61"/>
                  <a:pt x="83" y="61"/>
                </a:cubicBezTo>
                <a:cubicBezTo>
                  <a:pt x="84" y="64"/>
                  <a:pt x="84" y="64"/>
                  <a:pt x="84" y="64"/>
                </a:cubicBezTo>
                <a:cubicBezTo>
                  <a:pt x="101" y="80"/>
                  <a:pt x="101" y="80"/>
                  <a:pt x="101" y="80"/>
                </a:cubicBezTo>
                <a:cubicBezTo>
                  <a:pt x="116" y="96"/>
                  <a:pt x="116" y="96"/>
                  <a:pt x="116" y="96"/>
                </a:cubicBezTo>
                <a:cubicBezTo>
                  <a:pt x="119" y="98"/>
                  <a:pt x="119" y="98"/>
                  <a:pt x="119" y="98"/>
                </a:cubicBezTo>
                <a:cubicBezTo>
                  <a:pt x="120" y="98"/>
                  <a:pt x="120" y="98"/>
                  <a:pt x="120" y="98"/>
                </a:cubicBezTo>
                <a:cubicBezTo>
                  <a:pt x="131" y="101"/>
                  <a:pt x="131" y="101"/>
                  <a:pt x="131" y="101"/>
                </a:cubicBezTo>
                <a:cubicBezTo>
                  <a:pt x="141" y="102"/>
                  <a:pt x="141" y="102"/>
                  <a:pt x="141" y="102"/>
                </a:cubicBezTo>
                <a:cubicBezTo>
                  <a:pt x="147" y="102"/>
                  <a:pt x="147" y="102"/>
                  <a:pt x="147" y="102"/>
                </a:cubicBezTo>
                <a:cubicBezTo>
                  <a:pt x="161" y="102"/>
                  <a:pt x="161" y="102"/>
                  <a:pt x="161" y="102"/>
                </a:cubicBezTo>
                <a:cubicBezTo>
                  <a:pt x="175" y="97"/>
                  <a:pt x="175" y="97"/>
                  <a:pt x="175" y="97"/>
                </a:cubicBezTo>
                <a:cubicBezTo>
                  <a:pt x="175" y="97"/>
                  <a:pt x="175" y="97"/>
                  <a:pt x="175" y="97"/>
                </a:cubicBezTo>
                <a:cubicBezTo>
                  <a:pt x="176" y="96"/>
                  <a:pt x="176" y="96"/>
                  <a:pt x="176" y="96"/>
                </a:cubicBezTo>
                <a:cubicBezTo>
                  <a:pt x="178" y="93"/>
                  <a:pt x="178" y="93"/>
                  <a:pt x="178" y="93"/>
                </a:cubicBezTo>
                <a:cubicBezTo>
                  <a:pt x="179" y="90"/>
                  <a:pt x="179" y="90"/>
                  <a:pt x="179" y="90"/>
                </a:cubicBezTo>
                <a:cubicBezTo>
                  <a:pt x="179" y="88"/>
                  <a:pt x="179" y="88"/>
                  <a:pt x="179" y="88"/>
                </a:cubicBezTo>
                <a:cubicBezTo>
                  <a:pt x="179" y="86"/>
                  <a:pt x="179" y="86"/>
                  <a:pt x="179" y="86"/>
                </a:cubicBezTo>
                <a:cubicBezTo>
                  <a:pt x="180" y="82"/>
                  <a:pt x="180" y="82"/>
                  <a:pt x="180" y="82"/>
                </a:cubicBezTo>
                <a:cubicBezTo>
                  <a:pt x="183" y="76"/>
                  <a:pt x="183" y="76"/>
                  <a:pt x="183" y="76"/>
                </a:cubicBezTo>
                <a:cubicBezTo>
                  <a:pt x="184" y="74"/>
                  <a:pt x="184" y="74"/>
                  <a:pt x="184" y="74"/>
                </a:cubicBezTo>
                <a:cubicBezTo>
                  <a:pt x="185" y="73"/>
                  <a:pt x="185" y="73"/>
                  <a:pt x="185" y="73"/>
                </a:cubicBezTo>
                <a:cubicBezTo>
                  <a:pt x="201" y="61"/>
                  <a:pt x="201" y="61"/>
                  <a:pt x="201" y="61"/>
                </a:cubicBezTo>
                <a:cubicBezTo>
                  <a:pt x="201" y="61"/>
                  <a:pt x="201" y="61"/>
                  <a:pt x="201" y="60"/>
                </a:cubicBezTo>
                <a:lnTo>
                  <a:pt x="201" y="5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reeform 10">
            <a:extLst>
              <a:ext uri="{FF2B5EF4-FFF2-40B4-BE49-F238E27FC236}">
                <a16:creationId xmlns:a16="http://schemas.microsoft.com/office/drawing/2014/main" id="{D9B8CCE4-B51E-46A3-BAA7-5E979CEDB95B}"/>
              </a:ext>
            </a:extLst>
          </p:cNvPr>
          <p:cNvSpPr>
            <a:spLocks/>
          </p:cNvSpPr>
          <p:nvPr/>
        </p:nvSpPr>
        <p:spPr bwMode="auto">
          <a:xfrm>
            <a:off x="4663560" y="5670079"/>
            <a:ext cx="5160" cy="1588"/>
          </a:xfrm>
          <a:custGeom>
            <a:avLst/>
            <a:gdLst>
              <a:gd name="T0" fmla="*/ 0 w 2"/>
              <a:gd name="T1" fmla="*/ 1 h 1"/>
              <a:gd name="T2" fmla="*/ 0 w 2"/>
              <a:gd name="T3" fmla="*/ 1 h 1"/>
              <a:gd name="T4" fmla="*/ 0 w 2"/>
              <a:gd name="T5" fmla="*/ 1 h 1"/>
              <a:gd name="T6" fmla="*/ 2 w 2"/>
              <a:gd name="T7" fmla="*/ 0 h 1"/>
              <a:gd name="T8" fmla="*/ 2 w 2"/>
              <a:gd name="T9" fmla="*/ 0 h 1"/>
              <a:gd name="T10" fmla="*/ 0 w 2"/>
              <a:gd name="T11" fmla="*/ 0 h 1"/>
              <a:gd name="T12" fmla="*/ 0 w 2"/>
              <a:gd name="T13" fmla="*/ 1 h 1"/>
              <a:gd name="T14" fmla="*/ 0 w 2"/>
              <a:gd name="T15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1">
                <a:moveTo>
                  <a:pt x="0" y="1"/>
                </a:moveTo>
                <a:cubicBezTo>
                  <a:pt x="0" y="1"/>
                  <a:pt x="0" y="1"/>
                  <a:pt x="0" y="1"/>
                </a:cubicBezTo>
                <a:cubicBezTo>
                  <a:pt x="0" y="1"/>
                  <a:pt x="0" y="1"/>
                  <a:pt x="0" y="1"/>
                </a:cubicBezTo>
                <a:cubicBezTo>
                  <a:pt x="1" y="1"/>
                  <a:pt x="2" y="0"/>
                  <a:pt x="2" y="0"/>
                </a:cubicBezTo>
                <a:cubicBezTo>
                  <a:pt x="2" y="0"/>
                  <a:pt x="2" y="0"/>
                  <a:pt x="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reeform 11">
            <a:extLst>
              <a:ext uri="{FF2B5EF4-FFF2-40B4-BE49-F238E27FC236}">
                <a16:creationId xmlns:a16="http://schemas.microsoft.com/office/drawing/2014/main" id="{E988A03D-3156-44A5-9910-BF2FAE014ABB}"/>
              </a:ext>
            </a:extLst>
          </p:cNvPr>
          <p:cNvSpPr>
            <a:spLocks/>
          </p:cNvSpPr>
          <p:nvPr/>
        </p:nvSpPr>
        <p:spPr bwMode="auto">
          <a:xfrm>
            <a:off x="4536294" y="4879507"/>
            <a:ext cx="407591" cy="246063"/>
          </a:xfrm>
          <a:custGeom>
            <a:avLst/>
            <a:gdLst>
              <a:gd name="T0" fmla="*/ 101 w 169"/>
              <a:gd name="T1" fmla="*/ 102 h 110"/>
              <a:gd name="T2" fmla="*/ 106 w 169"/>
              <a:gd name="T3" fmla="*/ 94 h 110"/>
              <a:gd name="T4" fmla="*/ 110 w 169"/>
              <a:gd name="T5" fmla="*/ 89 h 110"/>
              <a:gd name="T6" fmla="*/ 114 w 169"/>
              <a:gd name="T7" fmla="*/ 87 h 110"/>
              <a:gd name="T8" fmla="*/ 119 w 169"/>
              <a:gd name="T9" fmla="*/ 89 h 110"/>
              <a:gd name="T10" fmla="*/ 125 w 169"/>
              <a:gd name="T11" fmla="*/ 89 h 110"/>
              <a:gd name="T12" fmla="*/ 128 w 169"/>
              <a:gd name="T13" fmla="*/ 89 h 110"/>
              <a:gd name="T14" fmla="*/ 128 w 169"/>
              <a:gd name="T15" fmla="*/ 87 h 110"/>
              <a:gd name="T16" fmla="*/ 129 w 169"/>
              <a:gd name="T17" fmla="*/ 79 h 110"/>
              <a:gd name="T18" fmla="*/ 136 w 169"/>
              <a:gd name="T19" fmla="*/ 77 h 110"/>
              <a:gd name="T20" fmla="*/ 142 w 169"/>
              <a:gd name="T21" fmla="*/ 81 h 110"/>
              <a:gd name="T22" fmla="*/ 144 w 169"/>
              <a:gd name="T23" fmla="*/ 81 h 110"/>
              <a:gd name="T24" fmla="*/ 148 w 169"/>
              <a:gd name="T25" fmla="*/ 75 h 110"/>
              <a:gd name="T26" fmla="*/ 151 w 169"/>
              <a:gd name="T27" fmla="*/ 70 h 110"/>
              <a:gd name="T28" fmla="*/ 157 w 169"/>
              <a:gd name="T29" fmla="*/ 64 h 110"/>
              <a:gd name="T30" fmla="*/ 157 w 169"/>
              <a:gd name="T31" fmla="*/ 58 h 110"/>
              <a:gd name="T32" fmla="*/ 154 w 169"/>
              <a:gd name="T33" fmla="*/ 57 h 110"/>
              <a:gd name="T34" fmla="*/ 152 w 169"/>
              <a:gd name="T35" fmla="*/ 51 h 110"/>
              <a:gd name="T36" fmla="*/ 151 w 169"/>
              <a:gd name="T37" fmla="*/ 48 h 110"/>
              <a:gd name="T38" fmla="*/ 152 w 169"/>
              <a:gd name="T39" fmla="*/ 43 h 110"/>
              <a:gd name="T40" fmla="*/ 159 w 169"/>
              <a:gd name="T41" fmla="*/ 41 h 110"/>
              <a:gd name="T42" fmla="*/ 164 w 169"/>
              <a:gd name="T43" fmla="*/ 36 h 110"/>
              <a:gd name="T44" fmla="*/ 167 w 169"/>
              <a:gd name="T45" fmla="*/ 32 h 110"/>
              <a:gd name="T46" fmla="*/ 169 w 169"/>
              <a:gd name="T47" fmla="*/ 27 h 110"/>
              <a:gd name="T48" fmla="*/ 166 w 169"/>
              <a:gd name="T49" fmla="*/ 18 h 110"/>
              <a:gd name="T50" fmla="*/ 162 w 169"/>
              <a:gd name="T51" fmla="*/ 15 h 110"/>
              <a:gd name="T52" fmla="*/ 159 w 169"/>
              <a:gd name="T53" fmla="*/ 13 h 110"/>
              <a:gd name="T54" fmla="*/ 156 w 169"/>
              <a:gd name="T55" fmla="*/ 5 h 110"/>
              <a:gd name="T56" fmla="*/ 152 w 169"/>
              <a:gd name="T57" fmla="*/ 7 h 110"/>
              <a:gd name="T58" fmla="*/ 142 w 169"/>
              <a:gd name="T59" fmla="*/ 6 h 110"/>
              <a:gd name="T60" fmla="*/ 140 w 169"/>
              <a:gd name="T61" fmla="*/ 1 h 110"/>
              <a:gd name="T62" fmla="*/ 135 w 169"/>
              <a:gd name="T63" fmla="*/ 1 h 110"/>
              <a:gd name="T64" fmla="*/ 131 w 169"/>
              <a:gd name="T65" fmla="*/ 4 h 110"/>
              <a:gd name="T66" fmla="*/ 123 w 169"/>
              <a:gd name="T67" fmla="*/ 2 h 110"/>
              <a:gd name="T68" fmla="*/ 116 w 169"/>
              <a:gd name="T69" fmla="*/ 6 h 110"/>
              <a:gd name="T70" fmla="*/ 110 w 169"/>
              <a:gd name="T71" fmla="*/ 8 h 110"/>
              <a:gd name="T72" fmla="*/ 102 w 169"/>
              <a:gd name="T73" fmla="*/ 6 h 110"/>
              <a:gd name="T74" fmla="*/ 93 w 169"/>
              <a:gd name="T75" fmla="*/ 11 h 110"/>
              <a:gd name="T76" fmla="*/ 91 w 169"/>
              <a:gd name="T77" fmla="*/ 11 h 110"/>
              <a:gd name="T78" fmla="*/ 86 w 169"/>
              <a:gd name="T79" fmla="*/ 17 h 110"/>
              <a:gd name="T80" fmla="*/ 81 w 169"/>
              <a:gd name="T81" fmla="*/ 20 h 110"/>
              <a:gd name="T82" fmla="*/ 75 w 169"/>
              <a:gd name="T83" fmla="*/ 24 h 110"/>
              <a:gd name="T84" fmla="*/ 66 w 169"/>
              <a:gd name="T85" fmla="*/ 24 h 110"/>
              <a:gd name="T86" fmla="*/ 58 w 169"/>
              <a:gd name="T87" fmla="*/ 24 h 110"/>
              <a:gd name="T88" fmla="*/ 55 w 169"/>
              <a:gd name="T89" fmla="*/ 24 h 110"/>
              <a:gd name="T90" fmla="*/ 47 w 169"/>
              <a:gd name="T91" fmla="*/ 23 h 110"/>
              <a:gd name="T92" fmla="*/ 37 w 169"/>
              <a:gd name="T93" fmla="*/ 21 h 110"/>
              <a:gd name="T94" fmla="*/ 32 w 169"/>
              <a:gd name="T95" fmla="*/ 21 h 110"/>
              <a:gd name="T96" fmla="*/ 34 w 169"/>
              <a:gd name="T97" fmla="*/ 25 h 110"/>
              <a:gd name="T98" fmla="*/ 38 w 169"/>
              <a:gd name="T99" fmla="*/ 33 h 110"/>
              <a:gd name="T100" fmla="*/ 41 w 169"/>
              <a:gd name="T101" fmla="*/ 35 h 110"/>
              <a:gd name="T102" fmla="*/ 40 w 169"/>
              <a:gd name="T103" fmla="*/ 49 h 110"/>
              <a:gd name="T104" fmla="*/ 27 w 169"/>
              <a:gd name="T105" fmla="*/ 52 h 110"/>
              <a:gd name="T106" fmla="*/ 19 w 169"/>
              <a:gd name="T107" fmla="*/ 55 h 110"/>
              <a:gd name="T108" fmla="*/ 1 w 169"/>
              <a:gd name="T109" fmla="*/ 60 h 110"/>
              <a:gd name="T110" fmla="*/ 2 w 169"/>
              <a:gd name="T111" fmla="*/ 66 h 110"/>
              <a:gd name="T112" fmla="*/ 1 w 169"/>
              <a:gd name="T113" fmla="*/ 72 h 110"/>
              <a:gd name="T114" fmla="*/ 11 w 169"/>
              <a:gd name="T115" fmla="*/ 75 h 110"/>
              <a:gd name="T116" fmla="*/ 17 w 169"/>
              <a:gd name="T117" fmla="*/ 79 h 110"/>
              <a:gd name="T118" fmla="*/ 17 w 169"/>
              <a:gd name="T119" fmla="*/ 87 h 110"/>
              <a:gd name="T120" fmla="*/ 19 w 169"/>
              <a:gd name="T121" fmla="*/ 96 h 110"/>
              <a:gd name="T122" fmla="*/ 80 w 169"/>
              <a:gd name="T123" fmla="*/ 110 h 110"/>
              <a:gd name="T124" fmla="*/ 99 w 169"/>
              <a:gd name="T125" fmla="*/ 107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9" h="110">
                <a:moveTo>
                  <a:pt x="99" y="107"/>
                </a:moveTo>
                <a:cubicBezTo>
                  <a:pt x="99" y="106"/>
                  <a:pt x="100" y="104"/>
                  <a:pt x="101" y="103"/>
                </a:cubicBezTo>
                <a:cubicBezTo>
                  <a:pt x="101" y="102"/>
                  <a:pt x="101" y="102"/>
                  <a:pt x="101" y="102"/>
                </a:cubicBezTo>
                <a:cubicBezTo>
                  <a:pt x="101" y="102"/>
                  <a:pt x="101" y="102"/>
                  <a:pt x="101" y="102"/>
                </a:cubicBezTo>
                <a:cubicBezTo>
                  <a:pt x="101" y="102"/>
                  <a:pt x="102" y="99"/>
                  <a:pt x="102" y="98"/>
                </a:cubicBezTo>
                <a:cubicBezTo>
                  <a:pt x="102" y="97"/>
                  <a:pt x="103" y="96"/>
                  <a:pt x="106" y="94"/>
                </a:cubicBezTo>
                <a:cubicBezTo>
                  <a:pt x="106" y="93"/>
                  <a:pt x="107" y="93"/>
                  <a:pt x="108" y="93"/>
                </a:cubicBezTo>
                <a:cubicBezTo>
                  <a:pt x="109" y="92"/>
                  <a:pt x="109" y="92"/>
                  <a:pt x="109" y="92"/>
                </a:cubicBezTo>
                <a:cubicBezTo>
                  <a:pt x="110" y="89"/>
                  <a:pt x="110" y="89"/>
                  <a:pt x="110" y="89"/>
                </a:cubicBezTo>
                <a:cubicBezTo>
                  <a:pt x="110" y="88"/>
                  <a:pt x="111" y="87"/>
                  <a:pt x="112" y="87"/>
                </a:cubicBezTo>
                <a:cubicBezTo>
                  <a:pt x="113" y="87"/>
                  <a:pt x="113" y="87"/>
                  <a:pt x="113" y="87"/>
                </a:cubicBezTo>
                <a:cubicBezTo>
                  <a:pt x="114" y="87"/>
                  <a:pt x="114" y="87"/>
                  <a:pt x="114" y="87"/>
                </a:cubicBezTo>
                <a:cubicBezTo>
                  <a:pt x="114" y="88"/>
                  <a:pt x="115" y="88"/>
                  <a:pt x="116" y="89"/>
                </a:cubicBezTo>
                <a:cubicBezTo>
                  <a:pt x="117" y="89"/>
                  <a:pt x="118" y="89"/>
                  <a:pt x="119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21" y="88"/>
                  <a:pt x="122" y="88"/>
                  <a:pt x="125" y="89"/>
                </a:cubicBezTo>
                <a:cubicBezTo>
                  <a:pt x="125" y="89"/>
                  <a:pt x="125" y="89"/>
                  <a:pt x="125" y="89"/>
                </a:cubicBezTo>
                <a:cubicBezTo>
                  <a:pt x="125" y="89"/>
                  <a:pt x="125" y="89"/>
                  <a:pt x="125" y="88"/>
                </a:cubicBezTo>
                <a:cubicBezTo>
                  <a:pt x="126" y="88"/>
                  <a:pt x="127" y="88"/>
                  <a:pt x="128" y="89"/>
                </a:cubicBezTo>
                <a:cubicBezTo>
                  <a:pt x="127" y="89"/>
                  <a:pt x="128" y="89"/>
                  <a:pt x="128" y="89"/>
                </a:cubicBezTo>
                <a:cubicBezTo>
                  <a:pt x="128" y="89"/>
                  <a:pt x="128" y="89"/>
                  <a:pt x="128" y="88"/>
                </a:cubicBezTo>
                <a:cubicBezTo>
                  <a:pt x="128" y="88"/>
                  <a:pt x="128" y="88"/>
                  <a:pt x="128" y="88"/>
                </a:cubicBezTo>
                <a:cubicBezTo>
                  <a:pt x="128" y="87"/>
                  <a:pt x="128" y="87"/>
                  <a:pt x="128" y="87"/>
                </a:cubicBezTo>
                <a:cubicBezTo>
                  <a:pt x="127" y="83"/>
                  <a:pt x="127" y="83"/>
                  <a:pt x="127" y="83"/>
                </a:cubicBezTo>
                <a:cubicBezTo>
                  <a:pt x="127" y="82"/>
                  <a:pt x="127" y="82"/>
                  <a:pt x="128" y="82"/>
                </a:cubicBezTo>
                <a:cubicBezTo>
                  <a:pt x="128" y="82"/>
                  <a:pt x="128" y="80"/>
                  <a:pt x="129" y="79"/>
                </a:cubicBezTo>
                <a:cubicBezTo>
                  <a:pt x="129" y="79"/>
                  <a:pt x="129" y="77"/>
                  <a:pt x="134" y="77"/>
                </a:cubicBezTo>
                <a:cubicBezTo>
                  <a:pt x="134" y="77"/>
                  <a:pt x="134" y="77"/>
                  <a:pt x="135" y="77"/>
                </a:cubicBezTo>
                <a:cubicBezTo>
                  <a:pt x="136" y="77"/>
                  <a:pt x="136" y="77"/>
                  <a:pt x="136" y="77"/>
                </a:cubicBezTo>
                <a:cubicBezTo>
                  <a:pt x="137" y="78"/>
                  <a:pt x="137" y="78"/>
                  <a:pt x="137" y="78"/>
                </a:cubicBezTo>
                <a:cubicBezTo>
                  <a:pt x="137" y="78"/>
                  <a:pt x="138" y="79"/>
                  <a:pt x="139" y="79"/>
                </a:cubicBezTo>
                <a:cubicBezTo>
                  <a:pt x="140" y="80"/>
                  <a:pt x="141" y="80"/>
                  <a:pt x="142" y="81"/>
                </a:cubicBezTo>
                <a:cubicBezTo>
                  <a:pt x="142" y="81"/>
                  <a:pt x="143" y="82"/>
                  <a:pt x="144" y="82"/>
                </a:cubicBezTo>
                <a:cubicBezTo>
                  <a:pt x="144" y="82"/>
                  <a:pt x="144" y="82"/>
                  <a:pt x="144" y="82"/>
                </a:cubicBezTo>
                <a:cubicBezTo>
                  <a:pt x="144" y="81"/>
                  <a:pt x="144" y="81"/>
                  <a:pt x="144" y="81"/>
                </a:cubicBezTo>
                <a:cubicBezTo>
                  <a:pt x="144" y="80"/>
                  <a:pt x="146" y="78"/>
                  <a:pt x="148" y="77"/>
                </a:cubicBezTo>
                <a:cubicBezTo>
                  <a:pt x="148" y="77"/>
                  <a:pt x="148" y="77"/>
                  <a:pt x="148" y="76"/>
                </a:cubicBezTo>
                <a:cubicBezTo>
                  <a:pt x="148" y="75"/>
                  <a:pt x="148" y="75"/>
                  <a:pt x="148" y="75"/>
                </a:cubicBezTo>
                <a:cubicBezTo>
                  <a:pt x="149" y="71"/>
                  <a:pt x="149" y="71"/>
                  <a:pt x="149" y="71"/>
                </a:cubicBezTo>
                <a:cubicBezTo>
                  <a:pt x="150" y="71"/>
                  <a:pt x="150" y="71"/>
                  <a:pt x="150" y="71"/>
                </a:cubicBezTo>
                <a:cubicBezTo>
                  <a:pt x="151" y="70"/>
                  <a:pt x="151" y="70"/>
                  <a:pt x="151" y="70"/>
                </a:cubicBezTo>
                <a:cubicBezTo>
                  <a:pt x="152" y="68"/>
                  <a:pt x="152" y="68"/>
                  <a:pt x="153" y="68"/>
                </a:cubicBezTo>
                <a:cubicBezTo>
                  <a:pt x="154" y="67"/>
                  <a:pt x="155" y="66"/>
                  <a:pt x="155" y="66"/>
                </a:cubicBezTo>
                <a:cubicBezTo>
                  <a:pt x="157" y="64"/>
                  <a:pt x="157" y="64"/>
                  <a:pt x="157" y="64"/>
                </a:cubicBezTo>
                <a:cubicBezTo>
                  <a:pt x="158" y="63"/>
                  <a:pt x="158" y="63"/>
                  <a:pt x="158" y="63"/>
                </a:cubicBezTo>
                <a:cubicBezTo>
                  <a:pt x="158" y="60"/>
                  <a:pt x="158" y="60"/>
                  <a:pt x="158" y="60"/>
                </a:cubicBezTo>
                <a:cubicBezTo>
                  <a:pt x="157" y="58"/>
                  <a:pt x="157" y="58"/>
                  <a:pt x="157" y="58"/>
                </a:cubicBezTo>
                <a:cubicBezTo>
                  <a:pt x="156" y="57"/>
                  <a:pt x="156" y="57"/>
                  <a:pt x="156" y="57"/>
                </a:cubicBezTo>
                <a:cubicBezTo>
                  <a:pt x="156" y="57"/>
                  <a:pt x="156" y="57"/>
                  <a:pt x="156" y="57"/>
                </a:cubicBezTo>
                <a:cubicBezTo>
                  <a:pt x="155" y="57"/>
                  <a:pt x="155" y="57"/>
                  <a:pt x="154" y="57"/>
                </a:cubicBezTo>
                <a:cubicBezTo>
                  <a:pt x="153" y="55"/>
                  <a:pt x="153" y="55"/>
                  <a:pt x="153" y="55"/>
                </a:cubicBezTo>
                <a:cubicBezTo>
                  <a:pt x="152" y="53"/>
                  <a:pt x="152" y="53"/>
                  <a:pt x="152" y="53"/>
                </a:cubicBezTo>
                <a:cubicBezTo>
                  <a:pt x="152" y="51"/>
                  <a:pt x="152" y="51"/>
                  <a:pt x="152" y="51"/>
                </a:cubicBezTo>
                <a:cubicBezTo>
                  <a:pt x="151" y="50"/>
                  <a:pt x="151" y="50"/>
                  <a:pt x="151" y="50"/>
                </a:cubicBezTo>
                <a:cubicBezTo>
                  <a:pt x="151" y="50"/>
                  <a:pt x="151" y="50"/>
                  <a:pt x="151" y="49"/>
                </a:cubicBezTo>
                <a:cubicBezTo>
                  <a:pt x="151" y="48"/>
                  <a:pt x="151" y="48"/>
                  <a:pt x="151" y="48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1" y="46"/>
                  <a:pt x="151" y="46"/>
                  <a:pt x="151" y="46"/>
                </a:cubicBezTo>
                <a:cubicBezTo>
                  <a:pt x="152" y="43"/>
                  <a:pt x="152" y="43"/>
                  <a:pt x="152" y="43"/>
                </a:cubicBezTo>
                <a:cubicBezTo>
                  <a:pt x="153" y="42"/>
                  <a:pt x="154" y="42"/>
                  <a:pt x="154" y="42"/>
                </a:cubicBezTo>
                <a:cubicBezTo>
                  <a:pt x="157" y="42"/>
                  <a:pt x="157" y="42"/>
                  <a:pt x="157" y="42"/>
                </a:cubicBezTo>
                <a:cubicBezTo>
                  <a:pt x="158" y="42"/>
                  <a:pt x="158" y="42"/>
                  <a:pt x="159" y="41"/>
                </a:cubicBezTo>
                <a:cubicBezTo>
                  <a:pt x="159" y="40"/>
                  <a:pt x="160" y="40"/>
                  <a:pt x="162" y="40"/>
                </a:cubicBezTo>
                <a:cubicBezTo>
                  <a:pt x="162" y="40"/>
                  <a:pt x="162" y="40"/>
                  <a:pt x="163" y="39"/>
                </a:cubicBezTo>
                <a:cubicBezTo>
                  <a:pt x="164" y="36"/>
                  <a:pt x="164" y="36"/>
                  <a:pt x="164" y="36"/>
                </a:cubicBezTo>
                <a:cubicBezTo>
                  <a:pt x="164" y="35"/>
                  <a:pt x="164" y="35"/>
                  <a:pt x="164" y="35"/>
                </a:cubicBezTo>
                <a:cubicBezTo>
                  <a:pt x="164" y="34"/>
                  <a:pt x="164" y="34"/>
                  <a:pt x="165" y="33"/>
                </a:cubicBezTo>
                <a:cubicBezTo>
                  <a:pt x="167" y="32"/>
                  <a:pt x="167" y="32"/>
                  <a:pt x="167" y="32"/>
                </a:cubicBezTo>
                <a:cubicBezTo>
                  <a:pt x="167" y="30"/>
                  <a:pt x="167" y="30"/>
                  <a:pt x="167" y="30"/>
                </a:cubicBezTo>
                <a:cubicBezTo>
                  <a:pt x="167" y="29"/>
                  <a:pt x="167" y="29"/>
                  <a:pt x="167" y="29"/>
                </a:cubicBezTo>
                <a:cubicBezTo>
                  <a:pt x="169" y="27"/>
                  <a:pt x="169" y="27"/>
                  <a:pt x="169" y="27"/>
                </a:cubicBezTo>
                <a:cubicBezTo>
                  <a:pt x="169" y="23"/>
                  <a:pt x="169" y="23"/>
                  <a:pt x="169" y="23"/>
                </a:cubicBezTo>
                <a:cubicBezTo>
                  <a:pt x="167" y="20"/>
                  <a:pt x="167" y="20"/>
                  <a:pt x="167" y="20"/>
                </a:cubicBezTo>
                <a:cubicBezTo>
                  <a:pt x="166" y="18"/>
                  <a:pt x="166" y="18"/>
                  <a:pt x="166" y="18"/>
                </a:cubicBezTo>
                <a:cubicBezTo>
                  <a:pt x="165" y="17"/>
                  <a:pt x="165" y="17"/>
                  <a:pt x="165" y="17"/>
                </a:cubicBezTo>
                <a:cubicBezTo>
                  <a:pt x="165" y="17"/>
                  <a:pt x="165" y="17"/>
                  <a:pt x="165" y="17"/>
                </a:cubicBezTo>
                <a:cubicBezTo>
                  <a:pt x="162" y="15"/>
                  <a:pt x="162" y="15"/>
                  <a:pt x="162" y="15"/>
                </a:cubicBezTo>
                <a:cubicBezTo>
                  <a:pt x="161" y="15"/>
                  <a:pt x="161" y="15"/>
                  <a:pt x="161" y="15"/>
                </a:cubicBezTo>
                <a:cubicBezTo>
                  <a:pt x="160" y="14"/>
                  <a:pt x="160" y="14"/>
                  <a:pt x="160" y="14"/>
                </a:cubicBezTo>
                <a:cubicBezTo>
                  <a:pt x="159" y="13"/>
                  <a:pt x="159" y="13"/>
                  <a:pt x="159" y="13"/>
                </a:cubicBezTo>
                <a:cubicBezTo>
                  <a:pt x="159" y="6"/>
                  <a:pt x="159" y="6"/>
                  <a:pt x="159" y="6"/>
                </a:cubicBezTo>
                <a:cubicBezTo>
                  <a:pt x="159" y="6"/>
                  <a:pt x="159" y="6"/>
                  <a:pt x="159" y="6"/>
                </a:cubicBezTo>
                <a:cubicBezTo>
                  <a:pt x="156" y="5"/>
                  <a:pt x="156" y="5"/>
                  <a:pt x="156" y="5"/>
                </a:cubicBezTo>
                <a:cubicBezTo>
                  <a:pt x="154" y="5"/>
                  <a:pt x="154" y="5"/>
                  <a:pt x="154" y="5"/>
                </a:cubicBezTo>
                <a:cubicBezTo>
                  <a:pt x="152" y="6"/>
                  <a:pt x="152" y="6"/>
                  <a:pt x="152" y="6"/>
                </a:cubicBezTo>
                <a:cubicBezTo>
                  <a:pt x="152" y="7"/>
                  <a:pt x="152" y="7"/>
                  <a:pt x="152" y="7"/>
                </a:cubicBezTo>
                <a:cubicBezTo>
                  <a:pt x="152" y="8"/>
                  <a:pt x="151" y="9"/>
                  <a:pt x="150" y="9"/>
                </a:cubicBezTo>
                <a:cubicBezTo>
                  <a:pt x="149" y="10"/>
                  <a:pt x="148" y="10"/>
                  <a:pt x="146" y="8"/>
                </a:cubicBezTo>
                <a:cubicBezTo>
                  <a:pt x="142" y="6"/>
                  <a:pt x="142" y="6"/>
                  <a:pt x="142" y="6"/>
                </a:cubicBezTo>
                <a:cubicBezTo>
                  <a:pt x="141" y="6"/>
                  <a:pt x="141" y="5"/>
                  <a:pt x="141" y="4"/>
                </a:cubicBezTo>
                <a:cubicBezTo>
                  <a:pt x="141" y="3"/>
                  <a:pt x="141" y="3"/>
                  <a:pt x="141" y="3"/>
                </a:cubicBezTo>
                <a:cubicBezTo>
                  <a:pt x="140" y="1"/>
                  <a:pt x="140" y="1"/>
                  <a:pt x="140" y="1"/>
                </a:cubicBezTo>
                <a:cubicBezTo>
                  <a:pt x="138" y="0"/>
                  <a:pt x="138" y="0"/>
                  <a:pt x="138" y="0"/>
                </a:cubicBezTo>
                <a:cubicBezTo>
                  <a:pt x="136" y="0"/>
                  <a:pt x="136" y="0"/>
                  <a:pt x="136" y="0"/>
                </a:cubicBezTo>
                <a:cubicBezTo>
                  <a:pt x="135" y="1"/>
                  <a:pt x="135" y="1"/>
                  <a:pt x="135" y="1"/>
                </a:cubicBezTo>
                <a:cubicBezTo>
                  <a:pt x="135" y="2"/>
                  <a:pt x="134" y="2"/>
                  <a:pt x="134" y="2"/>
                </a:cubicBezTo>
                <a:cubicBezTo>
                  <a:pt x="132" y="2"/>
                  <a:pt x="132" y="2"/>
                  <a:pt x="132" y="2"/>
                </a:cubicBezTo>
                <a:cubicBezTo>
                  <a:pt x="132" y="3"/>
                  <a:pt x="132" y="3"/>
                  <a:pt x="131" y="4"/>
                </a:cubicBezTo>
                <a:cubicBezTo>
                  <a:pt x="130" y="5"/>
                  <a:pt x="128" y="5"/>
                  <a:pt x="127" y="4"/>
                </a:cubicBezTo>
                <a:cubicBezTo>
                  <a:pt x="125" y="4"/>
                  <a:pt x="125" y="4"/>
                  <a:pt x="125" y="4"/>
                </a:cubicBezTo>
                <a:cubicBezTo>
                  <a:pt x="124" y="3"/>
                  <a:pt x="123" y="3"/>
                  <a:pt x="123" y="2"/>
                </a:cubicBezTo>
                <a:cubicBezTo>
                  <a:pt x="121" y="2"/>
                  <a:pt x="121" y="2"/>
                  <a:pt x="121" y="2"/>
                </a:cubicBezTo>
                <a:cubicBezTo>
                  <a:pt x="117" y="4"/>
                  <a:pt x="117" y="4"/>
                  <a:pt x="117" y="4"/>
                </a:cubicBezTo>
                <a:cubicBezTo>
                  <a:pt x="117" y="5"/>
                  <a:pt x="116" y="5"/>
                  <a:pt x="116" y="6"/>
                </a:cubicBezTo>
                <a:cubicBezTo>
                  <a:pt x="115" y="7"/>
                  <a:pt x="114" y="8"/>
                  <a:pt x="113" y="8"/>
                </a:cubicBezTo>
                <a:cubicBezTo>
                  <a:pt x="113" y="9"/>
                  <a:pt x="112" y="9"/>
                  <a:pt x="111" y="9"/>
                </a:cubicBezTo>
                <a:cubicBezTo>
                  <a:pt x="111" y="9"/>
                  <a:pt x="110" y="9"/>
                  <a:pt x="110" y="8"/>
                </a:cubicBezTo>
                <a:cubicBezTo>
                  <a:pt x="105" y="8"/>
                  <a:pt x="105" y="8"/>
                  <a:pt x="105" y="8"/>
                </a:cubicBezTo>
                <a:cubicBezTo>
                  <a:pt x="105" y="8"/>
                  <a:pt x="104" y="7"/>
                  <a:pt x="104" y="6"/>
                </a:cubicBezTo>
                <a:cubicBezTo>
                  <a:pt x="102" y="6"/>
                  <a:pt x="102" y="6"/>
                  <a:pt x="102" y="6"/>
                </a:cubicBezTo>
                <a:cubicBezTo>
                  <a:pt x="97" y="9"/>
                  <a:pt x="97" y="9"/>
                  <a:pt x="97" y="9"/>
                </a:cubicBezTo>
                <a:cubicBezTo>
                  <a:pt x="97" y="9"/>
                  <a:pt x="97" y="10"/>
                  <a:pt x="96" y="10"/>
                </a:cubicBezTo>
                <a:cubicBezTo>
                  <a:pt x="95" y="11"/>
                  <a:pt x="93" y="11"/>
                  <a:pt x="93" y="11"/>
                </a:cubicBezTo>
                <a:cubicBezTo>
                  <a:pt x="92" y="11"/>
                  <a:pt x="92" y="11"/>
                  <a:pt x="92" y="11"/>
                </a:cubicBezTo>
                <a:cubicBezTo>
                  <a:pt x="91" y="11"/>
                  <a:pt x="91" y="11"/>
                  <a:pt x="91" y="11"/>
                </a:cubicBezTo>
                <a:cubicBezTo>
                  <a:pt x="91" y="11"/>
                  <a:pt x="91" y="11"/>
                  <a:pt x="91" y="11"/>
                </a:cubicBezTo>
                <a:cubicBezTo>
                  <a:pt x="90" y="12"/>
                  <a:pt x="89" y="12"/>
                  <a:pt x="88" y="12"/>
                </a:cubicBezTo>
                <a:cubicBezTo>
                  <a:pt x="88" y="13"/>
                  <a:pt x="88" y="13"/>
                  <a:pt x="88" y="13"/>
                </a:cubicBezTo>
                <a:cubicBezTo>
                  <a:pt x="88" y="13"/>
                  <a:pt x="87" y="15"/>
                  <a:pt x="86" y="17"/>
                </a:cubicBezTo>
                <a:cubicBezTo>
                  <a:pt x="86" y="17"/>
                  <a:pt x="85" y="19"/>
                  <a:pt x="84" y="19"/>
                </a:cubicBezTo>
                <a:cubicBezTo>
                  <a:pt x="83" y="19"/>
                  <a:pt x="83" y="19"/>
                  <a:pt x="82" y="18"/>
                </a:cubicBezTo>
                <a:cubicBezTo>
                  <a:pt x="82" y="19"/>
                  <a:pt x="81" y="19"/>
                  <a:pt x="81" y="20"/>
                </a:cubicBezTo>
                <a:cubicBezTo>
                  <a:pt x="80" y="20"/>
                  <a:pt x="80" y="20"/>
                  <a:pt x="80" y="20"/>
                </a:cubicBezTo>
                <a:cubicBezTo>
                  <a:pt x="80" y="20"/>
                  <a:pt x="80" y="20"/>
                  <a:pt x="80" y="21"/>
                </a:cubicBezTo>
                <a:cubicBezTo>
                  <a:pt x="79" y="23"/>
                  <a:pt x="77" y="24"/>
                  <a:pt x="75" y="24"/>
                </a:cubicBezTo>
                <a:cubicBezTo>
                  <a:pt x="75" y="24"/>
                  <a:pt x="75" y="24"/>
                  <a:pt x="74" y="24"/>
                </a:cubicBezTo>
                <a:cubicBezTo>
                  <a:pt x="72" y="25"/>
                  <a:pt x="68" y="24"/>
                  <a:pt x="67" y="24"/>
                </a:cubicBezTo>
                <a:cubicBezTo>
                  <a:pt x="66" y="24"/>
                  <a:pt x="66" y="24"/>
                  <a:pt x="66" y="24"/>
                </a:cubicBezTo>
                <a:cubicBezTo>
                  <a:pt x="64" y="22"/>
                  <a:pt x="64" y="22"/>
                  <a:pt x="64" y="22"/>
                </a:cubicBezTo>
                <a:cubicBezTo>
                  <a:pt x="63" y="23"/>
                  <a:pt x="62" y="23"/>
                  <a:pt x="62" y="23"/>
                </a:cubicBezTo>
                <a:cubicBezTo>
                  <a:pt x="61" y="24"/>
                  <a:pt x="60" y="24"/>
                  <a:pt x="58" y="24"/>
                </a:cubicBezTo>
                <a:cubicBezTo>
                  <a:pt x="58" y="24"/>
                  <a:pt x="58" y="24"/>
                  <a:pt x="58" y="24"/>
                </a:cubicBezTo>
                <a:cubicBezTo>
                  <a:pt x="57" y="24"/>
                  <a:pt x="56" y="24"/>
                  <a:pt x="55" y="24"/>
                </a:cubicBezTo>
                <a:cubicBezTo>
                  <a:pt x="55" y="24"/>
                  <a:pt x="55" y="24"/>
                  <a:pt x="55" y="24"/>
                </a:cubicBezTo>
                <a:cubicBezTo>
                  <a:pt x="54" y="24"/>
                  <a:pt x="52" y="24"/>
                  <a:pt x="52" y="24"/>
                </a:cubicBezTo>
                <a:cubicBezTo>
                  <a:pt x="48" y="24"/>
                  <a:pt x="48" y="24"/>
                  <a:pt x="48" y="24"/>
                </a:cubicBezTo>
                <a:cubicBezTo>
                  <a:pt x="47" y="24"/>
                  <a:pt x="47" y="24"/>
                  <a:pt x="47" y="23"/>
                </a:cubicBezTo>
                <a:cubicBezTo>
                  <a:pt x="47" y="23"/>
                  <a:pt x="45" y="22"/>
                  <a:pt x="43" y="21"/>
                </a:cubicBezTo>
                <a:cubicBezTo>
                  <a:pt x="42" y="21"/>
                  <a:pt x="42" y="21"/>
                  <a:pt x="42" y="21"/>
                </a:cubicBezTo>
                <a:cubicBezTo>
                  <a:pt x="40" y="21"/>
                  <a:pt x="39" y="22"/>
                  <a:pt x="37" y="21"/>
                </a:cubicBezTo>
                <a:cubicBezTo>
                  <a:pt x="37" y="21"/>
                  <a:pt x="37" y="21"/>
                  <a:pt x="37" y="21"/>
                </a:cubicBezTo>
                <a:cubicBezTo>
                  <a:pt x="36" y="21"/>
                  <a:pt x="36" y="21"/>
                  <a:pt x="35" y="21"/>
                </a:cubicBezTo>
                <a:cubicBezTo>
                  <a:pt x="34" y="21"/>
                  <a:pt x="33" y="21"/>
                  <a:pt x="32" y="21"/>
                </a:cubicBezTo>
                <a:cubicBezTo>
                  <a:pt x="33" y="21"/>
                  <a:pt x="33" y="21"/>
                  <a:pt x="33" y="22"/>
                </a:cubicBezTo>
                <a:cubicBezTo>
                  <a:pt x="34" y="25"/>
                  <a:pt x="34" y="25"/>
                  <a:pt x="34" y="25"/>
                </a:cubicBezTo>
                <a:cubicBezTo>
                  <a:pt x="34" y="25"/>
                  <a:pt x="34" y="25"/>
                  <a:pt x="34" y="25"/>
                </a:cubicBezTo>
                <a:cubicBezTo>
                  <a:pt x="34" y="28"/>
                  <a:pt x="34" y="28"/>
                  <a:pt x="34" y="28"/>
                </a:cubicBezTo>
                <a:cubicBezTo>
                  <a:pt x="34" y="29"/>
                  <a:pt x="35" y="30"/>
                  <a:pt x="35" y="30"/>
                </a:cubicBezTo>
                <a:cubicBezTo>
                  <a:pt x="38" y="33"/>
                  <a:pt x="38" y="33"/>
                  <a:pt x="38" y="33"/>
                </a:cubicBezTo>
                <a:cubicBezTo>
                  <a:pt x="38" y="33"/>
                  <a:pt x="38" y="33"/>
                  <a:pt x="38" y="34"/>
                </a:cubicBezTo>
                <a:cubicBezTo>
                  <a:pt x="39" y="36"/>
                  <a:pt x="39" y="36"/>
                  <a:pt x="39" y="36"/>
                </a:cubicBezTo>
                <a:cubicBezTo>
                  <a:pt x="39" y="35"/>
                  <a:pt x="40" y="35"/>
                  <a:pt x="41" y="35"/>
                </a:cubicBezTo>
                <a:cubicBezTo>
                  <a:pt x="42" y="35"/>
                  <a:pt x="42" y="36"/>
                  <a:pt x="42" y="37"/>
                </a:cubicBezTo>
                <a:cubicBezTo>
                  <a:pt x="42" y="47"/>
                  <a:pt x="42" y="47"/>
                  <a:pt x="42" y="47"/>
                </a:cubicBezTo>
                <a:cubicBezTo>
                  <a:pt x="42" y="48"/>
                  <a:pt x="41" y="49"/>
                  <a:pt x="40" y="49"/>
                </a:cubicBezTo>
                <a:cubicBezTo>
                  <a:pt x="29" y="49"/>
                  <a:pt x="29" y="49"/>
                  <a:pt x="29" y="49"/>
                </a:cubicBezTo>
                <a:cubicBezTo>
                  <a:pt x="29" y="50"/>
                  <a:pt x="29" y="50"/>
                  <a:pt x="29" y="50"/>
                </a:cubicBezTo>
                <a:cubicBezTo>
                  <a:pt x="29" y="51"/>
                  <a:pt x="28" y="52"/>
                  <a:pt x="27" y="52"/>
                </a:cubicBezTo>
                <a:cubicBezTo>
                  <a:pt x="23" y="52"/>
                  <a:pt x="23" y="52"/>
                  <a:pt x="23" y="52"/>
                </a:cubicBezTo>
                <a:cubicBezTo>
                  <a:pt x="21" y="54"/>
                  <a:pt x="21" y="54"/>
                  <a:pt x="21" y="54"/>
                </a:cubicBezTo>
                <a:cubicBezTo>
                  <a:pt x="20" y="55"/>
                  <a:pt x="20" y="55"/>
                  <a:pt x="19" y="55"/>
                </a:cubicBezTo>
                <a:cubicBezTo>
                  <a:pt x="7" y="55"/>
                  <a:pt x="7" y="55"/>
                  <a:pt x="7" y="55"/>
                </a:cubicBezTo>
                <a:cubicBezTo>
                  <a:pt x="4" y="57"/>
                  <a:pt x="4" y="57"/>
                  <a:pt x="4" y="57"/>
                </a:cubicBezTo>
                <a:cubicBezTo>
                  <a:pt x="1" y="60"/>
                  <a:pt x="1" y="60"/>
                  <a:pt x="1" y="60"/>
                </a:cubicBezTo>
                <a:cubicBezTo>
                  <a:pt x="0" y="62"/>
                  <a:pt x="0" y="62"/>
                  <a:pt x="0" y="62"/>
                </a:cubicBezTo>
                <a:cubicBezTo>
                  <a:pt x="2" y="65"/>
                  <a:pt x="2" y="65"/>
                  <a:pt x="2" y="65"/>
                </a:cubicBezTo>
                <a:cubicBezTo>
                  <a:pt x="2" y="66"/>
                  <a:pt x="2" y="66"/>
                  <a:pt x="2" y="66"/>
                </a:cubicBezTo>
                <a:cubicBezTo>
                  <a:pt x="2" y="68"/>
                  <a:pt x="2" y="68"/>
                  <a:pt x="2" y="68"/>
                </a:cubicBezTo>
                <a:cubicBezTo>
                  <a:pt x="2" y="69"/>
                  <a:pt x="2" y="69"/>
                  <a:pt x="2" y="70"/>
                </a:cubicBezTo>
                <a:cubicBezTo>
                  <a:pt x="1" y="72"/>
                  <a:pt x="1" y="72"/>
                  <a:pt x="1" y="72"/>
                </a:cubicBezTo>
                <a:cubicBezTo>
                  <a:pt x="7" y="72"/>
                  <a:pt x="7" y="72"/>
                  <a:pt x="7" y="72"/>
                </a:cubicBezTo>
                <a:cubicBezTo>
                  <a:pt x="8" y="72"/>
                  <a:pt x="8" y="72"/>
                  <a:pt x="8" y="72"/>
                </a:cubicBezTo>
                <a:cubicBezTo>
                  <a:pt x="11" y="75"/>
                  <a:pt x="11" y="75"/>
                  <a:pt x="11" y="75"/>
                </a:cubicBezTo>
                <a:cubicBezTo>
                  <a:pt x="15" y="75"/>
                  <a:pt x="15" y="75"/>
                  <a:pt x="15" y="75"/>
                </a:cubicBezTo>
                <a:cubicBezTo>
                  <a:pt x="16" y="75"/>
                  <a:pt x="16" y="75"/>
                  <a:pt x="17" y="76"/>
                </a:cubicBezTo>
                <a:cubicBezTo>
                  <a:pt x="17" y="79"/>
                  <a:pt x="17" y="79"/>
                  <a:pt x="17" y="79"/>
                </a:cubicBezTo>
                <a:cubicBezTo>
                  <a:pt x="17" y="80"/>
                  <a:pt x="18" y="82"/>
                  <a:pt x="17" y="85"/>
                </a:cubicBezTo>
                <a:cubicBezTo>
                  <a:pt x="16" y="86"/>
                  <a:pt x="17" y="86"/>
                  <a:pt x="17" y="86"/>
                </a:cubicBezTo>
                <a:cubicBezTo>
                  <a:pt x="17" y="87"/>
                  <a:pt x="17" y="87"/>
                  <a:pt x="17" y="87"/>
                </a:cubicBezTo>
                <a:cubicBezTo>
                  <a:pt x="17" y="96"/>
                  <a:pt x="17" y="96"/>
                  <a:pt x="17" y="96"/>
                </a:cubicBezTo>
                <a:cubicBezTo>
                  <a:pt x="13" y="97"/>
                  <a:pt x="13" y="97"/>
                  <a:pt x="13" y="97"/>
                </a:cubicBezTo>
                <a:cubicBezTo>
                  <a:pt x="19" y="96"/>
                  <a:pt x="19" y="96"/>
                  <a:pt x="19" y="96"/>
                </a:cubicBezTo>
                <a:cubicBezTo>
                  <a:pt x="40" y="96"/>
                  <a:pt x="40" y="96"/>
                  <a:pt x="40" y="96"/>
                </a:cubicBezTo>
                <a:cubicBezTo>
                  <a:pt x="50" y="99"/>
                  <a:pt x="50" y="99"/>
                  <a:pt x="50" y="99"/>
                </a:cubicBezTo>
                <a:cubicBezTo>
                  <a:pt x="80" y="110"/>
                  <a:pt x="80" y="110"/>
                  <a:pt x="80" y="110"/>
                </a:cubicBezTo>
                <a:cubicBezTo>
                  <a:pt x="98" y="110"/>
                  <a:pt x="98" y="110"/>
                  <a:pt x="98" y="110"/>
                </a:cubicBezTo>
                <a:cubicBezTo>
                  <a:pt x="99" y="108"/>
                  <a:pt x="99" y="108"/>
                  <a:pt x="99" y="108"/>
                </a:cubicBezTo>
                <a:cubicBezTo>
                  <a:pt x="99" y="107"/>
                  <a:pt x="99" y="107"/>
                  <a:pt x="99" y="10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Freeform 12">
            <a:extLst>
              <a:ext uri="{FF2B5EF4-FFF2-40B4-BE49-F238E27FC236}">
                <a16:creationId xmlns:a16="http://schemas.microsoft.com/office/drawing/2014/main" id="{370632F7-A6BD-47B1-B9B7-C4A4ECAB7709}"/>
              </a:ext>
            </a:extLst>
          </p:cNvPr>
          <p:cNvSpPr>
            <a:spLocks/>
          </p:cNvSpPr>
          <p:nvPr/>
        </p:nvSpPr>
        <p:spPr bwMode="auto">
          <a:xfrm>
            <a:off x="4333359" y="4871569"/>
            <a:ext cx="294085" cy="301625"/>
          </a:xfrm>
          <a:custGeom>
            <a:avLst/>
            <a:gdLst>
              <a:gd name="T0" fmla="*/ 97 w 122"/>
              <a:gd name="T1" fmla="*/ 87 h 135"/>
              <a:gd name="T2" fmla="*/ 97 w 122"/>
              <a:gd name="T3" fmla="*/ 84 h 135"/>
              <a:gd name="T4" fmla="*/ 95 w 122"/>
              <a:gd name="T5" fmla="*/ 83 h 135"/>
              <a:gd name="T6" fmla="*/ 90 w 122"/>
              <a:gd name="T7" fmla="*/ 80 h 135"/>
              <a:gd name="T8" fmla="*/ 82 w 122"/>
              <a:gd name="T9" fmla="*/ 80 h 135"/>
              <a:gd name="T10" fmla="*/ 77 w 122"/>
              <a:gd name="T11" fmla="*/ 80 h 135"/>
              <a:gd name="T12" fmla="*/ 73 w 122"/>
              <a:gd name="T13" fmla="*/ 78 h 135"/>
              <a:gd name="T14" fmla="*/ 73 w 122"/>
              <a:gd name="T15" fmla="*/ 75 h 135"/>
              <a:gd name="T16" fmla="*/ 81 w 122"/>
              <a:gd name="T17" fmla="*/ 74 h 135"/>
              <a:gd name="T18" fmla="*/ 82 w 122"/>
              <a:gd name="T19" fmla="*/ 71 h 135"/>
              <a:gd name="T20" fmla="*/ 80 w 122"/>
              <a:gd name="T21" fmla="*/ 66 h 135"/>
              <a:gd name="T22" fmla="*/ 81 w 122"/>
              <a:gd name="T23" fmla="*/ 61 h 135"/>
              <a:gd name="T24" fmla="*/ 89 w 122"/>
              <a:gd name="T25" fmla="*/ 55 h 135"/>
              <a:gd name="T26" fmla="*/ 102 w 122"/>
              <a:gd name="T27" fmla="*/ 55 h 135"/>
              <a:gd name="T28" fmla="*/ 106 w 122"/>
              <a:gd name="T29" fmla="*/ 52 h 135"/>
              <a:gd name="T30" fmla="*/ 113 w 122"/>
              <a:gd name="T31" fmla="*/ 49 h 135"/>
              <a:gd name="T32" fmla="*/ 122 w 122"/>
              <a:gd name="T33" fmla="*/ 44 h 135"/>
              <a:gd name="T34" fmla="*/ 119 w 122"/>
              <a:gd name="T35" fmla="*/ 42 h 135"/>
              <a:gd name="T36" fmla="*/ 116 w 122"/>
              <a:gd name="T37" fmla="*/ 37 h 135"/>
              <a:gd name="T38" fmla="*/ 114 w 122"/>
              <a:gd name="T39" fmla="*/ 30 h 135"/>
              <a:gd name="T40" fmla="*/ 112 w 122"/>
              <a:gd name="T41" fmla="*/ 26 h 135"/>
              <a:gd name="T42" fmla="*/ 108 w 122"/>
              <a:gd name="T43" fmla="*/ 25 h 135"/>
              <a:gd name="T44" fmla="*/ 107 w 122"/>
              <a:gd name="T45" fmla="*/ 24 h 135"/>
              <a:gd name="T46" fmla="*/ 87 w 122"/>
              <a:gd name="T47" fmla="*/ 22 h 135"/>
              <a:gd name="T48" fmla="*/ 85 w 122"/>
              <a:gd name="T49" fmla="*/ 18 h 135"/>
              <a:gd name="T50" fmla="*/ 87 w 122"/>
              <a:gd name="T51" fmla="*/ 7 h 135"/>
              <a:gd name="T52" fmla="*/ 77 w 122"/>
              <a:gd name="T53" fmla="*/ 6 h 135"/>
              <a:gd name="T54" fmla="*/ 76 w 122"/>
              <a:gd name="T55" fmla="*/ 10 h 135"/>
              <a:gd name="T56" fmla="*/ 74 w 122"/>
              <a:gd name="T57" fmla="*/ 14 h 135"/>
              <a:gd name="T58" fmla="*/ 63 w 122"/>
              <a:gd name="T59" fmla="*/ 29 h 135"/>
              <a:gd name="T60" fmla="*/ 55 w 122"/>
              <a:gd name="T61" fmla="*/ 31 h 135"/>
              <a:gd name="T62" fmla="*/ 4 w 122"/>
              <a:gd name="T63" fmla="*/ 51 h 135"/>
              <a:gd name="T64" fmla="*/ 15 w 122"/>
              <a:gd name="T65" fmla="*/ 69 h 135"/>
              <a:gd name="T66" fmla="*/ 17 w 122"/>
              <a:gd name="T67" fmla="*/ 70 h 135"/>
              <a:gd name="T68" fmla="*/ 19 w 122"/>
              <a:gd name="T69" fmla="*/ 75 h 135"/>
              <a:gd name="T70" fmla="*/ 21 w 122"/>
              <a:gd name="T71" fmla="*/ 89 h 135"/>
              <a:gd name="T72" fmla="*/ 19 w 122"/>
              <a:gd name="T73" fmla="*/ 92 h 135"/>
              <a:gd name="T74" fmla="*/ 11 w 122"/>
              <a:gd name="T75" fmla="*/ 93 h 135"/>
              <a:gd name="T76" fmla="*/ 8 w 122"/>
              <a:gd name="T77" fmla="*/ 110 h 135"/>
              <a:gd name="T78" fmla="*/ 14 w 122"/>
              <a:gd name="T79" fmla="*/ 106 h 135"/>
              <a:gd name="T80" fmla="*/ 35 w 122"/>
              <a:gd name="T81" fmla="*/ 108 h 135"/>
              <a:gd name="T82" fmla="*/ 39 w 122"/>
              <a:gd name="T83" fmla="*/ 109 h 135"/>
              <a:gd name="T84" fmla="*/ 53 w 122"/>
              <a:gd name="T85" fmla="*/ 105 h 135"/>
              <a:gd name="T86" fmla="*/ 55 w 122"/>
              <a:gd name="T87" fmla="*/ 105 h 135"/>
              <a:gd name="T88" fmla="*/ 55 w 122"/>
              <a:gd name="T89" fmla="*/ 106 h 135"/>
              <a:gd name="T90" fmla="*/ 53 w 122"/>
              <a:gd name="T91" fmla="*/ 109 h 135"/>
              <a:gd name="T92" fmla="*/ 41 w 122"/>
              <a:gd name="T93" fmla="*/ 112 h 135"/>
              <a:gd name="T94" fmla="*/ 26 w 122"/>
              <a:gd name="T95" fmla="*/ 115 h 135"/>
              <a:gd name="T96" fmla="*/ 29 w 122"/>
              <a:gd name="T97" fmla="*/ 129 h 135"/>
              <a:gd name="T98" fmla="*/ 36 w 122"/>
              <a:gd name="T99" fmla="*/ 133 h 135"/>
              <a:gd name="T100" fmla="*/ 47 w 122"/>
              <a:gd name="T101" fmla="*/ 135 h 135"/>
              <a:gd name="T102" fmla="*/ 54 w 122"/>
              <a:gd name="T103" fmla="*/ 127 h 135"/>
              <a:gd name="T104" fmla="*/ 59 w 122"/>
              <a:gd name="T105" fmla="*/ 123 h 135"/>
              <a:gd name="T106" fmla="*/ 84 w 122"/>
              <a:gd name="T107" fmla="*/ 114 h 135"/>
              <a:gd name="T108" fmla="*/ 86 w 122"/>
              <a:gd name="T109" fmla="*/ 105 h 135"/>
              <a:gd name="T110" fmla="*/ 92 w 122"/>
              <a:gd name="T111" fmla="*/ 102 h 135"/>
              <a:gd name="T112" fmla="*/ 97 w 122"/>
              <a:gd name="T113" fmla="*/ 101 h 135"/>
              <a:gd name="T114" fmla="*/ 97 w 122"/>
              <a:gd name="T115" fmla="*/ 92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22" h="135">
                <a:moveTo>
                  <a:pt x="97" y="92"/>
                </a:moveTo>
                <a:cubicBezTo>
                  <a:pt x="96" y="91"/>
                  <a:pt x="96" y="89"/>
                  <a:pt x="97" y="87"/>
                </a:cubicBezTo>
                <a:cubicBezTo>
                  <a:pt x="98" y="86"/>
                  <a:pt x="97" y="84"/>
                  <a:pt x="97" y="84"/>
                </a:cubicBezTo>
                <a:cubicBezTo>
                  <a:pt x="97" y="84"/>
                  <a:pt x="97" y="84"/>
                  <a:pt x="97" y="84"/>
                </a:cubicBezTo>
                <a:cubicBezTo>
                  <a:pt x="97" y="83"/>
                  <a:pt x="97" y="83"/>
                  <a:pt x="97" y="83"/>
                </a:cubicBezTo>
                <a:cubicBezTo>
                  <a:pt x="95" y="83"/>
                  <a:pt x="95" y="83"/>
                  <a:pt x="95" y="83"/>
                </a:cubicBezTo>
                <a:cubicBezTo>
                  <a:pt x="94" y="83"/>
                  <a:pt x="94" y="82"/>
                  <a:pt x="94" y="82"/>
                </a:cubicBezTo>
                <a:cubicBezTo>
                  <a:pt x="90" y="80"/>
                  <a:pt x="90" y="80"/>
                  <a:pt x="90" y="80"/>
                </a:cubicBezTo>
                <a:cubicBezTo>
                  <a:pt x="83" y="80"/>
                  <a:pt x="83" y="80"/>
                  <a:pt x="83" y="80"/>
                </a:cubicBezTo>
                <a:cubicBezTo>
                  <a:pt x="83" y="80"/>
                  <a:pt x="83" y="80"/>
                  <a:pt x="82" y="80"/>
                </a:cubicBezTo>
                <a:cubicBezTo>
                  <a:pt x="82" y="80"/>
                  <a:pt x="82" y="80"/>
                  <a:pt x="82" y="80"/>
                </a:cubicBezTo>
                <a:cubicBezTo>
                  <a:pt x="80" y="80"/>
                  <a:pt x="78" y="80"/>
                  <a:pt x="77" y="80"/>
                </a:cubicBezTo>
                <a:cubicBezTo>
                  <a:pt x="75" y="80"/>
                  <a:pt x="75" y="80"/>
                  <a:pt x="75" y="80"/>
                </a:cubicBezTo>
                <a:cubicBezTo>
                  <a:pt x="74" y="80"/>
                  <a:pt x="73" y="79"/>
                  <a:pt x="73" y="78"/>
                </a:cubicBezTo>
                <a:cubicBezTo>
                  <a:pt x="73" y="77"/>
                  <a:pt x="73" y="77"/>
                  <a:pt x="73" y="77"/>
                </a:cubicBezTo>
                <a:cubicBezTo>
                  <a:pt x="73" y="76"/>
                  <a:pt x="73" y="76"/>
                  <a:pt x="73" y="75"/>
                </a:cubicBezTo>
                <a:cubicBezTo>
                  <a:pt x="73" y="74"/>
                  <a:pt x="74" y="74"/>
                  <a:pt x="75" y="74"/>
                </a:cubicBezTo>
                <a:cubicBezTo>
                  <a:pt x="81" y="74"/>
                  <a:pt x="81" y="74"/>
                  <a:pt x="81" y="74"/>
                </a:cubicBezTo>
                <a:cubicBezTo>
                  <a:pt x="82" y="72"/>
                  <a:pt x="82" y="72"/>
                  <a:pt x="82" y="72"/>
                </a:cubicBezTo>
                <a:cubicBezTo>
                  <a:pt x="82" y="71"/>
                  <a:pt x="82" y="71"/>
                  <a:pt x="82" y="71"/>
                </a:cubicBezTo>
                <a:cubicBezTo>
                  <a:pt x="80" y="67"/>
                  <a:pt x="80" y="67"/>
                  <a:pt x="80" y="67"/>
                </a:cubicBezTo>
                <a:cubicBezTo>
                  <a:pt x="80" y="66"/>
                  <a:pt x="80" y="66"/>
                  <a:pt x="80" y="66"/>
                </a:cubicBezTo>
                <a:cubicBezTo>
                  <a:pt x="81" y="62"/>
                  <a:pt x="81" y="62"/>
                  <a:pt x="81" y="62"/>
                </a:cubicBezTo>
                <a:cubicBezTo>
                  <a:pt x="81" y="61"/>
                  <a:pt x="81" y="61"/>
                  <a:pt x="81" y="61"/>
                </a:cubicBezTo>
                <a:cubicBezTo>
                  <a:pt x="86" y="58"/>
                  <a:pt x="86" y="58"/>
                  <a:pt x="86" y="58"/>
                </a:cubicBezTo>
                <a:cubicBezTo>
                  <a:pt x="89" y="55"/>
                  <a:pt x="89" y="55"/>
                  <a:pt x="89" y="55"/>
                </a:cubicBezTo>
                <a:cubicBezTo>
                  <a:pt x="90" y="55"/>
                  <a:pt x="90" y="55"/>
                  <a:pt x="90" y="55"/>
                </a:cubicBezTo>
                <a:cubicBezTo>
                  <a:pt x="102" y="55"/>
                  <a:pt x="102" y="55"/>
                  <a:pt x="102" y="55"/>
                </a:cubicBezTo>
                <a:cubicBezTo>
                  <a:pt x="104" y="52"/>
                  <a:pt x="104" y="52"/>
                  <a:pt x="104" y="52"/>
                </a:cubicBezTo>
                <a:cubicBezTo>
                  <a:pt x="105" y="52"/>
                  <a:pt x="105" y="52"/>
                  <a:pt x="106" y="52"/>
                </a:cubicBezTo>
                <a:cubicBezTo>
                  <a:pt x="110" y="52"/>
                  <a:pt x="110" y="52"/>
                  <a:pt x="110" y="52"/>
                </a:cubicBezTo>
                <a:cubicBezTo>
                  <a:pt x="110" y="50"/>
                  <a:pt x="112" y="49"/>
                  <a:pt x="113" y="49"/>
                </a:cubicBezTo>
                <a:cubicBezTo>
                  <a:pt x="122" y="49"/>
                  <a:pt x="122" y="49"/>
                  <a:pt x="122" y="49"/>
                </a:cubicBezTo>
                <a:cubicBezTo>
                  <a:pt x="122" y="44"/>
                  <a:pt x="122" y="44"/>
                  <a:pt x="122" y="44"/>
                </a:cubicBezTo>
                <a:cubicBezTo>
                  <a:pt x="122" y="44"/>
                  <a:pt x="122" y="44"/>
                  <a:pt x="122" y="44"/>
                </a:cubicBezTo>
                <a:cubicBezTo>
                  <a:pt x="121" y="44"/>
                  <a:pt x="120" y="44"/>
                  <a:pt x="119" y="42"/>
                </a:cubicBezTo>
                <a:cubicBezTo>
                  <a:pt x="118" y="39"/>
                  <a:pt x="118" y="39"/>
                  <a:pt x="118" y="39"/>
                </a:cubicBezTo>
                <a:cubicBezTo>
                  <a:pt x="116" y="37"/>
                  <a:pt x="116" y="37"/>
                  <a:pt x="116" y="37"/>
                </a:cubicBezTo>
                <a:cubicBezTo>
                  <a:pt x="116" y="36"/>
                  <a:pt x="114" y="34"/>
                  <a:pt x="114" y="32"/>
                </a:cubicBezTo>
                <a:cubicBezTo>
                  <a:pt x="114" y="30"/>
                  <a:pt x="114" y="30"/>
                  <a:pt x="114" y="30"/>
                </a:cubicBezTo>
                <a:cubicBezTo>
                  <a:pt x="113" y="27"/>
                  <a:pt x="113" y="27"/>
                  <a:pt x="113" y="27"/>
                </a:cubicBezTo>
                <a:cubicBezTo>
                  <a:pt x="112" y="26"/>
                  <a:pt x="112" y="26"/>
                  <a:pt x="112" y="26"/>
                </a:cubicBezTo>
                <a:cubicBezTo>
                  <a:pt x="110" y="26"/>
                  <a:pt x="110" y="26"/>
                  <a:pt x="110" y="26"/>
                </a:cubicBezTo>
                <a:cubicBezTo>
                  <a:pt x="109" y="26"/>
                  <a:pt x="108" y="26"/>
                  <a:pt x="108" y="25"/>
                </a:cubicBezTo>
                <a:cubicBezTo>
                  <a:pt x="108" y="25"/>
                  <a:pt x="107" y="24"/>
                  <a:pt x="108" y="24"/>
                </a:cubicBezTo>
                <a:cubicBezTo>
                  <a:pt x="108" y="24"/>
                  <a:pt x="108" y="24"/>
                  <a:pt x="107" y="24"/>
                </a:cubicBezTo>
                <a:cubicBezTo>
                  <a:pt x="88" y="24"/>
                  <a:pt x="88" y="24"/>
                  <a:pt x="88" y="24"/>
                </a:cubicBezTo>
                <a:cubicBezTo>
                  <a:pt x="88" y="24"/>
                  <a:pt x="87" y="23"/>
                  <a:pt x="87" y="22"/>
                </a:cubicBezTo>
                <a:cubicBezTo>
                  <a:pt x="86" y="20"/>
                  <a:pt x="86" y="20"/>
                  <a:pt x="86" y="20"/>
                </a:cubicBezTo>
                <a:cubicBezTo>
                  <a:pt x="85" y="19"/>
                  <a:pt x="85" y="19"/>
                  <a:pt x="85" y="18"/>
                </a:cubicBezTo>
                <a:cubicBezTo>
                  <a:pt x="86" y="13"/>
                  <a:pt x="86" y="13"/>
                  <a:pt x="86" y="13"/>
                </a:cubicBezTo>
                <a:cubicBezTo>
                  <a:pt x="87" y="11"/>
                  <a:pt x="87" y="8"/>
                  <a:pt x="87" y="7"/>
                </a:cubicBezTo>
                <a:cubicBezTo>
                  <a:pt x="86" y="4"/>
                  <a:pt x="85" y="2"/>
                  <a:pt x="86" y="0"/>
                </a:cubicBezTo>
                <a:cubicBezTo>
                  <a:pt x="77" y="6"/>
                  <a:pt x="77" y="6"/>
                  <a:pt x="77" y="6"/>
                </a:cubicBezTo>
                <a:cubicBezTo>
                  <a:pt x="77" y="7"/>
                  <a:pt x="77" y="7"/>
                  <a:pt x="77" y="7"/>
                </a:cubicBezTo>
                <a:cubicBezTo>
                  <a:pt x="76" y="10"/>
                  <a:pt x="76" y="10"/>
                  <a:pt x="76" y="10"/>
                </a:cubicBezTo>
                <a:cubicBezTo>
                  <a:pt x="76" y="10"/>
                  <a:pt x="76" y="10"/>
                  <a:pt x="76" y="10"/>
                </a:cubicBezTo>
                <a:cubicBezTo>
                  <a:pt x="74" y="14"/>
                  <a:pt x="74" y="14"/>
                  <a:pt x="74" y="14"/>
                </a:cubicBezTo>
                <a:cubicBezTo>
                  <a:pt x="63" y="29"/>
                  <a:pt x="63" y="29"/>
                  <a:pt x="63" y="29"/>
                </a:cubicBezTo>
                <a:cubicBezTo>
                  <a:pt x="63" y="29"/>
                  <a:pt x="63" y="29"/>
                  <a:pt x="63" y="29"/>
                </a:cubicBezTo>
                <a:cubicBezTo>
                  <a:pt x="62" y="30"/>
                  <a:pt x="62" y="30"/>
                  <a:pt x="62" y="30"/>
                </a:cubicBezTo>
                <a:cubicBezTo>
                  <a:pt x="55" y="31"/>
                  <a:pt x="55" y="31"/>
                  <a:pt x="55" y="31"/>
                </a:cubicBezTo>
                <a:cubicBezTo>
                  <a:pt x="25" y="33"/>
                  <a:pt x="25" y="33"/>
                  <a:pt x="25" y="33"/>
                </a:cubicBezTo>
                <a:cubicBezTo>
                  <a:pt x="4" y="51"/>
                  <a:pt x="4" y="51"/>
                  <a:pt x="4" y="51"/>
                </a:cubicBezTo>
                <a:cubicBezTo>
                  <a:pt x="7" y="66"/>
                  <a:pt x="7" y="66"/>
                  <a:pt x="7" y="66"/>
                </a:cubicBezTo>
                <a:cubicBezTo>
                  <a:pt x="15" y="69"/>
                  <a:pt x="15" y="69"/>
                  <a:pt x="15" y="69"/>
                </a:cubicBezTo>
                <a:cubicBezTo>
                  <a:pt x="17" y="70"/>
                  <a:pt x="17" y="70"/>
                  <a:pt x="17" y="70"/>
                </a:cubicBezTo>
                <a:cubicBezTo>
                  <a:pt x="17" y="70"/>
                  <a:pt x="17" y="70"/>
                  <a:pt x="17" y="70"/>
                </a:cubicBezTo>
                <a:cubicBezTo>
                  <a:pt x="18" y="73"/>
                  <a:pt x="18" y="73"/>
                  <a:pt x="18" y="73"/>
                </a:cubicBezTo>
                <a:cubicBezTo>
                  <a:pt x="19" y="75"/>
                  <a:pt x="19" y="75"/>
                  <a:pt x="19" y="75"/>
                </a:cubicBezTo>
                <a:cubicBezTo>
                  <a:pt x="21" y="88"/>
                  <a:pt x="21" y="88"/>
                  <a:pt x="21" y="88"/>
                </a:cubicBezTo>
                <a:cubicBezTo>
                  <a:pt x="21" y="89"/>
                  <a:pt x="21" y="89"/>
                  <a:pt x="21" y="89"/>
                </a:cubicBezTo>
                <a:cubicBezTo>
                  <a:pt x="20" y="91"/>
                  <a:pt x="20" y="91"/>
                  <a:pt x="20" y="91"/>
                </a:cubicBezTo>
                <a:cubicBezTo>
                  <a:pt x="19" y="92"/>
                  <a:pt x="19" y="92"/>
                  <a:pt x="19" y="92"/>
                </a:cubicBezTo>
                <a:cubicBezTo>
                  <a:pt x="14" y="92"/>
                  <a:pt x="14" y="92"/>
                  <a:pt x="14" y="92"/>
                </a:cubicBezTo>
                <a:cubicBezTo>
                  <a:pt x="11" y="93"/>
                  <a:pt x="11" y="93"/>
                  <a:pt x="11" y="93"/>
                </a:cubicBezTo>
                <a:cubicBezTo>
                  <a:pt x="0" y="101"/>
                  <a:pt x="0" y="101"/>
                  <a:pt x="0" y="101"/>
                </a:cubicBezTo>
                <a:cubicBezTo>
                  <a:pt x="8" y="110"/>
                  <a:pt x="8" y="110"/>
                  <a:pt x="8" y="110"/>
                </a:cubicBezTo>
                <a:cubicBezTo>
                  <a:pt x="12" y="111"/>
                  <a:pt x="12" y="111"/>
                  <a:pt x="12" y="111"/>
                </a:cubicBezTo>
                <a:cubicBezTo>
                  <a:pt x="14" y="106"/>
                  <a:pt x="14" y="106"/>
                  <a:pt x="14" y="106"/>
                </a:cubicBezTo>
                <a:cubicBezTo>
                  <a:pt x="32" y="107"/>
                  <a:pt x="32" y="107"/>
                  <a:pt x="32" y="107"/>
                </a:cubicBezTo>
                <a:cubicBezTo>
                  <a:pt x="35" y="108"/>
                  <a:pt x="35" y="108"/>
                  <a:pt x="35" y="108"/>
                </a:cubicBezTo>
                <a:cubicBezTo>
                  <a:pt x="37" y="109"/>
                  <a:pt x="37" y="109"/>
                  <a:pt x="37" y="109"/>
                </a:cubicBezTo>
                <a:cubicBezTo>
                  <a:pt x="39" y="109"/>
                  <a:pt x="39" y="109"/>
                  <a:pt x="39" y="109"/>
                </a:cubicBezTo>
                <a:cubicBezTo>
                  <a:pt x="51" y="106"/>
                  <a:pt x="51" y="106"/>
                  <a:pt x="51" y="106"/>
                </a:cubicBezTo>
                <a:cubicBezTo>
                  <a:pt x="53" y="105"/>
                  <a:pt x="53" y="105"/>
                  <a:pt x="53" y="105"/>
                </a:cubicBezTo>
                <a:cubicBezTo>
                  <a:pt x="55" y="105"/>
                  <a:pt x="55" y="105"/>
                  <a:pt x="55" y="105"/>
                </a:cubicBezTo>
                <a:cubicBezTo>
                  <a:pt x="55" y="105"/>
                  <a:pt x="55" y="105"/>
                  <a:pt x="55" y="105"/>
                </a:cubicBezTo>
                <a:cubicBezTo>
                  <a:pt x="56" y="106"/>
                  <a:pt x="56" y="106"/>
                  <a:pt x="56" y="106"/>
                </a:cubicBezTo>
                <a:cubicBezTo>
                  <a:pt x="55" y="106"/>
                  <a:pt x="55" y="106"/>
                  <a:pt x="55" y="106"/>
                </a:cubicBezTo>
                <a:cubicBezTo>
                  <a:pt x="54" y="108"/>
                  <a:pt x="54" y="108"/>
                  <a:pt x="54" y="108"/>
                </a:cubicBezTo>
                <a:cubicBezTo>
                  <a:pt x="53" y="109"/>
                  <a:pt x="53" y="109"/>
                  <a:pt x="53" y="109"/>
                </a:cubicBezTo>
                <a:cubicBezTo>
                  <a:pt x="50" y="110"/>
                  <a:pt x="50" y="110"/>
                  <a:pt x="50" y="110"/>
                </a:cubicBezTo>
                <a:cubicBezTo>
                  <a:pt x="41" y="112"/>
                  <a:pt x="41" y="112"/>
                  <a:pt x="41" y="112"/>
                </a:cubicBezTo>
                <a:cubicBezTo>
                  <a:pt x="29" y="115"/>
                  <a:pt x="29" y="115"/>
                  <a:pt x="29" y="115"/>
                </a:cubicBezTo>
                <a:cubicBezTo>
                  <a:pt x="26" y="115"/>
                  <a:pt x="26" y="115"/>
                  <a:pt x="26" y="115"/>
                </a:cubicBezTo>
                <a:cubicBezTo>
                  <a:pt x="28" y="128"/>
                  <a:pt x="28" y="128"/>
                  <a:pt x="28" y="128"/>
                </a:cubicBezTo>
                <a:cubicBezTo>
                  <a:pt x="29" y="129"/>
                  <a:pt x="29" y="129"/>
                  <a:pt x="29" y="129"/>
                </a:cubicBezTo>
                <a:cubicBezTo>
                  <a:pt x="30" y="130"/>
                  <a:pt x="30" y="130"/>
                  <a:pt x="30" y="130"/>
                </a:cubicBezTo>
                <a:cubicBezTo>
                  <a:pt x="36" y="133"/>
                  <a:pt x="36" y="133"/>
                  <a:pt x="36" y="133"/>
                </a:cubicBezTo>
                <a:cubicBezTo>
                  <a:pt x="46" y="135"/>
                  <a:pt x="46" y="135"/>
                  <a:pt x="46" y="135"/>
                </a:cubicBezTo>
                <a:cubicBezTo>
                  <a:pt x="47" y="135"/>
                  <a:pt x="47" y="135"/>
                  <a:pt x="47" y="135"/>
                </a:cubicBezTo>
                <a:cubicBezTo>
                  <a:pt x="49" y="133"/>
                  <a:pt x="49" y="133"/>
                  <a:pt x="49" y="133"/>
                </a:cubicBezTo>
                <a:cubicBezTo>
                  <a:pt x="54" y="127"/>
                  <a:pt x="54" y="127"/>
                  <a:pt x="54" y="127"/>
                </a:cubicBezTo>
                <a:cubicBezTo>
                  <a:pt x="57" y="124"/>
                  <a:pt x="57" y="124"/>
                  <a:pt x="57" y="124"/>
                </a:cubicBezTo>
                <a:cubicBezTo>
                  <a:pt x="59" y="123"/>
                  <a:pt x="59" y="123"/>
                  <a:pt x="59" y="123"/>
                </a:cubicBezTo>
                <a:cubicBezTo>
                  <a:pt x="62" y="123"/>
                  <a:pt x="62" y="123"/>
                  <a:pt x="62" y="123"/>
                </a:cubicBezTo>
                <a:cubicBezTo>
                  <a:pt x="84" y="114"/>
                  <a:pt x="84" y="114"/>
                  <a:pt x="84" y="114"/>
                </a:cubicBezTo>
                <a:cubicBezTo>
                  <a:pt x="86" y="107"/>
                  <a:pt x="86" y="107"/>
                  <a:pt x="86" y="107"/>
                </a:cubicBezTo>
                <a:cubicBezTo>
                  <a:pt x="86" y="105"/>
                  <a:pt x="86" y="105"/>
                  <a:pt x="86" y="105"/>
                </a:cubicBezTo>
                <a:cubicBezTo>
                  <a:pt x="88" y="104"/>
                  <a:pt x="88" y="104"/>
                  <a:pt x="88" y="104"/>
                </a:cubicBezTo>
                <a:cubicBezTo>
                  <a:pt x="92" y="102"/>
                  <a:pt x="92" y="102"/>
                  <a:pt x="92" y="102"/>
                </a:cubicBezTo>
                <a:cubicBezTo>
                  <a:pt x="95" y="101"/>
                  <a:pt x="95" y="101"/>
                  <a:pt x="95" y="101"/>
                </a:cubicBezTo>
                <a:cubicBezTo>
                  <a:pt x="97" y="101"/>
                  <a:pt x="97" y="101"/>
                  <a:pt x="97" y="101"/>
                </a:cubicBezTo>
                <a:cubicBezTo>
                  <a:pt x="97" y="101"/>
                  <a:pt x="97" y="101"/>
                  <a:pt x="97" y="100"/>
                </a:cubicBezTo>
                <a:lnTo>
                  <a:pt x="97" y="9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reeform 22">
            <a:extLst>
              <a:ext uri="{FF2B5EF4-FFF2-40B4-BE49-F238E27FC236}">
                <a16:creationId xmlns:a16="http://schemas.microsoft.com/office/drawing/2014/main" id="{5A17AF28-1F96-4615-B9CB-A7F3D49CA537}"/>
              </a:ext>
            </a:extLst>
          </p:cNvPr>
          <p:cNvSpPr>
            <a:spLocks/>
          </p:cNvSpPr>
          <p:nvPr/>
        </p:nvSpPr>
        <p:spPr bwMode="auto">
          <a:xfrm>
            <a:off x="4453744" y="2715744"/>
            <a:ext cx="242491" cy="157163"/>
          </a:xfrm>
          <a:custGeom>
            <a:avLst/>
            <a:gdLst>
              <a:gd name="T0" fmla="*/ 7 w 100"/>
              <a:gd name="T1" fmla="*/ 22 h 70"/>
              <a:gd name="T2" fmla="*/ 12 w 100"/>
              <a:gd name="T3" fmla="*/ 20 h 70"/>
              <a:gd name="T4" fmla="*/ 17 w 100"/>
              <a:gd name="T5" fmla="*/ 20 h 70"/>
              <a:gd name="T6" fmla="*/ 24 w 100"/>
              <a:gd name="T7" fmla="*/ 25 h 70"/>
              <a:gd name="T8" fmla="*/ 24 w 100"/>
              <a:gd name="T9" fmla="*/ 32 h 70"/>
              <a:gd name="T10" fmla="*/ 22 w 100"/>
              <a:gd name="T11" fmla="*/ 34 h 70"/>
              <a:gd name="T12" fmla="*/ 21 w 100"/>
              <a:gd name="T13" fmla="*/ 36 h 70"/>
              <a:gd name="T14" fmla="*/ 22 w 100"/>
              <a:gd name="T15" fmla="*/ 37 h 70"/>
              <a:gd name="T16" fmla="*/ 30 w 100"/>
              <a:gd name="T17" fmla="*/ 40 h 70"/>
              <a:gd name="T18" fmla="*/ 33 w 100"/>
              <a:gd name="T19" fmla="*/ 42 h 70"/>
              <a:gd name="T20" fmla="*/ 35 w 100"/>
              <a:gd name="T21" fmla="*/ 48 h 70"/>
              <a:gd name="T22" fmla="*/ 40 w 100"/>
              <a:gd name="T23" fmla="*/ 50 h 70"/>
              <a:gd name="T24" fmla="*/ 43 w 100"/>
              <a:gd name="T25" fmla="*/ 52 h 70"/>
              <a:gd name="T26" fmla="*/ 50 w 100"/>
              <a:gd name="T27" fmla="*/ 49 h 70"/>
              <a:gd name="T28" fmla="*/ 55 w 100"/>
              <a:gd name="T29" fmla="*/ 55 h 70"/>
              <a:gd name="T30" fmla="*/ 56 w 100"/>
              <a:gd name="T31" fmla="*/ 56 h 70"/>
              <a:gd name="T32" fmla="*/ 65 w 100"/>
              <a:gd name="T33" fmla="*/ 59 h 70"/>
              <a:gd name="T34" fmla="*/ 69 w 100"/>
              <a:gd name="T35" fmla="*/ 60 h 70"/>
              <a:gd name="T36" fmla="*/ 73 w 100"/>
              <a:gd name="T37" fmla="*/ 62 h 70"/>
              <a:gd name="T38" fmla="*/ 76 w 100"/>
              <a:gd name="T39" fmla="*/ 65 h 70"/>
              <a:gd name="T40" fmla="*/ 79 w 100"/>
              <a:gd name="T41" fmla="*/ 66 h 70"/>
              <a:gd name="T42" fmla="*/ 85 w 100"/>
              <a:gd name="T43" fmla="*/ 70 h 70"/>
              <a:gd name="T44" fmla="*/ 99 w 100"/>
              <a:gd name="T45" fmla="*/ 69 h 70"/>
              <a:gd name="T46" fmla="*/ 100 w 100"/>
              <a:gd name="T47" fmla="*/ 66 h 70"/>
              <a:gd name="T48" fmla="*/ 99 w 100"/>
              <a:gd name="T49" fmla="*/ 63 h 70"/>
              <a:gd name="T50" fmla="*/ 97 w 100"/>
              <a:gd name="T51" fmla="*/ 58 h 70"/>
              <a:gd name="T52" fmla="*/ 96 w 100"/>
              <a:gd name="T53" fmla="*/ 53 h 70"/>
              <a:gd name="T54" fmla="*/ 94 w 100"/>
              <a:gd name="T55" fmla="*/ 52 h 70"/>
              <a:gd name="T56" fmla="*/ 97 w 100"/>
              <a:gd name="T57" fmla="*/ 44 h 70"/>
              <a:gd name="T58" fmla="*/ 96 w 100"/>
              <a:gd name="T59" fmla="*/ 38 h 70"/>
              <a:gd name="T60" fmla="*/ 94 w 100"/>
              <a:gd name="T61" fmla="*/ 36 h 70"/>
              <a:gd name="T62" fmla="*/ 89 w 100"/>
              <a:gd name="T63" fmla="*/ 34 h 70"/>
              <a:gd name="T64" fmla="*/ 84 w 100"/>
              <a:gd name="T65" fmla="*/ 31 h 70"/>
              <a:gd name="T66" fmla="*/ 80 w 100"/>
              <a:gd name="T67" fmla="*/ 27 h 70"/>
              <a:gd name="T68" fmla="*/ 76 w 100"/>
              <a:gd name="T69" fmla="*/ 24 h 70"/>
              <a:gd name="T70" fmla="*/ 73 w 100"/>
              <a:gd name="T71" fmla="*/ 22 h 70"/>
              <a:gd name="T72" fmla="*/ 67 w 100"/>
              <a:gd name="T73" fmla="*/ 17 h 70"/>
              <a:gd name="T74" fmla="*/ 65 w 100"/>
              <a:gd name="T75" fmla="*/ 16 h 70"/>
              <a:gd name="T76" fmla="*/ 59 w 100"/>
              <a:gd name="T77" fmla="*/ 15 h 70"/>
              <a:gd name="T78" fmla="*/ 51 w 100"/>
              <a:gd name="T79" fmla="*/ 11 h 70"/>
              <a:gd name="T80" fmla="*/ 46 w 100"/>
              <a:gd name="T81" fmla="*/ 9 h 70"/>
              <a:gd name="T82" fmla="*/ 25 w 100"/>
              <a:gd name="T83" fmla="*/ 4 h 70"/>
              <a:gd name="T84" fmla="*/ 18 w 100"/>
              <a:gd name="T85" fmla="*/ 0 h 70"/>
              <a:gd name="T86" fmla="*/ 11 w 100"/>
              <a:gd name="T87" fmla="*/ 1 h 70"/>
              <a:gd name="T88" fmla="*/ 3 w 100"/>
              <a:gd name="T89" fmla="*/ 6 h 70"/>
              <a:gd name="T90" fmla="*/ 0 w 100"/>
              <a:gd name="T91" fmla="*/ 22 h 70"/>
              <a:gd name="T92" fmla="*/ 2 w 100"/>
              <a:gd name="T93" fmla="*/ 22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0" h="70">
                <a:moveTo>
                  <a:pt x="2" y="22"/>
                </a:moveTo>
                <a:cubicBezTo>
                  <a:pt x="4" y="22"/>
                  <a:pt x="5" y="22"/>
                  <a:pt x="7" y="22"/>
                </a:cubicBezTo>
                <a:cubicBezTo>
                  <a:pt x="7" y="22"/>
                  <a:pt x="9" y="21"/>
                  <a:pt x="11" y="20"/>
                </a:cubicBezTo>
                <a:cubicBezTo>
                  <a:pt x="12" y="20"/>
                  <a:pt x="12" y="20"/>
                  <a:pt x="12" y="20"/>
                </a:cubicBezTo>
                <a:cubicBezTo>
                  <a:pt x="16" y="20"/>
                  <a:pt x="16" y="20"/>
                  <a:pt x="16" y="20"/>
                </a:cubicBezTo>
                <a:cubicBezTo>
                  <a:pt x="16" y="20"/>
                  <a:pt x="16" y="20"/>
                  <a:pt x="17" y="20"/>
                </a:cubicBezTo>
                <a:cubicBezTo>
                  <a:pt x="17" y="20"/>
                  <a:pt x="19" y="21"/>
                  <a:pt x="21" y="22"/>
                </a:cubicBezTo>
                <a:cubicBezTo>
                  <a:pt x="22" y="23"/>
                  <a:pt x="23" y="25"/>
                  <a:pt x="24" y="25"/>
                </a:cubicBezTo>
                <a:cubicBezTo>
                  <a:pt x="24" y="26"/>
                  <a:pt x="24" y="26"/>
                  <a:pt x="24" y="27"/>
                </a:cubicBezTo>
                <a:cubicBezTo>
                  <a:pt x="24" y="32"/>
                  <a:pt x="24" y="32"/>
                  <a:pt x="24" y="32"/>
                </a:cubicBezTo>
                <a:cubicBezTo>
                  <a:pt x="24" y="33"/>
                  <a:pt x="23" y="34"/>
                  <a:pt x="22" y="34"/>
                </a:cubicBezTo>
                <a:cubicBezTo>
                  <a:pt x="22" y="34"/>
                  <a:pt x="22" y="34"/>
                  <a:pt x="22" y="34"/>
                </a:cubicBezTo>
                <a:cubicBezTo>
                  <a:pt x="21" y="36"/>
                  <a:pt x="21" y="36"/>
                  <a:pt x="21" y="36"/>
                </a:cubicBezTo>
                <a:cubicBezTo>
                  <a:pt x="21" y="36"/>
                  <a:pt x="21" y="36"/>
                  <a:pt x="21" y="36"/>
                </a:cubicBezTo>
                <a:cubicBezTo>
                  <a:pt x="21" y="36"/>
                  <a:pt x="21" y="36"/>
                  <a:pt x="22" y="37"/>
                </a:cubicBezTo>
                <a:cubicBezTo>
                  <a:pt x="22" y="37"/>
                  <a:pt x="22" y="37"/>
                  <a:pt x="22" y="37"/>
                </a:cubicBezTo>
                <a:cubicBezTo>
                  <a:pt x="24" y="38"/>
                  <a:pt x="27" y="38"/>
                  <a:pt x="27" y="38"/>
                </a:cubicBezTo>
                <a:cubicBezTo>
                  <a:pt x="30" y="40"/>
                  <a:pt x="30" y="40"/>
                  <a:pt x="30" y="40"/>
                </a:cubicBezTo>
                <a:cubicBezTo>
                  <a:pt x="31" y="40"/>
                  <a:pt x="31" y="40"/>
                  <a:pt x="31" y="40"/>
                </a:cubicBezTo>
                <a:cubicBezTo>
                  <a:pt x="32" y="40"/>
                  <a:pt x="33" y="41"/>
                  <a:pt x="33" y="42"/>
                </a:cubicBezTo>
                <a:cubicBezTo>
                  <a:pt x="33" y="47"/>
                  <a:pt x="33" y="47"/>
                  <a:pt x="33" y="47"/>
                </a:cubicBezTo>
                <a:cubicBezTo>
                  <a:pt x="34" y="48"/>
                  <a:pt x="34" y="48"/>
                  <a:pt x="35" y="48"/>
                </a:cubicBezTo>
                <a:cubicBezTo>
                  <a:pt x="36" y="49"/>
                  <a:pt x="38" y="49"/>
                  <a:pt x="39" y="50"/>
                </a:cubicBezTo>
                <a:cubicBezTo>
                  <a:pt x="39" y="50"/>
                  <a:pt x="39" y="50"/>
                  <a:pt x="40" y="50"/>
                </a:cubicBezTo>
                <a:cubicBezTo>
                  <a:pt x="42" y="52"/>
                  <a:pt x="42" y="52"/>
                  <a:pt x="42" y="52"/>
                </a:cubicBezTo>
                <a:cubicBezTo>
                  <a:pt x="43" y="52"/>
                  <a:pt x="43" y="52"/>
                  <a:pt x="43" y="52"/>
                </a:cubicBezTo>
                <a:cubicBezTo>
                  <a:pt x="43" y="51"/>
                  <a:pt x="45" y="51"/>
                  <a:pt x="47" y="50"/>
                </a:cubicBezTo>
                <a:cubicBezTo>
                  <a:pt x="48" y="50"/>
                  <a:pt x="49" y="49"/>
                  <a:pt x="50" y="49"/>
                </a:cubicBezTo>
                <a:cubicBezTo>
                  <a:pt x="51" y="49"/>
                  <a:pt x="53" y="48"/>
                  <a:pt x="54" y="50"/>
                </a:cubicBezTo>
                <a:cubicBezTo>
                  <a:pt x="56" y="51"/>
                  <a:pt x="56" y="53"/>
                  <a:pt x="55" y="55"/>
                </a:cubicBezTo>
                <a:cubicBezTo>
                  <a:pt x="55" y="55"/>
                  <a:pt x="55" y="55"/>
                  <a:pt x="55" y="55"/>
                </a:cubicBezTo>
                <a:cubicBezTo>
                  <a:pt x="56" y="56"/>
                  <a:pt x="56" y="56"/>
                  <a:pt x="56" y="56"/>
                </a:cubicBezTo>
                <a:cubicBezTo>
                  <a:pt x="62" y="58"/>
                  <a:pt x="62" y="58"/>
                  <a:pt x="62" y="58"/>
                </a:cubicBezTo>
                <a:cubicBezTo>
                  <a:pt x="62" y="58"/>
                  <a:pt x="63" y="59"/>
                  <a:pt x="65" y="59"/>
                </a:cubicBezTo>
                <a:cubicBezTo>
                  <a:pt x="65" y="60"/>
                  <a:pt x="66" y="59"/>
                  <a:pt x="67" y="59"/>
                </a:cubicBezTo>
                <a:cubicBezTo>
                  <a:pt x="68" y="59"/>
                  <a:pt x="68" y="59"/>
                  <a:pt x="69" y="60"/>
                </a:cubicBezTo>
                <a:cubicBezTo>
                  <a:pt x="71" y="62"/>
                  <a:pt x="71" y="62"/>
                  <a:pt x="71" y="62"/>
                </a:cubicBezTo>
                <a:cubicBezTo>
                  <a:pt x="73" y="62"/>
                  <a:pt x="73" y="62"/>
                  <a:pt x="73" y="62"/>
                </a:cubicBezTo>
                <a:cubicBezTo>
                  <a:pt x="74" y="62"/>
                  <a:pt x="75" y="63"/>
                  <a:pt x="75" y="64"/>
                </a:cubicBezTo>
                <a:cubicBezTo>
                  <a:pt x="76" y="65"/>
                  <a:pt x="76" y="65"/>
                  <a:pt x="76" y="65"/>
                </a:cubicBezTo>
                <a:cubicBezTo>
                  <a:pt x="78" y="65"/>
                  <a:pt x="78" y="65"/>
                  <a:pt x="78" y="65"/>
                </a:cubicBezTo>
                <a:cubicBezTo>
                  <a:pt x="79" y="65"/>
                  <a:pt x="79" y="66"/>
                  <a:pt x="79" y="66"/>
                </a:cubicBezTo>
                <a:cubicBezTo>
                  <a:pt x="82" y="69"/>
                  <a:pt x="82" y="69"/>
                  <a:pt x="82" y="69"/>
                </a:cubicBezTo>
                <a:cubicBezTo>
                  <a:pt x="85" y="70"/>
                  <a:pt x="85" y="70"/>
                  <a:pt x="85" y="70"/>
                </a:cubicBezTo>
                <a:cubicBezTo>
                  <a:pt x="98" y="70"/>
                  <a:pt x="98" y="70"/>
                  <a:pt x="98" y="70"/>
                </a:cubicBezTo>
                <a:cubicBezTo>
                  <a:pt x="99" y="70"/>
                  <a:pt x="99" y="69"/>
                  <a:pt x="99" y="69"/>
                </a:cubicBezTo>
                <a:cubicBezTo>
                  <a:pt x="100" y="68"/>
                  <a:pt x="100" y="68"/>
                  <a:pt x="100" y="68"/>
                </a:cubicBezTo>
                <a:cubicBezTo>
                  <a:pt x="100" y="67"/>
                  <a:pt x="100" y="67"/>
                  <a:pt x="100" y="66"/>
                </a:cubicBezTo>
                <a:cubicBezTo>
                  <a:pt x="100" y="65"/>
                  <a:pt x="100" y="65"/>
                  <a:pt x="100" y="65"/>
                </a:cubicBezTo>
                <a:cubicBezTo>
                  <a:pt x="99" y="63"/>
                  <a:pt x="99" y="63"/>
                  <a:pt x="99" y="63"/>
                </a:cubicBezTo>
                <a:cubicBezTo>
                  <a:pt x="98" y="62"/>
                  <a:pt x="98" y="62"/>
                  <a:pt x="98" y="62"/>
                </a:cubicBezTo>
                <a:cubicBezTo>
                  <a:pt x="97" y="58"/>
                  <a:pt x="97" y="58"/>
                  <a:pt x="97" y="58"/>
                </a:cubicBezTo>
                <a:cubicBezTo>
                  <a:pt x="97" y="55"/>
                  <a:pt x="97" y="55"/>
                  <a:pt x="96" y="55"/>
                </a:cubicBezTo>
                <a:cubicBezTo>
                  <a:pt x="96" y="54"/>
                  <a:pt x="96" y="54"/>
                  <a:pt x="96" y="53"/>
                </a:cubicBezTo>
                <a:cubicBezTo>
                  <a:pt x="96" y="53"/>
                  <a:pt x="96" y="53"/>
                  <a:pt x="96" y="52"/>
                </a:cubicBezTo>
                <a:cubicBezTo>
                  <a:pt x="95" y="52"/>
                  <a:pt x="95" y="52"/>
                  <a:pt x="94" y="52"/>
                </a:cubicBezTo>
                <a:cubicBezTo>
                  <a:pt x="93" y="51"/>
                  <a:pt x="94" y="50"/>
                  <a:pt x="95" y="48"/>
                </a:cubicBezTo>
                <a:cubicBezTo>
                  <a:pt x="97" y="44"/>
                  <a:pt x="97" y="44"/>
                  <a:pt x="97" y="44"/>
                </a:cubicBezTo>
                <a:cubicBezTo>
                  <a:pt x="97" y="43"/>
                  <a:pt x="97" y="42"/>
                  <a:pt x="98" y="41"/>
                </a:cubicBezTo>
                <a:cubicBezTo>
                  <a:pt x="97" y="40"/>
                  <a:pt x="96" y="39"/>
                  <a:pt x="96" y="38"/>
                </a:cubicBezTo>
                <a:cubicBezTo>
                  <a:pt x="95" y="36"/>
                  <a:pt x="95" y="36"/>
                  <a:pt x="95" y="36"/>
                </a:cubicBezTo>
                <a:cubicBezTo>
                  <a:pt x="94" y="36"/>
                  <a:pt x="94" y="36"/>
                  <a:pt x="94" y="36"/>
                </a:cubicBezTo>
                <a:cubicBezTo>
                  <a:pt x="94" y="36"/>
                  <a:pt x="94" y="34"/>
                  <a:pt x="91" y="34"/>
                </a:cubicBezTo>
                <a:cubicBezTo>
                  <a:pt x="90" y="34"/>
                  <a:pt x="89" y="34"/>
                  <a:pt x="89" y="34"/>
                </a:cubicBezTo>
                <a:cubicBezTo>
                  <a:pt x="89" y="34"/>
                  <a:pt x="88" y="34"/>
                  <a:pt x="87" y="33"/>
                </a:cubicBezTo>
                <a:cubicBezTo>
                  <a:pt x="86" y="34"/>
                  <a:pt x="86" y="33"/>
                  <a:pt x="84" y="31"/>
                </a:cubicBezTo>
                <a:cubicBezTo>
                  <a:pt x="82" y="29"/>
                  <a:pt x="81" y="28"/>
                  <a:pt x="81" y="28"/>
                </a:cubicBezTo>
                <a:cubicBezTo>
                  <a:pt x="81" y="28"/>
                  <a:pt x="81" y="28"/>
                  <a:pt x="80" y="27"/>
                </a:cubicBezTo>
                <a:cubicBezTo>
                  <a:pt x="80" y="27"/>
                  <a:pt x="79" y="26"/>
                  <a:pt x="78" y="26"/>
                </a:cubicBezTo>
                <a:cubicBezTo>
                  <a:pt x="78" y="25"/>
                  <a:pt x="77" y="24"/>
                  <a:pt x="76" y="24"/>
                </a:cubicBezTo>
                <a:cubicBezTo>
                  <a:pt x="75" y="23"/>
                  <a:pt x="75" y="23"/>
                  <a:pt x="75" y="23"/>
                </a:cubicBezTo>
                <a:cubicBezTo>
                  <a:pt x="75" y="23"/>
                  <a:pt x="74" y="23"/>
                  <a:pt x="73" y="22"/>
                </a:cubicBezTo>
                <a:cubicBezTo>
                  <a:pt x="70" y="20"/>
                  <a:pt x="69" y="19"/>
                  <a:pt x="68" y="18"/>
                </a:cubicBezTo>
                <a:cubicBezTo>
                  <a:pt x="68" y="17"/>
                  <a:pt x="67" y="17"/>
                  <a:pt x="67" y="17"/>
                </a:cubicBezTo>
                <a:cubicBezTo>
                  <a:pt x="66" y="17"/>
                  <a:pt x="66" y="17"/>
                  <a:pt x="66" y="17"/>
                </a:cubicBezTo>
                <a:cubicBezTo>
                  <a:pt x="66" y="16"/>
                  <a:pt x="66" y="16"/>
                  <a:pt x="65" y="16"/>
                </a:cubicBezTo>
                <a:cubicBezTo>
                  <a:pt x="62" y="16"/>
                  <a:pt x="61" y="15"/>
                  <a:pt x="61" y="15"/>
                </a:cubicBezTo>
                <a:cubicBezTo>
                  <a:pt x="60" y="15"/>
                  <a:pt x="60" y="15"/>
                  <a:pt x="59" y="15"/>
                </a:cubicBezTo>
                <a:cubicBezTo>
                  <a:pt x="55" y="14"/>
                  <a:pt x="53" y="12"/>
                  <a:pt x="52" y="12"/>
                </a:cubicBezTo>
                <a:cubicBezTo>
                  <a:pt x="51" y="11"/>
                  <a:pt x="51" y="11"/>
                  <a:pt x="51" y="11"/>
                </a:cubicBezTo>
                <a:cubicBezTo>
                  <a:pt x="51" y="11"/>
                  <a:pt x="50" y="10"/>
                  <a:pt x="50" y="9"/>
                </a:cubicBezTo>
                <a:cubicBezTo>
                  <a:pt x="46" y="9"/>
                  <a:pt x="46" y="9"/>
                  <a:pt x="46" y="9"/>
                </a:cubicBezTo>
                <a:cubicBezTo>
                  <a:pt x="41" y="8"/>
                  <a:pt x="41" y="8"/>
                  <a:pt x="41" y="8"/>
                </a:cubicBezTo>
                <a:cubicBezTo>
                  <a:pt x="25" y="4"/>
                  <a:pt x="25" y="4"/>
                  <a:pt x="25" y="4"/>
                </a:cubicBezTo>
                <a:cubicBezTo>
                  <a:pt x="25" y="3"/>
                  <a:pt x="25" y="3"/>
                  <a:pt x="25" y="3"/>
                </a:cubicBezTo>
                <a:cubicBezTo>
                  <a:pt x="18" y="0"/>
                  <a:pt x="18" y="0"/>
                  <a:pt x="18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1" y="1"/>
                  <a:pt x="11" y="1"/>
                  <a:pt x="11" y="1"/>
                </a:cubicBezTo>
                <a:cubicBezTo>
                  <a:pt x="3" y="5"/>
                  <a:pt x="3" y="5"/>
                  <a:pt x="3" y="5"/>
                </a:cubicBezTo>
                <a:cubicBezTo>
                  <a:pt x="3" y="6"/>
                  <a:pt x="3" y="6"/>
                  <a:pt x="3" y="6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22"/>
                  <a:pt x="1" y="22"/>
                  <a:pt x="2" y="2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reeform 24">
            <a:extLst>
              <a:ext uri="{FF2B5EF4-FFF2-40B4-BE49-F238E27FC236}">
                <a16:creationId xmlns:a16="http://schemas.microsoft.com/office/drawing/2014/main" id="{A03BFA17-5B0A-425D-B2A6-A33A5F6FDA8B}"/>
              </a:ext>
            </a:extLst>
          </p:cNvPr>
          <p:cNvSpPr>
            <a:spLocks/>
          </p:cNvSpPr>
          <p:nvPr/>
        </p:nvSpPr>
        <p:spPr bwMode="auto">
          <a:xfrm>
            <a:off x="5439186" y="5114457"/>
            <a:ext cx="355997" cy="423863"/>
          </a:xfrm>
          <a:custGeom>
            <a:avLst/>
            <a:gdLst>
              <a:gd name="T0" fmla="*/ 131 w 147"/>
              <a:gd name="T1" fmla="*/ 75 h 190"/>
              <a:gd name="T2" fmla="*/ 142 w 147"/>
              <a:gd name="T3" fmla="*/ 66 h 190"/>
              <a:gd name="T4" fmla="*/ 136 w 147"/>
              <a:gd name="T5" fmla="*/ 52 h 190"/>
              <a:gd name="T6" fmla="*/ 131 w 147"/>
              <a:gd name="T7" fmla="*/ 46 h 190"/>
              <a:gd name="T8" fmla="*/ 127 w 147"/>
              <a:gd name="T9" fmla="*/ 36 h 190"/>
              <a:gd name="T10" fmla="*/ 121 w 147"/>
              <a:gd name="T11" fmla="*/ 26 h 190"/>
              <a:gd name="T12" fmla="*/ 114 w 147"/>
              <a:gd name="T13" fmla="*/ 21 h 190"/>
              <a:gd name="T14" fmla="*/ 115 w 147"/>
              <a:gd name="T15" fmla="*/ 9 h 190"/>
              <a:gd name="T16" fmla="*/ 110 w 147"/>
              <a:gd name="T17" fmla="*/ 7 h 190"/>
              <a:gd name="T18" fmla="*/ 103 w 147"/>
              <a:gd name="T19" fmla="*/ 9 h 190"/>
              <a:gd name="T20" fmla="*/ 96 w 147"/>
              <a:gd name="T21" fmla="*/ 9 h 190"/>
              <a:gd name="T22" fmla="*/ 88 w 147"/>
              <a:gd name="T23" fmla="*/ 5 h 190"/>
              <a:gd name="T24" fmla="*/ 83 w 147"/>
              <a:gd name="T25" fmla="*/ 5 h 190"/>
              <a:gd name="T26" fmla="*/ 82 w 147"/>
              <a:gd name="T27" fmla="*/ 10 h 190"/>
              <a:gd name="T28" fmla="*/ 74 w 147"/>
              <a:gd name="T29" fmla="*/ 13 h 190"/>
              <a:gd name="T30" fmla="*/ 65 w 147"/>
              <a:gd name="T31" fmla="*/ 11 h 190"/>
              <a:gd name="T32" fmla="*/ 53 w 147"/>
              <a:gd name="T33" fmla="*/ 3 h 190"/>
              <a:gd name="T34" fmla="*/ 48 w 147"/>
              <a:gd name="T35" fmla="*/ 4 h 190"/>
              <a:gd name="T36" fmla="*/ 41 w 147"/>
              <a:gd name="T37" fmla="*/ 9 h 190"/>
              <a:gd name="T38" fmla="*/ 35 w 147"/>
              <a:gd name="T39" fmla="*/ 17 h 190"/>
              <a:gd name="T40" fmla="*/ 30 w 147"/>
              <a:gd name="T41" fmla="*/ 23 h 190"/>
              <a:gd name="T42" fmla="*/ 17 w 147"/>
              <a:gd name="T43" fmla="*/ 23 h 190"/>
              <a:gd name="T44" fmla="*/ 11 w 147"/>
              <a:gd name="T45" fmla="*/ 30 h 190"/>
              <a:gd name="T46" fmla="*/ 13 w 147"/>
              <a:gd name="T47" fmla="*/ 42 h 190"/>
              <a:gd name="T48" fmla="*/ 0 w 147"/>
              <a:gd name="T49" fmla="*/ 49 h 190"/>
              <a:gd name="T50" fmla="*/ 9 w 147"/>
              <a:gd name="T51" fmla="*/ 55 h 190"/>
              <a:gd name="T52" fmla="*/ 23 w 147"/>
              <a:gd name="T53" fmla="*/ 81 h 190"/>
              <a:gd name="T54" fmla="*/ 23 w 147"/>
              <a:gd name="T55" fmla="*/ 103 h 190"/>
              <a:gd name="T56" fmla="*/ 23 w 147"/>
              <a:gd name="T57" fmla="*/ 118 h 190"/>
              <a:gd name="T58" fmla="*/ 11 w 147"/>
              <a:gd name="T59" fmla="*/ 148 h 190"/>
              <a:gd name="T60" fmla="*/ 25 w 147"/>
              <a:gd name="T61" fmla="*/ 156 h 190"/>
              <a:gd name="T62" fmla="*/ 40 w 147"/>
              <a:gd name="T63" fmla="*/ 163 h 190"/>
              <a:gd name="T64" fmla="*/ 52 w 147"/>
              <a:gd name="T65" fmla="*/ 168 h 190"/>
              <a:gd name="T66" fmla="*/ 56 w 147"/>
              <a:gd name="T67" fmla="*/ 175 h 190"/>
              <a:gd name="T68" fmla="*/ 64 w 147"/>
              <a:gd name="T69" fmla="*/ 174 h 190"/>
              <a:gd name="T70" fmla="*/ 73 w 147"/>
              <a:gd name="T71" fmla="*/ 177 h 190"/>
              <a:gd name="T72" fmla="*/ 81 w 147"/>
              <a:gd name="T73" fmla="*/ 186 h 190"/>
              <a:gd name="T74" fmla="*/ 85 w 147"/>
              <a:gd name="T75" fmla="*/ 190 h 190"/>
              <a:gd name="T76" fmla="*/ 88 w 147"/>
              <a:gd name="T77" fmla="*/ 180 h 190"/>
              <a:gd name="T78" fmla="*/ 86 w 147"/>
              <a:gd name="T79" fmla="*/ 171 h 190"/>
              <a:gd name="T80" fmla="*/ 93 w 147"/>
              <a:gd name="T81" fmla="*/ 175 h 190"/>
              <a:gd name="T82" fmla="*/ 102 w 147"/>
              <a:gd name="T83" fmla="*/ 172 h 190"/>
              <a:gd name="T84" fmla="*/ 116 w 147"/>
              <a:gd name="T85" fmla="*/ 176 h 190"/>
              <a:gd name="T86" fmla="*/ 123 w 147"/>
              <a:gd name="T87" fmla="*/ 178 h 190"/>
              <a:gd name="T88" fmla="*/ 132 w 147"/>
              <a:gd name="T89" fmla="*/ 186 h 190"/>
              <a:gd name="T90" fmla="*/ 137 w 147"/>
              <a:gd name="T91" fmla="*/ 175 h 190"/>
              <a:gd name="T92" fmla="*/ 132 w 147"/>
              <a:gd name="T93" fmla="*/ 167 h 190"/>
              <a:gd name="T94" fmla="*/ 124 w 147"/>
              <a:gd name="T95" fmla="*/ 153 h 190"/>
              <a:gd name="T96" fmla="*/ 125 w 147"/>
              <a:gd name="T97" fmla="*/ 141 h 190"/>
              <a:gd name="T98" fmla="*/ 119 w 147"/>
              <a:gd name="T99" fmla="*/ 131 h 190"/>
              <a:gd name="T100" fmla="*/ 116 w 147"/>
              <a:gd name="T101" fmla="*/ 121 h 190"/>
              <a:gd name="T102" fmla="*/ 120 w 147"/>
              <a:gd name="T103" fmla="*/ 112 h 190"/>
              <a:gd name="T104" fmla="*/ 126 w 147"/>
              <a:gd name="T105" fmla="*/ 111 h 190"/>
              <a:gd name="T106" fmla="*/ 138 w 147"/>
              <a:gd name="T107" fmla="*/ 103 h 190"/>
              <a:gd name="T108" fmla="*/ 141 w 147"/>
              <a:gd name="T109" fmla="*/ 90 h 190"/>
              <a:gd name="T110" fmla="*/ 147 w 147"/>
              <a:gd name="T111" fmla="*/ 79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7" h="190">
                <a:moveTo>
                  <a:pt x="146" y="79"/>
                </a:moveTo>
                <a:cubicBezTo>
                  <a:pt x="145" y="79"/>
                  <a:pt x="144" y="79"/>
                  <a:pt x="144" y="78"/>
                </a:cubicBezTo>
                <a:cubicBezTo>
                  <a:pt x="135" y="78"/>
                  <a:pt x="135" y="78"/>
                  <a:pt x="135" y="78"/>
                </a:cubicBezTo>
                <a:cubicBezTo>
                  <a:pt x="134" y="78"/>
                  <a:pt x="134" y="78"/>
                  <a:pt x="133" y="77"/>
                </a:cubicBezTo>
                <a:cubicBezTo>
                  <a:pt x="131" y="75"/>
                  <a:pt x="131" y="75"/>
                  <a:pt x="131" y="75"/>
                </a:cubicBezTo>
                <a:cubicBezTo>
                  <a:pt x="130" y="74"/>
                  <a:pt x="131" y="73"/>
                  <a:pt x="131" y="72"/>
                </a:cubicBezTo>
                <a:cubicBezTo>
                  <a:pt x="132" y="72"/>
                  <a:pt x="135" y="69"/>
                  <a:pt x="138" y="68"/>
                </a:cubicBezTo>
                <a:cubicBezTo>
                  <a:pt x="138" y="68"/>
                  <a:pt x="138" y="68"/>
                  <a:pt x="138" y="68"/>
                </a:cubicBezTo>
                <a:cubicBezTo>
                  <a:pt x="139" y="68"/>
                  <a:pt x="139" y="67"/>
                  <a:pt x="140" y="67"/>
                </a:cubicBezTo>
                <a:cubicBezTo>
                  <a:pt x="140" y="67"/>
                  <a:pt x="141" y="66"/>
                  <a:pt x="142" y="66"/>
                </a:cubicBezTo>
                <a:cubicBezTo>
                  <a:pt x="142" y="57"/>
                  <a:pt x="142" y="57"/>
                  <a:pt x="142" y="57"/>
                </a:cubicBezTo>
                <a:cubicBezTo>
                  <a:pt x="141" y="56"/>
                  <a:pt x="141" y="56"/>
                  <a:pt x="141" y="56"/>
                </a:cubicBezTo>
                <a:cubicBezTo>
                  <a:pt x="140" y="56"/>
                  <a:pt x="140" y="56"/>
                  <a:pt x="140" y="56"/>
                </a:cubicBezTo>
                <a:cubicBezTo>
                  <a:pt x="139" y="56"/>
                  <a:pt x="139" y="55"/>
                  <a:pt x="139" y="55"/>
                </a:cubicBezTo>
                <a:cubicBezTo>
                  <a:pt x="136" y="52"/>
                  <a:pt x="136" y="52"/>
                  <a:pt x="136" y="52"/>
                </a:cubicBezTo>
                <a:cubicBezTo>
                  <a:pt x="135" y="52"/>
                  <a:pt x="135" y="51"/>
                  <a:pt x="135" y="51"/>
                </a:cubicBezTo>
                <a:cubicBezTo>
                  <a:pt x="135" y="50"/>
                  <a:pt x="135" y="50"/>
                  <a:pt x="135" y="50"/>
                </a:cubicBezTo>
                <a:cubicBezTo>
                  <a:pt x="134" y="49"/>
                  <a:pt x="133" y="49"/>
                  <a:pt x="133" y="48"/>
                </a:cubicBezTo>
                <a:cubicBezTo>
                  <a:pt x="133" y="47"/>
                  <a:pt x="133" y="47"/>
                  <a:pt x="133" y="47"/>
                </a:cubicBezTo>
                <a:cubicBezTo>
                  <a:pt x="131" y="46"/>
                  <a:pt x="131" y="46"/>
                  <a:pt x="131" y="46"/>
                </a:cubicBezTo>
                <a:cubicBezTo>
                  <a:pt x="131" y="46"/>
                  <a:pt x="131" y="45"/>
                  <a:pt x="130" y="45"/>
                </a:cubicBezTo>
                <a:cubicBezTo>
                  <a:pt x="129" y="40"/>
                  <a:pt x="129" y="40"/>
                  <a:pt x="129" y="40"/>
                </a:cubicBezTo>
                <a:cubicBezTo>
                  <a:pt x="129" y="39"/>
                  <a:pt x="129" y="39"/>
                  <a:pt x="129" y="39"/>
                </a:cubicBezTo>
                <a:cubicBezTo>
                  <a:pt x="129" y="39"/>
                  <a:pt x="129" y="39"/>
                  <a:pt x="129" y="39"/>
                </a:cubicBezTo>
                <a:cubicBezTo>
                  <a:pt x="127" y="36"/>
                  <a:pt x="127" y="36"/>
                  <a:pt x="127" y="36"/>
                </a:cubicBezTo>
                <a:cubicBezTo>
                  <a:pt x="125" y="34"/>
                  <a:pt x="125" y="34"/>
                  <a:pt x="125" y="34"/>
                </a:cubicBezTo>
                <a:cubicBezTo>
                  <a:pt x="125" y="33"/>
                  <a:pt x="125" y="33"/>
                  <a:pt x="125" y="33"/>
                </a:cubicBezTo>
                <a:cubicBezTo>
                  <a:pt x="123" y="28"/>
                  <a:pt x="123" y="28"/>
                  <a:pt x="123" y="28"/>
                </a:cubicBezTo>
                <a:cubicBezTo>
                  <a:pt x="123" y="28"/>
                  <a:pt x="123" y="28"/>
                  <a:pt x="123" y="28"/>
                </a:cubicBezTo>
                <a:cubicBezTo>
                  <a:pt x="122" y="27"/>
                  <a:pt x="121" y="27"/>
                  <a:pt x="121" y="26"/>
                </a:cubicBezTo>
                <a:cubicBezTo>
                  <a:pt x="120" y="26"/>
                  <a:pt x="120" y="26"/>
                  <a:pt x="120" y="26"/>
                </a:cubicBezTo>
                <a:cubicBezTo>
                  <a:pt x="119" y="26"/>
                  <a:pt x="118" y="26"/>
                  <a:pt x="118" y="25"/>
                </a:cubicBezTo>
                <a:cubicBezTo>
                  <a:pt x="116" y="25"/>
                  <a:pt x="116" y="25"/>
                  <a:pt x="116" y="25"/>
                </a:cubicBezTo>
                <a:cubicBezTo>
                  <a:pt x="115" y="25"/>
                  <a:pt x="114" y="24"/>
                  <a:pt x="114" y="23"/>
                </a:cubicBezTo>
                <a:cubicBezTo>
                  <a:pt x="114" y="21"/>
                  <a:pt x="114" y="21"/>
                  <a:pt x="114" y="21"/>
                </a:cubicBezTo>
                <a:cubicBezTo>
                  <a:pt x="114" y="20"/>
                  <a:pt x="114" y="20"/>
                  <a:pt x="114" y="20"/>
                </a:cubicBezTo>
                <a:cubicBezTo>
                  <a:pt x="117" y="13"/>
                  <a:pt x="117" y="13"/>
                  <a:pt x="117" y="13"/>
                </a:cubicBezTo>
                <a:cubicBezTo>
                  <a:pt x="117" y="13"/>
                  <a:pt x="117" y="12"/>
                  <a:pt x="118" y="11"/>
                </a:cubicBezTo>
                <a:cubicBezTo>
                  <a:pt x="117" y="10"/>
                  <a:pt x="117" y="10"/>
                  <a:pt x="116" y="9"/>
                </a:cubicBezTo>
                <a:cubicBezTo>
                  <a:pt x="116" y="9"/>
                  <a:pt x="116" y="9"/>
                  <a:pt x="115" y="9"/>
                </a:cubicBezTo>
                <a:cubicBezTo>
                  <a:pt x="115" y="8"/>
                  <a:pt x="114" y="8"/>
                  <a:pt x="114" y="7"/>
                </a:cubicBezTo>
                <a:cubicBezTo>
                  <a:pt x="114" y="5"/>
                  <a:pt x="114" y="5"/>
                  <a:pt x="114" y="5"/>
                </a:cubicBezTo>
                <a:cubicBezTo>
                  <a:pt x="113" y="5"/>
                  <a:pt x="113" y="5"/>
                  <a:pt x="113" y="5"/>
                </a:cubicBezTo>
                <a:cubicBezTo>
                  <a:pt x="113" y="6"/>
                  <a:pt x="113" y="6"/>
                  <a:pt x="113" y="6"/>
                </a:cubicBezTo>
                <a:cubicBezTo>
                  <a:pt x="112" y="6"/>
                  <a:pt x="110" y="7"/>
                  <a:pt x="110" y="7"/>
                </a:cubicBezTo>
                <a:cubicBezTo>
                  <a:pt x="109" y="8"/>
                  <a:pt x="109" y="8"/>
                  <a:pt x="109" y="8"/>
                </a:cubicBezTo>
                <a:cubicBezTo>
                  <a:pt x="108" y="9"/>
                  <a:pt x="108" y="9"/>
                  <a:pt x="108" y="9"/>
                </a:cubicBezTo>
                <a:cubicBezTo>
                  <a:pt x="108" y="10"/>
                  <a:pt x="107" y="10"/>
                  <a:pt x="106" y="10"/>
                </a:cubicBezTo>
                <a:cubicBezTo>
                  <a:pt x="105" y="10"/>
                  <a:pt x="105" y="10"/>
                  <a:pt x="105" y="10"/>
                </a:cubicBezTo>
                <a:cubicBezTo>
                  <a:pt x="104" y="9"/>
                  <a:pt x="104" y="8"/>
                  <a:pt x="103" y="9"/>
                </a:cubicBezTo>
                <a:cubicBezTo>
                  <a:pt x="101" y="10"/>
                  <a:pt x="97" y="9"/>
                  <a:pt x="97" y="9"/>
                </a:cubicBezTo>
                <a:cubicBezTo>
                  <a:pt x="97" y="9"/>
                  <a:pt x="97" y="9"/>
                  <a:pt x="97" y="9"/>
                </a:cubicBezTo>
                <a:cubicBezTo>
                  <a:pt x="96" y="9"/>
                  <a:pt x="96" y="9"/>
                  <a:pt x="96" y="9"/>
                </a:cubicBezTo>
                <a:cubicBezTo>
                  <a:pt x="96" y="9"/>
                  <a:pt x="96" y="9"/>
                  <a:pt x="96" y="9"/>
                </a:cubicBezTo>
                <a:cubicBezTo>
                  <a:pt x="96" y="9"/>
                  <a:pt x="96" y="9"/>
                  <a:pt x="96" y="9"/>
                </a:cubicBezTo>
                <a:cubicBezTo>
                  <a:pt x="95" y="10"/>
                  <a:pt x="94" y="10"/>
                  <a:pt x="92" y="9"/>
                </a:cubicBezTo>
                <a:cubicBezTo>
                  <a:pt x="88" y="9"/>
                  <a:pt x="88" y="9"/>
                  <a:pt x="88" y="9"/>
                </a:cubicBezTo>
                <a:cubicBezTo>
                  <a:pt x="87" y="9"/>
                  <a:pt x="87" y="8"/>
                  <a:pt x="87" y="7"/>
                </a:cubicBezTo>
                <a:cubicBezTo>
                  <a:pt x="86" y="6"/>
                  <a:pt x="87" y="6"/>
                  <a:pt x="88" y="5"/>
                </a:cubicBezTo>
                <a:cubicBezTo>
                  <a:pt x="88" y="5"/>
                  <a:pt x="88" y="5"/>
                  <a:pt x="88" y="5"/>
                </a:cubicBezTo>
                <a:cubicBezTo>
                  <a:pt x="87" y="5"/>
                  <a:pt x="87" y="4"/>
                  <a:pt x="87" y="4"/>
                </a:cubicBezTo>
                <a:cubicBezTo>
                  <a:pt x="87" y="3"/>
                  <a:pt x="87" y="3"/>
                  <a:pt x="87" y="3"/>
                </a:cubicBezTo>
                <a:cubicBezTo>
                  <a:pt x="86" y="4"/>
                  <a:pt x="86" y="4"/>
                  <a:pt x="86" y="5"/>
                </a:cubicBezTo>
                <a:cubicBezTo>
                  <a:pt x="85" y="5"/>
                  <a:pt x="85" y="5"/>
                  <a:pt x="85" y="5"/>
                </a:cubicBezTo>
                <a:cubicBezTo>
                  <a:pt x="83" y="5"/>
                  <a:pt x="83" y="5"/>
                  <a:pt x="83" y="5"/>
                </a:cubicBezTo>
                <a:cubicBezTo>
                  <a:pt x="85" y="6"/>
                  <a:pt x="85" y="6"/>
                  <a:pt x="85" y="6"/>
                </a:cubicBezTo>
                <a:cubicBezTo>
                  <a:pt x="85" y="6"/>
                  <a:pt x="85" y="6"/>
                  <a:pt x="85" y="7"/>
                </a:cubicBezTo>
                <a:cubicBezTo>
                  <a:pt x="85" y="9"/>
                  <a:pt x="85" y="9"/>
                  <a:pt x="85" y="9"/>
                </a:cubicBezTo>
                <a:cubicBezTo>
                  <a:pt x="85" y="10"/>
                  <a:pt x="84" y="10"/>
                  <a:pt x="83" y="10"/>
                </a:cubicBezTo>
                <a:cubicBezTo>
                  <a:pt x="82" y="10"/>
                  <a:pt x="82" y="10"/>
                  <a:pt x="82" y="10"/>
                </a:cubicBezTo>
                <a:cubicBezTo>
                  <a:pt x="82" y="11"/>
                  <a:pt x="81" y="11"/>
                  <a:pt x="81" y="11"/>
                </a:cubicBezTo>
                <a:cubicBezTo>
                  <a:pt x="80" y="11"/>
                  <a:pt x="79" y="11"/>
                  <a:pt x="78" y="10"/>
                </a:cubicBezTo>
                <a:cubicBezTo>
                  <a:pt x="77" y="8"/>
                  <a:pt x="76" y="7"/>
                  <a:pt x="76" y="7"/>
                </a:cubicBezTo>
                <a:cubicBezTo>
                  <a:pt x="76" y="11"/>
                  <a:pt x="76" y="11"/>
                  <a:pt x="76" y="11"/>
                </a:cubicBezTo>
                <a:cubicBezTo>
                  <a:pt x="76" y="12"/>
                  <a:pt x="75" y="12"/>
                  <a:pt x="74" y="13"/>
                </a:cubicBezTo>
                <a:cubicBezTo>
                  <a:pt x="74" y="13"/>
                  <a:pt x="72" y="13"/>
                  <a:pt x="70" y="13"/>
                </a:cubicBezTo>
                <a:cubicBezTo>
                  <a:pt x="70" y="12"/>
                  <a:pt x="69" y="12"/>
                  <a:pt x="69" y="12"/>
                </a:cubicBezTo>
                <a:cubicBezTo>
                  <a:pt x="68" y="12"/>
                  <a:pt x="68" y="12"/>
                  <a:pt x="67" y="11"/>
                </a:cubicBezTo>
                <a:cubicBezTo>
                  <a:pt x="66" y="11"/>
                  <a:pt x="66" y="11"/>
                  <a:pt x="66" y="11"/>
                </a:cubicBezTo>
                <a:cubicBezTo>
                  <a:pt x="65" y="11"/>
                  <a:pt x="65" y="11"/>
                  <a:pt x="65" y="11"/>
                </a:cubicBezTo>
                <a:cubicBezTo>
                  <a:pt x="63" y="9"/>
                  <a:pt x="61" y="9"/>
                  <a:pt x="61" y="9"/>
                </a:cubicBezTo>
                <a:cubicBezTo>
                  <a:pt x="60" y="8"/>
                  <a:pt x="60" y="8"/>
                  <a:pt x="60" y="7"/>
                </a:cubicBezTo>
                <a:cubicBezTo>
                  <a:pt x="59" y="7"/>
                  <a:pt x="59" y="7"/>
                  <a:pt x="59" y="6"/>
                </a:cubicBezTo>
                <a:cubicBezTo>
                  <a:pt x="58" y="6"/>
                  <a:pt x="57" y="6"/>
                  <a:pt x="57" y="5"/>
                </a:cubicBezTo>
                <a:cubicBezTo>
                  <a:pt x="55" y="6"/>
                  <a:pt x="54" y="4"/>
                  <a:pt x="53" y="3"/>
                </a:cubicBezTo>
                <a:cubicBezTo>
                  <a:pt x="52" y="2"/>
                  <a:pt x="51" y="1"/>
                  <a:pt x="51" y="1"/>
                </a:cubicBezTo>
                <a:cubicBezTo>
                  <a:pt x="51" y="1"/>
                  <a:pt x="51" y="1"/>
                  <a:pt x="51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50" y="2"/>
                  <a:pt x="50" y="2"/>
                  <a:pt x="50" y="2"/>
                </a:cubicBezTo>
                <a:cubicBezTo>
                  <a:pt x="49" y="3"/>
                  <a:pt x="49" y="4"/>
                  <a:pt x="48" y="4"/>
                </a:cubicBezTo>
                <a:cubicBezTo>
                  <a:pt x="47" y="4"/>
                  <a:pt x="47" y="4"/>
                  <a:pt x="47" y="4"/>
                </a:cubicBezTo>
                <a:cubicBezTo>
                  <a:pt x="45" y="5"/>
                  <a:pt x="45" y="5"/>
                  <a:pt x="45" y="5"/>
                </a:cubicBezTo>
                <a:cubicBezTo>
                  <a:pt x="43" y="6"/>
                  <a:pt x="43" y="6"/>
                  <a:pt x="43" y="6"/>
                </a:cubicBezTo>
                <a:cubicBezTo>
                  <a:pt x="42" y="8"/>
                  <a:pt x="42" y="8"/>
                  <a:pt x="42" y="8"/>
                </a:cubicBezTo>
                <a:cubicBezTo>
                  <a:pt x="41" y="9"/>
                  <a:pt x="41" y="9"/>
                  <a:pt x="41" y="9"/>
                </a:cubicBezTo>
                <a:cubicBezTo>
                  <a:pt x="35" y="9"/>
                  <a:pt x="35" y="9"/>
                  <a:pt x="35" y="9"/>
                </a:cubicBezTo>
                <a:cubicBezTo>
                  <a:pt x="35" y="9"/>
                  <a:pt x="35" y="9"/>
                  <a:pt x="35" y="9"/>
                </a:cubicBezTo>
                <a:cubicBezTo>
                  <a:pt x="32" y="13"/>
                  <a:pt x="32" y="13"/>
                  <a:pt x="32" y="13"/>
                </a:cubicBezTo>
                <a:cubicBezTo>
                  <a:pt x="32" y="15"/>
                  <a:pt x="32" y="15"/>
                  <a:pt x="32" y="15"/>
                </a:cubicBezTo>
                <a:cubicBezTo>
                  <a:pt x="35" y="17"/>
                  <a:pt x="35" y="17"/>
                  <a:pt x="35" y="17"/>
                </a:cubicBezTo>
                <a:cubicBezTo>
                  <a:pt x="35" y="18"/>
                  <a:pt x="35" y="19"/>
                  <a:pt x="35" y="19"/>
                </a:cubicBezTo>
                <a:cubicBezTo>
                  <a:pt x="34" y="22"/>
                  <a:pt x="34" y="22"/>
                  <a:pt x="34" y="22"/>
                </a:cubicBezTo>
                <a:cubicBezTo>
                  <a:pt x="34" y="22"/>
                  <a:pt x="34" y="22"/>
                  <a:pt x="33" y="23"/>
                </a:cubicBezTo>
                <a:cubicBezTo>
                  <a:pt x="32" y="23"/>
                  <a:pt x="32" y="23"/>
                  <a:pt x="32" y="23"/>
                </a:cubicBezTo>
                <a:cubicBezTo>
                  <a:pt x="32" y="23"/>
                  <a:pt x="31" y="23"/>
                  <a:pt x="30" y="23"/>
                </a:cubicBezTo>
                <a:cubicBezTo>
                  <a:pt x="29" y="23"/>
                  <a:pt x="28" y="23"/>
                  <a:pt x="27" y="23"/>
                </a:cubicBezTo>
                <a:cubicBezTo>
                  <a:pt x="26" y="23"/>
                  <a:pt x="25" y="23"/>
                  <a:pt x="25" y="23"/>
                </a:cubicBezTo>
                <a:cubicBezTo>
                  <a:pt x="24" y="23"/>
                  <a:pt x="23" y="23"/>
                  <a:pt x="22" y="23"/>
                </a:cubicBezTo>
                <a:cubicBezTo>
                  <a:pt x="21" y="23"/>
                  <a:pt x="21" y="23"/>
                  <a:pt x="21" y="23"/>
                </a:cubicBezTo>
                <a:cubicBezTo>
                  <a:pt x="19" y="23"/>
                  <a:pt x="18" y="23"/>
                  <a:pt x="17" y="23"/>
                </a:cubicBezTo>
                <a:cubicBezTo>
                  <a:pt x="17" y="23"/>
                  <a:pt x="17" y="23"/>
                  <a:pt x="17" y="23"/>
                </a:cubicBezTo>
                <a:cubicBezTo>
                  <a:pt x="17" y="24"/>
                  <a:pt x="16" y="25"/>
                  <a:pt x="15" y="26"/>
                </a:cubicBezTo>
                <a:cubicBezTo>
                  <a:pt x="15" y="27"/>
                  <a:pt x="14" y="27"/>
                  <a:pt x="14" y="27"/>
                </a:cubicBezTo>
                <a:cubicBezTo>
                  <a:pt x="14" y="28"/>
                  <a:pt x="14" y="28"/>
                  <a:pt x="13" y="29"/>
                </a:cubicBezTo>
                <a:cubicBezTo>
                  <a:pt x="12" y="29"/>
                  <a:pt x="12" y="30"/>
                  <a:pt x="11" y="30"/>
                </a:cubicBezTo>
                <a:cubicBezTo>
                  <a:pt x="11" y="32"/>
                  <a:pt x="11" y="33"/>
                  <a:pt x="11" y="33"/>
                </a:cubicBezTo>
                <a:cubicBezTo>
                  <a:pt x="11" y="36"/>
                  <a:pt x="11" y="36"/>
                  <a:pt x="11" y="36"/>
                </a:cubicBezTo>
                <a:cubicBezTo>
                  <a:pt x="12" y="38"/>
                  <a:pt x="12" y="38"/>
                  <a:pt x="12" y="38"/>
                </a:cubicBezTo>
                <a:cubicBezTo>
                  <a:pt x="12" y="39"/>
                  <a:pt x="12" y="39"/>
                  <a:pt x="12" y="39"/>
                </a:cubicBezTo>
                <a:cubicBezTo>
                  <a:pt x="13" y="40"/>
                  <a:pt x="13" y="41"/>
                  <a:pt x="13" y="42"/>
                </a:cubicBezTo>
                <a:cubicBezTo>
                  <a:pt x="12" y="44"/>
                  <a:pt x="11" y="45"/>
                  <a:pt x="10" y="45"/>
                </a:cubicBezTo>
                <a:cubicBezTo>
                  <a:pt x="9" y="45"/>
                  <a:pt x="9" y="45"/>
                  <a:pt x="8" y="45"/>
                </a:cubicBezTo>
                <a:cubicBezTo>
                  <a:pt x="7" y="45"/>
                  <a:pt x="7" y="45"/>
                  <a:pt x="7" y="45"/>
                </a:cubicBezTo>
                <a:cubicBezTo>
                  <a:pt x="6" y="46"/>
                  <a:pt x="3" y="47"/>
                  <a:pt x="2" y="48"/>
                </a:cubicBezTo>
                <a:cubicBezTo>
                  <a:pt x="1" y="48"/>
                  <a:pt x="1" y="49"/>
                  <a:pt x="0" y="49"/>
                </a:cubicBezTo>
                <a:cubicBezTo>
                  <a:pt x="1" y="49"/>
                  <a:pt x="1" y="50"/>
                  <a:pt x="1" y="50"/>
                </a:cubicBezTo>
                <a:cubicBezTo>
                  <a:pt x="3" y="50"/>
                  <a:pt x="6" y="52"/>
                  <a:pt x="7" y="52"/>
                </a:cubicBezTo>
                <a:cubicBezTo>
                  <a:pt x="7" y="52"/>
                  <a:pt x="7" y="52"/>
                  <a:pt x="8" y="53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4"/>
                  <a:pt x="9" y="55"/>
                  <a:pt x="9" y="55"/>
                </a:cubicBezTo>
                <a:cubicBezTo>
                  <a:pt x="10" y="55"/>
                  <a:pt x="11" y="56"/>
                  <a:pt x="11" y="57"/>
                </a:cubicBezTo>
                <a:cubicBezTo>
                  <a:pt x="11" y="58"/>
                  <a:pt x="11" y="58"/>
                  <a:pt x="11" y="58"/>
                </a:cubicBezTo>
                <a:cubicBezTo>
                  <a:pt x="21" y="58"/>
                  <a:pt x="21" y="58"/>
                  <a:pt x="21" y="58"/>
                </a:cubicBezTo>
                <a:cubicBezTo>
                  <a:pt x="22" y="58"/>
                  <a:pt x="23" y="59"/>
                  <a:pt x="23" y="60"/>
                </a:cubicBezTo>
                <a:cubicBezTo>
                  <a:pt x="23" y="81"/>
                  <a:pt x="23" y="81"/>
                  <a:pt x="23" y="81"/>
                </a:cubicBezTo>
                <a:cubicBezTo>
                  <a:pt x="22" y="82"/>
                  <a:pt x="22" y="82"/>
                  <a:pt x="22" y="82"/>
                </a:cubicBezTo>
                <a:cubicBezTo>
                  <a:pt x="12" y="92"/>
                  <a:pt x="12" y="92"/>
                  <a:pt x="12" y="92"/>
                </a:cubicBezTo>
                <a:cubicBezTo>
                  <a:pt x="21" y="94"/>
                  <a:pt x="21" y="94"/>
                  <a:pt x="21" y="94"/>
                </a:cubicBezTo>
                <a:cubicBezTo>
                  <a:pt x="22" y="94"/>
                  <a:pt x="23" y="95"/>
                  <a:pt x="23" y="96"/>
                </a:cubicBezTo>
                <a:cubicBezTo>
                  <a:pt x="23" y="103"/>
                  <a:pt x="23" y="103"/>
                  <a:pt x="23" y="103"/>
                </a:cubicBezTo>
                <a:cubicBezTo>
                  <a:pt x="25" y="103"/>
                  <a:pt x="25" y="103"/>
                  <a:pt x="25" y="103"/>
                </a:cubicBezTo>
                <a:cubicBezTo>
                  <a:pt x="26" y="103"/>
                  <a:pt x="27" y="104"/>
                  <a:pt x="27" y="105"/>
                </a:cubicBezTo>
                <a:cubicBezTo>
                  <a:pt x="27" y="110"/>
                  <a:pt x="27" y="110"/>
                  <a:pt x="27" y="110"/>
                </a:cubicBezTo>
                <a:cubicBezTo>
                  <a:pt x="27" y="111"/>
                  <a:pt x="27" y="111"/>
                  <a:pt x="27" y="111"/>
                </a:cubicBezTo>
                <a:cubicBezTo>
                  <a:pt x="23" y="118"/>
                  <a:pt x="23" y="118"/>
                  <a:pt x="23" y="118"/>
                </a:cubicBezTo>
                <a:cubicBezTo>
                  <a:pt x="23" y="145"/>
                  <a:pt x="23" y="145"/>
                  <a:pt x="23" y="145"/>
                </a:cubicBezTo>
                <a:cubicBezTo>
                  <a:pt x="23" y="146"/>
                  <a:pt x="22" y="146"/>
                  <a:pt x="22" y="147"/>
                </a:cubicBezTo>
                <a:cubicBezTo>
                  <a:pt x="21" y="147"/>
                  <a:pt x="21" y="147"/>
                  <a:pt x="20" y="147"/>
                </a:cubicBezTo>
                <a:cubicBezTo>
                  <a:pt x="20" y="147"/>
                  <a:pt x="17" y="146"/>
                  <a:pt x="14" y="147"/>
                </a:cubicBezTo>
                <a:cubicBezTo>
                  <a:pt x="11" y="148"/>
                  <a:pt x="11" y="148"/>
                  <a:pt x="11" y="148"/>
                </a:cubicBezTo>
                <a:cubicBezTo>
                  <a:pt x="11" y="148"/>
                  <a:pt x="11" y="148"/>
                  <a:pt x="10" y="148"/>
                </a:cubicBezTo>
                <a:cubicBezTo>
                  <a:pt x="9" y="148"/>
                  <a:pt x="9" y="148"/>
                  <a:pt x="9" y="148"/>
                </a:cubicBezTo>
                <a:cubicBezTo>
                  <a:pt x="6" y="150"/>
                  <a:pt x="6" y="150"/>
                  <a:pt x="6" y="150"/>
                </a:cubicBezTo>
                <a:cubicBezTo>
                  <a:pt x="14" y="156"/>
                  <a:pt x="14" y="156"/>
                  <a:pt x="14" y="156"/>
                </a:cubicBezTo>
                <a:cubicBezTo>
                  <a:pt x="25" y="156"/>
                  <a:pt x="25" y="156"/>
                  <a:pt x="25" y="156"/>
                </a:cubicBezTo>
                <a:cubicBezTo>
                  <a:pt x="26" y="156"/>
                  <a:pt x="27" y="156"/>
                  <a:pt x="27" y="157"/>
                </a:cubicBezTo>
                <a:cubicBezTo>
                  <a:pt x="27" y="160"/>
                  <a:pt x="28" y="162"/>
                  <a:pt x="29" y="163"/>
                </a:cubicBezTo>
                <a:cubicBezTo>
                  <a:pt x="38" y="163"/>
                  <a:pt x="38" y="163"/>
                  <a:pt x="38" y="163"/>
                </a:cubicBezTo>
                <a:cubicBezTo>
                  <a:pt x="39" y="163"/>
                  <a:pt x="39" y="163"/>
                  <a:pt x="39" y="163"/>
                </a:cubicBezTo>
                <a:cubicBezTo>
                  <a:pt x="39" y="163"/>
                  <a:pt x="39" y="163"/>
                  <a:pt x="40" y="163"/>
                </a:cubicBezTo>
                <a:cubicBezTo>
                  <a:pt x="41" y="163"/>
                  <a:pt x="44" y="163"/>
                  <a:pt x="44" y="163"/>
                </a:cubicBezTo>
                <a:cubicBezTo>
                  <a:pt x="47" y="163"/>
                  <a:pt x="47" y="163"/>
                  <a:pt x="47" y="163"/>
                </a:cubicBezTo>
                <a:cubicBezTo>
                  <a:pt x="47" y="163"/>
                  <a:pt x="48" y="163"/>
                  <a:pt x="48" y="164"/>
                </a:cubicBezTo>
                <a:cubicBezTo>
                  <a:pt x="51" y="167"/>
                  <a:pt x="51" y="167"/>
                  <a:pt x="51" y="167"/>
                </a:cubicBezTo>
                <a:cubicBezTo>
                  <a:pt x="52" y="168"/>
                  <a:pt x="52" y="168"/>
                  <a:pt x="52" y="168"/>
                </a:cubicBezTo>
                <a:cubicBezTo>
                  <a:pt x="52" y="169"/>
                  <a:pt x="52" y="169"/>
                  <a:pt x="52" y="169"/>
                </a:cubicBezTo>
                <a:cubicBezTo>
                  <a:pt x="53" y="170"/>
                  <a:pt x="53" y="170"/>
                  <a:pt x="53" y="170"/>
                </a:cubicBezTo>
                <a:cubicBezTo>
                  <a:pt x="53" y="170"/>
                  <a:pt x="53" y="170"/>
                  <a:pt x="53" y="171"/>
                </a:cubicBezTo>
                <a:cubicBezTo>
                  <a:pt x="55" y="174"/>
                  <a:pt x="55" y="174"/>
                  <a:pt x="55" y="174"/>
                </a:cubicBezTo>
                <a:cubicBezTo>
                  <a:pt x="56" y="175"/>
                  <a:pt x="56" y="175"/>
                  <a:pt x="56" y="175"/>
                </a:cubicBezTo>
                <a:cubicBezTo>
                  <a:pt x="56" y="179"/>
                  <a:pt x="56" y="179"/>
                  <a:pt x="56" y="179"/>
                </a:cubicBezTo>
                <a:cubicBezTo>
                  <a:pt x="56" y="178"/>
                  <a:pt x="56" y="178"/>
                  <a:pt x="56" y="178"/>
                </a:cubicBezTo>
                <a:cubicBezTo>
                  <a:pt x="57" y="178"/>
                  <a:pt x="57" y="178"/>
                  <a:pt x="57" y="178"/>
                </a:cubicBezTo>
                <a:cubicBezTo>
                  <a:pt x="62" y="176"/>
                  <a:pt x="62" y="176"/>
                  <a:pt x="62" y="176"/>
                </a:cubicBezTo>
                <a:cubicBezTo>
                  <a:pt x="64" y="174"/>
                  <a:pt x="64" y="174"/>
                  <a:pt x="64" y="174"/>
                </a:cubicBezTo>
                <a:cubicBezTo>
                  <a:pt x="65" y="173"/>
                  <a:pt x="65" y="173"/>
                  <a:pt x="65" y="173"/>
                </a:cubicBezTo>
                <a:cubicBezTo>
                  <a:pt x="68" y="173"/>
                  <a:pt x="68" y="173"/>
                  <a:pt x="68" y="173"/>
                </a:cubicBezTo>
                <a:cubicBezTo>
                  <a:pt x="69" y="174"/>
                  <a:pt x="69" y="174"/>
                  <a:pt x="69" y="174"/>
                </a:cubicBezTo>
                <a:cubicBezTo>
                  <a:pt x="72" y="177"/>
                  <a:pt x="72" y="177"/>
                  <a:pt x="72" y="177"/>
                </a:cubicBezTo>
                <a:cubicBezTo>
                  <a:pt x="73" y="177"/>
                  <a:pt x="73" y="177"/>
                  <a:pt x="73" y="177"/>
                </a:cubicBezTo>
                <a:cubicBezTo>
                  <a:pt x="74" y="179"/>
                  <a:pt x="74" y="179"/>
                  <a:pt x="74" y="179"/>
                </a:cubicBezTo>
                <a:cubicBezTo>
                  <a:pt x="74" y="178"/>
                  <a:pt x="74" y="178"/>
                  <a:pt x="74" y="178"/>
                </a:cubicBezTo>
                <a:cubicBezTo>
                  <a:pt x="75" y="178"/>
                  <a:pt x="76" y="179"/>
                  <a:pt x="76" y="179"/>
                </a:cubicBezTo>
                <a:cubicBezTo>
                  <a:pt x="76" y="179"/>
                  <a:pt x="78" y="182"/>
                  <a:pt x="79" y="184"/>
                </a:cubicBezTo>
                <a:cubicBezTo>
                  <a:pt x="79" y="185"/>
                  <a:pt x="80" y="185"/>
                  <a:pt x="81" y="186"/>
                </a:cubicBezTo>
                <a:cubicBezTo>
                  <a:pt x="82" y="187"/>
                  <a:pt x="82" y="187"/>
                  <a:pt x="82" y="187"/>
                </a:cubicBezTo>
                <a:cubicBezTo>
                  <a:pt x="82" y="187"/>
                  <a:pt x="82" y="187"/>
                  <a:pt x="82" y="187"/>
                </a:cubicBezTo>
                <a:cubicBezTo>
                  <a:pt x="82" y="187"/>
                  <a:pt x="82" y="187"/>
                  <a:pt x="83" y="188"/>
                </a:cubicBezTo>
                <a:cubicBezTo>
                  <a:pt x="84" y="188"/>
                  <a:pt x="84" y="189"/>
                  <a:pt x="85" y="189"/>
                </a:cubicBezTo>
                <a:cubicBezTo>
                  <a:pt x="85" y="190"/>
                  <a:pt x="85" y="190"/>
                  <a:pt x="85" y="190"/>
                </a:cubicBezTo>
                <a:cubicBezTo>
                  <a:pt x="85" y="190"/>
                  <a:pt x="85" y="190"/>
                  <a:pt x="86" y="190"/>
                </a:cubicBezTo>
                <a:cubicBezTo>
                  <a:pt x="86" y="189"/>
                  <a:pt x="88" y="188"/>
                  <a:pt x="89" y="188"/>
                </a:cubicBezTo>
                <a:cubicBezTo>
                  <a:pt x="89" y="187"/>
                  <a:pt x="89" y="184"/>
                  <a:pt x="89" y="184"/>
                </a:cubicBezTo>
                <a:cubicBezTo>
                  <a:pt x="88" y="181"/>
                  <a:pt x="88" y="181"/>
                  <a:pt x="88" y="181"/>
                </a:cubicBezTo>
                <a:cubicBezTo>
                  <a:pt x="88" y="180"/>
                  <a:pt x="88" y="180"/>
                  <a:pt x="88" y="180"/>
                </a:cubicBezTo>
                <a:cubicBezTo>
                  <a:pt x="88" y="180"/>
                  <a:pt x="87" y="180"/>
                  <a:pt x="87" y="181"/>
                </a:cubicBezTo>
                <a:cubicBezTo>
                  <a:pt x="87" y="181"/>
                  <a:pt x="86" y="181"/>
                  <a:pt x="85" y="181"/>
                </a:cubicBezTo>
                <a:cubicBezTo>
                  <a:pt x="85" y="180"/>
                  <a:pt x="84" y="180"/>
                  <a:pt x="84" y="179"/>
                </a:cubicBezTo>
                <a:cubicBezTo>
                  <a:pt x="84" y="179"/>
                  <a:pt x="83" y="176"/>
                  <a:pt x="84" y="173"/>
                </a:cubicBezTo>
                <a:cubicBezTo>
                  <a:pt x="84" y="172"/>
                  <a:pt x="85" y="172"/>
                  <a:pt x="86" y="171"/>
                </a:cubicBezTo>
                <a:cubicBezTo>
                  <a:pt x="87" y="171"/>
                  <a:pt x="87" y="171"/>
                  <a:pt x="87" y="171"/>
                </a:cubicBezTo>
                <a:cubicBezTo>
                  <a:pt x="88" y="171"/>
                  <a:pt x="89" y="171"/>
                  <a:pt x="89" y="172"/>
                </a:cubicBezTo>
                <a:cubicBezTo>
                  <a:pt x="91" y="173"/>
                  <a:pt x="91" y="173"/>
                  <a:pt x="91" y="173"/>
                </a:cubicBezTo>
                <a:cubicBezTo>
                  <a:pt x="92" y="174"/>
                  <a:pt x="92" y="175"/>
                  <a:pt x="93" y="175"/>
                </a:cubicBezTo>
                <a:cubicBezTo>
                  <a:pt x="93" y="175"/>
                  <a:pt x="93" y="175"/>
                  <a:pt x="93" y="175"/>
                </a:cubicBezTo>
                <a:cubicBezTo>
                  <a:pt x="93" y="174"/>
                  <a:pt x="93" y="173"/>
                  <a:pt x="94" y="173"/>
                </a:cubicBezTo>
                <a:cubicBezTo>
                  <a:pt x="95" y="171"/>
                  <a:pt x="97" y="171"/>
                  <a:pt x="100" y="171"/>
                </a:cubicBezTo>
                <a:cubicBezTo>
                  <a:pt x="100" y="171"/>
                  <a:pt x="100" y="171"/>
                  <a:pt x="100" y="172"/>
                </a:cubicBezTo>
                <a:cubicBezTo>
                  <a:pt x="102" y="172"/>
                  <a:pt x="102" y="172"/>
                  <a:pt x="102" y="172"/>
                </a:cubicBezTo>
                <a:cubicBezTo>
                  <a:pt x="102" y="172"/>
                  <a:pt x="102" y="172"/>
                  <a:pt x="102" y="172"/>
                </a:cubicBezTo>
                <a:cubicBezTo>
                  <a:pt x="103" y="172"/>
                  <a:pt x="104" y="172"/>
                  <a:pt x="105" y="172"/>
                </a:cubicBezTo>
                <a:cubicBezTo>
                  <a:pt x="107" y="172"/>
                  <a:pt x="107" y="172"/>
                  <a:pt x="108" y="172"/>
                </a:cubicBezTo>
                <a:cubicBezTo>
                  <a:pt x="108" y="172"/>
                  <a:pt x="109" y="173"/>
                  <a:pt x="110" y="173"/>
                </a:cubicBezTo>
                <a:cubicBezTo>
                  <a:pt x="112" y="173"/>
                  <a:pt x="113" y="173"/>
                  <a:pt x="114" y="174"/>
                </a:cubicBezTo>
                <a:cubicBezTo>
                  <a:pt x="115" y="175"/>
                  <a:pt x="115" y="175"/>
                  <a:pt x="116" y="176"/>
                </a:cubicBezTo>
                <a:cubicBezTo>
                  <a:pt x="116" y="176"/>
                  <a:pt x="116" y="177"/>
                  <a:pt x="117" y="177"/>
                </a:cubicBezTo>
                <a:cubicBezTo>
                  <a:pt x="117" y="177"/>
                  <a:pt x="117" y="177"/>
                  <a:pt x="117" y="177"/>
                </a:cubicBezTo>
                <a:cubicBezTo>
                  <a:pt x="118" y="177"/>
                  <a:pt x="119" y="177"/>
                  <a:pt x="120" y="177"/>
                </a:cubicBezTo>
                <a:cubicBezTo>
                  <a:pt x="121" y="177"/>
                  <a:pt x="121" y="177"/>
                  <a:pt x="121" y="177"/>
                </a:cubicBezTo>
                <a:cubicBezTo>
                  <a:pt x="122" y="177"/>
                  <a:pt x="123" y="177"/>
                  <a:pt x="123" y="178"/>
                </a:cubicBezTo>
                <a:cubicBezTo>
                  <a:pt x="124" y="178"/>
                  <a:pt x="124" y="178"/>
                  <a:pt x="125" y="178"/>
                </a:cubicBezTo>
                <a:cubicBezTo>
                  <a:pt x="126" y="179"/>
                  <a:pt x="128" y="179"/>
                  <a:pt x="128" y="181"/>
                </a:cubicBezTo>
                <a:cubicBezTo>
                  <a:pt x="130" y="182"/>
                  <a:pt x="130" y="182"/>
                  <a:pt x="130" y="182"/>
                </a:cubicBezTo>
                <a:cubicBezTo>
                  <a:pt x="131" y="183"/>
                  <a:pt x="131" y="184"/>
                  <a:pt x="131" y="185"/>
                </a:cubicBezTo>
                <a:cubicBezTo>
                  <a:pt x="131" y="185"/>
                  <a:pt x="132" y="185"/>
                  <a:pt x="132" y="186"/>
                </a:cubicBezTo>
                <a:cubicBezTo>
                  <a:pt x="132" y="185"/>
                  <a:pt x="132" y="185"/>
                  <a:pt x="133" y="185"/>
                </a:cubicBezTo>
                <a:cubicBezTo>
                  <a:pt x="133" y="184"/>
                  <a:pt x="133" y="183"/>
                  <a:pt x="134" y="182"/>
                </a:cubicBezTo>
                <a:cubicBezTo>
                  <a:pt x="134" y="182"/>
                  <a:pt x="134" y="182"/>
                  <a:pt x="134" y="182"/>
                </a:cubicBezTo>
                <a:cubicBezTo>
                  <a:pt x="134" y="181"/>
                  <a:pt x="134" y="179"/>
                  <a:pt x="135" y="178"/>
                </a:cubicBezTo>
                <a:cubicBezTo>
                  <a:pt x="137" y="175"/>
                  <a:pt x="137" y="175"/>
                  <a:pt x="137" y="175"/>
                </a:cubicBezTo>
                <a:cubicBezTo>
                  <a:pt x="136" y="174"/>
                  <a:pt x="136" y="174"/>
                  <a:pt x="136" y="174"/>
                </a:cubicBezTo>
                <a:cubicBezTo>
                  <a:pt x="136" y="173"/>
                  <a:pt x="135" y="173"/>
                  <a:pt x="134" y="173"/>
                </a:cubicBezTo>
                <a:cubicBezTo>
                  <a:pt x="133" y="173"/>
                  <a:pt x="132" y="172"/>
                  <a:pt x="132" y="171"/>
                </a:cubicBezTo>
                <a:cubicBezTo>
                  <a:pt x="132" y="169"/>
                  <a:pt x="132" y="169"/>
                  <a:pt x="132" y="169"/>
                </a:cubicBezTo>
                <a:cubicBezTo>
                  <a:pt x="132" y="167"/>
                  <a:pt x="132" y="167"/>
                  <a:pt x="132" y="167"/>
                </a:cubicBezTo>
                <a:cubicBezTo>
                  <a:pt x="132" y="162"/>
                  <a:pt x="132" y="162"/>
                  <a:pt x="132" y="162"/>
                </a:cubicBezTo>
                <a:cubicBezTo>
                  <a:pt x="129" y="162"/>
                  <a:pt x="129" y="162"/>
                  <a:pt x="129" y="162"/>
                </a:cubicBezTo>
                <a:cubicBezTo>
                  <a:pt x="128" y="163"/>
                  <a:pt x="128" y="163"/>
                  <a:pt x="127" y="162"/>
                </a:cubicBezTo>
                <a:cubicBezTo>
                  <a:pt x="125" y="162"/>
                  <a:pt x="124" y="159"/>
                  <a:pt x="124" y="157"/>
                </a:cubicBezTo>
                <a:cubicBezTo>
                  <a:pt x="124" y="154"/>
                  <a:pt x="124" y="153"/>
                  <a:pt x="124" y="153"/>
                </a:cubicBezTo>
                <a:cubicBezTo>
                  <a:pt x="124" y="153"/>
                  <a:pt x="124" y="152"/>
                  <a:pt x="124" y="151"/>
                </a:cubicBezTo>
                <a:cubicBezTo>
                  <a:pt x="124" y="149"/>
                  <a:pt x="124" y="148"/>
                  <a:pt x="124" y="147"/>
                </a:cubicBezTo>
                <a:cubicBezTo>
                  <a:pt x="124" y="144"/>
                  <a:pt x="124" y="144"/>
                  <a:pt x="124" y="144"/>
                </a:cubicBezTo>
                <a:cubicBezTo>
                  <a:pt x="124" y="144"/>
                  <a:pt x="124" y="144"/>
                  <a:pt x="124" y="143"/>
                </a:cubicBezTo>
                <a:cubicBezTo>
                  <a:pt x="125" y="141"/>
                  <a:pt x="125" y="141"/>
                  <a:pt x="125" y="141"/>
                </a:cubicBezTo>
                <a:cubicBezTo>
                  <a:pt x="125" y="140"/>
                  <a:pt x="125" y="140"/>
                  <a:pt x="125" y="140"/>
                </a:cubicBezTo>
                <a:cubicBezTo>
                  <a:pt x="123" y="140"/>
                  <a:pt x="123" y="140"/>
                  <a:pt x="123" y="140"/>
                </a:cubicBezTo>
                <a:cubicBezTo>
                  <a:pt x="122" y="140"/>
                  <a:pt x="122" y="140"/>
                  <a:pt x="121" y="139"/>
                </a:cubicBezTo>
                <a:cubicBezTo>
                  <a:pt x="121" y="139"/>
                  <a:pt x="120" y="136"/>
                  <a:pt x="119" y="135"/>
                </a:cubicBezTo>
                <a:cubicBezTo>
                  <a:pt x="118" y="133"/>
                  <a:pt x="119" y="132"/>
                  <a:pt x="119" y="131"/>
                </a:cubicBezTo>
                <a:cubicBezTo>
                  <a:pt x="119" y="127"/>
                  <a:pt x="119" y="127"/>
                  <a:pt x="119" y="127"/>
                </a:cubicBezTo>
                <a:cubicBezTo>
                  <a:pt x="118" y="123"/>
                  <a:pt x="118" y="123"/>
                  <a:pt x="118" y="123"/>
                </a:cubicBezTo>
                <a:cubicBezTo>
                  <a:pt x="118" y="123"/>
                  <a:pt x="118" y="123"/>
                  <a:pt x="118" y="122"/>
                </a:cubicBezTo>
                <a:cubicBezTo>
                  <a:pt x="118" y="122"/>
                  <a:pt x="118" y="122"/>
                  <a:pt x="118" y="122"/>
                </a:cubicBezTo>
                <a:cubicBezTo>
                  <a:pt x="117" y="122"/>
                  <a:pt x="116" y="122"/>
                  <a:pt x="116" y="121"/>
                </a:cubicBezTo>
                <a:cubicBezTo>
                  <a:pt x="115" y="118"/>
                  <a:pt x="115" y="118"/>
                  <a:pt x="115" y="118"/>
                </a:cubicBezTo>
                <a:cubicBezTo>
                  <a:pt x="114" y="118"/>
                  <a:pt x="114" y="118"/>
                  <a:pt x="114" y="118"/>
                </a:cubicBezTo>
                <a:cubicBezTo>
                  <a:pt x="114" y="114"/>
                  <a:pt x="114" y="114"/>
                  <a:pt x="114" y="114"/>
                </a:cubicBezTo>
                <a:cubicBezTo>
                  <a:pt x="114" y="113"/>
                  <a:pt x="115" y="112"/>
                  <a:pt x="116" y="112"/>
                </a:cubicBezTo>
                <a:cubicBezTo>
                  <a:pt x="117" y="111"/>
                  <a:pt x="118" y="111"/>
                  <a:pt x="120" y="112"/>
                </a:cubicBezTo>
                <a:cubicBezTo>
                  <a:pt x="121" y="112"/>
                  <a:pt x="121" y="112"/>
                  <a:pt x="121" y="112"/>
                </a:cubicBezTo>
                <a:cubicBezTo>
                  <a:pt x="123" y="112"/>
                  <a:pt x="123" y="112"/>
                  <a:pt x="124" y="112"/>
                </a:cubicBezTo>
                <a:cubicBezTo>
                  <a:pt x="125" y="112"/>
                  <a:pt x="126" y="112"/>
                  <a:pt x="127" y="112"/>
                </a:cubicBezTo>
                <a:cubicBezTo>
                  <a:pt x="127" y="112"/>
                  <a:pt x="127" y="112"/>
                  <a:pt x="127" y="112"/>
                </a:cubicBezTo>
                <a:cubicBezTo>
                  <a:pt x="126" y="112"/>
                  <a:pt x="126" y="111"/>
                  <a:pt x="126" y="111"/>
                </a:cubicBezTo>
                <a:cubicBezTo>
                  <a:pt x="126" y="110"/>
                  <a:pt x="127" y="110"/>
                  <a:pt x="127" y="109"/>
                </a:cubicBezTo>
                <a:cubicBezTo>
                  <a:pt x="129" y="108"/>
                  <a:pt x="129" y="108"/>
                  <a:pt x="129" y="108"/>
                </a:cubicBezTo>
                <a:cubicBezTo>
                  <a:pt x="129" y="107"/>
                  <a:pt x="130" y="105"/>
                  <a:pt x="131" y="104"/>
                </a:cubicBezTo>
                <a:cubicBezTo>
                  <a:pt x="133" y="102"/>
                  <a:pt x="136" y="102"/>
                  <a:pt x="137" y="103"/>
                </a:cubicBezTo>
                <a:cubicBezTo>
                  <a:pt x="138" y="103"/>
                  <a:pt x="138" y="103"/>
                  <a:pt x="138" y="103"/>
                </a:cubicBezTo>
                <a:cubicBezTo>
                  <a:pt x="139" y="102"/>
                  <a:pt x="140" y="102"/>
                  <a:pt x="141" y="102"/>
                </a:cubicBezTo>
                <a:cubicBezTo>
                  <a:pt x="141" y="102"/>
                  <a:pt x="141" y="102"/>
                  <a:pt x="141" y="102"/>
                </a:cubicBezTo>
                <a:cubicBezTo>
                  <a:pt x="141" y="101"/>
                  <a:pt x="140" y="98"/>
                  <a:pt x="141" y="96"/>
                </a:cubicBezTo>
                <a:cubicBezTo>
                  <a:pt x="142" y="95"/>
                  <a:pt x="142" y="92"/>
                  <a:pt x="141" y="90"/>
                </a:cubicBezTo>
                <a:cubicBezTo>
                  <a:pt x="141" y="90"/>
                  <a:pt x="141" y="90"/>
                  <a:pt x="141" y="90"/>
                </a:cubicBezTo>
                <a:cubicBezTo>
                  <a:pt x="143" y="84"/>
                  <a:pt x="143" y="84"/>
                  <a:pt x="143" y="84"/>
                </a:cubicBezTo>
                <a:cubicBezTo>
                  <a:pt x="144" y="84"/>
                  <a:pt x="144" y="83"/>
                  <a:pt x="145" y="83"/>
                </a:cubicBezTo>
                <a:cubicBezTo>
                  <a:pt x="146" y="83"/>
                  <a:pt x="146" y="83"/>
                  <a:pt x="146" y="83"/>
                </a:cubicBezTo>
                <a:cubicBezTo>
                  <a:pt x="146" y="83"/>
                  <a:pt x="146" y="82"/>
                  <a:pt x="147" y="82"/>
                </a:cubicBezTo>
                <a:cubicBezTo>
                  <a:pt x="147" y="79"/>
                  <a:pt x="147" y="79"/>
                  <a:pt x="147" y="79"/>
                </a:cubicBezTo>
                <a:lnTo>
                  <a:pt x="146" y="7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Freeform 25">
            <a:extLst>
              <a:ext uri="{FF2B5EF4-FFF2-40B4-BE49-F238E27FC236}">
                <a16:creationId xmlns:a16="http://schemas.microsoft.com/office/drawing/2014/main" id="{E2763DD0-11E8-4BD0-A7E4-955BEEDCDE8E}"/>
              </a:ext>
            </a:extLst>
          </p:cNvPr>
          <p:cNvSpPr>
            <a:spLocks/>
          </p:cNvSpPr>
          <p:nvPr/>
        </p:nvSpPr>
        <p:spPr bwMode="auto">
          <a:xfrm>
            <a:off x="4869934" y="2699869"/>
            <a:ext cx="335360" cy="187325"/>
          </a:xfrm>
          <a:custGeom>
            <a:avLst/>
            <a:gdLst>
              <a:gd name="T0" fmla="*/ 70 w 139"/>
              <a:gd name="T1" fmla="*/ 7 h 84"/>
              <a:gd name="T2" fmla="*/ 65 w 139"/>
              <a:gd name="T3" fmla="*/ 10 h 84"/>
              <a:gd name="T4" fmla="*/ 58 w 139"/>
              <a:gd name="T5" fmla="*/ 10 h 84"/>
              <a:gd name="T6" fmla="*/ 56 w 139"/>
              <a:gd name="T7" fmla="*/ 13 h 84"/>
              <a:gd name="T8" fmla="*/ 51 w 139"/>
              <a:gd name="T9" fmla="*/ 17 h 84"/>
              <a:gd name="T10" fmla="*/ 42 w 139"/>
              <a:gd name="T11" fmla="*/ 23 h 84"/>
              <a:gd name="T12" fmla="*/ 32 w 139"/>
              <a:gd name="T13" fmla="*/ 24 h 84"/>
              <a:gd name="T14" fmla="*/ 30 w 139"/>
              <a:gd name="T15" fmla="*/ 29 h 84"/>
              <a:gd name="T16" fmla="*/ 24 w 139"/>
              <a:gd name="T17" fmla="*/ 34 h 84"/>
              <a:gd name="T18" fmla="*/ 21 w 139"/>
              <a:gd name="T19" fmla="*/ 36 h 84"/>
              <a:gd name="T20" fmla="*/ 9 w 139"/>
              <a:gd name="T21" fmla="*/ 42 h 84"/>
              <a:gd name="T22" fmla="*/ 3 w 139"/>
              <a:gd name="T23" fmla="*/ 46 h 84"/>
              <a:gd name="T24" fmla="*/ 0 w 139"/>
              <a:gd name="T25" fmla="*/ 49 h 84"/>
              <a:gd name="T26" fmla="*/ 5 w 139"/>
              <a:gd name="T27" fmla="*/ 48 h 84"/>
              <a:gd name="T28" fmla="*/ 17 w 139"/>
              <a:gd name="T29" fmla="*/ 46 h 84"/>
              <a:gd name="T30" fmla="*/ 25 w 139"/>
              <a:gd name="T31" fmla="*/ 48 h 84"/>
              <a:gd name="T32" fmla="*/ 35 w 139"/>
              <a:gd name="T33" fmla="*/ 50 h 84"/>
              <a:gd name="T34" fmla="*/ 42 w 139"/>
              <a:gd name="T35" fmla="*/ 52 h 84"/>
              <a:gd name="T36" fmla="*/ 47 w 139"/>
              <a:gd name="T37" fmla="*/ 45 h 84"/>
              <a:gd name="T38" fmla="*/ 61 w 139"/>
              <a:gd name="T39" fmla="*/ 44 h 84"/>
              <a:gd name="T40" fmla="*/ 68 w 139"/>
              <a:gd name="T41" fmla="*/ 50 h 84"/>
              <a:gd name="T42" fmla="*/ 76 w 139"/>
              <a:gd name="T43" fmla="*/ 52 h 84"/>
              <a:gd name="T44" fmla="*/ 84 w 139"/>
              <a:gd name="T45" fmla="*/ 47 h 84"/>
              <a:gd name="T46" fmla="*/ 89 w 139"/>
              <a:gd name="T47" fmla="*/ 54 h 84"/>
              <a:gd name="T48" fmla="*/ 93 w 139"/>
              <a:gd name="T49" fmla="*/ 65 h 84"/>
              <a:gd name="T50" fmla="*/ 103 w 139"/>
              <a:gd name="T51" fmla="*/ 69 h 84"/>
              <a:gd name="T52" fmla="*/ 107 w 139"/>
              <a:gd name="T53" fmla="*/ 70 h 84"/>
              <a:gd name="T54" fmla="*/ 111 w 139"/>
              <a:gd name="T55" fmla="*/ 71 h 84"/>
              <a:gd name="T56" fmla="*/ 129 w 139"/>
              <a:gd name="T57" fmla="*/ 77 h 84"/>
              <a:gd name="T58" fmla="*/ 130 w 139"/>
              <a:gd name="T59" fmla="*/ 81 h 84"/>
              <a:gd name="T60" fmla="*/ 132 w 139"/>
              <a:gd name="T61" fmla="*/ 83 h 84"/>
              <a:gd name="T62" fmla="*/ 134 w 139"/>
              <a:gd name="T63" fmla="*/ 77 h 84"/>
              <a:gd name="T64" fmla="*/ 138 w 139"/>
              <a:gd name="T65" fmla="*/ 71 h 84"/>
              <a:gd name="T66" fmla="*/ 139 w 139"/>
              <a:gd name="T67" fmla="*/ 67 h 84"/>
              <a:gd name="T68" fmla="*/ 128 w 139"/>
              <a:gd name="T69" fmla="*/ 66 h 84"/>
              <a:gd name="T70" fmla="*/ 123 w 139"/>
              <a:gd name="T71" fmla="*/ 64 h 84"/>
              <a:gd name="T72" fmla="*/ 120 w 139"/>
              <a:gd name="T73" fmla="*/ 58 h 84"/>
              <a:gd name="T74" fmla="*/ 122 w 139"/>
              <a:gd name="T75" fmla="*/ 51 h 84"/>
              <a:gd name="T76" fmla="*/ 111 w 139"/>
              <a:gd name="T77" fmla="*/ 48 h 84"/>
              <a:gd name="T78" fmla="*/ 116 w 139"/>
              <a:gd name="T79" fmla="*/ 40 h 84"/>
              <a:gd name="T80" fmla="*/ 117 w 139"/>
              <a:gd name="T81" fmla="*/ 40 h 84"/>
              <a:gd name="T82" fmla="*/ 115 w 139"/>
              <a:gd name="T83" fmla="*/ 34 h 84"/>
              <a:gd name="T84" fmla="*/ 108 w 139"/>
              <a:gd name="T85" fmla="*/ 32 h 84"/>
              <a:gd name="T86" fmla="*/ 110 w 139"/>
              <a:gd name="T87" fmla="*/ 26 h 84"/>
              <a:gd name="T88" fmla="*/ 108 w 139"/>
              <a:gd name="T89" fmla="*/ 20 h 84"/>
              <a:gd name="T90" fmla="*/ 105 w 139"/>
              <a:gd name="T91" fmla="*/ 14 h 84"/>
              <a:gd name="T92" fmla="*/ 101 w 139"/>
              <a:gd name="T93" fmla="*/ 12 h 84"/>
              <a:gd name="T94" fmla="*/ 97 w 139"/>
              <a:gd name="T95" fmla="*/ 7 h 84"/>
              <a:gd name="T96" fmla="*/ 85 w 139"/>
              <a:gd name="T97" fmla="*/ 5 h 84"/>
              <a:gd name="T98" fmla="*/ 73 w 139"/>
              <a:gd name="T99" fmla="*/ 3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39" h="84">
                <a:moveTo>
                  <a:pt x="73" y="3"/>
                </a:moveTo>
                <a:cubicBezTo>
                  <a:pt x="73" y="4"/>
                  <a:pt x="73" y="4"/>
                  <a:pt x="72" y="4"/>
                </a:cubicBezTo>
                <a:cubicBezTo>
                  <a:pt x="72" y="5"/>
                  <a:pt x="72" y="5"/>
                  <a:pt x="70" y="7"/>
                </a:cubicBezTo>
                <a:cubicBezTo>
                  <a:pt x="69" y="10"/>
                  <a:pt x="68" y="10"/>
                  <a:pt x="67" y="10"/>
                </a:cubicBezTo>
                <a:cubicBezTo>
                  <a:pt x="66" y="10"/>
                  <a:pt x="66" y="10"/>
                  <a:pt x="66" y="10"/>
                </a:cubicBezTo>
                <a:cubicBezTo>
                  <a:pt x="66" y="10"/>
                  <a:pt x="66" y="10"/>
                  <a:pt x="65" y="10"/>
                </a:cubicBezTo>
                <a:cubicBezTo>
                  <a:pt x="63" y="11"/>
                  <a:pt x="62" y="11"/>
                  <a:pt x="61" y="10"/>
                </a:cubicBezTo>
                <a:cubicBezTo>
                  <a:pt x="61" y="10"/>
                  <a:pt x="61" y="10"/>
                  <a:pt x="61" y="10"/>
                </a:cubicBezTo>
                <a:cubicBezTo>
                  <a:pt x="59" y="10"/>
                  <a:pt x="59" y="10"/>
                  <a:pt x="58" y="10"/>
                </a:cubicBezTo>
                <a:cubicBezTo>
                  <a:pt x="58" y="11"/>
                  <a:pt x="57" y="11"/>
                  <a:pt x="57" y="11"/>
                </a:cubicBezTo>
                <a:cubicBezTo>
                  <a:pt x="56" y="12"/>
                  <a:pt x="56" y="12"/>
                  <a:pt x="56" y="12"/>
                </a:cubicBezTo>
                <a:cubicBezTo>
                  <a:pt x="56" y="13"/>
                  <a:pt x="56" y="13"/>
                  <a:pt x="56" y="13"/>
                </a:cubicBezTo>
                <a:cubicBezTo>
                  <a:pt x="54" y="15"/>
                  <a:pt x="54" y="15"/>
                  <a:pt x="54" y="15"/>
                </a:cubicBezTo>
                <a:cubicBezTo>
                  <a:pt x="53" y="16"/>
                  <a:pt x="53" y="16"/>
                  <a:pt x="52" y="16"/>
                </a:cubicBezTo>
                <a:cubicBezTo>
                  <a:pt x="51" y="17"/>
                  <a:pt x="51" y="17"/>
                  <a:pt x="51" y="17"/>
                </a:cubicBezTo>
                <a:cubicBezTo>
                  <a:pt x="51" y="18"/>
                  <a:pt x="51" y="18"/>
                  <a:pt x="51" y="19"/>
                </a:cubicBezTo>
                <a:cubicBezTo>
                  <a:pt x="50" y="20"/>
                  <a:pt x="49" y="20"/>
                  <a:pt x="46" y="22"/>
                </a:cubicBezTo>
                <a:cubicBezTo>
                  <a:pt x="44" y="24"/>
                  <a:pt x="43" y="24"/>
                  <a:pt x="42" y="23"/>
                </a:cubicBezTo>
                <a:cubicBezTo>
                  <a:pt x="42" y="23"/>
                  <a:pt x="40" y="23"/>
                  <a:pt x="39" y="23"/>
                </a:cubicBezTo>
                <a:cubicBezTo>
                  <a:pt x="36" y="23"/>
                  <a:pt x="34" y="23"/>
                  <a:pt x="33" y="23"/>
                </a:cubicBezTo>
                <a:cubicBezTo>
                  <a:pt x="33" y="23"/>
                  <a:pt x="32" y="23"/>
                  <a:pt x="32" y="24"/>
                </a:cubicBezTo>
                <a:cubicBezTo>
                  <a:pt x="32" y="25"/>
                  <a:pt x="31" y="25"/>
                  <a:pt x="31" y="25"/>
                </a:cubicBezTo>
                <a:cubicBezTo>
                  <a:pt x="31" y="26"/>
                  <a:pt x="31" y="26"/>
                  <a:pt x="31" y="26"/>
                </a:cubicBezTo>
                <a:cubicBezTo>
                  <a:pt x="31" y="28"/>
                  <a:pt x="31" y="28"/>
                  <a:pt x="30" y="29"/>
                </a:cubicBezTo>
                <a:cubicBezTo>
                  <a:pt x="30" y="29"/>
                  <a:pt x="30" y="29"/>
                  <a:pt x="30" y="29"/>
                </a:cubicBezTo>
                <a:cubicBezTo>
                  <a:pt x="30" y="29"/>
                  <a:pt x="30" y="29"/>
                  <a:pt x="30" y="29"/>
                </a:cubicBezTo>
                <a:cubicBezTo>
                  <a:pt x="29" y="31"/>
                  <a:pt x="28" y="32"/>
                  <a:pt x="24" y="34"/>
                </a:cubicBezTo>
                <a:cubicBezTo>
                  <a:pt x="23" y="35"/>
                  <a:pt x="23" y="35"/>
                  <a:pt x="23" y="35"/>
                </a:cubicBezTo>
                <a:cubicBezTo>
                  <a:pt x="22" y="35"/>
                  <a:pt x="22" y="35"/>
                  <a:pt x="22" y="35"/>
                </a:cubicBezTo>
                <a:cubicBezTo>
                  <a:pt x="21" y="36"/>
                  <a:pt x="21" y="36"/>
                  <a:pt x="21" y="36"/>
                </a:cubicBezTo>
                <a:cubicBezTo>
                  <a:pt x="20" y="37"/>
                  <a:pt x="19" y="38"/>
                  <a:pt x="16" y="39"/>
                </a:cubicBezTo>
                <a:cubicBezTo>
                  <a:pt x="13" y="40"/>
                  <a:pt x="12" y="41"/>
                  <a:pt x="12" y="41"/>
                </a:cubicBezTo>
                <a:cubicBezTo>
                  <a:pt x="9" y="42"/>
                  <a:pt x="9" y="42"/>
                  <a:pt x="9" y="42"/>
                </a:cubicBezTo>
                <a:cubicBezTo>
                  <a:pt x="8" y="43"/>
                  <a:pt x="8" y="43"/>
                  <a:pt x="7" y="44"/>
                </a:cubicBezTo>
                <a:cubicBezTo>
                  <a:pt x="7" y="44"/>
                  <a:pt x="7" y="45"/>
                  <a:pt x="6" y="45"/>
                </a:cubicBezTo>
                <a:cubicBezTo>
                  <a:pt x="5" y="46"/>
                  <a:pt x="4" y="46"/>
                  <a:pt x="3" y="46"/>
                </a:cubicBezTo>
                <a:cubicBezTo>
                  <a:pt x="2" y="46"/>
                  <a:pt x="1" y="46"/>
                  <a:pt x="1" y="46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49"/>
                  <a:pt x="0" y="49"/>
                  <a:pt x="0" y="49"/>
                </a:cubicBezTo>
                <a:cubicBezTo>
                  <a:pt x="1" y="50"/>
                  <a:pt x="1" y="50"/>
                  <a:pt x="1" y="50"/>
                </a:cubicBezTo>
                <a:cubicBezTo>
                  <a:pt x="1" y="50"/>
                  <a:pt x="1" y="50"/>
                  <a:pt x="1" y="50"/>
                </a:cubicBezTo>
                <a:cubicBezTo>
                  <a:pt x="2" y="49"/>
                  <a:pt x="3" y="48"/>
                  <a:pt x="5" y="48"/>
                </a:cubicBezTo>
                <a:cubicBezTo>
                  <a:pt x="6" y="48"/>
                  <a:pt x="8" y="48"/>
                  <a:pt x="9" y="48"/>
                </a:cubicBezTo>
                <a:cubicBezTo>
                  <a:pt x="10" y="47"/>
                  <a:pt x="11" y="46"/>
                  <a:pt x="13" y="46"/>
                </a:cubicBezTo>
                <a:cubicBezTo>
                  <a:pt x="14" y="46"/>
                  <a:pt x="17" y="46"/>
                  <a:pt x="17" y="46"/>
                </a:cubicBezTo>
                <a:cubicBezTo>
                  <a:pt x="21" y="46"/>
                  <a:pt x="22" y="46"/>
                  <a:pt x="23" y="47"/>
                </a:cubicBezTo>
                <a:cubicBezTo>
                  <a:pt x="23" y="47"/>
                  <a:pt x="24" y="48"/>
                  <a:pt x="25" y="48"/>
                </a:cubicBezTo>
                <a:cubicBezTo>
                  <a:pt x="25" y="48"/>
                  <a:pt x="25" y="48"/>
                  <a:pt x="25" y="48"/>
                </a:cubicBezTo>
                <a:cubicBezTo>
                  <a:pt x="26" y="48"/>
                  <a:pt x="26" y="48"/>
                  <a:pt x="26" y="48"/>
                </a:cubicBezTo>
                <a:cubicBezTo>
                  <a:pt x="29" y="50"/>
                  <a:pt x="29" y="50"/>
                  <a:pt x="29" y="50"/>
                </a:cubicBezTo>
                <a:cubicBezTo>
                  <a:pt x="30" y="49"/>
                  <a:pt x="33" y="49"/>
                  <a:pt x="35" y="50"/>
                </a:cubicBezTo>
                <a:cubicBezTo>
                  <a:pt x="37" y="51"/>
                  <a:pt x="38" y="52"/>
                  <a:pt x="39" y="52"/>
                </a:cubicBezTo>
                <a:cubicBezTo>
                  <a:pt x="39" y="52"/>
                  <a:pt x="39" y="52"/>
                  <a:pt x="41" y="52"/>
                </a:cubicBezTo>
                <a:cubicBezTo>
                  <a:pt x="42" y="52"/>
                  <a:pt x="42" y="52"/>
                  <a:pt x="42" y="52"/>
                </a:cubicBezTo>
                <a:cubicBezTo>
                  <a:pt x="47" y="53"/>
                  <a:pt x="47" y="52"/>
                  <a:pt x="47" y="51"/>
                </a:cubicBezTo>
                <a:cubicBezTo>
                  <a:pt x="47" y="50"/>
                  <a:pt x="47" y="50"/>
                  <a:pt x="46" y="49"/>
                </a:cubicBezTo>
                <a:cubicBezTo>
                  <a:pt x="45" y="48"/>
                  <a:pt x="46" y="46"/>
                  <a:pt x="47" y="45"/>
                </a:cubicBezTo>
                <a:cubicBezTo>
                  <a:pt x="50" y="42"/>
                  <a:pt x="52" y="42"/>
                  <a:pt x="53" y="42"/>
                </a:cubicBezTo>
                <a:cubicBezTo>
                  <a:pt x="59" y="42"/>
                  <a:pt x="59" y="42"/>
                  <a:pt x="59" y="42"/>
                </a:cubicBezTo>
                <a:cubicBezTo>
                  <a:pt x="60" y="42"/>
                  <a:pt x="60" y="43"/>
                  <a:pt x="61" y="44"/>
                </a:cubicBezTo>
                <a:cubicBezTo>
                  <a:pt x="63" y="49"/>
                  <a:pt x="63" y="49"/>
                  <a:pt x="63" y="49"/>
                </a:cubicBezTo>
                <a:cubicBezTo>
                  <a:pt x="63" y="49"/>
                  <a:pt x="63" y="49"/>
                  <a:pt x="63" y="50"/>
                </a:cubicBezTo>
                <a:cubicBezTo>
                  <a:pt x="65" y="50"/>
                  <a:pt x="67" y="50"/>
                  <a:pt x="68" y="50"/>
                </a:cubicBezTo>
                <a:cubicBezTo>
                  <a:pt x="68" y="51"/>
                  <a:pt x="68" y="51"/>
                  <a:pt x="68" y="51"/>
                </a:cubicBezTo>
                <a:cubicBezTo>
                  <a:pt x="72" y="52"/>
                  <a:pt x="72" y="52"/>
                  <a:pt x="72" y="52"/>
                </a:cubicBezTo>
                <a:cubicBezTo>
                  <a:pt x="76" y="52"/>
                  <a:pt x="76" y="52"/>
                  <a:pt x="76" y="52"/>
                </a:cubicBezTo>
                <a:cubicBezTo>
                  <a:pt x="77" y="52"/>
                  <a:pt x="77" y="52"/>
                  <a:pt x="79" y="51"/>
                </a:cubicBezTo>
                <a:cubicBezTo>
                  <a:pt x="80" y="49"/>
                  <a:pt x="83" y="48"/>
                  <a:pt x="83" y="48"/>
                </a:cubicBezTo>
                <a:cubicBezTo>
                  <a:pt x="83" y="47"/>
                  <a:pt x="84" y="47"/>
                  <a:pt x="84" y="47"/>
                </a:cubicBezTo>
                <a:cubicBezTo>
                  <a:pt x="85" y="48"/>
                  <a:pt x="85" y="48"/>
                  <a:pt x="86" y="48"/>
                </a:cubicBezTo>
                <a:cubicBezTo>
                  <a:pt x="88" y="53"/>
                  <a:pt x="88" y="53"/>
                  <a:pt x="88" y="53"/>
                </a:cubicBezTo>
                <a:cubicBezTo>
                  <a:pt x="88" y="54"/>
                  <a:pt x="89" y="54"/>
                  <a:pt x="89" y="54"/>
                </a:cubicBezTo>
                <a:cubicBezTo>
                  <a:pt x="89" y="58"/>
                  <a:pt x="89" y="58"/>
                  <a:pt x="89" y="58"/>
                </a:cubicBezTo>
                <a:cubicBezTo>
                  <a:pt x="91" y="63"/>
                  <a:pt x="91" y="63"/>
                  <a:pt x="91" y="63"/>
                </a:cubicBezTo>
                <a:cubicBezTo>
                  <a:pt x="93" y="65"/>
                  <a:pt x="93" y="65"/>
                  <a:pt x="93" y="65"/>
                </a:cubicBezTo>
                <a:cubicBezTo>
                  <a:pt x="94" y="66"/>
                  <a:pt x="94" y="67"/>
                  <a:pt x="94" y="68"/>
                </a:cubicBezTo>
                <a:cubicBezTo>
                  <a:pt x="93" y="68"/>
                  <a:pt x="93" y="69"/>
                  <a:pt x="93" y="69"/>
                </a:cubicBezTo>
                <a:cubicBezTo>
                  <a:pt x="95" y="70"/>
                  <a:pt x="99" y="69"/>
                  <a:pt x="103" y="69"/>
                </a:cubicBezTo>
                <a:cubicBezTo>
                  <a:pt x="103" y="69"/>
                  <a:pt x="103" y="69"/>
                  <a:pt x="104" y="69"/>
                </a:cubicBezTo>
                <a:cubicBezTo>
                  <a:pt x="106" y="69"/>
                  <a:pt x="106" y="69"/>
                  <a:pt x="106" y="69"/>
                </a:cubicBezTo>
                <a:cubicBezTo>
                  <a:pt x="106" y="70"/>
                  <a:pt x="106" y="70"/>
                  <a:pt x="107" y="70"/>
                </a:cubicBezTo>
                <a:cubicBezTo>
                  <a:pt x="110" y="74"/>
                  <a:pt x="110" y="74"/>
                  <a:pt x="110" y="74"/>
                </a:cubicBezTo>
                <a:cubicBezTo>
                  <a:pt x="111" y="74"/>
                  <a:pt x="111" y="74"/>
                  <a:pt x="111" y="74"/>
                </a:cubicBezTo>
                <a:cubicBezTo>
                  <a:pt x="111" y="73"/>
                  <a:pt x="111" y="72"/>
                  <a:pt x="111" y="71"/>
                </a:cubicBezTo>
                <a:cubicBezTo>
                  <a:pt x="112" y="70"/>
                  <a:pt x="114" y="70"/>
                  <a:pt x="118" y="73"/>
                </a:cubicBezTo>
                <a:cubicBezTo>
                  <a:pt x="126" y="77"/>
                  <a:pt x="126" y="77"/>
                  <a:pt x="126" y="77"/>
                </a:cubicBezTo>
                <a:cubicBezTo>
                  <a:pt x="129" y="77"/>
                  <a:pt x="129" y="77"/>
                  <a:pt x="129" y="77"/>
                </a:cubicBezTo>
                <a:cubicBezTo>
                  <a:pt x="130" y="78"/>
                  <a:pt x="130" y="78"/>
                  <a:pt x="130" y="78"/>
                </a:cubicBezTo>
                <a:cubicBezTo>
                  <a:pt x="130" y="79"/>
                  <a:pt x="130" y="80"/>
                  <a:pt x="130" y="80"/>
                </a:cubicBezTo>
                <a:cubicBezTo>
                  <a:pt x="130" y="81"/>
                  <a:pt x="130" y="81"/>
                  <a:pt x="130" y="81"/>
                </a:cubicBezTo>
                <a:cubicBezTo>
                  <a:pt x="130" y="82"/>
                  <a:pt x="131" y="83"/>
                  <a:pt x="132" y="84"/>
                </a:cubicBezTo>
                <a:cubicBezTo>
                  <a:pt x="132" y="84"/>
                  <a:pt x="132" y="84"/>
                  <a:pt x="132" y="84"/>
                </a:cubicBezTo>
                <a:cubicBezTo>
                  <a:pt x="132" y="83"/>
                  <a:pt x="132" y="83"/>
                  <a:pt x="132" y="83"/>
                </a:cubicBezTo>
                <a:cubicBezTo>
                  <a:pt x="133" y="80"/>
                  <a:pt x="133" y="80"/>
                  <a:pt x="133" y="80"/>
                </a:cubicBezTo>
                <a:cubicBezTo>
                  <a:pt x="133" y="79"/>
                  <a:pt x="134" y="79"/>
                  <a:pt x="135" y="79"/>
                </a:cubicBezTo>
                <a:cubicBezTo>
                  <a:pt x="134" y="78"/>
                  <a:pt x="134" y="78"/>
                  <a:pt x="134" y="77"/>
                </a:cubicBezTo>
                <a:cubicBezTo>
                  <a:pt x="134" y="74"/>
                  <a:pt x="134" y="74"/>
                  <a:pt x="134" y="74"/>
                </a:cubicBezTo>
                <a:cubicBezTo>
                  <a:pt x="134" y="74"/>
                  <a:pt x="135" y="71"/>
                  <a:pt x="136" y="71"/>
                </a:cubicBezTo>
                <a:cubicBezTo>
                  <a:pt x="137" y="70"/>
                  <a:pt x="137" y="70"/>
                  <a:pt x="138" y="71"/>
                </a:cubicBezTo>
                <a:cubicBezTo>
                  <a:pt x="139" y="70"/>
                  <a:pt x="139" y="70"/>
                  <a:pt x="139" y="70"/>
                </a:cubicBezTo>
                <a:cubicBezTo>
                  <a:pt x="139" y="69"/>
                  <a:pt x="139" y="69"/>
                  <a:pt x="139" y="69"/>
                </a:cubicBezTo>
                <a:cubicBezTo>
                  <a:pt x="139" y="68"/>
                  <a:pt x="139" y="68"/>
                  <a:pt x="139" y="67"/>
                </a:cubicBezTo>
                <a:cubicBezTo>
                  <a:pt x="139" y="67"/>
                  <a:pt x="139" y="67"/>
                  <a:pt x="139" y="67"/>
                </a:cubicBezTo>
                <a:cubicBezTo>
                  <a:pt x="129" y="67"/>
                  <a:pt x="129" y="67"/>
                  <a:pt x="129" y="67"/>
                </a:cubicBezTo>
                <a:cubicBezTo>
                  <a:pt x="128" y="66"/>
                  <a:pt x="128" y="66"/>
                  <a:pt x="128" y="66"/>
                </a:cubicBezTo>
                <a:cubicBezTo>
                  <a:pt x="125" y="64"/>
                  <a:pt x="125" y="64"/>
                  <a:pt x="125" y="64"/>
                </a:cubicBezTo>
                <a:cubicBezTo>
                  <a:pt x="124" y="64"/>
                  <a:pt x="124" y="64"/>
                  <a:pt x="124" y="64"/>
                </a:cubicBezTo>
                <a:cubicBezTo>
                  <a:pt x="123" y="64"/>
                  <a:pt x="123" y="64"/>
                  <a:pt x="123" y="64"/>
                </a:cubicBezTo>
                <a:cubicBezTo>
                  <a:pt x="121" y="61"/>
                  <a:pt x="121" y="61"/>
                  <a:pt x="121" y="61"/>
                </a:cubicBezTo>
                <a:cubicBezTo>
                  <a:pt x="121" y="61"/>
                  <a:pt x="121" y="61"/>
                  <a:pt x="121" y="60"/>
                </a:cubicBezTo>
                <a:cubicBezTo>
                  <a:pt x="120" y="58"/>
                  <a:pt x="120" y="58"/>
                  <a:pt x="120" y="58"/>
                </a:cubicBezTo>
                <a:cubicBezTo>
                  <a:pt x="120" y="57"/>
                  <a:pt x="120" y="57"/>
                  <a:pt x="120" y="57"/>
                </a:cubicBezTo>
                <a:cubicBezTo>
                  <a:pt x="120" y="57"/>
                  <a:pt x="121" y="55"/>
                  <a:pt x="122" y="53"/>
                </a:cubicBezTo>
                <a:cubicBezTo>
                  <a:pt x="122" y="52"/>
                  <a:pt x="122" y="51"/>
                  <a:pt x="122" y="51"/>
                </a:cubicBezTo>
                <a:cubicBezTo>
                  <a:pt x="121" y="50"/>
                  <a:pt x="121" y="50"/>
                  <a:pt x="121" y="50"/>
                </a:cubicBezTo>
                <a:cubicBezTo>
                  <a:pt x="113" y="50"/>
                  <a:pt x="113" y="50"/>
                  <a:pt x="113" y="50"/>
                </a:cubicBezTo>
                <a:cubicBezTo>
                  <a:pt x="112" y="50"/>
                  <a:pt x="111" y="49"/>
                  <a:pt x="111" y="48"/>
                </a:cubicBezTo>
                <a:cubicBezTo>
                  <a:pt x="111" y="42"/>
                  <a:pt x="111" y="42"/>
                  <a:pt x="111" y="42"/>
                </a:cubicBezTo>
                <a:cubicBezTo>
                  <a:pt x="111" y="41"/>
                  <a:pt x="112" y="40"/>
                  <a:pt x="113" y="40"/>
                </a:cubicBezTo>
                <a:cubicBezTo>
                  <a:pt x="116" y="40"/>
                  <a:pt x="116" y="40"/>
                  <a:pt x="116" y="40"/>
                </a:cubicBezTo>
                <a:cubicBezTo>
                  <a:pt x="117" y="40"/>
                  <a:pt x="117" y="40"/>
                  <a:pt x="117" y="41"/>
                </a:cubicBezTo>
                <a:cubicBezTo>
                  <a:pt x="117" y="41"/>
                  <a:pt x="117" y="41"/>
                  <a:pt x="117" y="41"/>
                </a:cubicBezTo>
                <a:cubicBezTo>
                  <a:pt x="117" y="40"/>
                  <a:pt x="117" y="40"/>
                  <a:pt x="117" y="40"/>
                </a:cubicBezTo>
                <a:cubicBezTo>
                  <a:pt x="116" y="40"/>
                  <a:pt x="115" y="39"/>
                  <a:pt x="115" y="37"/>
                </a:cubicBezTo>
                <a:cubicBezTo>
                  <a:pt x="115" y="36"/>
                  <a:pt x="115" y="36"/>
                  <a:pt x="116" y="36"/>
                </a:cubicBezTo>
                <a:cubicBezTo>
                  <a:pt x="116" y="35"/>
                  <a:pt x="115" y="35"/>
                  <a:pt x="115" y="34"/>
                </a:cubicBezTo>
                <a:cubicBezTo>
                  <a:pt x="110" y="34"/>
                  <a:pt x="110" y="34"/>
                  <a:pt x="110" y="34"/>
                </a:cubicBezTo>
                <a:cubicBezTo>
                  <a:pt x="109" y="34"/>
                  <a:pt x="109" y="34"/>
                  <a:pt x="109" y="34"/>
                </a:cubicBezTo>
                <a:cubicBezTo>
                  <a:pt x="108" y="33"/>
                  <a:pt x="108" y="33"/>
                  <a:pt x="108" y="32"/>
                </a:cubicBezTo>
                <a:cubicBezTo>
                  <a:pt x="109" y="28"/>
                  <a:pt x="109" y="28"/>
                  <a:pt x="109" y="28"/>
                </a:cubicBezTo>
                <a:cubicBezTo>
                  <a:pt x="109" y="27"/>
                  <a:pt x="109" y="27"/>
                  <a:pt x="109" y="27"/>
                </a:cubicBezTo>
                <a:cubicBezTo>
                  <a:pt x="110" y="26"/>
                  <a:pt x="110" y="26"/>
                  <a:pt x="110" y="26"/>
                </a:cubicBezTo>
                <a:cubicBezTo>
                  <a:pt x="108" y="23"/>
                  <a:pt x="108" y="23"/>
                  <a:pt x="108" y="23"/>
                </a:cubicBezTo>
                <a:cubicBezTo>
                  <a:pt x="108" y="23"/>
                  <a:pt x="108" y="23"/>
                  <a:pt x="108" y="22"/>
                </a:cubicBezTo>
                <a:cubicBezTo>
                  <a:pt x="108" y="20"/>
                  <a:pt x="108" y="20"/>
                  <a:pt x="108" y="20"/>
                </a:cubicBezTo>
                <a:cubicBezTo>
                  <a:pt x="105" y="16"/>
                  <a:pt x="105" y="16"/>
                  <a:pt x="105" y="16"/>
                </a:cubicBezTo>
                <a:cubicBezTo>
                  <a:pt x="105" y="16"/>
                  <a:pt x="105" y="16"/>
                  <a:pt x="105" y="15"/>
                </a:cubicBezTo>
                <a:cubicBezTo>
                  <a:pt x="105" y="14"/>
                  <a:pt x="105" y="14"/>
                  <a:pt x="105" y="14"/>
                </a:cubicBezTo>
                <a:cubicBezTo>
                  <a:pt x="105" y="14"/>
                  <a:pt x="105" y="14"/>
                  <a:pt x="105" y="14"/>
                </a:cubicBezTo>
                <a:cubicBezTo>
                  <a:pt x="103" y="14"/>
                  <a:pt x="103" y="14"/>
                  <a:pt x="103" y="14"/>
                </a:cubicBezTo>
                <a:cubicBezTo>
                  <a:pt x="102" y="14"/>
                  <a:pt x="101" y="13"/>
                  <a:pt x="101" y="12"/>
                </a:cubicBezTo>
                <a:cubicBezTo>
                  <a:pt x="99" y="6"/>
                  <a:pt x="99" y="6"/>
                  <a:pt x="99" y="6"/>
                </a:cubicBezTo>
                <a:cubicBezTo>
                  <a:pt x="98" y="7"/>
                  <a:pt x="98" y="7"/>
                  <a:pt x="98" y="7"/>
                </a:cubicBezTo>
                <a:cubicBezTo>
                  <a:pt x="97" y="7"/>
                  <a:pt x="97" y="7"/>
                  <a:pt x="97" y="7"/>
                </a:cubicBezTo>
                <a:cubicBezTo>
                  <a:pt x="89" y="7"/>
                  <a:pt x="89" y="7"/>
                  <a:pt x="89" y="7"/>
                </a:cubicBezTo>
                <a:cubicBezTo>
                  <a:pt x="87" y="6"/>
                  <a:pt x="87" y="6"/>
                  <a:pt x="87" y="6"/>
                </a:cubicBezTo>
                <a:cubicBezTo>
                  <a:pt x="85" y="5"/>
                  <a:pt x="85" y="5"/>
                  <a:pt x="85" y="5"/>
                </a:cubicBezTo>
                <a:cubicBezTo>
                  <a:pt x="75" y="0"/>
                  <a:pt x="75" y="0"/>
                  <a:pt x="75" y="0"/>
                </a:cubicBezTo>
                <a:cubicBezTo>
                  <a:pt x="75" y="0"/>
                  <a:pt x="75" y="0"/>
                  <a:pt x="75" y="0"/>
                </a:cubicBezTo>
                <a:lnTo>
                  <a:pt x="73" y="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reeform 26">
            <a:extLst>
              <a:ext uri="{FF2B5EF4-FFF2-40B4-BE49-F238E27FC236}">
                <a16:creationId xmlns:a16="http://schemas.microsoft.com/office/drawing/2014/main" id="{724C60FC-D7E4-4924-93E0-03026BF167C9}"/>
              </a:ext>
            </a:extLst>
          </p:cNvPr>
          <p:cNvSpPr>
            <a:spLocks/>
          </p:cNvSpPr>
          <p:nvPr/>
        </p:nvSpPr>
        <p:spPr bwMode="auto">
          <a:xfrm>
            <a:off x="5323960" y="4641379"/>
            <a:ext cx="331920" cy="323850"/>
          </a:xfrm>
          <a:custGeom>
            <a:avLst/>
            <a:gdLst>
              <a:gd name="T0" fmla="*/ 127 w 137"/>
              <a:gd name="T1" fmla="*/ 100 h 145"/>
              <a:gd name="T2" fmla="*/ 116 w 137"/>
              <a:gd name="T3" fmla="*/ 98 h 145"/>
              <a:gd name="T4" fmla="*/ 106 w 137"/>
              <a:gd name="T5" fmla="*/ 90 h 145"/>
              <a:gd name="T6" fmla="*/ 111 w 137"/>
              <a:gd name="T7" fmla="*/ 80 h 145"/>
              <a:gd name="T8" fmla="*/ 107 w 137"/>
              <a:gd name="T9" fmla="*/ 70 h 145"/>
              <a:gd name="T10" fmla="*/ 105 w 137"/>
              <a:gd name="T11" fmla="*/ 55 h 145"/>
              <a:gd name="T12" fmla="*/ 121 w 137"/>
              <a:gd name="T13" fmla="*/ 55 h 145"/>
              <a:gd name="T14" fmla="*/ 118 w 137"/>
              <a:gd name="T15" fmla="*/ 51 h 145"/>
              <a:gd name="T16" fmla="*/ 120 w 137"/>
              <a:gd name="T17" fmla="*/ 30 h 145"/>
              <a:gd name="T18" fmla="*/ 130 w 137"/>
              <a:gd name="T19" fmla="*/ 19 h 145"/>
              <a:gd name="T20" fmla="*/ 129 w 137"/>
              <a:gd name="T21" fmla="*/ 16 h 145"/>
              <a:gd name="T22" fmla="*/ 119 w 137"/>
              <a:gd name="T23" fmla="*/ 19 h 145"/>
              <a:gd name="T24" fmla="*/ 99 w 137"/>
              <a:gd name="T25" fmla="*/ 11 h 145"/>
              <a:gd name="T26" fmla="*/ 93 w 137"/>
              <a:gd name="T27" fmla="*/ 1 h 145"/>
              <a:gd name="T28" fmla="*/ 89 w 137"/>
              <a:gd name="T29" fmla="*/ 17 h 145"/>
              <a:gd name="T30" fmla="*/ 82 w 137"/>
              <a:gd name="T31" fmla="*/ 0 h 145"/>
              <a:gd name="T32" fmla="*/ 81 w 137"/>
              <a:gd name="T33" fmla="*/ 7 h 145"/>
              <a:gd name="T34" fmla="*/ 78 w 137"/>
              <a:gd name="T35" fmla="*/ 15 h 145"/>
              <a:gd name="T36" fmla="*/ 67 w 137"/>
              <a:gd name="T37" fmla="*/ 9 h 145"/>
              <a:gd name="T38" fmla="*/ 57 w 137"/>
              <a:gd name="T39" fmla="*/ 23 h 145"/>
              <a:gd name="T40" fmla="*/ 52 w 137"/>
              <a:gd name="T41" fmla="*/ 29 h 145"/>
              <a:gd name="T42" fmla="*/ 43 w 137"/>
              <a:gd name="T43" fmla="*/ 39 h 145"/>
              <a:gd name="T44" fmla="*/ 36 w 137"/>
              <a:gd name="T45" fmla="*/ 35 h 145"/>
              <a:gd name="T46" fmla="*/ 23 w 137"/>
              <a:gd name="T47" fmla="*/ 40 h 145"/>
              <a:gd name="T48" fmla="*/ 13 w 137"/>
              <a:gd name="T49" fmla="*/ 47 h 145"/>
              <a:gd name="T50" fmla="*/ 1 w 137"/>
              <a:gd name="T51" fmla="*/ 49 h 145"/>
              <a:gd name="T52" fmla="*/ 6 w 137"/>
              <a:gd name="T53" fmla="*/ 66 h 145"/>
              <a:gd name="T54" fmla="*/ 0 w 137"/>
              <a:gd name="T55" fmla="*/ 71 h 145"/>
              <a:gd name="T56" fmla="*/ 9 w 137"/>
              <a:gd name="T57" fmla="*/ 65 h 145"/>
              <a:gd name="T58" fmla="*/ 18 w 137"/>
              <a:gd name="T59" fmla="*/ 64 h 145"/>
              <a:gd name="T60" fmla="*/ 32 w 137"/>
              <a:gd name="T61" fmla="*/ 60 h 145"/>
              <a:gd name="T62" fmla="*/ 31 w 137"/>
              <a:gd name="T63" fmla="*/ 68 h 145"/>
              <a:gd name="T64" fmla="*/ 38 w 137"/>
              <a:gd name="T65" fmla="*/ 70 h 145"/>
              <a:gd name="T66" fmla="*/ 41 w 137"/>
              <a:gd name="T67" fmla="*/ 83 h 145"/>
              <a:gd name="T68" fmla="*/ 33 w 137"/>
              <a:gd name="T69" fmla="*/ 93 h 145"/>
              <a:gd name="T70" fmla="*/ 48 w 137"/>
              <a:gd name="T71" fmla="*/ 95 h 145"/>
              <a:gd name="T72" fmla="*/ 49 w 137"/>
              <a:gd name="T73" fmla="*/ 114 h 145"/>
              <a:gd name="T74" fmla="*/ 50 w 137"/>
              <a:gd name="T75" fmla="*/ 127 h 145"/>
              <a:gd name="T76" fmla="*/ 41 w 137"/>
              <a:gd name="T77" fmla="*/ 139 h 145"/>
              <a:gd name="T78" fmla="*/ 47 w 137"/>
              <a:gd name="T79" fmla="*/ 145 h 145"/>
              <a:gd name="T80" fmla="*/ 58 w 137"/>
              <a:gd name="T81" fmla="*/ 142 h 145"/>
              <a:gd name="T82" fmla="*/ 53 w 137"/>
              <a:gd name="T83" fmla="*/ 134 h 145"/>
              <a:gd name="T84" fmla="*/ 64 w 137"/>
              <a:gd name="T85" fmla="*/ 134 h 145"/>
              <a:gd name="T86" fmla="*/ 69 w 137"/>
              <a:gd name="T87" fmla="*/ 130 h 145"/>
              <a:gd name="T88" fmla="*/ 78 w 137"/>
              <a:gd name="T89" fmla="*/ 126 h 145"/>
              <a:gd name="T90" fmla="*/ 88 w 137"/>
              <a:gd name="T91" fmla="*/ 132 h 145"/>
              <a:gd name="T92" fmla="*/ 91 w 137"/>
              <a:gd name="T93" fmla="*/ 126 h 145"/>
              <a:gd name="T94" fmla="*/ 100 w 137"/>
              <a:gd name="T95" fmla="*/ 125 h 145"/>
              <a:gd name="T96" fmla="*/ 99 w 137"/>
              <a:gd name="T97" fmla="*/ 119 h 145"/>
              <a:gd name="T98" fmla="*/ 111 w 137"/>
              <a:gd name="T99" fmla="*/ 117 h 145"/>
              <a:gd name="T100" fmla="*/ 123 w 137"/>
              <a:gd name="T101" fmla="*/ 123 h 145"/>
              <a:gd name="T102" fmla="*/ 129 w 137"/>
              <a:gd name="T103" fmla="*/ 131 h 145"/>
              <a:gd name="T104" fmla="*/ 137 w 137"/>
              <a:gd name="T105" fmla="*/ 134 h 145"/>
              <a:gd name="T106" fmla="*/ 133 w 137"/>
              <a:gd name="T107" fmla="*/ 127 h 145"/>
              <a:gd name="T108" fmla="*/ 120 w 137"/>
              <a:gd name="T109" fmla="*/ 118 h 145"/>
              <a:gd name="T110" fmla="*/ 124 w 137"/>
              <a:gd name="T111" fmla="*/ 109 h 145"/>
              <a:gd name="T112" fmla="*/ 133 w 137"/>
              <a:gd name="T113" fmla="*/ 109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37" h="145">
                <a:moveTo>
                  <a:pt x="132" y="107"/>
                </a:moveTo>
                <a:cubicBezTo>
                  <a:pt x="132" y="106"/>
                  <a:pt x="132" y="106"/>
                  <a:pt x="132" y="106"/>
                </a:cubicBezTo>
                <a:cubicBezTo>
                  <a:pt x="129" y="105"/>
                  <a:pt x="129" y="105"/>
                  <a:pt x="129" y="105"/>
                </a:cubicBezTo>
                <a:cubicBezTo>
                  <a:pt x="129" y="104"/>
                  <a:pt x="129" y="104"/>
                  <a:pt x="128" y="104"/>
                </a:cubicBezTo>
                <a:cubicBezTo>
                  <a:pt x="127" y="102"/>
                  <a:pt x="127" y="102"/>
                  <a:pt x="127" y="102"/>
                </a:cubicBezTo>
                <a:cubicBezTo>
                  <a:pt x="127" y="102"/>
                  <a:pt x="127" y="102"/>
                  <a:pt x="127" y="101"/>
                </a:cubicBezTo>
                <a:cubicBezTo>
                  <a:pt x="127" y="100"/>
                  <a:pt x="127" y="100"/>
                  <a:pt x="127" y="100"/>
                </a:cubicBezTo>
                <a:cubicBezTo>
                  <a:pt x="127" y="99"/>
                  <a:pt x="127" y="98"/>
                  <a:pt x="128" y="98"/>
                </a:cubicBezTo>
                <a:cubicBezTo>
                  <a:pt x="127" y="98"/>
                  <a:pt x="127" y="98"/>
                  <a:pt x="127" y="98"/>
                </a:cubicBezTo>
                <a:cubicBezTo>
                  <a:pt x="125" y="96"/>
                  <a:pt x="125" y="96"/>
                  <a:pt x="125" y="96"/>
                </a:cubicBezTo>
                <a:cubicBezTo>
                  <a:pt x="122" y="95"/>
                  <a:pt x="122" y="95"/>
                  <a:pt x="122" y="95"/>
                </a:cubicBezTo>
                <a:cubicBezTo>
                  <a:pt x="121" y="95"/>
                  <a:pt x="121" y="95"/>
                  <a:pt x="121" y="95"/>
                </a:cubicBezTo>
                <a:cubicBezTo>
                  <a:pt x="118" y="96"/>
                  <a:pt x="118" y="96"/>
                  <a:pt x="118" y="96"/>
                </a:cubicBezTo>
                <a:cubicBezTo>
                  <a:pt x="116" y="98"/>
                  <a:pt x="116" y="98"/>
                  <a:pt x="116" y="98"/>
                </a:cubicBezTo>
                <a:cubicBezTo>
                  <a:pt x="115" y="98"/>
                  <a:pt x="115" y="98"/>
                  <a:pt x="115" y="98"/>
                </a:cubicBezTo>
                <a:cubicBezTo>
                  <a:pt x="113" y="98"/>
                  <a:pt x="113" y="98"/>
                  <a:pt x="113" y="98"/>
                </a:cubicBezTo>
                <a:cubicBezTo>
                  <a:pt x="113" y="98"/>
                  <a:pt x="113" y="98"/>
                  <a:pt x="113" y="98"/>
                </a:cubicBezTo>
                <a:cubicBezTo>
                  <a:pt x="108" y="96"/>
                  <a:pt x="108" y="96"/>
                  <a:pt x="108" y="96"/>
                </a:cubicBezTo>
                <a:cubicBezTo>
                  <a:pt x="108" y="96"/>
                  <a:pt x="107" y="96"/>
                  <a:pt x="107" y="95"/>
                </a:cubicBezTo>
                <a:cubicBezTo>
                  <a:pt x="106" y="92"/>
                  <a:pt x="106" y="92"/>
                  <a:pt x="106" y="92"/>
                </a:cubicBezTo>
                <a:cubicBezTo>
                  <a:pt x="105" y="91"/>
                  <a:pt x="106" y="90"/>
                  <a:pt x="106" y="90"/>
                </a:cubicBezTo>
                <a:cubicBezTo>
                  <a:pt x="107" y="89"/>
                  <a:pt x="107" y="89"/>
                  <a:pt x="107" y="89"/>
                </a:cubicBezTo>
                <a:cubicBezTo>
                  <a:pt x="107" y="89"/>
                  <a:pt x="107" y="89"/>
                  <a:pt x="107" y="88"/>
                </a:cubicBezTo>
                <a:cubicBezTo>
                  <a:pt x="107" y="88"/>
                  <a:pt x="106" y="88"/>
                  <a:pt x="107" y="87"/>
                </a:cubicBezTo>
                <a:cubicBezTo>
                  <a:pt x="107" y="86"/>
                  <a:pt x="107" y="86"/>
                  <a:pt x="107" y="86"/>
                </a:cubicBezTo>
                <a:cubicBezTo>
                  <a:pt x="108" y="83"/>
                  <a:pt x="108" y="83"/>
                  <a:pt x="108" y="83"/>
                </a:cubicBezTo>
                <a:cubicBezTo>
                  <a:pt x="109" y="81"/>
                  <a:pt x="109" y="81"/>
                  <a:pt x="109" y="81"/>
                </a:cubicBezTo>
                <a:cubicBezTo>
                  <a:pt x="109" y="80"/>
                  <a:pt x="110" y="80"/>
                  <a:pt x="111" y="80"/>
                </a:cubicBezTo>
                <a:cubicBezTo>
                  <a:pt x="111" y="80"/>
                  <a:pt x="111" y="80"/>
                  <a:pt x="111" y="80"/>
                </a:cubicBezTo>
                <a:cubicBezTo>
                  <a:pt x="111" y="77"/>
                  <a:pt x="111" y="77"/>
                  <a:pt x="111" y="77"/>
                </a:cubicBezTo>
                <a:cubicBezTo>
                  <a:pt x="110" y="75"/>
                  <a:pt x="110" y="75"/>
                  <a:pt x="110" y="75"/>
                </a:cubicBezTo>
                <a:cubicBezTo>
                  <a:pt x="109" y="74"/>
                  <a:pt x="109" y="74"/>
                  <a:pt x="109" y="74"/>
                </a:cubicBezTo>
                <a:cubicBezTo>
                  <a:pt x="109" y="73"/>
                  <a:pt x="109" y="73"/>
                  <a:pt x="109" y="73"/>
                </a:cubicBezTo>
                <a:cubicBezTo>
                  <a:pt x="109" y="72"/>
                  <a:pt x="109" y="72"/>
                  <a:pt x="109" y="72"/>
                </a:cubicBezTo>
                <a:cubicBezTo>
                  <a:pt x="108" y="72"/>
                  <a:pt x="108" y="71"/>
                  <a:pt x="107" y="70"/>
                </a:cubicBezTo>
                <a:cubicBezTo>
                  <a:pt x="107" y="69"/>
                  <a:pt x="107" y="69"/>
                  <a:pt x="107" y="69"/>
                </a:cubicBezTo>
                <a:cubicBezTo>
                  <a:pt x="107" y="69"/>
                  <a:pt x="107" y="69"/>
                  <a:pt x="107" y="68"/>
                </a:cubicBezTo>
                <a:cubicBezTo>
                  <a:pt x="106" y="68"/>
                  <a:pt x="106" y="67"/>
                  <a:pt x="106" y="67"/>
                </a:cubicBezTo>
                <a:cubicBezTo>
                  <a:pt x="107" y="63"/>
                  <a:pt x="107" y="63"/>
                  <a:pt x="107" y="63"/>
                </a:cubicBezTo>
                <a:cubicBezTo>
                  <a:pt x="105" y="61"/>
                  <a:pt x="105" y="61"/>
                  <a:pt x="105" y="61"/>
                </a:cubicBezTo>
                <a:cubicBezTo>
                  <a:pt x="105" y="60"/>
                  <a:pt x="105" y="60"/>
                  <a:pt x="105" y="59"/>
                </a:cubicBezTo>
                <a:cubicBezTo>
                  <a:pt x="105" y="55"/>
                  <a:pt x="105" y="55"/>
                  <a:pt x="105" y="55"/>
                </a:cubicBezTo>
                <a:cubicBezTo>
                  <a:pt x="105" y="54"/>
                  <a:pt x="106" y="53"/>
                  <a:pt x="107" y="53"/>
                </a:cubicBezTo>
                <a:cubicBezTo>
                  <a:pt x="112" y="53"/>
                  <a:pt x="112" y="53"/>
                  <a:pt x="112" y="53"/>
                </a:cubicBezTo>
                <a:cubicBezTo>
                  <a:pt x="113" y="53"/>
                  <a:pt x="114" y="54"/>
                  <a:pt x="114" y="54"/>
                </a:cubicBezTo>
                <a:cubicBezTo>
                  <a:pt x="117" y="54"/>
                  <a:pt x="117" y="54"/>
                  <a:pt x="117" y="54"/>
                </a:cubicBezTo>
                <a:cubicBezTo>
                  <a:pt x="117" y="54"/>
                  <a:pt x="117" y="54"/>
                  <a:pt x="117" y="54"/>
                </a:cubicBezTo>
                <a:cubicBezTo>
                  <a:pt x="118" y="54"/>
                  <a:pt x="119" y="55"/>
                  <a:pt x="120" y="55"/>
                </a:cubicBezTo>
                <a:cubicBezTo>
                  <a:pt x="120" y="55"/>
                  <a:pt x="120" y="55"/>
                  <a:pt x="121" y="55"/>
                </a:cubicBezTo>
                <a:cubicBezTo>
                  <a:pt x="121" y="55"/>
                  <a:pt x="123" y="56"/>
                  <a:pt x="125" y="57"/>
                </a:cubicBezTo>
                <a:cubicBezTo>
                  <a:pt x="126" y="57"/>
                  <a:pt x="126" y="57"/>
                  <a:pt x="126" y="57"/>
                </a:cubicBezTo>
                <a:cubicBezTo>
                  <a:pt x="128" y="57"/>
                  <a:pt x="128" y="57"/>
                  <a:pt x="128" y="57"/>
                </a:cubicBezTo>
                <a:cubicBezTo>
                  <a:pt x="125" y="54"/>
                  <a:pt x="125" y="54"/>
                  <a:pt x="125" y="54"/>
                </a:cubicBezTo>
                <a:cubicBezTo>
                  <a:pt x="125" y="54"/>
                  <a:pt x="125" y="54"/>
                  <a:pt x="125" y="54"/>
                </a:cubicBezTo>
                <a:cubicBezTo>
                  <a:pt x="124" y="54"/>
                  <a:pt x="123" y="54"/>
                  <a:pt x="122" y="54"/>
                </a:cubicBezTo>
                <a:cubicBezTo>
                  <a:pt x="120" y="53"/>
                  <a:pt x="118" y="53"/>
                  <a:pt x="118" y="51"/>
                </a:cubicBezTo>
                <a:cubicBezTo>
                  <a:pt x="118" y="51"/>
                  <a:pt x="118" y="51"/>
                  <a:pt x="118" y="50"/>
                </a:cubicBezTo>
                <a:cubicBezTo>
                  <a:pt x="116" y="48"/>
                  <a:pt x="116" y="48"/>
                  <a:pt x="116" y="48"/>
                </a:cubicBezTo>
                <a:cubicBezTo>
                  <a:pt x="116" y="48"/>
                  <a:pt x="116" y="48"/>
                  <a:pt x="116" y="48"/>
                </a:cubicBezTo>
                <a:cubicBezTo>
                  <a:pt x="116" y="48"/>
                  <a:pt x="116" y="44"/>
                  <a:pt x="116" y="43"/>
                </a:cubicBezTo>
                <a:cubicBezTo>
                  <a:pt x="116" y="42"/>
                  <a:pt x="117" y="41"/>
                  <a:pt x="119" y="40"/>
                </a:cubicBezTo>
                <a:cubicBezTo>
                  <a:pt x="121" y="38"/>
                  <a:pt x="121" y="38"/>
                  <a:pt x="121" y="38"/>
                </a:cubicBezTo>
                <a:cubicBezTo>
                  <a:pt x="120" y="30"/>
                  <a:pt x="120" y="30"/>
                  <a:pt x="120" y="30"/>
                </a:cubicBezTo>
                <a:cubicBezTo>
                  <a:pt x="120" y="29"/>
                  <a:pt x="120" y="29"/>
                  <a:pt x="120" y="29"/>
                </a:cubicBezTo>
                <a:cubicBezTo>
                  <a:pt x="120" y="27"/>
                  <a:pt x="121" y="26"/>
                  <a:pt x="121" y="26"/>
                </a:cubicBezTo>
                <a:cubicBezTo>
                  <a:pt x="122" y="26"/>
                  <a:pt x="123" y="26"/>
                  <a:pt x="124" y="26"/>
                </a:cubicBezTo>
                <a:cubicBezTo>
                  <a:pt x="124" y="26"/>
                  <a:pt x="124" y="26"/>
                  <a:pt x="125" y="25"/>
                </a:cubicBezTo>
                <a:cubicBezTo>
                  <a:pt x="127" y="24"/>
                  <a:pt x="127" y="24"/>
                  <a:pt x="127" y="24"/>
                </a:cubicBezTo>
                <a:cubicBezTo>
                  <a:pt x="127" y="24"/>
                  <a:pt x="128" y="22"/>
                  <a:pt x="129" y="21"/>
                </a:cubicBezTo>
                <a:cubicBezTo>
                  <a:pt x="129" y="20"/>
                  <a:pt x="129" y="20"/>
                  <a:pt x="130" y="19"/>
                </a:cubicBezTo>
                <a:cubicBezTo>
                  <a:pt x="130" y="17"/>
                  <a:pt x="130" y="17"/>
                  <a:pt x="130" y="17"/>
                </a:cubicBezTo>
                <a:cubicBezTo>
                  <a:pt x="130" y="16"/>
                  <a:pt x="130" y="16"/>
                  <a:pt x="130" y="16"/>
                </a:cubicBezTo>
                <a:cubicBezTo>
                  <a:pt x="133" y="12"/>
                  <a:pt x="133" y="12"/>
                  <a:pt x="133" y="12"/>
                </a:cubicBezTo>
                <a:cubicBezTo>
                  <a:pt x="134" y="10"/>
                  <a:pt x="134" y="10"/>
                  <a:pt x="134" y="10"/>
                </a:cubicBezTo>
                <a:cubicBezTo>
                  <a:pt x="134" y="10"/>
                  <a:pt x="134" y="10"/>
                  <a:pt x="133" y="10"/>
                </a:cubicBezTo>
                <a:cubicBezTo>
                  <a:pt x="133" y="11"/>
                  <a:pt x="133" y="12"/>
                  <a:pt x="132" y="13"/>
                </a:cubicBezTo>
                <a:cubicBezTo>
                  <a:pt x="131" y="15"/>
                  <a:pt x="130" y="16"/>
                  <a:pt x="129" y="16"/>
                </a:cubicBezTo>
                <a:cubicBezTo>
                  <a:pt x="129" y="16"/>
                  <a:pt x="129" y="16"/>
                  <a:pt x="129" y="16"/>
                </a:cubicBezTo>
                <a:cubicBezTo>
                  <a:pt x="127" y="16"/>
                  <a:pt x="127" y="16"/>
                  <a:pt x="127" y="16"/>
                </a:cubicBezTo>
                <a:cubicBezTo>
                  <a:pt x="126" y="17"/>
                  <a:pt x="125" y="17"/>
                  <a:pt x="124" y="17"/>
                </a:cubicBezTo>
                <a:cubicBezTo>
                  <a:pt x="123" y="18"/>
                  <a:pt x="123" y="18"/>
                  <a:pt x="123" y="18"/>
                </a:cubicBezTo>
                <a:cubicBezTo>
                  <a:pt x="122" y="18"/>
                  <a:pt x="122" y="18"/>
                  <a:pt x="122" y="18"/>
                </a:cubicBezTo>
                <a:cubicBezTo>
                  <a:pt x="120" y="18"/>
                  <a:pt x="120" y="18"/>
                  <a:pt x="120" y="18"/>
                </a:cubicBezTo>
                <a:cubicBezTo>
                  <a:pt x="120" y="18"/>
                  <a:pt x="120" y="18"/>
                  <a:pt x="119" y="19"/>
                </a:cubicBezTo>
                <a:cubicBezTo>
                  <a:pt x="118" y="21"/>
                  <a:pt x="117" y="21"/>
                  <a:pt x="116" y="21"/>
                </a:cubicBezTo>
                <a:cubicBezTo>
                  <a:pt x="115" y="20"/>
                  <a:pt x="115" y="20"/>
                  <a:pt x="115" y="20"/>
                </a:cubicBezTo>
                <a:cubicBezTo>
                  <a:pt x="105" y="20"/>
                  <a:pt x="105" y="20"/>
                  <a:pt x="105" y="20"/>
                </a:cubicBezTo>
                <a:cubicBezTo>
                  <a:pt x="104" y="20"/>
                  <a:pt x="103" y="19"/>
                  <a:pt x="103" y="18"/>
                </a:cubicBezTo>
                <a:cubicBezTo>
                  <a:pt x="103" y="12"/>
                  <a:pt x="103" y="12"/>
                  <a:pt x="103" y="12"/>
                </a:cubicBezTo>
                <a:cubicBezTo>
                  <a:pt x="102" y="12"/>
                  <a:pt x="102" y="12"/>
                  <a:pt x="102" y="11"/>
                </a:cubicBezTo>
                <a:cubicBezTo>
                  <a:pt x="101" y="11"/>
                  <a:pt x="100" y="11"/>
                  <a:pt x="99" y="11"/>
                </a:cubicBezTo>
                <a:cubicBezTo>
                  <a:pt x="98" y="10"/>
                  <a:pt x="97" y="10"/>
                  <a:pt x="97" y="10"/>
                </a:cubicBezTo>
                <a:cubicBezTo>
                  <a:pt x="96" y="10"/>
                  <a:pt x="96" y="9"/>
                  <a:pt x="96" y="8"/>
                </a:cubicBezTo>
                <a:cubicBezTo>
                  <a:pt x="96" y="7"/>
                  <a:pt x="96" y="7"/>
                  <a:pt x="96" y="7"/>
                </a:cubicBezTo>
                <a:cubicBezTo>
                  <a:pt x="94" y="4"/>
                  <a:pt x="94" y="4"/>
                  <a:pt x="94" y="4"/>
                </a:cubicBezTo>
                <a:cubicBezTo>
                  <a:pt x="94" y="3"/>
                  <a:pt x="94" y="3"/>
                  <a:pt x="94" y="3"/>
                </a:cubicBezTo>
                <a:cubicBezTo>
                  <a:pt x="94" y="2"/>
                  <a:pt x="94" y="2"/>
                  <a:pt x="94" y="2"/>
                </a:cubicBezTo>
                <a:cubicBezTo>
                  <a:pt x="93" y="1"/>
                  <a:pt x="93" y="1"/>
                  <a:pt x="93" y="1"/>
                </a:cubicBezTo>
                <a:cubicBezTo>
                  <a:pt x="93" y="3"/>
                  <a:pt x="93" y="3"/>
                  <a:pt x="93" y="3"/>
                </a:cubicBezTo>
                <a:cubicBezTo>
                  <a:pt x="94" y="4"/>
                  <a:pt x="94" y="6"/>
                  <a:pt x="92" y="8"/>
                </a:cubicBezTo>
                <a:cubicBezTo>
                  <a:pt x="92" y="9"/>
                  <a:pt x="92" y="10"/>
                  <a:pt x="93" y="11"/>
                </a:cubicBezTo>
                <a:cubicBezTo>
                  <a:pt x="93" y="11"/>
                  <a:pt x="93" y="11"/>
                  <a:pt x="93" y="12"/>
                </a:cubicBezTo>
                <a:cubicBezTo>
                  <a:pt x="93" y="16"/>
                  <a:pt x="93" y="16"/>
                  <a:pt x="93" y="16"/>
                </a:cubicBezTo>
                <a:cubicBezTo>
                  <a:pt x="93" y="17"/>
                  <a:pt x="92" y="17"/>
                  <a:pt x="92" y="18"/>
                </a:cubicBezTo>
                <a:cubicBezTo>
                  <a:pt x="91" y="18"/>
                  <a:pt x="90" y="18"/>
                  <a:pt x="89" y="17"/>
                </a:cubicBezTo>
                <a:cubicBezTo>
                  <a:pt x="86" y="13"/>
                  <a:pt x="86" y="13"/>
                  <a:pt x="86" y="13"/>
                </a:cubicBezTo>
                <a:cubicBezTo>
                  <a:pt x="84" y="12"/>
                  <a:pt x="82" y="10"/>
                  <a:pt x="84" y="8"/>
                </a:cubicBezTo>
                <a:cubicBezTo>
                  <a:pt x="84" y="8"/>
                  <a:pt x="84" y="8"/>
                  <a:pt x="85" y="8"/>
                </a:cubicBezTo>
                <a:cubicBezTo>
                  <a:pt x="84" y="7"/>
                  <a:pt x="84" y="7"/>
                  <a:pt x="84" y="6"/>
                </a:cubicBezTo>
                <a:cubicBezTo>
                  <a:pt x="84" y="5"/>
                  <a:pt x="84" y="4"/>
                  <a:pt x="85" y="3"/>
                </a:cubicBezTo>
                <a:cubicBezTo>
                  <a:pt x="85" y="2"/>
                  <a:pt x="85" y="2"/>
                  <a:pt x="85" y="2"/>
                </a:cubicBezTo>
                <a:cubicBezTo>
                  <a:pt x="82" y="0"/>
                  <a:pt x="82" y="0"/>
                  <a:pt x="82" y="0"/>
                </a:cubicBezTo>
                <a:cubicBezTo>
                  <a:pt x="81" y="0"/>
                  <a:pt x="81" y="0"/>
                  <a:pt x="81" y="0"/>
                </a:cubicBezTo>
                <a:cubicBezTo>
                  <a:pt x="78" y="0"/>
                  <a:pt x="78" y="0"/>
                  <a:pt x="78" y="0"/>
                </a:cubicBezTo>
                <a:cubicBezTo>
                  <a:pt x="78" y="2"/>
                  <a:pt x="78" y="2"/>
                  <a:pt x="78" y="2"/>
                </a:cubicBezTo>
                <a:cubicBezTo>
                  <a:pt x="78" y="2"/>
                  <a:pt x="79" y="3"/>
                  <a:pt x="80" y="5"/>
                </a:cubicBezTo>
                <a:cubicBezTo>
                  <a:pt x="81" y="6"/>
                  <a:pt x="81" y="6"/>
                  <a:pt x="81" y="6"/>
                </a:cubicBezTo>
                <a:cubicBezTo>
                  <a:pt x="81" y="6"/>
                  <a:pt x="81" y="6"/>
                  <a:pt x="81" y="6"/>
                </a:cubicBezTo>
                <a:cubicBezTo>
                  <a:pt x="81" y="7"/>
                  <a:pt x="81" y="7"/>
                  <a:pt x="81" y="7"/>
                </a:cubicBezTo>
                <a:cubicBezTo>
                  <a:pt x="81" y="7"/>
                  <a:pt x="81" y="7"/>
                  <a:pt x="81" y="7"/>
                </a:cubicBezTo>
                <a:cubicBezTo>
                  <a:pt x="81" y="7"/>
                  <a:pt x="81" y="7"/>
                  <a:pt x="81" y="7"/>
                </a:cubicBezTo>
                <a:cubicBezTo>
                  <a:pt x="81" y="7"/>
                  <a:pt x="81" y="7"/>
                  <a:pt x="81" y="7"/>
                </a:cubicBezTo>
                <a:cubicBezTo>
                  <a:pt x="82" y="8"/>
                  <a:pt x="82" y="9"/>
                  <a:pt x="82" y="10"/>
                </a:cubicBezTo>
                <a:cubicBezTo>
                  <a:pt x="82" y="10"/>
                  <a:pt x="82" y="11"/>
                  <a:pt x="81" y="11"/>
                </a:cubicBezTo>
                <a:cubicBezTo>
                  <a:pt x="79" y="14"/>
                  <a:pt x="79" y="14"/>
                  <a:pt x="79" y="14"/>
                </a:cubicBezTo>
                <a:cubicBezTo>
                  <a:pt x="79" y="15"/>
                  <a:pt x="78" y="15"/>
                  <a:pt x="78" y="15"/>
                </a:cubicBezTo>
                <a:cubicBezTo>
                  <a:pt x="77" y="15"/>
                  <a:pt x="77" y="15"/>
                  <a:pt x="76" y="15"/>
                </a:cubicBezTo>
                <a:cubicBezTo>
                  <a:pt x="73" y="12"/>
                  <a:pt x="73" y="12"/>
                  <a:pt x="73" y="12"/>
                </a:cubicBezTo>
                <a:cubicBezTo>
                  <a:pt x="71" y="12"/>
                  <a:pt x="71" y="12"/>
                  <a:pt x="71" y="12"/>
                </a:cubicBezTo>
                <a:cubicBezTo>
                  <a:pt x="71" y="11"/>
                  <a:pt x="70" y="11"/>
                  <a:pt x="70" y="10"/>
                </a:cubicBezTo>
                <a:cubicBezTo>
                  <a:pt x="70" y="8"/>
                  <a:pt x="70" y="8"/>
                  <a:pt x="70" y="8"/>
                </a:cubicBezTo>
                <a:cubicBezTo>
                  <a:pt x="70" y="8"/>
                  <a:pt x="70" y="8"/>
                  <a:pt x="70" y="8"/>
                </a:cubicBezTo>
                <a:cubicBezTo>
                  <a:pt x="67" y="9"/>
                  <a:pt x="67" y="9"/>
                  <a:pt x="67" y="9"/>
                </a:cubicBezTo>
                <a:cubicBezTo>
                  <a:pt x="64" y="11"/>
                  <a:pt x="64" y="11"/>
                  <a:pt x="64" y="11"/>
                </a:cubicBezTo>
                <a:cubicBezTo>
                  <a:pt x="64" y="11"/>
                  <a:pt x="64" y="11"/>
                  <a:pt x="63" y="11"/>
                </a:cubicBezTo>
                <a:cubicBezTo>
                  <a:pt x="62" y="16"/>
                  <a:pt x="62" y="16"/>
                  <a:pt x="62" y="16"/>
                </a:cubicBezTo>
                <a:cubicBezTo>
                  <a:pt x="61" y="16"/>
                  <a:pt x="61" y="16"/>
                  <a:pt x="61" y="16"/>
                </a:cubicBezTo>
                <a:cubicBezTo>
                  <a:pt x="60" y="17"/>
                  <a:pt x="60" y="17"/>
                  <a:pt x="60" y="17"/>
                </a:cubicBezTo>
                <a:cubicBezTo>
                  <a:pt x="60" y="18"/>
                  <a:pt x="61" y="19"/>
                  <a:pt x="60" y="21"/>
                </a:cubicBezTo>
                <a:cubicBezTo>
                  <a:pt x="60" y="22"/>
                  <a:pt x="59" y="23"/>
                  <a:pt x="57" y="23"/>
                </a:cubicBezTo>
                <a:cubicBezTo>
                  <a:pt x="56" y="22"/>
                  <a:pt x="56" y="22"/>
                  <a:pt x="56" y="22"/>
                </a:cubicBezTo>
                <a:cubicBezTo>
                  <a:pt x="55" y="22"/>
                  <a:pt x="52" y="22"/>
                  <a:pt x="50" y="21"/>
                </a:cubicBezTo>
                <a:cubicBezTo>
                  <a:pt x="50" y="22"/>
                  <a:pt x="50" y="22"/>
                  <a:pt x="50" y="22"/>
                </a:cubicBezTo>
                <a:cubicBezTo>
                  <a:pt x="50" y="22"/>
                  <a:pt x="50" y="22"/>
                  <a:pt x="50" y="22"/>
                </a:cubicBezTo>
                <a:cubicBezTo>
                  <a:pt x="50" y="23"/>
                  <a:pt x="50" y="23"/>
                  <a:pt x="50" y="23"/>
                </a:cubicBezTo>
                <a:cubicBezTo>
                  <a:pt x="50" y="24"/>
                  <a:pt x="51" y="25"/>
                  <a:pt x="51" y="25"/>
                </a:cubicBezTo>
                <a:cubicBezTo>
                  <a:pt x="52" y="29"/>
                  <a:pt x="52" y="29"/>
                  <a:pt x="52" y="29"/>
                </a:cubicBezTo>
                <a:cubicBezTo>
                  <a:pt x="52" y="29"/>
                  <a:pt x="52" y="29"/>
                  <a:pt x="52" y="29"/>
                </a:cubicBezTo>
                <a:cubicBezTo>
                  <a:pt x="52" y="30"/>
                  <a:pt x="52" y="31"/>
                  <a:pt x="51" y="31"/>
                </a:cubicBezTo>
                <a:cubicBezTo>
                  <a:pt x="51" y="32"/>
                  <a:pt x="51" y="32"/>
                  <a:pt x="51" y="32"/>
                </a:cubicBezTo>
                <a:cubicBezTo>
                  <a:pt x="51" y="33"/>
                  <a:pt x="51" y="34"/>
                  <a:pt x="50" y="34"/>
                </a:cubicBezTo>
                <a:cubicBezTo>
                  <a:pt x="48" y="35"/>
                  <a:pt x="48" y="35"/>
                  <a:pt x="48" y="35"/>
                </a:cubicBezTo>
                <a:cubicBezTo>
                  <a:pt x="44" y="39"/>
                  <a:pt x="44" y="39"/>
                  <a:pt x="44" y="39"/>
                </a:cubicBezTo>
                <a:cubicBezTo>
                  <a:pt x="43" y="39"/>
                  <a:pt x="43" y="39"/>
                  <a:pt x="43" y="39"/>
                </a:cubicBezTo>
                <a:cubicBezTo>
                  <a:pt x="41" y="39"/>
                  <a:pt x="41" y="39"/>
                  <a:pt x="41" y="39"/>
                </a:cubicBezTo>
                <a:cubicBezTo>
                  <a:pt x="40" y="39"/>
                  <a:pt x="40" y="39"/>
                  <a:pt x="39" y="39"/>
                </a:cubicBezTo>
                <a:cubicBezTo>
                  <a:pt x="39" y="38"/>
                  <a:pt x="38" y="38"/>
                  <a:pt x="38" y="37"/>
                </a:cubicBezTo>
                <a:cubicBezTo>
                  <a:pt x="38" y="36"/>
                  <a:pt x="38" y="36"/>
                  <a:pt x="38" y="36"/>
                </a:cubicBezTo>
                <a:cubicBezTo>
                  <a:pt x="38" y="36"/>
                  <a:pt x="38" y="36"/>
                  <a:pt x="38" y="36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6"/>
                  <a:pt x="36" y="35"/>
                  <a:pt x="36" y="35"/>
                </a:cubicBezTo>
                <a:cubicBezTo>
                  <a:pt x="35" y="35"/>
                  <a:pt x="35" y="35"/>
                  <a:pt x="35" y="35"/>
                </a:cubicBezTo>
                <a:cubicBezTo>
                  <a:pt x="32" y="35"/>
                  <a:pt x="32" y="35"/>
                  <a:pt x="32" y="35"/>
                </a:cubicBezTo>
                <a:cubicBezTo>
                  <a:pt x="31" y="35"/>
                  <a:pt x="31" y="35"/>
                  <a:pt x="31" y="35"/>
                </a:cubicBezTo>
                <a:cubicBezTo>
                  <a:pt x="30" y="36"/>
                  <a:pt x="29" y="36"/>
                  <a:pt x="28" y="36"/>
                </a:cubicBezTo>
                <a:cubicBezTo>
                  <a:pt x="27" y="37"/>
                  <a:pt x="27" y="37"/>
                  <a:pt x="27" y="37"/>
                </a:cubicBezTo>
                <a:cubicBezTo>
                  <a:pt x="26" y="37"/>
                  <a:pt x="26" y="37"/>
                  <a:pt x="26" y="37"/>
                </a:cubicBezTo>
                <a:cubicBezTo>
                  <a:pt x="26" y="39"/>
                  <a:pt x="25" y="40"/>
                  <a:pt x="23" y="40"/>
                </a:cubicBezTo>
                <a:cubicBezTo>
                  <a:pt x="23" y="40"/>
                  <a:pt x="23" y="40"/>
                  <a:pt x="23" y="40"/>
                </a:cubicBezTo>
                <a:cubicBezTo>
                  <a:pt x="16" y="40"/>
                  <a:pt x="16" y="40"/>
                  <a:pt x="16" y="40"/>
                </a:cubicBezTo>
                <a:cubicBezTo>
                  <a:pt x="16" y="41"/>
                  <a:pt x="16" y="41"/>
                  <a:pt x="16" y="41"/>
                </a:cubicBezTo>
                <a:cubicBezTo>
                  <a:pt x="15" y="43"/>
                  <a:pt x="15" y="43"/>
                  <a:pt x="15" y="43"/>
                </a:cubicBezTo>
                <a:cubicBezTo>
                  <a:pt x="15" y="43"/>
                  <a:pt x="15" y="43"/>
                  <a:pt x="15" y="43"/>
                </a:cubicBezTo>
                <a:cubicBezTo>
                  <a:pt x="15" y="44"/>
                  <a:pt x="15" y="44"/>
                  <a:pt x="15" y="45"/>
                </a:cubicBezTo>
                <a:cubicBezTo>
                  <a:pt x="15" y="46"/>
                  <a:pt x="15" y="47"/>
                  <a:pt x="13" y="47"/>
                </a:cubicBezTo>
                <a:cubicBezTo>
                  <a:pt x="7" y="47"/>
                  <a:pt x="7" y="47"/>
                  <a:pt x="7" y="47"/>
                </a:cubicBezTo>
                <a:cubicBezTo>
                  <a:pt x="6" y="47"/>
                  <a:pt x="6" y="46"/>
                  <a:pt x="5" y="45"/>
                </a:cubicBezTo>
                <a:cubicBezTo>
                  <a:pt x="5" y="44"/>
                  <a:pt x="5" y="44"/>
                  <a:pt x="5" y="44"/>
                </a:cubicBezTo>
                <a:cubicBezTo>
                  <a:pt x="3" y="44"/>
                  <a:pt x="3" y="44"/>
                  <a:pt x="3" y="44"/>
                </a:cubicBezTo>
                <a:cubicBezTo>
                  <a:pt x="3" y="45"/>
                  <a:pt x="2" y="45"/>
                  <a:pt x="2" y="46"/>
                </a:cubicBezTo>
                <a:cubicBezTo>
                  <a:pt x="2" y="46"/>
                  <a:pt x="2" y="46"/>
                  <a:pt x="2" y="47"/>
                </a:cubicBezTo>
                <a:cubicBezTo>
                  <a:pt x="2" y="48"/>
                  <a:pt x="2" y="48"/>
                  <a:pt x="1" y="49"/>
                </a:cubicBezTo>
                <a:cubicBezTo>
                  <a:pt x="1" y="49"/>
                  <a:pt x="2" y="49"/>
                  <a:pt x="2" y="50"/>
                </a:cubicBezTo>
                <a:cubicBezTo>
                  <a:pt x="2" y="55"/>
                  <a:pt x="2" y="55"/>
                  <a:pt x="2" y="55"/>
                </a:cubicBezTo>
                <a:cubicBezTo>
                  <a:pt x="4" y="56"/>
                  <a:pt x="4" y="56"/>
                  <a:pt x="4" y="56"/>
                </a:cubicBezTo>
                <a:cubicBezTo>
                  <a:pt x="6" y="57"/>
                  <a:pt x="6" y="57"/>
                  <a:pt x="6" y="57"/>
                </a:cubicBezTo>
                <a:cubicBezTo>
                  <a:pt x="7" y="57"/>
                  <a:pt x="7" y="58"/>
                  <a:pt x="7" y="59"/>
                </a:cubicBezTo>
                <a:cubicBezTo>
                  <a:pt x="7" y="64"/>
                  <a:pt x="7" y="64"/>
                  <a:pt x="7" y="64"/>
                </a:cubicBezTo>
                <a:cubicBezTo>
                  <a:pt x="7" y="64"/>
                  <a:pt x="7" y="65"/>
                  <a:pt x="6" y="66"/>
                </a:cubicBezTo>
                <a:cubicBezTo>
                  <a:pt x="4" y="66"/>
                  <a:pt x="4" y="66"/>
                  <a:pt x="4" y="66"/>
                </a:cubicBezTo>
                <a:cubicBezTo>
                  <a:pt x="4" y="67"/>
                  <a:pt x="4" y="67"/>
                  <a:pt x="4" y="67"/>
                </a:cubicBezTo>
                <a:cubicBezTo>
                  <a:pt x="4" y="67"/>
                  <a:pt x="4" y="68"/>
                  <a:pt x="3" y="68"/>
                </a:cubicBezTo>
                <a:cubicBezTo>
                  <a:pt x="1" y="69"/>
                  <a:pt x="1" y="69"/>
                  <a:pt x="1" y="69"/>
                </a:cubicBezTo>
                <a:cubicBezTo>
                  <a:pt x="1" y="69"/>
                  <a:pt x="1" y="69"/>
                  <a:pt x="1" y="69"/>
                </a:cubicBezTo>
                <a:cubicBezTo>
                  <a:pt x="1" y="69"/>
                  <a:pt x="1" y="69"/>
                  <a:pt x="0" y="70"/>
                </a:cubicBezTo>
                <a:cubicBezTo>
                  <a:pt x="0" y="70"/>
                  <a:pt x="0" y="70"/>
                  <a:pt x="0" y="71"/>
                </a:cubicBezTo>
                <a:cubicBezTo>
                  <a:pt x="1" y="71"/>
                  <a:pt x="1" y="71"/>
                  <a:pt x="1" y="71"/>
                </a:cubicBezTo>
                <a:cubicBezTo>
                  <a:pt x="1" y="71"/>
                  <a:pt x="1" y="71"/>
                  <a:pt x="1" y="71"/>
                </a:cubicBezTo>
                <a:cubicBezTo>
                  <a:pt x="1" y="70"/>
                  <a:pt x="2" y="69"/>
                  <a:pt x="3" y="69"/>
                </a:cubicBezTo>
                <a:cubicBezTo>
                  <a:pt x="6" y="68"/>
                  <a:pt x="6" y="68"/>
                  <a:pt x="6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6"/>
                  <a:pt x="7" y="65"/>
                  <a:pt x="8" y="65"/>
                </a:cubicBezTo>
                <a:cubicBezTo>
                  <a:pt x="9" y="65"/>
                  <a:pt x="9" y="65"/>
                  <a:pt x="9" y="65"/>
                </a:cubicBezTo>
                <a:cubicBezTo>
                  <a:pt x="9" y="65"/>
                  <a:pt x="9" y="65"/>
                  <a:pt x="9" y="64"/>
                </a:cubicBezTo>
                <a:cubicBezTo>
                  <a:pt x="10" y="63"/>
                  <a:pt x="12" y="63"/>
                  <a:pt x="13" y="63"/>
                </a:cubicBezTo>
                <a:cubicBezTo>
                  <a:pt x="16" y="64"/>
                  <a:pt x="16" y="64"/>
                  <a:pt x="16" y="64"/>
                </a:cubicBezTo>
                <a:cubicBezTo>
                  <a:pt x="17" y="64"/>
                  <a:pt x="18" y="65"/>
                  <a:pt x="18" y="66"/>
                </a:cubicBezTo>
                <a:cubicBezTo>
                  <a:pt x="18" y="68"/>
                  <a:pt x="18" y="68"/>
                  <a:pt x="18" y="68"/>
                </a:cubicBezTo>
                <a:cubicBezTo>
                  <a:pt x="18" y="67"/>
                  <a:pt x="18" y="67"/>
                  <a:pt x="18" y="67"/>
                </a:cubicBezTo>
                <a:cubicBezTo>
                  <a:pt x="18" y="64"/>
                  <a:pt x="18" y="64"/>
                  <a:pt x="18" y="64"/>
                </a:cubicBezTo>
                <a:cubicBezTo>
                  <a:pt x="18" y="63"/>
                  <a:pt x="19" y="63"/>
                  <a:pt x="19" y="62"/>
                </a:cubicBezTo>
                <a:cubicBezTo>
                  <a:pt x="21" y="61"/>
                  <a:pt x="21" y="61"/>
                  <a:pt x="21" y="61"/>
                </a:cubicBezTo>
                <a:cubicBezTo>
                  <a:pt x="21" y="61"/>
                  <a:pt x="21" y="61"/>
                  <a:pt x="21" y="61"/>
                </a:cubicBezTo>
                <a:cubicBezTo>
                  <a:pt x="24" y="60"/>
                  <a:pt x="24" y="60"/>
                  <a:pt x="24" y="60"/>
                </a:cubicBezTo>
                <a:cubicBezTo>
                  <a:pt x="24" y="60"/>
                  <a:pt x="24" y="60"/>
                  <a:pt x="24" y="60"/>
                </a:cubicBezTo>
                <a:cubicBezTo>
                  <a:pt x="28" y="60"/>
                  <a:pt x="28" y="60"/>
                  <a:pt x="28" y="60"/>
                </a:cubicBezTo>
                <a:cubicBezTo>
                  <a:pt x="32" y="60"/>
                  <a:pt x="32" y="60"/>
                  <a:pt x="32" y="60"/>
                </a:cubicBezTo>
                <a:cubicBezTo>
                  <a:pt x="33" y="60"/>
                  <a:pt x="33" y="60"/>
                  <a:pt x="33" y="60"/>
                </a:cubicBezTo>
                <a:cubicBezTo>
                  <a:pt x="35" y="61"/>
                  <a:pt x="35" y="61"/>
                  <a:pt x="35" y="61"/>
                </a:cubicBezTo>
                <a:cubicBezTo>
                  <a:pt x="35" y="61"/>
                  <a:pt x="36" y="62"/>
                  <a:pt x="36" y="63"/>
                </a:cubicBezTo>
                <a:cubicBezTo>
                  <a:pt x="36" y="65"/>
                  <a:pt x="36" y="65"/>
                  <a:pt x="36" y="65"/>
                </a:cubicBezTo>
                <a:cubicBezTo>
                  <a:pt x="36" y="65"/>
                  <a:pt x="36" y="66"/>
                  <a:pt x="35" y="66"/>
                </a:cubicBezTo>
                <a:cubicBezTo>
                  <a:pt x="31" y="68"/>
                  <a:pt x="31" y="68"/>
                  <a:pt x="31" y="68"/>
                </a:cubicBezTo>
                <a:cubicBezTo>
                  <a:pt x="31" y="68"/>
                  <a:pt x="31" y="68"/>
                  <a:pt x="31" y="68"/>
                </a:cubicBezTo>
                <a:cubicBezTo>
                  <a:pt x="30" y="68"/>
                  <a:pt x="30" y="68"/>
                  <a:pt x="30" y="68"/>
                </a:cubicBezTo>
                <a:cubicBezTo>
                  <a:pt x="28" y="69"/>
                  <a:pt x="28" y="69"/>
                  <a:pt x="28" y="69"/>
                </a:cubicBezTo>
                <a:cubicBezTo>
                  <a:pt x="28" y="69"/>
                  <a:pt x="28" y="69"/>
                  <a:pt x="28" y="70"/>
                </a:cubicBezTo>
                <a:cubicBezTo>
                  <a:pt x="32" y="70"/>
                  <a:pt x="32" y="70"/>
                  <a:pt x="32" y="70"/>
                </a:cubicBezTo>
                <a:cubicBezTo>
                  <a:pt x="34" y="70"/>
                  <a:pt x="34" y="70"/>
                  <a:pt x="34" y="70"/>
                </a:cubicBezTo>
                <a:cubicBezTo>
                  <a:pt x="36" y="70"/>
                  <a:pt x="36" y="70"/>
                  <a:pt x="36" y="70"/>
                </a:cubicBezTo>
                <a:cubicBezTo>
                  <a:pt x="37" y="70"/>
                  <a:pt x="37" y="70"/>
                  <a:pt x="38" y="70"/>
                </a:cubicBezTo>
                <a:cubicBezTo>
                  <a:pt x="39" y="72"/>
                  <a:pt x="39" y="72"/>
                  <a:pt x="39" y="72"/>
                </a:cubicBezTo>
                <a:cubicBezTo>
                  <a:pt x="40" y="72"/>
                  <a:pt x="40" y="73"/>
                  <a:pt x="40" y="73"/>
                </a:cubicBezTo>
                <a:cubicBezTo>
                  <a:pt x="40" y="74"/>
                  <a:pt x="40" y="74"/>
                  <a:pt x="40" y="74"/>
                </a:cubicBezTo>
                <a:cubicBezTo>
                  <a:pt x="41" y="76"/>
                  <a:pt x="41" y="76"/>
                  <a:pt x="41" y="76"/>
                </a:cubicBezTo>
                <a:cubicBezTo>
                  <a:pt x="42" y="76"/>
                  <a:pt x="42" y="76"/>
                  <a:pt x="42" y="77"/>
                </a:cubicBezTo>
                <a:cubicBezTo>
                  <a:pt x="42" y="81"/>
                  <a:pt x="42" y="81"/>
                  <a:pt x="42" y="81"/>
                </a:cubicBezTo>
                <a:cubicBezTo>
                  <a:pt x="42" y="82"/>
                  <a:pt x="42" y="82"/>
                  <a:pt x="41" y="83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7"/>
                  <a:pt x="37" y="87"/>
                  <a:pt x="37" y="87"/>
                </a:cubicBezTo>
                <a:cubicBezTo>
                  <a:pt x="37" y="88"/>
                  <a:pt x="37" y="88"/>
                  <a:pt x="37" y="88"/>
                </a:cubicBezTo>
                <a:cubicBezTo>
                  <a:pt x="36" y="90"/>
                  <a:pt x="35" y="91"/>
                  <a:pt x="34" y="92"/>
                </a:cubicBezTo>
                <a:cubicBezTo>
                  <a:pt x="33" y="92"/>
                  <a:pt x="33" y="92"/>
                  <a:pt x="33" y="93"/>
                </a:cubicBezTo>
                <a:cubicBezTo>
                  <a:pt x="33" y="93"/>
                  <a:pt x="33" y="93"/>
                  <a:pt x="33" y="93"/>
                </a:cubicBezTo>
                <a:cubicBezTo>
                  <a:pt x="33" y="93"/>
                  <a:pt x="33" y="93"/>
                  <a:pt x="33" y="93"/>
                </a:cubicBezTo>
                <a:cubicBezTo>
                  <a:pt x="35" y="92"/>
                  <a:pt x="36" y="93"/>
                  <a:pt x="37" y="93"/>
                </a:cubicBezTo>
                <a:cubicBezTo>
                  <a:pt x="39" y="93"/>
                  <a:pt x="39" y="93"/>
                  <a:pt x="39" y="93"/>
                </a:cubicBezTo>
                <a:cubicBezTo>
                  <a:pt x="40" y="93"/>
                  <a:pt x="40" y="93"/>
                  <a:pt x="40" y="93"/>
                </a:cubicBezTo>
                <a:cubicBezTo>
                  <a:pt x="41" y="93"/>
                  <a:pt x="44" y="93"/>
                  <a:pt x="44" y="93"/>
                </a:cubicBezTo>
                <a:cubicBezTo>
                  <a:pt x="46" y="93"/>
                  <a:pt x="46" y="93"/>
                  <a:pt x="46" y="93"/>
                </a:cubicBezTo>
                <a:cubicBezTo>
                  <a:pt x="46" y="93"/>
                  <a:pt x="46" y="93"/>
                  <a:pt x="46" y="93"/>
                </a:cubicBezTo>
                <a:cubicBezTo>
                  <a:pt x="47" y="93"/>
                  <a:pt x="48" y="93"/>
                  <a:pt x="48" y="95"/>
                </a:cubicBezTo>
                <a:cubicBezTo>
                  <a:pt x="50" y="96"/>
                  <a:pt x="51" y="98"/>
                  <a:pt x="51" y="98"/>
                </a:cubicBezTo>
                <a:cubicBezTo>
                  <a:pt x="53" y="105"/>
                  <a:pt x="53" y="105"/>
                  <a:pt x="53" y="105"/>
                </a:cubicBezTo>
                <a:cubicBezTo>
                  <a:pt x="53" y="106"/>
                  <a:pt x="53" y="106"/>
                  <a:pt x="53" y="106"/>
                </a:cubicBezTo>
                <a:cubicBezTo>
                  <a:pt x="52" y="107"/>
                  <a:pt x="52" y="107"/>
                  <a:pt x="51" y="107"/>
                </a:cubicBezTo>
                <a:cubicBezTo>
                  <a:pt x="51" y="107"/>
                  <a:pt x="51" y="107"/>
                  <a:pt x="51" y="107"/>
                </a:cubicBezTo>
                <a:cubicBezTo>
                  <a:pt x="49" y="111"/>
                  <a:pt x="49" y="111"/>
                  <a:pt x="49" y="111"/>
                </a:cubicBezTo>
                <a:cubicBezTo>
                  <a:pt x="49" y="112"/>
                  <a:pt x="49" y="113"/>
                  <a:pt x="49" y="114"/>
                </a:cubicBezTo>
                <a:cubicBezTo>
                  <a:pt x="50" y="115"/>
                  <a:pt x="50" y="115"/>
                  <a:pt x="50" y="115"/>
                </a:cubicBezTo>
                <a:cubicBezTo>
                  <a:pt x="50" y="116"/>
                  <a:pt x="50" y="116"/>
                  <a:pt x="50" y="116"/>
                </a:cubicBezTo>
                <a:cubicBezTo>
                  <a:pt x="50" y="119"/>
                  <a:pt x="50" y="119"/>
                  <a:pt x="50" y="119"/>
                </a:cubicBezTo>
                <a:cubicBezTo>
                  <a:pt x="50" y="119"/>
                  <a:pt x="50" y="119"/>
                  <a:pt x="50" y="119"/>
                </a:cubicBezTo>
                <a:cubicBezTo>
                  <a:pt x="50" y="120"/>
                  <a:pt x="50" y="120"/>
                  <a:pt x="50" y="120"/>
                </a:cubicBezTo>
                <a:cubicBezTo>
                  <a:pt x="51" y="125"/>
                  <a:pt x="51" y="125"/>
                  <a:pt x="51" y="125"/>
                </a:cubicBezTo>
                <a:cubicBezTo>
                  <a:pt x="51" y="126"/>
                  <a:pt x="51" y="126"/>
                  <a:pt x="50" y="127"/>
                </a:cubicBezTo>
                <a:cubicBezTo>
                  <a:pt x="49" y="128"/>
                  <a:pt x="46" y="131"/>
                  <a:pt x="45" y="132"/>
                </a:cubicBezTo>
                <a:cubicBezTo>
                  <a:pt x="45" y="132"/>
                  <a:pt x="45" y="132"/>
                  <a:pt x="45" y="132"/>
                </a:cubicBezTo>
                <a:cubicBezTo>
                  <a:pt x="46" y="134"/>
                  <a:pt x="46" y="134"/>
                  <a:pt x="46" y="134"/>
                </a:cubicBezTo>
                <a:cubicBezTo>
                  <a:pt x="47" y="135"/>
                  <a:pt x="47" y="136"/>
                  <a:pt x="46" y="136"/>
                </a:cubicBezTo>
                <a:cubicBezTo>
                  <a:pt x="45" y="138"/>
                  <a:pt x="45" y="138"/>
                  <a:pt x="45" y="138"/>
                </a:cubicBezTo>
                <a:cubicBezTo>
                  <a:pt x="44" y="138"/>
                  <a:pt x="44" y="138"/>
                  <a:pt x="44" y="138"/>
                </a:cubicBezTo>
                <a:cubicBezTo>
                  <a:pt x="41" y="139"/>
                  <a:pt x="41" y="139"/>
                  <a:pt x="41" y="139"/>
                </a:cubicBezTo>
                <a:cubicBezTo>
                  <a:pt x="41" y="140"/>
                  <a:pt x="41" y="140"/>
                  <a:pt x="41" y="140"/>
                </a:cubicBezTo>
                <a:cubicBezTo>
                  <a:pt x="41" y="141"/>
                  <a:pt x="41" y="141"/>
                  <a:pt x="41" y="141"/>
                </a:cubicBezTo>
                <a:cubicBezTo>
                  <a:pt x="41" y="143"/>
                  <a:pt x="41" y="143"/>
                  <a:pt x="41" y="143"/>
                </a:cubicBezTo>
                <a:cubicBezTo>
                  <a:pt x="42" y="143"/>
                  <a:pt x="42" y="143"/>
                  <a:pt x="42" y="143"/>
                </a:cubicBezTo>
                <a:cubicBezTo>
                  <a:pt x="45" y="144"/>
                  <a:pt x="45" y="144"/>
                  <a:pt x="45" y="144"/>
                </a:cubicBezTo>
                <a:cubicBezTo>
                  <a:pt x="45" y="144"/>
                  <a:pt x="45" y="144"/>
                  <a:pt x="46" y="144"/>
                </a:cubicBezTo>
                <a:cubicBezTo>
                  <a:pt x="47" y="145"/>
                  <a:pt x="47" y="145"/>
                  <a:pt x="47" y="145"/>
                </a:cubicBezTo>
                <a:cubicBezTo>
                  <a:pt x="48" y="145"/>
                  <a:pt x="48" y="145"/>
                  <a:pt x="48" y="145"/>
                </a:cubicBezTo>
                <a:cubicBezTo>
                  <a:pt x="49" y="144"/>
                  <a:pt x="49" y="144"/>
                  <a:pt x="49" y="144"/>
                </a:cubicBezTo>
                <a:cubicBezTo>
                  <a:pt x="50" y="144"/>
                  <a:pt x="50" y="144"/>
                  <a:pt x="50" y="144"/>
                </a:cubicBezTo>
                <a:cubicBezTo>
                  <a:pt x="52" y="143"/>
                  <a:pt x="52" y="143"/>
                  <a:pt x="52" y="143"/>
                </a:cubicBezTo>
                <a:cubicBezTo>
                  <a:pt x="54" y="143"/>
                  <a:pt x="54" y="143"/>
                  <a:pt x="54" y="143"/>
                </a:cubicBezTo>
                <a:cubicBezTo>
                  <a:pt x="57" y="143"/>
                  <a:pt x="57" y="143"/>
                  <a:pt x="57" y="143"/>
                </a:cubicBezTo>
                <a:cubicBezTo>
                  <a:pt x="57" y="143"/>
                  <a:pt x="57" y="142"/>
                  <a:pt x="58" y="142"/>
                </a:cubicBezTo>
                <a:cubicBezTo>
                  <a:pt x="58" y="141"/>
                  <a:pt x="59" y="141"/>
                  <a:pt x="59" y="141"/>
                </a:cubicBezTo>
                <a:cubicBezTo>
                  <a:pt x="59" y="141"/>
                  <a:pt x="59" y="141"/>
                  <a:pt x="59" y="141"/>
                </a:cubicBezTo>
                <a:cubicBezTo>
                  <a:pt x="58" y="140"/>
                  <a:pt x="58" y="140"/>
                  <a:pt x="58" y="140"/>
                </a:cubicBezTo>
                <a:cubicBezTo>
                  <a:pt x="57" y="140"/>
                  <a:pt x="57" y="139"/>
                  <a:pt x="56" y="139"/>
                </a:cubicBezTo>
                <a:cubicBezTo>
                  <a:pt x="56" y="138"/>
                  <a:pt x="56" y="138"/>
                  <a:pt x="55" y="137"/>
                </a:cubicBezTo>
                <a:cubicBezTo>
                  <a:pt x="53" y="136"/>
                  <a:pt x="53" y="136"/>
                  <a:pt x="53" y="136"/>
                </a:cubicBezTo>
                <a:cubicBezTo>
                  <a:pt x="53" y="136"/>
                  <a:pt x="52" y="135"/>
                  <a:pt x="53" y="134"/>
                </a:cubicBezTo>
                <a:cubicBezTo>
                  <a:pt x="53" y="131"/>
                  <a:pt x="53" y="131"/>
                  <a:pt x="53" y="131"/>
                </a:cubicBezTo>
                <a:cubicBezTo>
                  <a:pt x="54" y="130"/>
                  <a:pt x="54" y="129"/>
                  <a:pt x="55" y="129"/>
                </a:cubicBezTo>
                <a:cubicBezTo>
                  <a:pt x="58" y="129"/>
                  <a:pt x="58" y="129"/>
                  <a:pt x="58" y="129"/>
                </a:cubicBezTo>
                <a:cubicBezTo>
                  <a:pt x="59" y="129"/>
                  <a:pt x="60" y="130"/>
                  <a:pt x="60" y="131"/>
                </a:cubicBezTo>
                <a:cubicBezTo>
                  <a:pt x="61" y="132"/>
                  <a:pt x="61" y="132"/>
                  <a:pt x="61" y="132"/>
                </a:cubicBezTo>
                <a:cubicBezTo>
                  <a:pt x="62" y="133"/>
                  <a:pt x="64" y="134"/>
                  <a:pt x="64" y="134"/>
                </a:cubicBezTo>
                <a:cubicBezTo>
                  <a:pt x="64" y="134"/>
                  <a:pt x="64" y="134"/>
                  <a:pt x="64" y="134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70" y="135"/>
                  <a:pt x="70" y="135"/>
                  <a:pt x="70" y="135"/>
                </a:cubicBezTo>
                <a:cubicBezTo>
                  <a:pt x="70" y="135"/>
                  <a:pt x="70" y="135"/>
                  <a:pt x="70" y="135"/>
                </a:cubicBezTo>
                <a:cubicBezTo>
                  <a:pt x="70" y="134"/>
                  <a:pt x="70" y="134"/>
                  <a:pt x="70" y="134"/>
                </a:cubicBezTo>
                <a:cubicBezTo>
                  <a:pt x="70" y="134"/>
                  <a:pt x="70" y="134"/>
                  <a:pt x="70" y="134"/>
                </a:cubicBezTo>
                <a:cubicBezTo>
                  <a:pt x="69" y="134"/>
                  <a:pt x="69" y="132"/>
                  <a:pt x="69" y="132"/>
                </a:cubicBezTo>
                <a:cubicBezTo>
                  <a:pt x="69" y="131"/>
                  <a:pt x="69" y="130"/>
                  <a:pt x="69" y="130"/>
                </a:cubicBezTo>
                <a:cubicBezTo>
                  <a:pt x="68" y="129"/>
                  <a:pt x="68" y="129"/>
                  <a:pt x="68" y="127"/>
                </a:cubicBezTo>
                <a:cubicBezTo>
                  <a:pt x="68" y="125"/>
                  <a:pt x="69" y="123"/>
                  <a:pt x="69" y="123"/>
                </a:cubicBezTo>
                <a:cubicBezTo>
                  <a:pt x="69" y="122"/>
                  <a:pt x="70" y="122"/>
                  <a:pt x="71" y="122"/>
                </a:cubicBezTo>
                <a:cubicBezTo>
                  <a:pt x="75" y="122"/>
                  <a:pt x="75" y="122"/>
                  <a:pt x="75" y="122"/>
                </a:cubicBezTo>
                <a:cubicBezTo>
                  <a:pt x="77" y="122"/>
                  <a:pt x="77" y="123"/>
                  <a:pt x="77" y="124"/>
                </a:cubicBezTo>
                <a:cubicBezTo>
                  <a:pt x="77" y="125"/>
                  <a:pt x="77" y="125"/>
                  <a:pt x="77" y="125"/>
                </a:cubicBezTo>
                <a:cubicBezTo>
                  <a:pt x="78" y="126"/>
                  <a:pt x="78" y="126"/>
                  <a:pt x="78" y="126"/>
                </a:cubicBezTo>
                <a:cubicBezTo>
                  <a:pt x="79" y="126"/>
                  <a:pt x="79" y="126"/>
                  <a:pt x="79" y="126"/>
                </a:cubicBezTo>
                <a:cubicBezTo>
                  <a:pt x="79" y="126"/>
                  <a:pt x="79" y="126"/>
                  <a:pt x="80" y="125"/>
                </a:cubicBezTo>
                <a:cubicBezTo>
                  <a:pt x="81" y="124"/>
                  <a:pt x="81" y="124"/>
                  <a:pt x="81" y="124"/>
                </a:cubicBezTo>
                <a:cubicBezTo>
                  <a:pt x="81" y="124"/>
                  <a:pt x="81" y="124"/>
                  <a:pt x="82" y="124"/>
                </a:cubicBezTo>
                <a:cubicBezTo>
                  <a:pt x="83" y="124"/>
                  <a:pt x="86" y="124"/>
                  <a:pt x="87" y="126"/>
                </a:cubicBezTo>
                <a:cubicBezTo>
                  <a:pt x="88" y="128"/>
                  <a:pt x="88" y="129"/>
                  <a:pt x="88" y="130"/>
                </a:cubicBezTo>
                <a:cubicBezTo>
                  <a:pt x="88" y="132"/>
                  <a:pt x="88" y="132"/>
                  <a:pt x="88" y="132"/>
                </a:cubicBezTo>
                <a:cubicBezTo>
                  <a:pt x="89" y="134"/>
                  <a:pt x="89" y="134"/>
                  <a:pt x="89" y="134"/>
                </a:cubicBezTo>
                <a:cubicBezTo>
                  <a:pt x="90" y="134"/>
                  <a:pt x="90" y="134"/>
                  <a:pt x="90" y="134"/>
                </a:cubicBezTo>
                <a:cubicBezTo>
                  <a:pt x="90" y="134"/>
                  <a:pt x="90" y="134"/>
                  <a:pt x="90" y="134"/>
                </a:cubicBezTo>
                <a:cubicBezTo>
                  <a:pt x="89" y="132"/>
                  <a:pt x="89" y="131"/>
                  <a:pt x="89" y="130"/>
                </a:cubicBezTo>
                <a:cubicBezTo>
                  <a:pt x="90" y="130"/>
                  <a:pt x="90" y="130"/>
                  <a:pt x="90" y="130"/>
                </a:cubicBezTo>
                <a:cubicBezTo>
                  <a:pt x="90" y="129"/>
                  <a:pt x="90" y="127"/>
                  <a:pt x="90" y="127"/>
                </a:cubicBezTo>
                <a:cubicBezTo>
                  <a:pt x="90" y="127"/>
                  <a:pt x="90" y="126"/>
                  <a:pt x="91" y="126"/>
                </a:cubicBezTo>
                <a:cubicBezTo>
                  <a:pt x="92" y="126"/>
                  <a:pt x="92" y="126"/>
                  <a:pt x="92" y="126"/>
                </a:cubicBezTo>
                <a:cubicBezTo>
                  <a:pt x="92" y="125"/>
                  <a:pt x="92" y="125"/>
                  <a:pt x="92" y="125"/>
                </a:cubicBezTo>
                <a:cubicBezTo>
                  <a:pt x="91" y="124"/>
                  <a:pt x="92" y="123"/>
                  <a:pt x="93" y="123"/>
                </a:cubicBezTo>
                <a:cubicBezTo>
                  <a:pt x="94" y="122"/>
                  <a:pt x="94" y="122"/>
                  <a:pt x="94" y="122"/>
                </a:cubicBezTo>
                <a:cubicBezTo>
                  <a:pt x="95" y="121"/>
                  <a:pt x="96" y="122"/>
                  <a:pt x="96" y="123"/>
                </a:cubicBezTo>
                <a:cubicBezTo>
                  <a:pt x="99" y="125"/>
                  <a:pt x="99" y="125"/>
                  <a:pt x="99" y="125"/>
                </a:cubicBezTo>
                <a:cubicBezTo>
                  <a:pt x="100" y="125"/>
                  <a:pt x="100" y="125"/>
                  <a:pt x="100" y="125"/>
                </a:cubicBezTo>
                <a:cubicBezTo>
                  <a:pt x="101" y="125"/>
                  <a:pt x="101" y="125"/>
                  <a:pt x="101" y="125"/>
                </a:cubicBezTo>
                <a:cubicBezTo>
                  <a:pt x="101" y="126"/>
                  <a:pt x="101" y="126"/>
                  <a:pt x="101" y="126"/>
                </a:cubicBezTo>
                <a:cubicBezTo>
                  <a:pt x="101" y="125"/>
                  <a:pt x="101" y="125"/>
                  <a:pt x="101" y="125"/>
                </a:cubicBezTo>
                <a:cubicBezTo>
                  <a:pt x="100" y="123"/>
                  <a:pt x="100" y="123"/>
                  <a:pt x="100" y="123"/>
                </a:cubicBezTo>
                <a:cubicBezTo>
                  <a:pt x="99" y="122"/>
                  <a:pt x="99" y="122"/>
                  <a:pt x="99" y="122"/>
                </a:cubicBezTo>
                <a:cubicBezTo>
                  <a:pt x="99" y="120"/>
                  <a:pt x="99" y="120"/>
                  <a:pt x="99" y="120"/>
                </a:cubicBezTo>
                <a:cubicBezTo>
                  <a:pt x="99" y="119"/>
                  <a:pt x="99" y="119"/>
                  <a:pt x="99" y="119"/>
                </a:cubicBezTo>
                <a:cubicBezTo>
                  <a:pt x="100" y="117"/>
                  <a:pt x="100" y="117"/>
                  <a:pt x="100" y="117"/>
                </a:cubicBezTo>
                <a:cubicBezTo>
                  <a:pt x="100" y="116"/>
                  <a:pt x="101" y="115"/>
                  <a:pt x="102" y="115"/>
                </a:cubicBezTo>
                <a:cubicBezTo>
                  <a:pt x="104" y="115"/>
                  <a:pt x="104" y="115"/>
                  <a:pt x="104" y="115"/>
                </a:cubicBezTo>
                <a:cubicBezTo>
                  <a:pt x="104" y="116"/>
                  <a:pt x="104" y="116"/>
                  <a:pt x="104" y="116"/>
                </a:cubicBezTo>
                <a:cubicBezTo>
                  <a:pt x="107" y="117"/>
                  <a:pt x="107" y="117"/>
                  <a:pt x="107" y="117"/>
                </a:cubicBezTo>
                <a:cubicBezTo>
                  <a:pt x="108" y="117"/>
                  <a:pt x="108" y="117"/>
                  <a:pt x="108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12" y="117"/>
                  <a:pt x="112" y="117"/>
                  <a:pt x="112" y="117"/>
                </a:cubicBezTo>
                <a:cubicBezTo>
                  <a:pt x="113" y="117"/>
                  <a:pt x="115" y="118"/>
                  <a:pt x="116" y="118"/>
                </a:cubicBezTo>
                <a:cubicBezTo>
                  <a:pt x="116" y="118"/>
                  <a:pt x="116" y="118"/>
                  <a:pt x="117" y="118"/>
                </a:cubicBezTo>
                <a:cubicBezTo>
                  <a:pt x="118" y="119"/>
                  <a:pt x="118" y="119"/>
                  <a:pt x="118" y="119"/>
                </a:cubicBezTo>
                <a:cubicBezTo>
                  <a:pt x="122" y="120"/>
                  <a:pt x="122" y="120"/>
                  <a:pt x="122" y="120"/>
                </a:cubicBezTo>
                <a:cubicBezTo>
                  <a:pt x="123" y="121"/>
                  <a:pt x="123" y="121"/>
                  <a:pt x="123" y="121"/>
                </a:cubicBezTo>
                <a:cubicBezTo>
                  <a:pt x="123" y="122"/>
                  <a:pt x="123" y="122"/>
                  <a:pt x="123" y="123"/>
                </a:cubicBezTo>
                <a:cubicBezTo>
                  <a:pt x="122" y="125"/>
                  <a:pt x="122" y="125"/>
                  <a:pt x="122" y="125"/>
                </a:cubicBezTo>
                <a:cubicBezTo>
                  <a:pt x="123" y="127"/>
                  <a:pt x="123" y="127"/>
                  <a:pt x="123" y="127"/>
                </a:cubicBezTo>
                <a:cubicBezTo>
                  <a:pt x="123" y="128"/>
                  <a:pt x="123" y="128"/>
                  <a:pt x="123" y="128"/>
                </a:cubicBezTo>
                <a:cubicBezTo>
                  <a:pt x="123" y="129"/>
                  <a:pt x="123" y="129"/>
                  <a:pt x="123" y="129"/>
                </a:cubicBezTo>
                <a:cubicBezTo>
                  <a:pt x="127" y="130"/>
                  <a:pt x="127" y="130"/>
                  <a:pt x="127" y="130"/>
                </a:cubicBezTo>
                <a:cubicBezTo>
                  <a:pt x="127" y="130"/>
                  <a:pt x="127" y="130"/>
                  <a:pt x="128" y="130"/>
                </a:cubicBezTo>
                <a:cubicBezTo>
                  <a:pt x="129" y="131"/>
                  <a:pt x="129" y="131"/>
                  <a:pt x="129" y="131"/>
                </a:cubicBezTo>
                <a:cubicBezTo>
                  <a:pt x="131" y="132"/>
                  <a:pt x="131" y="132"/>
                  <a:pt x="131" y="132"/>
                </a:cubicBezTo>
                <a:cubicBezTo>
                  <a:pt x="133" y="133"/>
                  <a:pt x="133" y="133"/>
                  <a:pt x="133" y="133"/>
                </a:cubicBezTo>
                <a:cubicBezTo>
                  <a:pt x="133" y="134"/>
                  <a:pt x="133" y="134"/>
                  <a:pt x="133" y="134"/>
                </a:cubicBezTo>
                <a:cubicBezTo>
                  <a:pt x="134" y="134"/>
                  <a:pt x="135" y="135"/>
                  <a:pt x="135" y="135"/>
                </a:cubicBezTo>
                <a:cubicBezTo>
                  <a:pt x="136" y="135"/>
                  <a:pt x="136" y="135"/>
                  <a:pt x="136" y="135"/>
                </a:cubicBezTo>
                <a:cubicBezTo>
                  <a:pt x="136" y="134"/>
                  <a:pt x="136" y="134"/>
                  <a:pt x="136" y="134"/>
                </a:cubicBezTo>
                <a:cubicBezTo>
                  <a:pt x="137" y="134"/>
                  <a:pt x="137" y="134"/>
                  <a:pt x="137" y="134"/>
                </a:cubicBezTo>
                <a:cubicBezTo>
                  <a:pt x="137" y="133"/>
                  <a:pt x="137" y="133"/>
                  <a:pt x="137" y="133"/>
                </a:cubicBezTo>
                <a:cubicBezTo>
                  <a:pt x="137" y="132"/>
                  <a:pt x="137" y="131"/>
                  <a:pt x="137" y="131"/>
                </a:cubicBezTo>
                <a:cubicBezTo>
                  <a:pt x="137" y="131"/>
                  <a:pt x="137" y="131"/>
                  <a:pt x="137" y="131"/>
                </a:cubicBezTo>
                <a:cubicBezTo>
                  <a:pt x="137" y="129"/>
                  <a:pt x="137" y="129"/>
                  <a:pt x="137" y="129"/>
                </a:cubicBezTo>
                <a:cubicBezTo>
                  <a:pt x="136" y="129"/>
                  <a:pt x="136" y="129"/>
                  <a:pt x="136" y="129"/>
                </a:cubicBezTo>
                <a:cubicBezTo>
                  <a:pt x="134" y="127"/>
                  <a:pt x="134" y="127"/>
                  <a:pt x="134" y="127"/>
                </a:cubicBezTo>
                <a:cubicBezTo>
                  <a:pt x="134" y="127"/>
                  <a:pt x="134" y="127"/>
                  <a:pt x="133" y="127"/>
                </a:cubicBezTo>
                <a:cubicBezTo>
                  <a:pt x="133" y="127"/>
                  <a:pt x="133" y="127"/>
                  <a:pt x="133" y="127"/>
                </a:cubicBezTo>
                <a:cubicBezTo>
                  <a:pt x="131" y="128"/>
                  <a:pt x="130" y="126"/>
                  <a:pt x="128" y="125"/>
                </a:cubicBezTo>
                <a:cubicBezTo>
                  <a:pt x="127" y="124"/>
                  <a:pt x="126" y="123"/>
                  <a:pt x="126" y="123"/>
                </a:cubicBezTo>
                <a:cubicBezTo>
                  <a:pt x="126" y="123"/>
                  <a:pt x="126" y="123"/>
                  <a:pt x="126" y="123"/>
                </a:cubicBezTo>
                <a:cubicBezTo>
                  <a:pt x="124" y="122"/>
                  <a:pt x="124" y="121"/>
                  <a:pt x="123" y="120"/>
                </a:cubicBezTo>
                <a:cubicBezTo>
                  <a:pt x="123" y="119"/>
                  <a:pt x="123" y="119"/>
                  <a:pt x="123" y="119"/>
                </a:cubicBezTo>
                <a:cubicBezTo>
                  <a:pt x="121" y="118"/>
                  <a:pt x="120" y="118"/>
                  <a:pt x="120" y="118"/>
                </a:cubicBezTo>
                <a:cubicBezTo>
                  <a:pt x="119" y="118"/>
                  <a:pt x="119" y="117"/>
                  <a:pt x="119" y="117"/>
                </a:cubicBezTo>
                <a:cubicBezTo>
                  <a:pt x="119" y="116"/>
                  <a:pt x="119" y="115"/>
                  <a:pt x="119" y="115"/>
                </a:cubicBezTo>
                <a:cubicBezTo>
                  <a:pt x="121" y="112"/>
                  <a:pt x="121" y="112"/>
                  <a:pt x="121" y="112"/>
                </a:cubicBezTo>
                <a:cubicBezTo>
                  <a:pt x="122" y="112"/>
                  <a:pt x="122" y="112"/>
                  <a:pt x="122" y="112"/>
                </a:cubicBezTo>
                <a:cubicBezTo>
                  <a:pt x="122" y="111"/>
                  <a:pt x="122" y="111"/>
                  <a:pt x="122" y="111"/>
                </a:cubicBezTo>
                <a:cubicBezTo>
                  <a:pt x="122" y="110"/>
                  <a:pt x="123" y="109"/>
                  <a:pt x="124" y="109"/>
                </a:cubicBezTo>
                <a:cubicBezTo>
                  <a:pt x="124" y="109"/>
                  <a:pt x="124" y="109"/>
                  <a:pt x="124" y="109"/>
                </a:cubicBezTo>
                <a:cubicBezTo>
                  <a:pt x="124" y="108"/>
                  <a:pt x="124" y="107"/>
                  <a:pt x="124" y="107"/>
                </a:cubicBezTo>
                <a:cubicBezTo>
                  <a:pt x="125" y="106"/>
                  <a:pt x="125" y="105"/>
                  <a:pt x="126" y="105"/>
                </a:cubicBezTo>
                <a:cubicBezTo>
                  <a:pt x="128" y="105"/>
                  <a:pt x="128" y="105"/>
                  <a:pt x="128" y="105"/>
                </a:cubicBezTo>
                <a:cubicBezTo>
                  <a:pt x="129" y="105"/>
                  <a:pt x="130" y="106"/>
                  <a:pt x="130" y="107"/>
                </a:cubicBezTo>
                <a:cubicBezTo>
                  <a:pt x="130" y="109"/>
                  <a:pt x="130" y="109"/>
                  <a:pt x="130" y="109"/>
                </a:cubicBezTo>
                <a:cubicBezTo>
                  <a:pt x="131" y="110"/>
                  <a:pt x="131" y="110"/>
                  <a:pt x="131" y="110"/>
                </a:cubicBezTo>
                <a:cubicBezTo>
                  <a:pt x="133" y="109"/>
                  <a:pt x="133" y="109"/>
                  <a:pt x="133" y="109"/>
                </a:cubicBezTo>
                <a:cubicBezTo>
                  <a:pt x="133" y="109"/>
                  <a:pt x="133" y="108"/>
                  <a:pt x="132" y="108"/>
                </a:cubicBezTo>
                <a:cubicBezTo>
                  <a:pt x="132" y="107"/>
                  <a:pt x="132" y="107"/>
                  <a:pt x="132" y="10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reeform 27">
            <a:extLst>
              <a:ext uri="{FF2B5EF4-FFF2-40B4-BE49-F238E27FC236}">
                <a16:creationId xmlns:a16="http://schemas.microsoft.com/office/drawing/2014/main" id="{CAE970AE-6D83-44F0-9663-F1B4CD14FCDB}"/>
              </a:ext>
            </a:extLst>
          </p:cNvPr>
          <p:cNvSpPr>
            <a:spLocks/>
          </p:cNvSpPr>
          <p:nvPr/>
        </p:nvSpPr>
        <p:spPr bwMode="auto">
          <a:xfrm>
            <a:off x="4496738" y="3584104"/>
            <a:ext cx="171979" cy="204788"/>
          </a:xfrm>
          <a:custGeom>
            <a:avLst/>
            <a:gdLst>
              <a:gd name="T0" fmla="*/ 86 w 100"/>
              <a:gd name="T1" fmla="*/ 20 h 129"/>
              <a:gd name="T2" fmla="*/ 86 w 100"/>
              <a:gd name="T3" fmla="*/ 15 h 129"/>
              <a:gd name="T4" fmla="*/ 90 w 100"/>
              <a:gd name="T5" fmla="*/ 3 h 129"/>
              <a:gd name="T6" fmla="*/ 89 w 100"/>
              <a:gd name="T7" fmla="*/ 0 h 129"/>
              <a:gd name="T8" fmla="*/ 86 w 100"/>
              <a:gd name="T9" fmla="*/ 0 h 129"/>
              <a:gd name="T10" fmla="*/ 65 w 100"/>
              <a:gd name="T11" fmla="*/ 10 h 129"/>
              <a:gd name="T12" fmla="*/ 64 w 100"/>
              <a:gd name="T13" fmla="*/ 11 h 129"/>
              <a:gd name="T14" fmla="*/ 52 w 100"/>
              <a:gd name="T15" fmla="*/ 18 h 129"/>
              <a:gd name="T16" fmla="*/ 48 w 100"/>
              <a:gd name="T17" fmla="*/ 27 h 129"/>
              <a:gd name="T18" fmla="*/ 45 w 100"/>
              <a:gd name="T19" fmla="*/ 35 h 129"/>
              <a:gd name="T20" fmla="*/ 44 w 100"/>
              <a:gd name="T21" fmla="*/ 42 h 129"/>
              <a:gd name="T22" fmla="*/ 41 w 100"/>
              <a:gd name="T23" fmla="*/ 48 h 129"/>
              <a:gd name="T24" fmla="*/ 38 w 100"/>
              <a:gd name="T25" fmla="*/ 53 h 129"/>
              <a:gd name="T26" fmla="*/ 35 w 100"/>
              <a:gd name="T27" fmla="*/ 58 h 129"/>
              <a:gd name="T28" fmla="*/ 34 w 100"/>
              <a:gd name="T29" fmla="*/ 60 h 129"/>
              <a:gd name="T30" fmla="*/ 30 w 100"/>
              <a:gd name="T31" fmla="*/ 65 h 129"/>
              <a:gd name="T32" fmla="*/ 14 w 100"/>
              <a:gd name="T33" fmla="*/ 84 h 129"/>
              <a:gd name="T34" fmla="*/ 0 w 100"/>
              <a:gd name="T35" fmla="*/ 125 h 129"/>
              <a:gd name="T36" fmla="*/ 0 w 100"/>
              <a:gd name="T37" fmla="*/ 125 h 129"/>
              <a:gd name="T38" fmla="*/ 0 w 100"/>
              <a:gd name="T39" fmla="*/ 128 h 129"/>
              <a:gd name="T40" fmla="*/ 2 w 100"/>
              <a:gd name="T41" fmla="*/ 128 h 129"/>
              <a:gd name="T42" fmla="*/ 2 w 100"/>
              <a:gd name="T43" fmla="*/ 129 h 129"/>
              <a:gd name="T44" fmla="*/ 27 w 100"/>
              <a:gd name="T45" fmla="*/ 126 h 129"/>
              <a:gd name="T46" fmla="*/ 33 w 100"/>
              <a:gd name="T47" fmla="*/ 124 h 129"/>
              <a:gd name="T48" fmla="*/ 40 w 100"/>
              <a:gd name="T49" fmla="*/ 119 h 129"/>
              <a:gd name="T50" fmla="*/ 51 w 100"/>
              <a:gd name="T51" fmla="*/ 112 h 129"/>
              <a:gd name="T52" fmla="*/ 62 w 100"/>
              <a:gd name="T53" fmla="*/ 103 h 129"/>
              <a:gd name="T54" fmla="*/ 66 w 100"/>
              <a:gd name="T55" fmla="*/ 98 h 129"/>
              <a:gd name="T56" fmla="*/ 82 w 100"/>
              <a:gd name="T57" fmla="*/ 81 h 129"/>
              <a:gd name="T58" fmla="*/ 83 w 100"/>
              <a:gd name="T59" fmla="*/ 79 h 129"/>
              <a:gd name="T60" fmla="*/ 97 w 100"/>
              <a:gd name="T61" fmla="*/ 49 h 129"/>
              <a:gd name="T62" fmla="*/ 100 w 100"/>
              <a:gd name="T63" fmla="*/ 42 h 129"/>
              <a:gd name="T64" fmla="*/ 99 w 100"/>
              <a:gd name="T65" fmla="*/ 41 h 129"/>
              <a:gd name="T66" fmla="*/ 99 w 100"/>
              <a:gd name="T67" fmla="*/ 41 h 129"/>
              <a:gd name="T68" fmla="*/ 97 w 100"/>
              <a:gd name="T69" fmla="*/ 39 h 129"/>
              <a:gd name="T70" fmla="*/ 93 w 100"/>
              <a:gd name="T71" fmla="*/ 39 h 129"/>
              <a:gd name="T72" fmla="*/ 89 w 100"/>
              <a:gd name="T73" fmla="*/ 35 h 129"/>
              <a:gd name="T74" fmla="*/ 86 w 100"/>
              <a:gd name="T75" fmla="*/ 31 h 129"/>
              <a:gd name="T76" fmla="*/ 85 w 100"/>
              <a:gd name="T77" fmla="*/ 24 h 129"/>
              <a:gd name="T78" fmla="*/ 85 w 100"/>
              <a:gd name="T79" fmla="*/ 22 h 129"/>
              <a:gd name="T80" fmla="*/ 86 w 100"/>
              <a:gd name="T81" fmla="*/ 20 h 129"/>
              <a:gd name="T82" fmla="*/ 86 w 100"/>
              <a:gd name="T83" fmla="*/ 2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00" h="129">
                <a:moveTo>
                  <a:pt x="86" y="20"/>
                </a:moveTo>
                <a:lnTo>
                  <a:pt x="86" y="15"/>
                </a:lnTo>
                <a:lnTo>
                  <a:pt x="90" y="3"/>
                </a:lnTo>
                <a:lnTo>
                  <a:pt x="89" y="0"/>
                </a:lnTo>
                <a:lnTo>
                  <a:pt x="86" y="0"/>
                </a:lnTo>
                <a:lnTo>
                  <a:pt x="65" y="10"/>
                </a:lnTo>
                <a:lnTo>
                  <a:pt x="64" y="11"/>
                </a:lnTo>
                <a:lnTo>
                  <a:pt x="52" y="18"/>
                </a:lnTo>
                <a:lnTo>
                  <a:pt x="48" y="27"/>
                </a:lnTo>
                <a:lnTo>
                  <a:pt x="45" y="35"/>
                </a:lnTo>
                <a:lnTo>
                  <a:pt x="44" y="42"/>
                </a:lnTo>
                <a:lnTo>
                  <a:pt x="41" y="48"/>
                </a:lnTo>
                <a:lnTo>
                  <a:pt x="38" y="53"/>
                </a:lnTo>
                <a:lnTo>
                  <a:pt x="35" y="58"/>
                </a:lnTo>
                <a:lnTo>
                  <a:pt x="34" y="60"/>
                </a:lnTo>
                <a:lnTo>
                  <a:pt x="30" y="65"/>
                </a:lnTo>
                <a:lnTo>
                  <a:pt x="14" y="84"/>
                </a:lnTo>
                <a:lnTo>
                  <a:pt x="0" y="125"/>
                </a:lnTo>
                <a:lnTo>
                  <a:pt x="0" y="125"/>
                </a:lnTo>
                <a:lnTo>
                  <a:pt x="0" y="128"/>
                </a:lnTo>
                <a:lnTo>
                  <a:pt x="2" y="128"/>
                </a:lnTo>
                <a:lnTo>
                  <a:pt x="2" y="129"/>
                </a:lnTo>
                <a:lnTo>
                  <a:pt x="27" y="126"/>
                </a:lnTo>
                <a:lnTo>
                  <a:pt x="33" y="124"/>
                </a:lnTo>
                <a:lnTo>
                  <a:pt x="40" y="119"/>
                </a:lnTo>
                <a:lnTo>
                  <a:pt x="51" y="112"/>
                </a:lnTo>
                <a:lnTo>
                  <a:pt x="62" y="103"/>
                </a:lnTo>
                <a:lnTo>
                  <a:pt x="66" y="98"/>
                </a:lnTo>
                <a:lnTo>
                  <a:pt x="82" y="81"/>
                </a:lnTo>
                <a:lnTo>
                  <a:pt x="83" y="79"/>
                </a:lnTo>
                <a:lnTo>
                  <a:pt x="97" y="49"/>
                </a:lnTo>
                <a:lnTo>
                  <a:pt x="100" y="42"/>
                </a:lnTo>
                <a:lnTo>
                  <a:pt x="99" y="41"/>
                </a:lnTo>
                <a:lnTo>
                  <a:pt x="99" y="41"/>
                </a:lnTo>
                <a:lnTo>
                  <a:pt x="97" y="39"/>
                </a:lnTo>
                <a:lnTo>
                  <a:pt x="93" y="39"/>
                </a:lnTo>
                <a:lnTo>
                  <a:pt x="89" y="35"/>
                </a:lnTo>
                <a:lnTo>
                  <a:pt x="86" y="31"/>
                </a:lnTo>
                <a:lnTo>
                  <a:pt x="85" y="24"/>
                </a:lnTo>
                <a:lnTo>
                  <a:pt x="85" y="22"/>
                </a:lnTo>
                <a:lnTo>
                  <a:pt x="86" y="20"/>
                </a:lnTo>
                <a:lnTo>
                  <a:pt x="86" y="2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Freeform 28">
            <a:extLst>
              <a:ext uri="{FF2B5EF4-FFF2-40B4-BE49-F238E27FC236}">
                <a16:creationId xmlns:a16="http://schemas.microsoft.com/office/drawing/2014/main" id="{663E1B51-04BF-49AB-8F25-9CEB3112B828}"/>
              </a:ext>
            </a:extLst>
          </p:cNvPr>
          <p:cNvSpPr>
            <a:spLocks noEditPoints="1"/>
          </p:cNvSpPr>
          <p:nvPr/>
        </p:nvSpPr>
        <p:spPr bwMode="auto">
          <a:xfrm>
            <a:off x="4532856" y="4141319"/>
            <a:ext cx="239052" cy="169863"/>
          </a:xfrm>
          <a:custGeom>
            <a:avLst/>
            <a:gdLst>
              <a:gd name="T0" fmla="*/ 138 w 139"/>
              <a:gd name="T1" fmla="*/ 42 h 107"/>
              <a:gd name="T2" fmla="*/ 124 w 139"/>
              <a:gd name="T3" fmla="*/ 40 h 107"/>
              <a:gd name="T4" fmla="*/ 121 w 139"/>
              <a:gd name="T5" fmla="*/ 40 h 107"/>
              <a:gd name="T6" fmla="*/ 118 w 139"/>
              <a:gd name="T7" fmla="*/ 42 h 107"/>
              <a:gd name="T8" fmla="*/ 117 w 139"/>
              <a:gd name="T9" fmla="*/ 44 h 107"/>
              <a:gd name="T10" fmla="*/ 117 w 139"/>
              <a:gd name="T11" fmla="*/ 45 h 107"/>
              <a:gd name="T12" fmla="*/ 109 w 139"/>
              <a:gd name="T13" fmla="*/ 48 h 107"/>
              <a:gd name="T14" fmla="*/ 107 w 139"/>
              <a:gd name="T15" fmla="*/ 48 h 107"/>
              <a:gd name="T16" fmla="*/ 104 w 139"/>
              <a:gd name="T17" fmla="*/ 47 h 107"/>
              <a:gd name="T18" fmla="*/ 103 w 139"/>
              <a:gd name="T19" fmla="*/ 47 h 107"/>
              <a:gd name="T20" fmla="*/ 97 w 139"/>
              <a:gd name="T21" fmla="*/ 31 h 107"/>
              <a:gd name="T22" fmla="*/ 89 w 139"/>
              <a:gd name="T23" fmla="*/ 10 h 107"/>
              <a:gd name="T24" fmla="*/ 87 w 139"/>
              <a:gd name="T25" fmla="*/ 7 h 107"/>
              <a:gd name="T26" fmla="*/ 85 w 139"/>
              <a:gd name="T27" fmla="*/ 6 h 107"/>
              <a:gd name="T28" fmla="*/ 80 w 139"/>
              <a:gd name="T29" fmla="*/ 6 h 107"/>
              <a:gd name="T30" fmla="*/ 61 w 139"/>
              <a:gd name="T31" fmla="*/ 0 h 107"/>
              <a:gd name="T32" fmla="*/ 59 w 139"/>
              <a:gd name="T33" fmla="*/ 0 h 107"/>
              <a:gd name="T34" fmla="*/ 59 w 139"/>
              <a:gd name="T35" fmla="*/ 0 h 107"/>
              <a:gd name="T36" fmla="*/ 58 w 139"/>
              <a:gd name="T37" fmla="*/ 0 h 107"/>
              <a:gd name="T38" fmla="*/ 47 w 139"/>
              <a:gd name="T39" fmla="*/ 3 h 107"/>
              <a:gd name="T40" fmla="*/ 28 w 139"/>
              <a:gd name="T41" fmla="*/ 12 h 107"/>
              <a:gd name="T42" fmla="*/ 27 w 139"/>
              <a:gd name="T43" fmla="*/ 13 h 107"/>
              <a:gd name="T44" fmla="*/ 27 w 139"/>
              <a:gd name="T45" fmla="*/ 14 h 107"/>
              <a:gd name="T46" fmla="*/ 27 w 139"/>
              <a:gd name="T47" fmla="*/ 55 h 107"/>
              <a:gd name="T48" fmla="*/ 43 w 139"/>
              <a:gd name="T49" fmla="*/ 85 h 107"/>
              <a:gd name="T50" fmla="*/ 61 w 139"/>
              <a:gd name="T51" fmla="*/ 100 h 107"/>
              <a:gd name="T52" fmla="*/ 73 w 139"/>
              <a:gd name="T53" fmla="*/ 107 h 107"/>
              <a:gd name="T54" fmla="*/ 76 w 139"/>
              <a:gd name="T55" fmla="*/ 107 h 107"/>
              <a:gd name="T56" fmla="*/ 76 w 139"/>
              <a:gd name="T57" fmla="*/ 107 h 107"/>
              <a:gd name="T58" fmla="*/ 89 w 139"/>
              <a:gd name="T59" fmla="*/ 96 h 107"/>
              <a:gd name="T60" fmla="*/ 96 w 139"/>
              <a:gd name="T61" fmla="*/ 89 h 107"/>
              <a:gd name="T62" fmla="*/ 102 w 139"/>
              <a:gd name="T63" fmla="*/ 82 h 107"/>
              <a:gd name="T64" fmla="*/ 102 w 139"/>
              <a:gd name="T65" fmla="*/ 80 h 107"/>
              <a:gd name="T66" fmla="*/ 103 w 139"/>
              <a:gd name="T67" fmla="*/ 76 h 107"/>
              <a:gd name="T68" fmla="*/ 106 w 139"/>
              <a:gd name="T69" fmla="*/ 75 h 107"/>
              <a:gd name="T70" fmla="*/ 110 w 139"/>
              <a:gd name="T71" fmla="*/ 72 h 107"/>
              <a:gd name="T72" fmla="*/ 125 w 139"/>
              <a:gd name="T73" fmla="*/ 62 h 107"/>
              <a:gd name="T74" fmla="*/ 130 w 139"/>
              <a:gd name="T75" fmla="*/ 59 h 107"/>
              <a:gd name="T76" fmla="*/ 138 w 139"/>
              <a:gd name="T77" fmla="*/ 49 h 107"/>
              <a:gd name="T78" fmla="*/ 139 w 139"/>
              <a:gd name="T79" fmla="*/ 42 h 107"/>
              <a:gd name="T80" fmla="*/ 138 w 139"/>
              <a:gd name="T81" fmla="*/ 42 h 107"/>
              <a:gd name="T82" fmla="*/ 138 w 139"/>
              <a:gd name="T83" fmla="*/ 42 h 107"/>
              <a:gd name="T84" fmla="*/ 14 w 139"/>
              <a:gd name="T85" fmla="*/ 38 h 107"/>
              <a:gd name="T86" fmla="*/ 14 w 139"/>
              <a:gd name="T87" fmla="*/ 37 h 107"/>
              <a:gd name="T88" fmla="*/ 13 w 139"/>
              <a:gd name="T89" fmla="*/ 37 h 107"/>
              <a:gd name="T90" fmla="*/ 6 w 139"/>
              <a:gd name="T91" fmla="*/ 38 h 107"/>
              <a:gd name="T92" fmla="*/ 5 w 139"/>
              <a:gd name="T93" fmla="*/ 38 h 107"/>
              <a:gd name="T94" fmla="*/ 3 w 139"/>
              <a:gd name="T95" fmla="*/ 38 h 107"/>
              <a:gd name="T96" fmla="*/ 3 w 139"/>
              <a:gd name="T97" fmla="*/ 40 h 107"/>
              <a:gd name="T98" fmla="*/ 0 w 139"/>
              <a:gd name="T99" fmla="*/ 45 h 107"/>
              <a:gd name="T100" fmla="*/ 3 w 139"/>
              <a:gd name="T101" fmla="*/ 51 h 107"/>
              <a:gd name="T102" fmla="*/ 5 w 139"/>
              <a:gd name="T103" fmla="*/ 52 h 107"/>
              <a:gd name="T104" fmla="*/ 21 w 139"/>
              <a:gd name="T105" fmla="*/ 66 h 107"/>
              <a:gd name="T106" fmla="*/ 24 w 139"/>
              <a:gd name="T107" fmla="*/ 68 h 107"/>
              <a:gd name="T108" fmla="*/ 26 w 139"/>
              <a:gd name="T109" fmla="*/ 68 h 107"/>
              <a:gd name="T110" fmla="*/ 27 w 139"/>
              <a:gd name="T111" fmla="*/ 65 h 107"/>
              <a:gd name="T112" fmla="*/ 28 w 139"/>
              <a:gd name="T113" fmla="*/ 64 h 107"/>
              <a:gd name="T114" fmla="*/ 28 w 139"/>
              <a:gd name="T115" fmla="*/ 64 h 107"/>
              <a:gd name="T116" fmla="*/ 28 w 139"/>
              <a:gd name="T117" fmla="*/ 61 h 107"/>
              <a:gd name="T118" fmla="*/ 21 w 139"/>
              <a:gd name="T119" fmla="*/ 47 h 107"/>
              <a:gd name="T120" fmla="*/ 14 w 139"/>
              <a:gd name="T121" fmla="*/ 38 h 107"/>
              <a:gd name="T122" fmla="*/ 14 w 139"/>
              <a:gd name="T123" fmla="*/ 38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39" h="107">
                <a:moveTo>
                  <a:pt x="138" y="42"/>
                </a:moveTo>
                <a:lnTo>
                  <a:pt x="124" y="40"/>
                </a:lnTo>
                <a:lnTo>
                  <a:pt x="121" y="40"/>
                </a:lnTo>
                <a:lnTo>
                  <a:pt x="118" y="42"/>
                </a:lnTo>
                <a:lnTo>
                  <a:pt x="117" y="44"/>
                </a:lnTo>
                <a:lnTo>
                  <a:pt x="117" y="45"/>
                </a:lnTo>
                <a:lnTo>
                  <a:pt x="109" y="48"/>
                </a:lnTo>
                <a:lnTo>
                  <a:pt x="107" y="48"/>
                </a:lnTo>
                <a:lnTo>
                  <a:pt x="104" y="47"/>
                </a:lnTo>
                <a:lnTo>
                  <a:pt x="103" y="47"/>
                </a:lnTo>
                <a:lnTo>
                  <a:pt x="97" y="31"/>
                </a:lnTo>
                <a:lnTo>
                  <a:pt x="89" y="10"/>
                </a:lnTo>
                <a:lnTo>
                  <a:pt x="87" y="7"/>
                </a:lnTo>
                <a:lnTo>
                  <a:pt x="85" y="6"/>
                </a:lnTo>
                <a:lnTo>
                  <a:pt x="80" y="6"/>
                </a:lnTo>
                <a:lnTo>
                  <a:pt x="61" y="0"/>
                </a:lnTo>
                <a:lnTo>
                  <a:pt x="59" y="0"/>
                </a:lnTo>
                <a:lnTo>
                  <a:pt x="59" y="0"/>
                </a:lnTo>
                <a:lnTo>
                  <a:pt x="58" y="0"/>
                </a:lnTo>
                <a:lnTo>
                  <a:pt x="47" y="3"/>
                </a:lnTo>
                <a:lnTo>
                  <a:pt x="28" y="12"/>
                </a:lnTo>
                <a:lnTo>
                  <a:pt x="27" y="13"/>
                </a:lnTo>
                <a:lnTo>
                  <a:pt x="27" y="14"/>
                </a:lnTo>
                <a:lnTo>
                  <a:pt x="27" y="55"/>
                </a:lnTo>
                <a:lnTo>
                  <a:pt x="43" y="85"/>
                </a:lnTo>
                <a:lnTo>
                  <a:pt x="61" y="100"/>
                </a:lnTo>
                <a:lnTo>
                  <a:pt x="73" y="107"/>
                </a:lnTo>
                <a:lnTo>
                  <a:pt x="76" y="107"/>
                </a:lnTo>
                <a:lnTo>
                  <a:pt x="76" y="107"/>
                </a:lnTo>
                <a:lnTo>
                  <a:pt x="89" y="96"/>
                </a:lnTo>
                <a:lnTo>
                  <a:pt x="96" y="89"/>
                </a:lnTo>
                <a:lnTo>
                  <a:pt x="102" y="82"/>
                </a:lnTo>
                <a:lnTo>
                  <a:pt x="102" y="80"/>
                </a:lnTo>
                <a:lnTo>
                  <a:pt x="103" y="76"/>
                </a:lnTo>
                <a:lnTo>
                  <a:pt x="106" y="75"/>
                </a:lnTo>
                <a:lnTo>
                  <a:pt x="110" y="72"/>
                </a:lnTo>
                <a:lnTo>
                  <a:pt x="125" y="62"/>
                </a:lnTo>
                <a:lnTo>
                  <a:pt x="130" y="59"/>
                </a:lnTo>
                <a:lnTo>
                  <a:pt x="138" y="49"/>
                </a:lnTo>
                <a:lnTo>
                  <a:pt x="139" y="42"/>
                </a:lnTo>
                <a:lnTo>
                  <a:pt x="138" y="42"/>
                </a:lnTo>
                <a:lnTo>
                  <a:pt x="138" y="42"/>
                </a:lnTo>
                <a:close/>
                <a:moveTo>
                  <a:pt x="14" y="38"/>
                </a:moveTo>
                <a:lnTo>
                  <a:pt x="14" y="37"/>
                </a:lnTo>
                <a:lnTo>
                  <a:pt x="13" y="37"/>
                </a:lnTo>
                <a:lnTo>
                  <a:pt x="6" y="38"/>
                </a:lnTo>
                <a:lnTo>
                  <a:pt x="5" y="38"/>
                </a:lnTo>
                <a:lnTo>
                  <a:pt x="3" y="38"/>
                </a:lnTo>
                <a:lnTo>
                  <a:pt x="3" y="40"/>
                </a:lnTo>
                <a:lnTo>
                  <a:pt x="0" y="45"/>
                </a:lnTo>
                <a:lnTo>
                  <a:pt x="3" y="51"/>
                </a:lnTo>
                <a:lnTo>
                  <a:pt x="5" y="52"/>
                </a:lnTo>
                <a:lnTo>
                  <a:pt x="21" y="66"/>
                </a:lnTo>
                <a:lnTo>
                  <a:pt x="24" y="68"/>
                </a:lnTo>
                <a:lnTo>
                  <a:pt x="26" y="68"/>
                </a:lnTo>
                <a:lnTo>
                  <a:pt x="27" y="65"/>
                </a:lnTo>
                <a:lnTo>
                  <a:pt x="28" y="64"/>
                </a:lnTo>
                <a:lnTo>
                  <a:pt x="28" y="64"/>
                </a:lnTo>
                <a:lnTo>
                  <a:pt x="28" y="61"/>
                </a:lnTo>
                <a:lnTo>
                  <a:pt x="21" y="47"/>
                </a:lnTo>
                <a:lnTo>
                  <a:pt x="14" y="38"/>
                </a:lnTo>
                <a:lnTo>
                  <a:pt x="14" y="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Freeform 29">
            <a:extLst>
              <a:ext uri="{FF2B5EF4-FFF2-40B4-BE49-F238E27FC236}">
                <a16:creationId xmlns:a16="http://schemas.microsoft.com/office/drawing/2014/main" id="{962B4221-AD12-45C9-9041-FD94348594DE}"/>
              </a:ext>
            </a:extLst>
          </p:cNvPr>
          <p:cNvSpPr>
            <a:spLocks/>
          </p:cNvSpPr>
          <p:nvPr/>
        </p:nvSpPr>
        <p:spPr bwMode="auto">
          <a:xfrm>
            <a:off x="6400549" y="4527082"/>
            <a:ext cx="538295" cy="365125"/>
          </a:xfrm>
          <a:custGeom>
            <a:avLst/>
            <a:gdLst>
              <a:gd name="T0" fmla="*/ 213 w 223"/>
              <a:gd name="T1" fmla="*/ 2 h 163"/>
              <a:gd name="T2" fmla="*/ 207 w 223"/>
              <a:gd name="T3" fmla="*/ 6 h 163"/>
              <a:gd name="T4" fmla="*/ 201 w 223"/>
              <a:gd name="T5" fmla="*/ 15 h 163"/>
              <a:gd name="T6" fmla="*/ 205 w 223"/>
              <a:gd name="T7" fmla="*/ 19 h 163"/>
              <a:gd name="T8" fmla="*/ 213 w 223"/>
              <a:gd name="T9" fmla="*/ 30 h 163"/>
              <a:gd name="T10" fmla="*/ 196 w 223"/>
              <a:gd name="T11" fmla="*/ 37 h 163"/>
              <a:gd name="T12" fmla="*/ 184 w 223"/>
              <a:gd name="T13" fmla="*/ 40 h 163"/>
              <a:gd name="T14" fmla="*/ 171 w 223"/>
              <a:gd name="T15" fmla="*/ 41 h 163"/>
              <a:gd name="T16" fmla="*/ 167 w 223"/>
              <a:gd name="T17" fmla="*/ 47 h 163"/>
              <a:gd name="T18" fmla="*/ 153 w 223"/>
              <a:gd name="T19" fmla="*/ 56 h 163"/>
              <a:gd name="T20" fmla="*/ 146 w 223"/>
              <a:gd name="T21" fmla="*/ 62 h 163"/>
              <a:gd name="T22" fmla="*/ 140 w 223"/>
              <a:gd name="T23" fmla="*/ 66 h 163"/>
              <a:gd name="T24" fmla="*/ 120 w 223"/>
              <a:gd name="T25" fmla="*/ 65 h 163"/>
              <a:gd name="T26" fmla="*/ 114 w 223"/>
              <a:gd name="T27" fmla="*/ 65 h 163"/>
              <a:gd name="T28" fmla="*/ 100 w 223"/>
              <a:gd name="T29" fmla="*/ 64 h 163"/>
              <a:gd name="T30" fmla="*/ 95 w 223"/>
              <a:gd name="T31" fmla="*/ 63 h 163"/>
              <a:gd name="T32" fmla="*/ 86 w 223"/>
              <a:gd name="T33" fmla="*/ 61 h 163"/>
              <a:gd name="T34" fmla="*/ 66 w 223"/>
              <a:gd name="T35" fmla="*/ 61 h 163"/>
              <a:gd name="T36" fmla="*/ 52 w 223"/>
              <a:gd name="T37" fmla="*/ 58 h 163"/>
              <a:gd name="T38" fmla="*/ 51 w 223"/>
              <a:gd name="T39" fmla="*/ 49 h 163"/>
              <a:gd name="T40" fmla="*/ 42 w 223"/>
              <a:gd name="T41" fmla="*/ 47 h 163"/>
              <a:gd name="T42" fmla="*/ 33 w 223"/>
              <a:gd name="T43" fmla="*/ 47 h 163"/>
              <a:gd name="T44" fmla="*/ 25 w 223"/>
              <a:gd name="T45" fmla="*/ 46 h 163"/>
              <a:gd name="T46" fmla="*/ 14 w 223"/>
              <a:gd name="T47" fmla="*/ 48 h 163"/>
              <a:gd name="T48" fmla="*/ 10 w 223"/>
              <a:gd name="T49" fmla="*/ 52 h 163"/>
              <a:gd name="T50" fmla="*/ 10 w 223"/>
              <a:gd name="T51" fmla="*/ 60 h 163"/>
              <a:gd name="T52" fmla="*/ 15 w 223"/>
              <a:gd name="T53" fmla="*/ 72 h 163"/>
              <a:gd name="T54" fmla="*/ 24 w 223"/>
              <a:gd name="T55" fmla="*/ 78 h 163"/>
              <a:gd name="T56" fmla="*/ 28 w 223"/>
              <a:gd name="T57" fmla="*/ 87 h 163"/>
              <a:gd name="T58" fmla="*/ 18 w 223"/>
              <a:gd name="T59" fmla="*/ 92 h 163"/>
              <a:gd name="T60" fmla="*/ 9 w 223"/>
              <a:gd name="T61" fmla="*/ 88 h 163"/>
              <a:gd name="T62" fmla="*/ 4 w 223"/>
              <a:gd name="T63" fmla="*/ 84 h 163"/>
              <a:gd name="T64" fmla="*/ 6 w 223"/>
              <a:gd name="T65" fmla="*/ 95 h 163"/>
              <a:gd name="T66" fmla="*/ 20 w 223"/>
              <a:gd name="T67" fmla="*/ 92 h 163"/>
              <a:gd name="T68" fmla="*/ 29 w 223"/>
              <a:gd name="T69" fmla="*/ 100 h 163"/>
              <a:gd name="T70" fmla="*/ 26 w 223"/>
              <a:gd name="T71" fmla="*/ 114 h 163"/>
              <a:gd name="T72" fmla="*/ 15 w 223"/>
              <a:gd name="T73" fmla="*/ 117 h 163"/>
              <a:gd name="T74" fmla="*/ 12 w 223"/>
              <a:gd name="T75" fmla="*/ 125 h 163"/>
              <a:gd name="T76" fmla="*/ 4 w 223"/>
              <a:gd name="T77" fmla="*/ 136 h 163"/>
              <a:gd name="T78" fmla="*/ 10 w 223"/>
              <a:gd name="T79" fmla="*/ 140 h 163"/>
              <a:gd name="T80" fmla="*/ 28 w 223"/>
              <a:gd name="T81" fmla="*/ 135 h 163"/>
              <a:gd name="T82" fmla="*/ 35 w 223"/>
              <a:gd name="T83" fmla="*/ 137 h 163"/>
              <a:gd name="T84" fmla="*/ 49 w 223"/>
              <a:gd name="T85" fmla="*/ 132 h 163"/>
              <a:gd name="T86" fmla="*/ 60 w 223"/>
              <a:gd name="T87" fmla="*/ 129 h 163"/>
              <a:gd name="T88" fmla="*/ 65 w 223"/>
              <a:gd name="T89" fmla="*/ 132 h 163"/>
              <a:gd name="T90" fmla="*/ 65 w 223"/>
              <a:gd name="T91" fmla="*/ 142 h 163"/>
              <a:gd name="T92" fmla="*/ 71 w 223"/>
              <a:gd name="T93" fmla="*/ 149 h 163"/>
              <a:gd name="T94" fmla="*/ 75 w 223"/>
              <a:gd name="T95" fmla="*/ 156 h 163"/>
              <a:gd name="T96" fmla="*/ 81 w 223"/>
              <a:gd name="T97" fmla="*/ 157 h 163"/>
              <a:gd name="T98" fmla="*/ 96 w 223"/>
              <a:gd name="T99" fmla="*/ 154 h 163"/>
              <a:gd name="T100" fmla="*/ 111 w 223"/>
              <a:gd name="T101" fmla="*/ 156 h 163"/>
              <a:gd name="T102" fmla="*/ 120 w 223"/>
              <a:gd name="T103" fmla="*/ 159 h 163"/>
              <a:gd name="T104" fmla="*/ 124 w 223"/>
              <a:gd name="T105" fmla="*/ 160 h 163"/>
              <a:gd name="T106" fmla="*/ 138 w 223"/>
              <a:gd name="T107" fmla="*/ 160 h 163"/>
              <a:gd name="T108" fmla="*/ 148 w 223"/>
              <a:gd name="T109" fmla="*/ 161 h 163"/>
              <a:gd name="T110" fmla="*/ 162 w 223"/>
              <a:gd name="T111" fmla="*/ 155 h 163"/>
              <a:gd name="T112" fmla="*/ 177 w 223"/>
              <a:gd name="T113" fmla="*/ 149 h 163"/>
              <a:gd name="T114" fmla="*/ 190 w 223"/>
              <a:gd name="T115" fmla="*/ 130 h 163"/>
              <a:gd name="T116" fmla="*/ 203 w 223"/>
              <a:gd name="T117" fmla="*/ 122 h 163"/>
              <a:gd name="T118" fmla="*/ 207 w 223"/>
              <a:gd name="T119" fmla="*/ 100 h 163"/>
              <a:gd name="T120" fmla="*/ 207 w 223"/>
              <a:gd name="T121" fmla="*/ 72 h 163"/>
              <a:gd name="T122" fmla="*/ 219 w 223"/>
              <a:gd name="T123" fmla="*/ 43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23" h="163">
                <a:moveTo>
                  <a:pt x="220" y="0"/>
                </a:moveTo>
                <a:cubicBezTo>
                  <a:pt x="220" y="2"/>
                  <a:pt x="220" y="2"/>
                  <a:pt x="220" y="2"/>
                </a:cubicBezTo>
                <a:cubicBezTo>
                  <a:pt x="220" y="2"/>
                  <a:pt x="220" y="2"/>
                  <a:pt x="220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2" y="3"/>
                  <a:pt x="212" y="3"/>
                  <a:pt x="212" y="3"/>
                </a:cubicBezTo>
                <a:cubicBezTo>
                  <a:pt x="208" y="5"/>
                  <a:pt x="208" y="5"/>
                  <a:pt x="208" y="5"/>
                </a:cubicBezTo>
                <a:cubicBezTo>
                  <a:pt x="208" y="6"/>
                  <a:pt x="208" y="6"/>
                  <a:pt x="207" y="6"/>
                </a:cubicBezTo>
                <a:cubicBezTo>
                  <a:pt x="207" y="6"/>
                  <a:pt x="207" y="6"/>
                  <a:pt x="207" y="6"/>
                </a:cubicBezTo>
                <a:cubicBezTo>
                  <a:pt x="204" y="11"/>
                  <a:pt x="204" y="11"/>
                  <a:pt x="204" y="11"/>
                </a:cubicBezTo>
                <a:cubicBezTo>
                  <a:pt x="203" y="11"/>
                  <a:pt x="203" y="12"/>
                  <a:pt x="203" y="12"/>
                </a:cubicBezTo>
                <a:cubicBezTo>
                  <a:pt x="203" y="13"/>
                  <a:pt x="203" y="13"/>
                  <a:pt x="203" y="13"/>
                </a:cubicBezTo>
                <a:cubicBezTo>
                  <a:pt x="202" y="14"/>
                  <a:pt x="202" y="15"/>
                  <a:pt x="201" y="15"/>
                </a:cubicBezTo>
                <a:cubicBezTo>
                  <a:pt x="202" y="16"/>
                  <a:pt x="202" y="16"/>
                  <a:pt x="202" y="16"/>
                </a:cubicBezTo>
                <a:cubicBezTo>
                  <a:pt x="202" y="17"/>
                  <a:pt x="202" y="17"/>
                  <a:pt x="202" y="17"/>
                </a:cubicBezTo>
                <a:cubicBezTo>
                  <a:pt x="203" y="17"/>
                  <a:pt x="203" y="17"/>
                  <a:pt x="203" y="17"/>
                </a:cubicBezTo>
                <a:cubicBezTo>
                  <a:pt x="204" y="18"/>
                  <a:pt x="205" y="19"/>
                  <a:pt x="205" y="19"/>
                </a:cubicBezTo>
                <a:cubicBezTo>
                  <a:pt x="209" y="22"/>
                  <a:pt x="209" y="22"/>
                  <a:pt x="209" y="22"/>
                </a:cubicBezTo>
                <a:cubicBezTo>
                  <a:pt x="212" y="24"/>
                  <a:pt x="212" y="24"/>
                  <a:pt x="212" y="24"/>
                </a:cubicBezTo>
                <a:cubicBezTo>
                  <a:pt x="212" y="25"/>
                  <a:pt x="213" y="25"/>
                  <a:pt x="213" y="26"/>
                </a:cubicBezTo>
                <a:cubicBezTo>
                  <a:pt x="213" y="30"/>
                  <a:pt x="213" y="30"/>
                  <a:pt x="213" y="30"/>
                </a:cubicBezTo>
                <a:cubicBezTo>
                  <a:pt x="213" y="31"/>
                  <a:pt x="212" y="34"/>
                  <a:pt x="210" y="36"/>
                </a:cubicBezTo>
                <a:cubicBezTo>
                  <a:pt x="210" y="37"/>
                  <a:pt x="209" y="39"/>
                  <a:pt x="207" y="38"/>
                </a:cubicBezTo>
                <a:cubicBezTo>
                  <a:pt x="206" y="38"/>
                  <a:pt x="206" y="38"/>
                  <a:pt x="206" y="37"/>
                </a:cubicBezTo>
                <a:cubicBezTo>
                  <a:pt x="196" y="37"/>
                  <a:pt x="196" y="37"/>
                  <a:pt x="196" y="37"/>
                </a:cubicBezTo>
                <a:cubicBezTo>
                  <a:pt x="195" y="38"/>
                  <a:pt x="192" y="39"/>
                  <a:pt x="191" y="39"/>
                </a:cubicBezTo>
                <a:cubicBezTo>
                  <a:pt x="190" y="39"/>
                  <a:pt x="189" y="40"/>
                  <a:pt x="189" y="40"/>
                </a:cubicBezTo>
                <a:cubicBezTo>
                  <a:pt x="189" y="40"/>
                  <a:pt x="188" y="40"/>
                  <a:pt x="187" y="40"/>
                </a:cubicBezTo>
                <a:cubicBezTo>
                  <a:pt x="184" y="40"/>
                  <a:pt x="184" y="40"/>
                  <a:pt x="184" y="40"/>
                </a:cubicBezTo>
                <a:cubicBezTo>
                  <a:pt x="183" y="39"/>
                  <a:pt x="183" y="39"/>
                  <a:pt x="183" y="39"/>
                </a:cubicBezTo>
                <a:cubicBezTo>
                  <a:pt x="182" y="40"/>
                  <a:pt x="182" y="40"/>
                  <a:pt x="182" y="40"/>
                </a:cubicBezTo>
                <a:cubicBezTo>
                  <a:pt x="173" y="40"/>
                  <a:pt x="173" y="40"/>
                  <a:pt x="173" y="40"/>
                </a:cubicBezTo>
                <a:cubicBezTo>
                  <a:pt x="172" y="40"/>
                  <a:pt x="171" y="40"/>
                  <a:pt x="171" y="41"/>
                </a:cubicBezTo>
                <a:cubicBezTo>
                  <a:pt x="171" y="41"/>
                  <a:pt x="171" y="42"/>
                  <a:pt x="171" y="43"/>
                </a:cubicBezTo>
                <a:cubicBezTo>
                  <a:pt x="168" y="46"/>
                  <a:pt x="168" y="46"/>
                  <a:pt x="168" y="46"/>
                </a:cubicBezTo>
                <a:cubicBezTo>
                  <a:pt x="168" y="46"/>
                  <a:pt x="168" y="46"/>
                  <a:pt x="167" y="46"/>
                </a:cubicBezTo>
                <a:cubicBezTo>
                  <a:pt x="167" y="47"/>
                  <a:pt x="167" y="47"/>
                  <a:pt x="167" y="47"/>
                </a:cubicBezTo>
                <a:cubicBezTo>
                  <a:pt x="166" y="48"/>
                  <a:pt x="165" y="50"/>
                  <a:pt x="164" y="50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56" y="56"/>
                  <a:pt x="156" y="56"/>
                  <a:pt x="156" y="56"/>
                </a:cubicBezTo>
                <a:cubicBezTo>
                  <a:pt x="153" y="56"/>
                  <a:pt x="153" y="56"/>
                  <a:pt x="153" y="56"/>
                </a:cubicBezTo>
                <a:cubicBezTo>
                  <a:pt x="150" y="60"/>
                  <a:pt x="150" y="60"/>
                  <a:pt x="150" y="60"/>
                </a:cubicBezTo>
                <a:cubicBezTo>
                  <a:pt x="148" y="61"/>
                  <a:pt x="148" y="61"/>
                  <a:pt x="148" y="61"/>
                </a:cubicBezTo>
                <a:cubicBezTo>
                  <a:pt x="148" y="62"/>
                  <a:pt x="147" y="62"/>
                  <a:pt x="147" y="62"/>
                </a:cubicBezTo>
                <a:cubicBezTo>
                  <a:pt x="146" y="62"/>
                  <a:pt x="146" y="62"/>
                  <a:pt x="146" y="62"/>
                </a:cubicBezTo>
                <a:cubicBezTo>
                  <a:pt x="146" y="63"/>
                  <a:pt x="145" y="63"/>
                  <a:pt x="145" y="63"/>
                </a:cubicBezTo>
                <a:cubicBezTo>
                  <a:pt x="143" y="63"/>
                  <a:pt x="143" y="63"/>
                  <a:pt x="143" y="63"/>
                </a:cubicBezTo>
                <a:cubicBezTo>
                  <a:pt x="142" y="64"/>
                  <a:pt x="142" y="64"/>
                  <a:pt x="142" y="64"/>
                </a:cubicBezTo>
                <a:cubicBezTo>
                  <a:pt x="141" y="65"/>
                  <a:pt x="140" y="66"/>
                  <a:pt x="140" y="66"/>
                </a:cubicBezTo>
                <a:cubicBezTo>
                  <a:pt x="139" y="66"/>
                  <a:pt x="139" y="66"/>
                  <a:pt x="139" y="66"/>
                </a:cubicBezTo>
                <a:cubicBezTo>
                  <a:pt x="123" y="66"/>
                  <a:pt x="123" y="66"/>
                  <a:pt x="123" y="66"/>
                </a:cubicBezTo>
                <a:cubicBezTo>
                  <a:pt x="122" y="66"/>
                  <a:pt x="122" y="66"/>
                  <a:pt x="122" y="66"/>
                </a:cubicBezTo>
                <a:cubicBezTo>
                  <a:pt x="120" y="65"/>
                  <a:pt x="120" y="65"/>
                  <a:pt x="120" y="65"/>
                </a:cubicBezTo>
                <a:cubicBezTo>
                  <a:pt x="116" y="66"/>
                  <a:pt x="116" y="66"/>
                  <a:pt x="116" y="66"/>
                </a:cubicBezTo>
                <a:cubicBezTo>
                  <a:pt x="116" y="66"/>
                  <a:pt x="116" y="66"/>
                  <a:pt x="115" y="66"/>
                </a:cubicBezTo>
                <a:cubicBezTo>
                  <a:pt x="115" y="66"/>
                  <a:pt x="115" y="66"/>
                  <a:pt x="114" y="66"/>
                </a:cubicBezTo>
                <a:cubicBezTo>
                  <a:pt x="114" y="65"/>
                  <a:pt x="114" y="65"/>
                  <a:pt x="114" y="65"/>
                </a:cubicBezTo>
                <a:cubicBezTo>
                  <a:pt x="107" y="65"/>
                  <a:pt x="107" y="65"/>
                  <a:pt x="107" y="65"/>
                </a:cubicBezTo>
                <a:cubicBezTo>
                  <a:pt x="106" y="65"/>
                  <a:pt x="105" y="65"/>
                  <a:pt x="105" y="64"/>
                </a:cubicBezTo>
                <a:cubicBezTo>
                  <a:pt x="101" y="64"/>
                  <a:pt x="101" y="64"/>
                  <a:pt x="101" y="64"/>
                </a:cubicBezTo>
                <a:cubicBezTo>
                  <a:pt x="100" y="64"/>
                  <a:pt x="100" y="64"/>
                  <a:pt x="100" y="64"/>
                </a:cubicBezTo>
                <a:cubicBezTo>
                  <a:pt x="100" y="63"/>
                  <a:pt x="100" y="63"/>
                  <a:pt x="100" y="63"/>
                </a:cubicBezTo>
                <a:cubicBezTo>
                  <a:pt x="99" y="64"/>
                  <a:pt x="98" y="64"/>
                  <a:pt x="97" y="64"/>
                </a:cubicBezTo>
                <a:cubicBezTo>
                  <a:pt x="96" y="64"/>
                  <a:pt x="96" y="63"/>
                  <a:pt x="95" y="62"/>
                </a:cubicBezTo>
                <a:cubicBezTo>
                  <a:pt x="95" y="63"/>
                  <a:pt x="95" y="63"/>
                  <a:pt x="95" y="63"/>
                </a:cubicBezTo>
                <a:cubicBezTo>
                  <a:pt x="94" y="63"/>
                  <a:pt x="94" y="63"/>
                  <a:pt x="93" y="63"/>
                </a:cubicBezTo>
                <a:cubicBezTo>
                  <a:pt x="90" y="63"/>
                  <a:pt x="90" y="63"/>
                  <a:pt x="90" y="63"/>
                </a:cubicBezTo>
                <a:cubicBezTo>
                  <a:pt x="90" y="63"/>
                  <a:pt x="90" y="63"/>
                  <a:pt x="89" y="63"/>
                </a:cubicBezTo>
                <a:cubicBezTo>
                  <a:pt x="86" y="61"/>
                  <a:pt x="86" y="61"/>
                  <a:pt x="86" y="61"/>
                </a:cubicBezTo>
                <a:cubicBezTo>
                  <a:pt x="85" y="61"/>
                  <a:pt x="83" y="61"/>
                  <a:pt x="82" y="61"/>
                </a:cubicBezTo>
                <a:cubicBezTo>
                  <a:pt x="81" y="61"/>
                  <a:pt x="81" y="61"/>
                  <a:pt x="81" y="61"/>
                </a:cubicBezTo>
                <a:cubicBezTo>
                  <a:pt x="80" y="61"/>
                  <a:pt x="80" y="61"/>
                  <a:pt x="80" y="61"/>
                </a:cubicBezTo>
                <a:cubicBezTo>
                  <a:pt x="66" y="61"/>
                  <a:pt x="66" y="61"/>
                  <a:pt x="66" y="61"/>
                </a:cubicBezTo>
                <a:cubicBezTo>
                  <a:pt x="65" y="61"/>
                  <a:pt x="63" y="60"/>
                  <a:pt x="63" y="59"/>
                </a:cubicBezTo>
                <a:cubicBezTo>
                  <a:pt x="56" y="59"/>
                  <a:pt x="56" y="59"/>
                  <a:pt x="56" y="59"/>
                </a:cubicBezTo>
                <a:cubicBezTo>
                  <a:pt x="55" y="59"/>
                  <a:pt x="55" y="59"/>
                  <a:pt x="55" y="59"/>
                </a:cubicBezTo>
                <a:cubicBezTo>
                  <a:pt x="52" y="58"/>
                  <a:pt x="52" y="58"/>
                  <a:pt x="52" y="58"/>
                </a:cubicBezTo>
                <a:cubicBezTo>
                  <a:pt x="51" y="57"/>
                  <a:pt x="51" y="56"/>
                  <a:pt x="51" y="55"/>
                </a:cubicBezTo>
                <a:cubicBezTo>
                  <a:pt x="51" y="54"/>
                  <a:pt x="52" y="52"/>
                  <a:pt x="51" y="51"/>
                </a:cubicBezTo>
                <a:cubicBezTo>
                  <a:pt x="51" y="50"/>
                  <a:pt x="51" y="50"/>
                  <a:pt x="51" y="50"/>
                </a:cubicBezTo>
                <a:cubicBezTo>
                  <a:pt x="51" y="49"/>
                  <a:pt x="51" y="49"/>
                  <a:pt x="51" y="49"/>
                </a:cubicBezTo>
                <a:cubicBezTo>
                  <a:pt x="50" y="47"/>
                  <a:pt x="50" y="47"/>
                  <a:pt x="50" y="47"/>
                </a:cubicBezTo>
                <a:cubicBezTo>
                  <a:pt x="49" y="47"/>
                  <a:pt x="49" y="47"/>
                  <a:pt x="49" y="47"/>
                </a:cubicBezTo>
                <a:cubicBezTo>
                  <a:pt x="48" y="47"/>
                  <a:pt x="45" y="47"/>
                  <a:pt x="44" y="47"/>
                </a:cubicBezTo>
                <a:cubicBezTo>
                  <a:pt x="42" y="47"/>
                  <a:pt x="42" y="47"/>
                  <a:pt x="42" y="47"/>
                </a:cubicBezTo>
                <a:cubicBezTo>
                  <a:pt x="42" y="47"/>
                  <a:pt x="42" y="47"/>
                  <a:pt x="42" y="47"/>
                </a:cubicBezTo>
                <a:cubicBezTo>
                  <a:pt x="41" y="47"/>
                  <a:pt x="39" y="47"/>
                  <a:pt x="39" y="47"/>
                </a:cubicBezTo>
                <a:cubicBezTo>
                  <a:pt x="37" y="47"/>
                  <a:pt x="36" y="47"/>
                  <a:pt x="35" y="47"/>
                </a:cubicBezTo>
                <a:cubicBezTo>
                  <a:pt x="33" y="47"/>
                  <a:pt x="33" y="47"/>
                  <a:pt x="33" y="47"/>
                </a:cubicBezTo>
                <a:cubicBezTo>
                  <a:pt x="32" y="47"/>
                  <a:pt x="32" y="47"/>
                  <a:pt x="31" y="46"/>
                </a:cubicBezTo>
                <a:cubicBezTo>
                  <a:pt x="31" y="47"/>
                  <a:pt x="30" y="47"/>
                  <a:pt x="30" y="47"/>
                </a:cubicBezTo>
                <a:cubicBezTo>
                  <a:pt x="27" y="47"/>
                  <a:pt x="27" y="47"/>
                  <a:pt x="27" y="47"/>
                </a:cubicBezTo>
                <a:cubicBezTo>
                  <a:pt x="26" y="47"/>
                  <a:pt x="26" y="47"/>
                  <a:pt x="25" y="46"/>
                </a:cubicBezTo>
                <a:cubicBezTo>
                  <a:pt x="23" y="45"/>
                  <a:pt x="23" y="45"/>
                  <a:pt x="23" y="45"/>
                </a:cubicBezTo>
                <a:cubicBezTo>
                  <a:pt x="22" y="46"/>
                  <a:pt x="22" y="46"/>
                  <a:pt x="22" y="46"/>
                </a:cubicBezTo>
                <a:cubicBezTo>
                  <a:pt x="20" y="48"/>
                  <a:pt x="18" y="48"/>
                  <a:pt x="17" y="47"/>
                </a:cubicBezTo>
                <a:cubicBezTo>
                  <a:pt x="14" y="48"/>
                  <a:pt x="14" y="48"/>
                  <a:pt x="14" y="48"/>
                </a:cubicBezTo>
                <a:cubicBezTo>
                  <a:pt x="14" y="49"/>
                  <a:pt x="14" y="49"/>
                  <a:pt x="13" y="49"/>
                </a:cubicBezTo>
                <a:cubicBezTo>
                  <a:pt x="13" y="49"/>
                  <a:pt x="13" y="49"/>
                  <a:pt x="13" y="49"/>
                </a:cubicBezTo>
                <a:cubicBezTo>
                  <a:pt x="11" y="52"/>
                  <a:pt x="11" y="52"/>
                  <a:pt x="11" y="52"/>
                </a:cubicBezTo>
                <a:cubicBezTo>
                  <a:pt x="11" y="52"/>
                  <a:pt x="11" y="52"/>
                  <a:pt x="10" y="52"/>
                </a:cubicBezTo>
                <a:cubicBezTo>
                  <a:pt x="6" y="55"/>
                  <a:pt x="6" y="55"/>
                  <a:pt x="6" y="55"/>
                </a:cubicBezTo>
                <a:cubicBezTo>
                  <a:pt x="6" y="57"/>
                  <a:pt x="6" y="57"/>
                  <a:pt x="6" y="57"/>
                </a:cubicBezTo>
                <a:cubicBezTo>
                  <a:pt x="9" y="59"/>
                  <a:pt x="9" y="59"/>
                  <a:pt x="9" y="59"/>
                </a:cubicBezTo>
                <a:cubicBezTo>
                  <a:pt x="10" y="59"/>
                  <a:pt x="10" y="60"/>
                  <a:pt x="10" y="60"/>
                </a:cubicBezTo>
                <a:cubicBezTo>
                  <a:pt x="13" y="67"/>
                  <a:pt x="13" y="67"/>
                  <a:pt x="13" y="67"/>
                </a:cubicBezTo>
                <a:cubicBezTo>
                  <a:pt x="13" y="67"/>
                  <a:pt x="13" y="67"/>
                  <a:pt x="13" y="67"/>
                </a:cubicBezTo>
                <a:cubicBezTo>
                  <a:pt x="14" y="67"/>
                  <a:pt x="15" y="68"/>
                  <a:pt x="15" y="69"/>
                </a:cubicBezTo>
                <a:cubicBezTo>
                  <a:pt x="15" y="72"/>
                  <a:pt x="15" y="72"/>
                  <a:pt x="15" y="72"/>
                </a:cubicBezTo>
                <a:cubicBezTo>
                  <a:pt x="17" y="73"/>
                  <a:pt x="17" y="73"/>
                  <a:pt x="17" y="73"/>
                </a:cubicBezTo>
                <a:cubicBezTo>
                  <a:pt x="18" y="74"/>
                  <a:pt x="19" y="75"/>
                  <a:pt x="19" y="75"/>
                </a:cubicBezTo>
                <a:cubicBezTo>
                  <a:pt x="19" y="75"/>
                  <a:pt x="20" y="75"/>
                  <a:pt x="20" y="76"/>
                </a:cubicBezTo>
                <a:cubicBezTo>
                  <a:pt x="22" y="76"/>
                  <a:pt x="23" y="78"/>
                  <a:pt x="24" y="78"/>
                </a:cubicBezTo>
                <a:cubicBezTo>
                  <a:pt x="25" y="80"/>
                  <a:pt x="25" y="80"/>
                  <a:pt x="25" y="80"/>
                </a:cubicBezTo>
                <a:cubicBezTo>
                  <a:pt x="26" y="80"/>
                  <a:pt x="26" y="80"/>
                  <a:pt x="26" y="80"/>
                </a:cubicBezTo>
                <a:cubicBezTo>
                  <a:pt x="27" y="81"/>
                  <a:pt x="27" y="81"/>
                  <a:pt x="28" y="82"/>
                </a:cubicBezTo>
                <a:cubicBezTo>
                  <a:pt x="29" y="85"/>
                  <a:pt x="28" y="87"/>
                  <a:pt x="28" y="87"/>
                </a:cubicBezTo>
                <a:cubicBezTo>
                  <a:pt x="27" y="88"/>
                  <a:pt x="27" y="88"/>
                  <a:pt x="26" y="88"/>
                </a:cubicBezTo>
                <a:cubicBezTo>
                  <a:pt x="24" y="89"/>
                  <a:pt x="24" y="89"/>
                  <a:pt x="24" y="89"/>
                </a:cubicBezTo>
                <a:cubicBezTo>
                  <a:pt x="19" y="91"/>
                  <a:pt x="19" y="91"/>
                  <a:pt x="19" y="91"/>
                </a:cubicBezTo>
                <a:cubicBezTo>
                  <a:pt x="19" y="91"/>
                  <a:pt x="19" y="92"/>
                  <a:pt x="18" y="92"/>
                </a:cubicBezTo>
                <a:cubicBezTo>
                  <a:pt x="16" y="92"/>
                  <a:pt x="16" y="92"/>
                  <a:pt x="16" y="92"/>
                </a:cubicBezTo>
                <a:cubicBezTo>
                  <a:pt x="13" y="91"/>
                  <a:pt x="13" y="91"/>
                  <a:pt x="13" y="91"/>
                </a:cubicBezTo>
                <a:cubicBezTo>
                  <a:pt x="12" y="91"/>
                  <a:pt x="12" y="91"/>
                  <a:pt x="12" y="91"/>
                </a:cubicBezTo>
                <a:cubicBezTo>
                  <a:pt x="9" y="88"/>
                  <a:pt x="9" y="88"/>
                  <a:pt x="9" y="88"/>
                </a:cubicBezTo>
                <a:cubicBezTo>
                  <a:pt x="7" y="86"/>
                  <a:pt x="7" y="86"/>
                  <a:pt x="7" y="86"/>
                </a:cubicBezTo>
                <a:cubicBezTo>
                  <a:pt x="6" y="83"/>
                  <a:pt x="6" y="83"/>
                  <a:pt x="6" y="83"/>
                </a:cubicBezTo>
                <a:cubicBezTo>
                  <a:pt x="5" y="83"/>
                  <a:pt x="5" y="83"/>
                  <a:pt x="4" y="83"/>
                </a:cubicBezTo>
                <a:cubicBezTo>
                  <a:pt x="4" y="84"/>
                  <a:pt x="4" y="84"/>
                  <a:pt x="4" y="84"/>
                </a:cubicBezTo>
                <a:cubicBezTo>
                  <a:pt x="3" y="86"/>
                  <a:pt x="4" y="87"/>
                  <a:pt x="4" y="87"/>
                </a:cubicBezTo>
                <a:cubicBezTo>
                  <a:pt x="4" y="93"/>
                  <a:pt x="4" y="93"/>
                  <a:pt x="4" y="93"/>
                </a:cubicBezTo>
                <a:cubicBezTo>
                  <a:pt x="6" y="94"/>
                  <a:pt x="6" y="94"/>
                  <a:pt x="6" y="94"/>
                </a:cubicBezTo>
                <a:cubicBezTo>
                  <a:pt x="6" y="95"/>
                  <a:pt x="6" y="95"/>
                  <a:pt x="6" y="95"/>
                </a:cubicBezTo>
                <a:cubicBezTo>
                  <a:pt x="9" y="94"/>
                  <a:pt x="9" y="94"/>
                  <a:pt x="9" y="94"/>
                </a:cubicBezTo>
                <a:cubicBezTo>
                  <a:pt x="10" y="94"/>
                  <a:pt x="11" y="93"/>
                  <a:pt x="12" y="92"/>
                </a:cubicBezTo>
                <a:cubicBezTo>
                  <a:pt x="14" y="92"/>
                  <a:pt x="15" y="92"/>
                  <a:pt x="18" y="92"/>
                </a:cubicBezTo>
                <a:cubicBezTo>
                  <a:pt x="19" y="92"/>
                  <a:pt x="20" y="92"/>
                  <a:pt x="20" y="92"/>
                </a:cubicBezTo>
                <a:cubicBezTo>
                  <a:pt x="20" y="92"/>
                  <a:pt x="20" y="92"/>
                  <a:pt x="21" y="92"/>
                </a:cubicBezTo>
                <a:cubicBezTo>
                  <a:pt x="24" y="92"/>
                  <a:pt x="24" y="92"/>
                  <a:pt x="24" y="92"/>
                </a:cubicBezTo>
                <a:cubicBezTo>
                  <a:pt x="24" y="92"/>
                  <a:pt x="25" y="92"/>
                  <a:pt x="25" y="93"/>
                </a:cubicBezTo>
                <a:cubicBezTo>
                  <a:pt x="26" y="94"/>
                  <a:pt x="29" y="97"/>
                  <a:pt x="29" y="100"/>
                </a:cubicBezTo>
                <a:cubicBezTo>
                  <a:pt x="29" y="108"/>
                  <a:pt x="29" y="108"/>
                  <a:pt x="29" y="108"/>
                </a:cubicBezTo>
                <a:cubicBezTo>
                  <a:pt x="29" y="109"/>
                  <a:pt x="29" y="110"/>
                  <a:pt x="28" y="110"/>
                </a:cubicBezTo>
                <a:cubicBezTo>
                  <a:pt x="27" y="113"/>
                  <a:pt x="27" y="113"/>
                  <a:pt x="27" y="113"/>
                </a:cubicBezTo>
                <a:cubicBezTo>
                  <a:pt x="27" y="114"/>
                  <a:pt x="26" y="114"/>
                  <a:pt x="26" y="114"/>
                </a:cubicBezTo>
                <a:cubicBezTo>
                  <a:pt x="21" y="117"/>
                  <a:pt x="21" y="117"/>
                  <a:pt x="21" y="117"/>
                </a:cubicBezTo>
                <a:cubicBezTo>
                  <a:pt x="20" y="117"/>
                  <a:pt x="19" y="117"/>
                  <a:pt x="18" y="117"/>
                </a:cubicBezTo>
                <a:cubicBezTo>
                  <a:pt x="18" y="117"/>
                  <a:pt x="18" y="117"/>
                  <a:pt x="18" y="117"/>
                </a:cubicBezTo>
                <a:cubicBezTo>
                  <a:pt x="15" y="117"/>
                  <a:pt x="15" y="117"/>
                  <a:pt x="15" y="117"/>
                </a:cubicBezTo>
                <a:cubicBezTo>
                  <a:pt x="14" y="118"/>
                  <a:pt x="14" y="118"/>
                  <a:pt x="14" y="118"/>
                </a:cubicBezTo>
                <a:cubicBezTo>
                  <a:pt x="14" y="119"/>
                  <a:pt x="13" y="122"/>
                  <a:pt x="13" y="123"/>
                </a:cubicBezTo>
                <a:cubicBezTo>
                  <a:pt x="12" y="124"/>
                  <a:pt x="12" y="125"/>
                  <a:pt x="12" y="125"/>
                </a:cubicBezTo>
                <a:cubicBezTo>
                  <a:pt x="12" y="125"/>
                  <a:pt x="12" y="125"/>
                  <a:pt x="12" y="125"/>
                </a:cubicBezTo>
                <a:cubicBezTo>
                  <a:pt x="12" y="126"/>
                  <a:pt x="11" y="129"/>
                  <a:pt x="9" y="132"/>
                </a:cubicBezTo>
                <a:cubicBezTo>
                  <a:pt x="9" y="133"/>
                  <a:pt x="8" y="134"/>
                  <a:pt x="7" y="134"/>
                </a:cubicBezTo>
                <a:cubicBezTo>
                  <a:pt x="7" y="134"/>
                  <a:pt x="6" y="134"/>
                  <a:pt x="6" y="135"/>
                </a:cubicBezTo>
                <a:cubicBezTo>
                  <a:pt x="6" y="136"/>
                  <a:pt x="5" y="136"/>
                  <a:pt x="4" y="136"/>
                </a:cubicBezTo>
                <a:cubicBezTo>
                  <a:pt x="3" y="136"/>
                  <a:pt x="3" y="136"/>
                  <a:pt x="3" y="136"/>
                </a:cubicBezTo>
                <a:cubicBezTo>
                  <a:pt x="2" y="137"/>
                  <a:pt x="1" y="137"/>
                  <a:pt x="0" y="138"/>
                </a:cubicBezTo>
                <a:cubicBezTo>
                  <a:pt x="5" y="142"/>
                  <a:pt x="5" y="142"/>
                  <a:pt x="5" y="142"/>
                </a:cubicBezTo>
                <a:cubicBezTo>
                  <a:pt x="10" y="140"/>
                  <a:pt x="10" y="140"/>
                  <a:pt x="10" y="140"/>
                </a:cubicBezTo>
                <a:cubicBezTo>
                  <a:pt x="12" y="136"/>
                  <a:pt x="12" y="136"/>
                  <a:pt x="12" y="136"/>
                </a:cubicBezTo>
                <a:cubicBezTo>
                  <a:pt x="13" y="135"/>
                  <a:pt x="13" y="135"/>
                  <a:pt x="14" y="135"/>
                </a:cubicBezTo>
                <a:cubicBezTo>
                  <a:pt x="14" y="135"/>
                  <a:pt x="21" y="134"/>
                  <a:pt x="24" y="134"/>
                </a:cubicBezTo>
                <a:cubicBezTo>
                  <a:pt x="26" y="134"/>
                  <a:pt x="27" y="134"/>
                  <a:pt x="28" y="135"/>
                </a:cubicBezTo>
                <a:cubicBezTo>
                  <a:pt x="28" y="136"/>
                  <a:pt x="28" y="136"/>
                  <a:pt x="28" y="136"/>
                </a:cubicBezTo>
                <a:cubicBezTo>
                  <a:pt x="28" y="137"/>
                  <a:pt x="29" y="137"/>
                  <a:pt x="29" y="137"/>
                </a:cubicBezTo>
                <a:cubicBezTo>
                  <a:pt x="29" y="137"/>
                  <a:pt x="29" y="137"/>
                  <a:pt x="30" y="137"/>
                </a:cubicBezTo>
                <a:cubicBezTo>
                  <a:pt x="35" y="137"/>
                  <a:pt x="35" y="137"/>
                  <a:pt x="35" y="137"/>
                </a:cubicBezTo>
                <a:cubicBezTo>
                  <a:pt x="35" y="136"/>
                  <a:pt x="35" y="135"/>
                  <a:pt x="36" y="135"/>
                </a:cubicBezTo>
                <a:cubicBezTo>
                  <a:pt x="44" y="132"/>
                  <a:pt x="44" y="132"/>
                  <a:pt x="44" y="132"/>
                </a:cubicBezTo>
                <a:cubicBezTo>
                  <a:pt x="45" y="132"/>
                  <a:pt x="45" y="132"/>
                  <a:pt x="45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51" y="130"/>
                  <a:pt x="51" y="130"/>
                  <a:pt x="51" y="130"/>
                </a:cubicBezTo>
                <a:cubicBezTo>
                  <a:pt x="52" y="129"/>
                  <a:pt x="52" y="129"/>
                  <a:pt x="53" y="129"/>
                </a:cubicBezTo>
                <a:cubicBezTo>
                  <a:pt x="53" y="129"/>
                  <a:pt x="56" y="129"/>
                  <a:pt x="57" y="129"/>
                </a:cubicBezTo>
                <a:cubicBezTo>
                  <a:pt x="59" y="129"/>
                  <a:pt x="60" y="129"/>
                  <a:pt x="60" y="129"/>
                </a:cubicBezTo>
                <a:cubicBezTo>
                  <a:pt x="60" y="130"/>
                  <a:pt x="61" y="130"/>
                  <a:pt x="61" y="130"/>
                </a:cubicBezTo>
                <a:cubicBezTo>
                  <a:pt x="62" y="130"/>
                  <a:pt x="63" y="130"/>
                  <a:pt x="63" y="130"/>
                </a:cubicBezTo>
                <a:cubicBezTo>
                  <a:pt x="63" y="130"/>
                  <a:pt x="64" y="130"/>
                  <a:pt x="65" y="130"/>
                </a:cubicBezTo>
                <a:cubicBezTo>
                  <a:pt x="65" y="131"/>
                  <a:pt x="65" y="131"/>
                  <a:pt x="65" y="132"/>
                </a:cubicBezTo>
                <a:cubicBezTo>
                  <a:pt x="65" y="133"/>
                  <a:pt x="65" y="135"/>
                  <a:pt x="65" y="136"/>
                </a:cubicBezTo>
                <a:cubicBezTo>
                  <a:pt x="66" y="137"/>
                  <a:pt x="66" y="139"/>
                  <a:pt x="66" y="140"/>
                </a:cubicBezTo>
                <a:cubicBezTo>
                  <a:pt x="66" y="140"/>
                  <a:pt x="66" y="140"/>
                  <a:pt x="66" y="141"/>
                </a:cubicBezTo>
                <a:cubicBezTo>
                  <a:pt x="65" y="141"/>
                  <a:pt x="65" y="142"/>
                  <a:pt x="65" y="142"/>
                </a:cubicBezTo>
                <a:cubicBezTo>
                  <a:pt x="66" y="143"/>
                  <a:pt x="66" y="143"/>
                  <a:pt x="66" y="144"/>
                </a:cubicBezTo>
                <a:cubicBezTo>
                  <a:pt x="66" y="145"/>
                  <a:pt x="66" y="145"/>
                  <a:pt x="66" y="145"/>
                </a:cubicBezTo>
                <a:cubicBezTo>
                  <a:pt x="68" y="146"/>
                  <a:pt x="68" y="146"/>
                  <a:pt x="68" y="146"/>
                </a:cubicBezTo>
                <a:cubicBezTo>
                  <a:pt x="70" y="148"/>
                  <a:pt x="71" y="148"/>
                  <a:pt x="71" y="149"/>
                </a:cubicBezTo>
                <a:cubicBezTo>
                  <a:pt x="71" y="149"/>
                  <a:pt x="71" y="149"/>
                  <a:pt x="71" y="149"/>
                </a:cubicBezTo>
                <a:cubicBezTo>
                  <a:pt x="72" y="150"/>
                  <a:pt x="74" y="152"/>
                  <a:pt x="73" y="154"/>
                </a:cubicBezTo>
                <a:cubicBezTo>
                  <a:pt x="73" y="154"/>
                  <a:pt x="73" y="154"/>
                  <a:pt x="73" y="154"/>
                </a:cubicBezTo>
                <a:cubicBezTo>
                  <a:pt x="73" y="154"/>
                  <a:pt x="74" y="155"/>
                  <a:pt x="75" y="156"/>
                </a:cubicBezTo>
                <a:cubicBezTo>
                  <a:pt x="76" y="157"/>
                  <a:pt x="76" y="157"/>
                  <a:pt x="77" y="157"/>
                </a:cubicBezTo>
                <a:cubicBezTo>
                  <a:pt x="79" y="157"/>
                  <a:pt x="79" y="157"/>
                  <a:pt x="79" y="157"/>
                </a:cubicBezTo>
                <a:cubicBezTo>
                  <a:pt x="79" y="157"/>
                  <a:pt x="79" y="157"/>
                  <a:pt x="79" y="157"/>
                </a:cubicBezTo>
                <a:cubicBezTo>
                  <a:pt x="80" y="157"/>
                  <a:pt x="80" y="157"/>
                  <a:pt x="81" y="157"/>
                </a:cubicBezTo>
                <a:cubicBezTo>
                  <a:pt x="84" y="157"/>
                  <a:pt x="84" y="157"/>
                  <a:pt x="84" y="157"/>
                </a:cubicBezTo>
                <a:cubicBezTo>
                  <a:pt x="87" y="157"/>
                  <a:pt x="87" y="157"/>
                  <a:pt x="87" y="157"/>
                </a:cubicBezTo>
                <a:cubicBezTo>
                  <a:pt x="90" y="156"/>
                  <a:pt x="90" y="156"/>
                  <a:pt x="90" y="156"/>
                </a:cubicBezTo>
                <a:cubicBezTo>
                  <a:pt x="93" y="155"/>
                  <a:pt x="95" y="154"/>
                  <a:pt x="96" y="154"/>
                </a:cubicBezTo>
                <a:cubicBezTo>
                  <a:pt x="98" y="154"/>
                  <a:pt x="98" y="154"/>
                  <a:pt x="98" y="154"/>
                </a:cubicBezTo>
                <a:cubicBezTo>
                  <a:pt x="101" y="153"/>
                  <a:pt x="102" y="153"/>
                  <a:pt x="103" y="154"/>
                </a:cubicBezTo>
                <a:cubicBezTo>
                  <a:pt x="110" y="156"/>
                  <a:pt x="110" y="156"/>
                  <a:pt x="110" y="156"/>
                </a:cubicBezTo>
                <a:cubicBezTo>
                  <a:pt x="110" y="156"/>
                  <a:pt x="110" y="156"/>
                  <a:pt x="111" y="156"/>
                </a:cubicBezTo>
                <a:cubicBezTo>
                  <a:pt x="114" y="159"/>
                  <a:pt x="114" y="159"/>
                  <a:pt x="114" y="159"/>
                </a:cubicBezTo>
                <a:cubicBezTo>
                  <a:pt x="114" y="159"/>
                  <a:pt x="114" y="159"/>
                  <a:pt x="114" y="159"/>
                </a:cubicBezTo>
                <a:cubicBezTo>
                  <a:pt x="115" y="159"/>
                  <a:pt x="116" y="158"/>
                  <a:pt x="118" y="159"/>
                </a:cubicBezTo>
                <a:cubicBezTo>
                  <a:pt x="118" y="159"/>
                  <a:pt x="119" y="159"/>
                  <a:pt x="120" y="159"/>
                </a:cubicBezTo>
                <a:cubicBezTo>
                  <a:pt x="120" y="159"/>
                  <a:pt x="120" y="159"/>
                  <a:pt x="121" y="159"/>
                </a:cubicBezTo>
                <a:cubicBezTo>
                  <a:pt x="121" y="160"/>
                  <a:pt x="122" y="160"/>
                  <a:pt x="123" y="160"/>
                </a:cubicBezTo>
                <a:cubicBezTo>
                  <a:pt x="124" y="160"/>
                  <a:pt x="124" y="160"/>
                  <a:pt x="124" y="160"/>
                </a:cubicBezTo>
                <a:cubicBezTo>
                  <a:pt x="124" y="160"/>
                  <a:pt x="124" y="160"/>
                  <a:pt x="124" y="160"/>
                </a:cubicBezTo>
                <a:cubicBezTo>
                  <a:pt x="124" y="160"/>
                  <a:pt x="127" y="160"/>
                  <a:pt x="129" y="160"/>
                </a:cubicBezTo>
                <a:cubicBezTo>
                  <a:pt x="131" y="160"/>
                  <a:pt x="131" y="160"/>
                  <a:pt x="131" y="160"/>
                </a:cubicBezTo>
                <a:cubicBezTo>
                  <a:pt x="131" y="160"/>
                  <a:pt x="134" y="160"/>
                  <a:pt x="136" y="160"/>
                </a:cubicBezTo>
                <a:cubicBezTo>
                  <a:pt x="137" y="160"/>
                  <a:pt x="138" y="160"/>
                  <a:pt x="138" y="160"/>
                </a:cubicBezTo>
                <a:cubicBezTo>
                  <a:pt x="139" y="160"/>
                  <a:pt x="139" y="160"/>
                  <a:pt x="140" y="160"/>
                </a:cubicBezTo>
                <a:cubicBezTo>
                  <a:pt x="141" y="161"/>
                  <a:pt x="141" y="160"/>
                  <a:pt x="142" y="160"/>
                </a:cubicBezTo>
                <a:cubicBezTo>
                  <a:pt x="143" y="160"/>
                  <a:pt x="145" y="160"/>
                  <a:pt x="147" y="160"/>
                </a:cubicBezTo>
                <a:cubicBezTo>
                  <a:pt x="147" y="161"/>
                  <a:pt x="147" y="161"/>
                  <a:pt x="148" y="161"/>
                </a:cubicBezTo>
                <a:cubicBezTo>
                  <a:pt x="148" y="161"/>
                  <a:pt x="148" y="160"/>
                  <a:pt x="149" y="160"/>
                </a:cubicBezTo>
                <a:cubicBezTo>
                  <a:pt x="155" y="161"/>
                  <a:pt x="155" y="161"/>
                  <a:pt x="155" y="161"/>
                </a:cubicBezTo>
                <a:cubicBezTo>
                  <a:pt x="158" y="152"/>
                  <a:pt x="158" y="152"/>
                  <a:pt x="158" y="152"/>
                </a:cubicBezTo>
                <a:cubicBezTo>
                  <a:pt x="162" y="155"/>
                  <a:pt x="162" y="155"/>
                  <a:pt x="162" y="155"/>
                </a:cubicBezTo>
                <a:cubicBezTo>
                  <a:pt x="168" y="163"/>
                  <a:pt x="168" y="163"/>
                  <a:pt x="168" y="163"/>
                </a:cubicBezTo>
                <a:cubicBezTo>
                  <a:pt x="168" y="162"/>
                  <a:pt x="168" y="162"/>
                  <a:pt x="168" y="162"/>
                </a:cubicBezTo>
                <a:cubicBezTo>
                  <a:pt x="174" y="154"/>
                  <a:pt x="174" y="154"/>
                  <a:pt x="174" y="154"/>
                </a:cubicBezTo>
                <a:cubicBezTo>
                  <a:pt x="177" y="149"/>
                  <a:pt x="177" y="149"/>
                  <a:pt x="177" y="149"/>
                </a:cubicBezTo>
                <a:cubicBezTo>
                  <a:pt x="180" y="144"/>
                  <a:pt x="180" y="144"/>
                  <a:pt x="180" y="144"/>
                </a:cubicBezTo>
                <a:cubicBezTo>
                  <a:pt x="181" y="142"/>
                  <a:pt x="181" y="142"/>
                  <a:pt x="181" y="142"/>
                </a:cubicBezTo>
                <a:cubicBezTo>
                  <a:pt x="186" y="134"/>
                  <a:pt x="186" y="134"/>
                  <a:pt x="186" y="134"/>
                </a:cubicBezTo>
                <a:cubicBezTo>
                  <a:pt x="190" y="130"/>
                  <a:pt x="190" y="130"/>
                  <a:pt x="190" y="130"/>
                </a:cubicBezTo>
                <a:cubicBezTo>
                  <a:pt x="196" y="125"/>
                  <a:pt x="196" y="125"/>
                  <a:pt x="196" y="125"/>
                </a:cubicBezTo>
                <a:cubicBezTo>
                  <a:pt x="200" y="123"/>
                  <a:pt x="200" y="123"/>
                  <a:pt x="200" y="123"/>
                </a:cubicBezTo>
                <a:cubicBezTo>
                  <a:pt x="202" y="123"/>
                  <a:pt x="202" y="123"/>
                  <a:pt x="202" y="123"/>
                </a:cubicBezTo>
                <a:cubicBezTo>
                  <a:pt x="203" y="122"/>
                  <a:pt x="203" y="122"/>
                  <a:pt x="203" y="122"/>
                </a:cubicBezTo>
                <a:cubicBezTo>
                  <a:pt x="204" y="120"/>
                  <a:pt x="204" y="120"/>
                  <a:pt x="204" y="120"/>
                </a:cubicBezTo>
                <a:cubicBezTo>
                  <a:pt x="204" y="119"/>
                  <a:pt x="204" y="119"/>
                  <a:pt x="204" y="119"/>
                </a:cubicBezTo>
                <a:cubicBezTo>
                  <a:pt x="205" y="113"/>
                  <a:pt x="205" y="113"/>
                  <a:pt x="205" y="113"/>
                </a:cubicBezTo>
                <a:cubicBezTo>
                  <a:pt x="207" y="100"/>
                  <a:pt x="207" y="100"/>
                  <a:pt x="207" y="100"/>
                </a:cubicBezTo>
                <a:cubicBezTo>
                  <a:pt x="207" y="84"/>
                  <a:pt x="207" y="84"/>
                  <a:pt x="207" y="84"/>
                </a:cubicBezTo>
                <a:cubicBezTo>
                  <a:pt x="207" y="82"/>
                  <a:pt x="207" y="82"/>
                  <a:pt x="207" y="82"/>
                </a:cubicBezTo>
                <a:cubicBezTo>
                  <a:pt x="207" y="77"/>
                  <a:pt x="207" y="77"/>
                  <a:pt x="207" y="77"/>
                </a:cubicBezTo>
                <a:cubicBezTo>
                  <a:pt x="207" y="72"/>
                  <a:pt x="207" y="72"/>
                  <a:pt x="207" y="72"/>
                </a:cubicBezTo>
                <a:cubicBezTo>
                  <a:pt x="208" y="69"/>
                  <a:pt x="208" y="69"/>
                  <a:pt x="208" y="69"/>
                </a:cubicBezTo>
                <a:cubicBezTo>
                  <a:pt x="210" y="65"/>
                  <a:pt x="210" y="65"/>
                  <a:pt x="210" y="65"/>
                </a:cubicBezTo>
                <a:cubicBezTo>
                  <a:pt x="214" y="55"/>
                  <a:pt x="214" y="55"/>
                  <a:pt x="214" y="55"/>
                </a:cubicBezTo>
                <a:cubicBezTo>
                  <a:pt x="219" y="43"/>
                  <a:pt x="219" y="43"/>
                  <a:pt x="219" y="43"/>
                </a:cubicBezTo>
                <a:cubicBezTo>
                  <a:pt x="219" y="40"/>
                  <a:pt x="219" y="40"/>
                  <a:pt x="219" y="40"/>
                </a:cubicBezTo>
                <a:cubicBezTo>
                  <a:pt x="223" y="17"/>
                  <a:pt x="223" y="17"/>
                  <a:pt x="223" y="17"/>
                </a:cubicBezTo>
                <a:lnTo>
                  <a:pt x="22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Freeform 30">
            <a:extLst>
              <a:ext uri="{FF2B5EF4-FFF2-40B4-BE49-F238E27FC236}">
                <a16:creationId xmlns:a16="http://schemas.microsoft.com/office/drawing/2014/main" id="{6093ABEE-D82A-4044-B09A-D16EF1B02B48}"/>
              </a:ext>
            </a:extLst>
          </p:cNvPr>
          <p:cNvSpPr>
            <a:spLocks noEditPoints="1"/>
          </p:cNvSpPr>
          <p:nvPr/>
        </p:nvSpPr>
        <p:spPr bwMode="auto">
          <a:xfrm>
            <a:off x="4281766" y="2737969"/>
            <a:ext cx="135864" cy="277813"/>
          </a:xfrm>
          <a:custGeom>
            <a:avLst/>
            <a:gdLst>
              <a:gd name="T0" fmla="*/ 63 w 79"/>
              <a:gd name="T1" fmla="*/ 130 h 175"/>
              <a:gd name="T2" fmla="*/ 51 w 79"/>
              <a:gd name="T3" fmla="*/ 90 h 175"/>
              <a:gd name="T4" fmla="*/ 49 w 79"/>
              <a:gd name="T5" fmla="*/ 87 h 175"/>
              <a:gd name="T6" fmla="*/ 49 w 79"/>
              <a:gd name="T7" fmla="*/ 86 h 175"/>
              <a:gd name="T8" fmla="*/ 47 w 79"/>
              <a:gd name="T9" fmla="*/ 83 h 175"/>
              <a:gd name="T10" fmla="*/ 41 w 79"/>
              <a:gd name="T11" fmla="*/ 78 h 175"/>
              <a:gd name="T12" fmla="*/ 35 w 79"/>
              <a:gd name="T13" fmla="*/ 75 h 175"/>
              <a:gd name="T14" fmla="*/ 32 w 79"/>
              <a:gd name="T15" fmla="*/ 73 h 175"/>
              <a:gd name="T16" fmla="*/ 31 w 79"/>
              <a:gd name="T17" fmla="*/ 72 h 175"/>
              <a:gd name="T18" fmla="*/ 28 w 79"/>
              <a:gd name="T19" fmla="*/ 72 h 175"/>
              <a:gd name="T20" fmla="*/ 21 w 79"/>
              <a:gd name="T21" fmla="*/ 72 h 175"/>
              <a:gd name="T22" fmla="*/ 17 w 79"/>
              <a:gd name="T23" fmla="*/ 76 h 175"/>
              <a:gd name="T24" fmla="*/ 14 w 79"/>
              <a:gd name="T25" fmla="*/ 78 h 175"/>
              <a:gd name="T26" fmla="*/ 6 w 79"/>
              <a:gd name="T27" fmla="*/ 87 h 175"/>
              <a:gd name="T28" fmla="*/ 4 w 79"/>
              <a:gd name="T29" fmla="*/ 89 h 175"/>
              <a:gd name="T30" fmla="*/ 2 w 79"/>
              <a:gd name="T31" fmla="*/ 103 h 175"/>
              <a:gd name="T32" fmla="*/ 0 w 79"/>
              <a:gd name="T33" fmla="*/ 107 h 175"/>
              <a:gd name="T34" fmla="*/ 0 w 79"/>
              <a:gd name="T35" fmla="*/ 113 h 175"/>
              <a:gd name="T36" fmla="*/ 9 w 79"/>
              <a:gd name="T37" fmla="*/ 146 h 175"/>
              <a:gd name="T38" fmla="*/ 9 w 79"/>
              <a:gd name="T39" fmla="*/ 148 h 175"/>
              <a:gd name="T40" fmla="*/ 11 w 79"/>
              <a:gd name="T41" fmla="*/ 158 h 175"/>
              <a:gd name="T42" fmla="*/ 13 w 79"/>
              <a:gd name="T43" fmla="*/ 158 h 175"/>
              <a:gd name="T44" fmla="*/ 24 w 79"/>
              <a:gd name="T45" fmla="*/ 168 h 175"/>
              <a:gd name="T46" fmla="*/ 34 w 79"/>
              <a:gd name="T47" fmla="*/ 173 h 175"/>
              <a:gd name="T48" fmla="*/ 37 w 79"/>
              <a:gd name="T49" fmla="*/ 175 h 175"/>
              <a:gd name="T50" fmla="*/ 47 w 79"/>
              <a:gd name="T51" fmla="*/ 175 h 175"/>
              <a:gd name="T52" fmla="*/ 61 w 79"/>
              <a:gd name="T53" fmla="*/ 170 h 175"/>
              <a:gd name="T54" fmla="*/ 62 w 79"/>
              <a:gd name="T55" fmla="*/ 170 h 175"/>
              <a:gd name="T56" fmla="*/ 65 w 79"/>
              <a:gd name="T57" fmla="*/ 165 h 175"/>
              <a:gd name="T58" fmla="*/ 66 w 79"/>
              <a:gd name="T59" fmla="*/ 163 h 175"/>
              <a:gd name="T60" fmla="*/ 66 w 79"/>
              <a:gd name="T61" fmla="*/ 162 h 175"/>
              <a:gd name="T62" fmla="*/ 63 w 79"/>
              <a:gd name="T63" fmla="*/ 131 h 175"/>
              <a:gd name="T64" fmla="*/ 63 w 79"/>
              <a:gd name="T65" fmla="*/ 130 h 175"/>
              <a:gd name="T66" fmla="*/ 63 w 79"/>
              <a:gd name="T67" fmla="*/ 130 h 175"/>
              <a:gd name="T68" fmla="*/ 77 w 79"/>
              <a:gd name="T69" fmla="*/ 40 h 175"/>
              <a:gd name="T70" fmla="*/ 76 w 79"/>
              <a:gd name="T71" fmla="*/ 38 h 175"/>
              <a:gd name="T72" fmla="*/ 73 w 79"/>
              <a:gd name="T73" fmla="*/ 30 h 175"/>
              <a:gd name="T74" fmla="*/ 65 w 79"/>
              <a:gd name="T75" fmla="*/ 17 h 175"/>
              <a:gd name="T76" fmla="*/ 62 w 79"/>
              <a:gd name="T77" fmla="*/ 13 h 175"/>
              <a:gd name="T78" fmla="*/ 48 w 79"/>
              <a:gd name="T79" fmla="*/ 2 h 175"/>
              <a:gd name="T80" fmla="*/ 45 w 79"/>
              <a:gd name="T81" fmla="*/ 0 h 175"/>
              <a:gd name="T82" fmla="*/ 45 w 79"/>
              <a:gd name="T83" fmla="*/ 0 h 175"/>
              <a:gd name="T84" fmla="*/ 40 w 79"/>
              <a:gd name="T85" fmla="*/ 7 h 175"/>
              <a:gd name="T86" fmla="*/ 40 w 79"/>
              <a:gd name="T87" fmla="*/ 10 h 175"/>
              <a:gd name="T88" fmla="*/ 41 w 79"/>
              <a:gd name="T89" fmla="*/ 17 h 175"/>
              <a:gd name="T90" fmla="*/ 56 w 79"/>
              <a:gd name="T91" fmla="*/ 50 h 175"/>
              <a:gd name="T92" fmla="*/ 58 w 79"/>
              <a:gd name="T93" fmla="*/ 51 h 175"/>
              <a:gd name="T94" fmla="*/ 72 w 79"/>
              <a:gd name="T95" fmla="*/ 68 h 175"/>
              <a:gd name="T96" fmla="*/ 75 w 79"/>
              <a:gd name="T97" fmla="*/ 69 h 175"/>
              <a:gd name="T98" fmla="*/ 75 w 79"/>
              <a:gd name="T99" fmla="*/ 71 h 175"/>
              <a:gd name="T100" fmla="*/ 76 w 79"/>
              <a:gd name="T101" fmla="*/ 71 h 175"/>
              <a:gd name="T102" fmla="*/ 77 w 79"/>
              <a:gd name="T103" fmla="*/ 71 h 175"/>
              <a:gd name="T104" fmla="*/ 79 w 79"/>
              <a:gd name="T105" fmla="*/ 68 h 175"/>
              <a:gd name="T106" fmla="*/ 79 w 79"/>
              <a:gd name="T107" fmla="*/ 51 h 175"/>
              <a:gd name="T108" fmla="*/ 77 w 79"/>
              <a:gd name="T109" fmla="*/ 40 h 175"/>
              <a:gd name="T110" fmla="*/ 77 w 79"/>
              <a:gd name="T111" fmla="*/ 40 h 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79" h="175">
                <a:moveTo>
                  <a:pt x="63" y="130"/>
                </a:moveTo>
                <a:lnTo>
                  <a:pt x="51" y="90"/>
                </a:lnTo>
                <a:lnTo>
                  <a:pt x="49" y="87"/>
                </a:lnTo>
                <a:lnTo>
                  <a:pt x="49" y="86"/>
                </a:lnTo>
                <a:lnTo>
                  <a:pt x="47" y="83"/>
                </a:lnTo>
                <a:lnTo>
                  <a:pt x="41" y="78"/>
                </a:lnTo>
                <a:lnTo>
                  <a:pt x="35" y="75"/>
                </a:lnTo>
                <a:lnTo>
                  <a:pt x="32" y="73"/>
                </a:lnTo>
                <a:lnTo>
                  <a:pt x="31" y="72"/>
                </a:lnTo>
                <a:lnTo>
                  <a:pt x="28" y="72"/>
                </a:lnTo>
                <a:lnTo>
                  <a:pt x="21" y="72"/>
                </a:lnTo>
                <a:lnTo>
                  <a:pt x="17" y="76"/>
                </a:lnTo>
                <a:lnTo>
                  <a:pt x="14" y="78"/>
                </a:lnTo>
                <a:lnTo>
                  <a:pt x="6" y="87"/>
                </a:lnTo>
                <a:lnTo>
                  <a:pt x="4" y="89"/>
                </a:lnTo>
                <a:lnTo>
                  <a:pt x="2" y="103"/>
                </a:lnTo>
                <a:lnTo>
                  <a:pt x="0" y="107"/>
                </a:lnTo>
                <a:lnTo>
                  <a:pt x="0" y="113"/>
                </a:lnTo>
                <a:lnTo>
                  <a:pt x="9" y="146"/>
                </a:lnTo>
                <a:lnTo>
                  <a:pt x="9" y="148"/>
                </a:lnTo>
                <a:lnTo>
                  <a:pt x="11" y="158"/>
                </a:lnTo>
                <a:lnTo>
                  <a:pt x="13" y="158"/>
                </a:lnTo>
                <a:lnTo>
                  <a:pt x="24" y="168"/>
                </a:lnTo>
                <a:lnTo>
                  <a:pt x="34" y="173"/>
                </a:lnTo>
                <a:lnTo>
                  <a:pt x="37" y="175"/>
                </a:lnTo>
                <a:lnTo>
                  <a:pt x="47" y="175"/>
                </a:lnTo>
                <a:lnTo>
                  <a:pt x="61" y="170"/>
                </a:lnTo>
                <a:lnTo>
                  <a:pt x="62" y="170"/>
                </a:lnTo>
                <a:lnTo>
                  <a:pt x="65" y="165"/>
                </a:lnTo>
                <a:lnTo>
                  <a:pt x="66" y="163"/>
                </a:lnTo>
                <a:lnTo>
                  <a:pt x="66" y="162"/>
                </a:lnTo>
                <a:lnTo>
                  <a:pt x="63" y="131"/>
                </a:lnTo>
                <a:lnTo>
                  <a:pt x="63" y="130"/>
                </a:lnTo>
                <a:lnTo>
                  <a:pt x="63" y="130"/>
                </a:lnTo>
                <a:close/>
                <a:moveTo>
                  <a:pt x="77" y="40"/>
                </a:moveTo>
                <a:lnTo>
                  <a:pt x="76" y="38"/>
                </a:lnTo>
                <a:lnTo>
                  <a:pt x="73" y="30"/>
                </a:lnTo>
                <a:lnTo>
                  <a:pt x="65" y="17"/>
                </a:lnTo>
                <a:lnTo>
                  <a:pt x="62" y="13"/>
                </a:lnTo>
                <a:lnTo>
                  <a:pt x="48" y="2"/>
                </a:lnTo>
                <a:lnTo>
                  <a:pt x="45" y="0"/>
                </a:lnTo>
                <a:lnTo>
                  <a:pt x="45" y="0"/>
                </a:lnTo>
                <a:lnTo>
                  <a:pt x="40" y="7"/>
                </a:lnTo>
                <a:lnTo>
                  <a:pt x="40" y="10"/>
                </a:lnTo>
                <a:lnTo>
                  <a:pt x="41" y="17"/>
                </a:lnTo>
                <a:lnTo>
                  <a:pt x="56" y="50"/>
                </a:lnTo>
                <a:lnTo>
                  <a:pt x="58" y="51"/>
                </a:lnTo>
                <a:lnTo>
                  <a:pt x="72" y="68"/>
                </a:lnTo>
                <a:lnTo>
                  <a:pt x="75" y="69"/>
                </a:lnTo>
                <a:lnTo>
                  <a:pt x="75" y="71"/>
                </a:lnTo>
                <a:lnTo>
                  <a:pt x="76" y="71"/>
                </a:lnTo>
                <a:lnTo>
                  <a:pt x="77" y="71"/>
                </a:lnTo>
                <a:lnTo>
                  <a:pt x="79" y="68"/>
                </a:lnTo>
                <a:lnTo>
                  <a:pt x="79" y="51"/>
                </a:lnTo>
                <a:lnTo>
                  <a:pt x="77" y="40"/>
                </a:lnTo>
                <a:lnTo>
                  <a:pt x="77" y="4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Freeform 31">
            <a:extLst>
              <a:ext uri="{FF2B5EF4-FFF2-40B4-BE49-F238E27FC236}">
                <a16:creationId xmlns:a16="http://schemas.microsoft.com/office/drawing/2014/main" id="{DD15915F-3EF2-4243-B78B-6FC31CFFEB8C}"/>
              </a:ext>
            </a:extLst>
          </p:cNvPr>
          <p:cNvSpPr>
            <a:spLocks/>
          </p:cNvSpPr>
          <p:nvPr/>
        </p:nvSpPr>
        <p:spPr bwMode="auto">
          <a:xfrm>
            <a:off x="4656680" y="2749079"/>
            <a:ext cx="340519" cy="355600"/>
          </a:xfrm>
          <a:custGeom>
            <a:avLst/>
            <a:gdLst>
              <a:gd name="T0" fmla="*/ 126 w 141"/>
              <a:gd name="T1" fmla="*/ 76 h 159"/>
              <a:gd name="T2" fmla="*/ 130 w 141"/>
              <a:gd name="T3" fmla="*/ 73 h 159"/>
              <a:gd name="T4" fmla="*/ 134 w 141"/>
              <a:gd name="T5" fmla="*/ 64 h 159"/>
              <a:gd name="T6" fmla="*/ 140 w 141"/>
              <a:gd name="T7" fmla="*/ 58 h 159"/>
              <a:gd name="T8" fmla="*/ 139 w 141"/>
              <a:gd name="T9" fmla="*/ 49 h 159"/>
              <a:gd name="T10" fmla="*/ 139 w 141"/>
              <a:gd name="T11" fmla="*/ 35 h 159"/>
              <a:gd name="T12" fmla="*/ 129 w 141"/>
              <a:gd name="T13" fmla="*/ 34 h 159"/>
              <a:gd name="T14" fmla="*/ 119 w 141"/>
              <a:gd name="T15" fmla="*/ 31 h 159"/>
              <a:gd name="T16" fmla="*/ 112 w 141"/>
              <a:gd name="T17" fmla="*/ 30 h 159"/>
              <a:gd name="T18" fmla="*/ 101 w 141"/>
              <a:gd name="T19" fmla="*/ 28 h 159"/>
              <a:gd name="T20" fmla="*/ 92 w 141"/>
              <a:gd name="T21" fmla="*/ 30 h 159"/>
              <a:gd name="T22" fmla="*/ 84 w 141"/>
              <a:gd name="T23" fmla="*/ 28 h 159"/>
              <a:gd name="T24" fmla="*/ 84 w 141"/>
              <a:gd name="T25" fmla="*/ 19 h 159"/>
              <a:gd name="T26" fmla="*/ 87 w 141"/>
              <a:gd name="T27" fmla="*/ 11 h 159"/>
              <a:gd name="T28" fmla="*/ 84 w 141"/>
              <a:gd name="T29" fmla="*/ 8 h 159"/>
              <a:gd name="T30" fmla="*/ 74 w 141"/>
              <a:gd name="T31" fmla="*/ 5 h 159"/>
              <a:gd name="T32" fmla="*/ 71 w 141"/>
              <a:gd name="T33" fmla="*/ 1 h 159"/>
              <a:gd name="T34" fmla="*/ 65 w 141"/>
              <a:gd name="T35" fmla="*/ 3 h 159"/>
              <a:gd name="T36" fmla="*/ 38 w 141"/>
              <a:gd name="T37" fmla="*/ 5 h 159"/>
              <a:gd name="T38" fmla="*/ 25 w 141"/>
              <a:gd name="T39" fmla="*/ 5 h 159"/>
              <a:gd name="T40" fmla="*/ 15 w 141"/>
              <a:gd name="T41" fmla="*/ 1 h 159"/>
              <a:gd name="T42" fmla="*/ 8 w 141"/>
              <a:gd name="T43" fmla="*/ 7 h 159"/>
              <a:gd name="T44" fmla="*/ 0 w 141"/>
              <a:gd name="T45" fmla="*/ 10 h 159"/>
              <a:gd name="T46" fmla="*/ 5 w 141"/>
              <a:gd name="T47" fmla="*/ 14 h 159"/>
              <a:gd name="T48" fmla="*/ 15 w 141"/>
              <a:gd name="T49" fmla="*/ 21 h 159"/>
              <a:gd name="T50" fmla="*/ 14 w 141"/>
              <a:gd name="T51" fmla="*/ 34 h 159"/>
              <a:gd name="T52" fmla="*/ 16 w 141"/>
              <a:gd name="T53" fmla="*/ 38 h 159"/>
              <a:gd name="T54" fmla="*/ 18 w 141"/>
              <a:gd name="T55" fmla="*/ 45 h 159"/>
              <a:gd name="T56" fmla="*/ 18 w 141"/>
              <a:gd name="T57" fmla="*/ 57 h 159"/>
              <a:gd name="T58" fmla="*/ 8 w 141"/>
              <a:gd name="T59" fmla="*/ 59 h 159"/>
              <a:gd name="T60" fmla="*/ 15 w 141"/>
              <a:gd name="T61" fmla="*/ 62 h 159"/>
              <a:gd name="T62" fmla="*/ 22 w 141"/>
              <a:gd name="T63" fmla="*/ 69 h 159"/>
              <a:gd name="T64" fmla="*/ 24 w 141"/>
              <a:gd name="T65" fmla="*/ 74 h 159"/>
              <a:gd name="T66" fmla="*/ 26 w 141"/>
              <a:gd name="T67" fmla="*/ 82 h 159"/>
              <a:gd name="T68" fmla="*/ 18 w 141"/>
              <a:gd name="T69" fmla="*/ 89 h 159"/>
              <a:gd name="T70" fmla="*/ 34 w 141"/>
              <a:gd name="T71" fmla="*/ 90 h 159"/>
              <a:gd name="T72" fmla="*/ 40 w 141"/>
              <a:gd name="T73" fmla="*/ 86 h 159"/>
              <a:gd name="T74" fmla="*/ 54 w 141"/>
              <a:gd name="T75" fmla="*/ 85 h 159"/>
              <a:gd name="T76" fmla="*/ 57 w 141"/>
              <a:gd name="T77" fmla="*/ 90 h 159"/>
              <a:gd name="T78" fmla="*/ 62 w 141"/>
              <a:gd name="T79" fmla="*/ 95 h 159"/>
              <a:gd name="T80" fmla="*/ 52 w 141"/>
              <a:gd name="T81" fmla="*/ 104 h 159"/>
              <a:gd name="T82" fmla="*/ 50 w 141"/>
              <a:gd name="T83" fmla="*/ 108 h 159"/>
              <a:gd name="T84" fmla="*/ 52 w 141"/>
              <a:gd name="T85" fmla="*/ 114 h 159"/>
              <a:gd name="T86" fmla="*/ 64 w 141"/>
              <a:gd name="T87" fmla="*/ 114 h 159"/>
              <a:gd name="T88" fmla="*/ 72 w 141"/>
              <a:gd name="T89" fmla="*/ 115 h 159"/>
              <a:gd name="T90" fmla="*/ 79 w 141"/>
              <a:gd name="T91" fmla="*/ 120 h 159"/>
              <a:gd name="T92" fmla="*/ 87 w 141"/>
              <a:gd name="T93" fmla="*/ 129 h 159"/>
              <a:gd name="T94" fmla="*/ 93 w 141"/>
              <a:gd name="T95" fmla="*/ 140 h 159"/>
              <a:gd name="T96" fmla="*/ 98 w 141"/>
              <a:gd name="T97" fmla="*/ 143 h 159"/>
              <a:gd name="T98" fmla="*/ 102 w 141"/>
              <a:gd name="T99" fmla="*/ 156 h 159"/>
              <a:gd name="T100" fmla="*/ 108 w 141"/>
              <a:gd name="T101" fmla="*/ 159 h 159"/>
              <a:gd name="T102" fmla="*/ 114 w 141"/>
              <a:gd name="T103" fmla="*/ 148 h 159"/>
              <a:gd name="T104" fmla="*/ 118 w 141"/>
              <a:gd name="T105" fmla="*/ 136 h 159"/>
              <a:gd name="T106" fmla="*/ 124 w 141"/>
              <a:gd name="T107" fmla="*/ 133 h 159"/>
              <a:gd name="T108" fmla="*/ 124 w 141"/>
              <a:gd name="T109" fmla="*/ 121 h 159"/>
              <a:gd name="T110" fmla="*/ 124 w 141"/>
              <a:gd name="T111" fmla="*/ 117 h 159"/>
              <a:gd name="T112" fmla="*/ 125 w 141"/>
              <a:gd name="T113" fmla="*/ 108 h 159"/>
              <a:gd name="T114" fmla="*/ 126 w 141"/>
              <a:gd name="T115" fmla="*/ 91 h 159"/>
              <a:gd name="T116" fmla="*/ 124 w 141"/>
              <a:gd name="T117" fmla="*/ 78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41" h="159">
                <a:moveTo>
                  <a:pt x="124" y="78"/>
                </a:moveTo>
                <a:cubicBezTo>
                  <a:pt x="124" y="78"/>
                  <a:pt x="124" y="78"/>
                  <a:pt x="124" y="78"/>
                </a:cubicBezTo>
                <a:cubicBezTo>
                  <a:pt x="123" y="77"/>
                  <a:pt x="124" y="76"/>
                  <a:pt x="125" y="76"/>
                </a:cubicBezTo>
                <a:cubicBezTo>
                  <a:pt x="126" y="76"/>
                  <a:pt x="126" y="76"/>
                  <a:pt x="126" y="76"/>
                </a:cubicBezTo>
                <a:cubicBezTo>
                  <a:pt x="128" y="75"/>
                  <a:pt x="128" y="75"/>
                  <a:pt x="128" y="75"/>
                </a:cubicBezTo>
                <a:cubicBezTo>
                  <a:pt x="129" y="74"/>
                  <a:pt x="129" y="74"/>
                  <a:pt x="129" y="74"/>
                </a:cubicBezTo>
                <a:cubicBezTo>
                  <a:pt x="130" y="74"/>
                  <a:pt x="130" y="74"/>
                  <a:pt x="130" y="74"/>
                </a:cubicBezTo>
                <a:cubicBezTo>
                  <a:pt x="130" y="73"/>
                  <a:pt x="130" y="73"/>
                  <a:pt x="130" y="73"/>
                </a:cubicBezTo>
                <a:cubicBezTo>
                  <a:pt x="131" y="72"/>
                  <a:pt x="131" y="72"/>
                  <a:pt x="131" y="72"/>
                </a:cubicBezTo>
                <a:cubicBezTo>
                  <a:pt x="131" y="72"/>
                  <a:pt x="131" y="72"/>
                  <a:pt x="131" y="71"/>
                </a:cubicBezTo>
                <a:cubicBezTo>
                  <a:pt x="132" y="66"/>
                  <a:pt x="132" y="66"/>
                  <a:pt x="132" y="66"/>
                </a:cubicBezTo>
                <a:cubicBezTo>
                  <a:pt x="133" y="65"/>
                  <a:pt x="133" y="64"/>
                  <a:pt x="134" y="64"/>
                </a:cubicBezTo>
                <a:cubicBezTo>
                  <a:pt x="135" y="64"/>
                  <a:pt x="135" y="64"/>
                  <a:pt x="135" y="64"/>
                </a:cubicBezTo>
                <a:cubicBezTo>
                  <a:pt x="135" y="64"/>
                  <a:pt x="135" y="64"/>
                  <a:pt x="135" y="63"/>
                </a:cubicBezTo>
                <a:cubicBezTo>
                  <a:pt x="136" y="62"/>
                  <a:pt x="137" y="62"/>
                  <a:pt x="137" y="61"/>
                </a:cubicBezTo>
                <a:cubicBezTo>
                  <a:pt x="137" y="60"/>
                  <a:pt x="138" y="59"/>
                  <a:pt x="140" y="58"/>
                </a:cubicBezTo>
                <a:cubicBezTo>
                  <a:pt x="141" y="58"/>
                  <a:pt x="141" y="58"/>
                  <a:pt x="141" y="58"/>
                </a:cubicBezTo>
                <a:cubicBezTo>
                  <a:pt x="141" y="52"/>
                  <a:pt x="141" y="52"/>
                  <a:pt x="141" y="52"/>
                </a:cubicBezTo>
                <a:cubicBezTo>
                  <a:pt x="139" y="51"/>
                  <a:pt x="139" y="51"/>
                  <a:pt x="139" y="51"/>
                </a:cubicBezTo>
                <a:cubicBezTo>
                  <a:pt x="139" y="50"/>
                  <a:pt x="139" y="50"/>
                  <a:pt x="139" y="49"/>
                </a:cubicBezTo>
                <a:cubicBezTo>
                  <a:pt x="139" y="45"/>
                  <a:pt x="139" y="45"/>
                  <a:pt x="139" y="45"/>
                </a:cubicBezTo>
                <a:cubicBezTo>
                  <a:pt x="138" y="44"/>
                  <a:pt x="138" y="44"/>
                  <a:pt x="137" y="44"/>
                </a:cubicBezTo>
                <a:cubicBezTo>
                  <a:pt x="137" y="43"/>
                  <a:pt x="137" y="42"/>
                  <a:pt x="137" y="41"/>
                </a:cubicBezTo>
                <a:cubicBezTo>
                  <a:pt x="137" y="40"/>
                  <a:pt x="138" y="36"/>
                  <a:pt x="139" y="35"/>
                </a:cubicBezTo>
                <a:cubicBezTo>
                  <a:pt x="137" y="34"/>
                  <a:pt x="137" y="34"/>
                  <a:pt x="137" y="34"/>
                </a:cubicBezTo>
                <a:cubicBezTo>
                  <a:pt x="137" y="34"/>
                  <a:pt x="136" y="34"/>
                  <a:pt x="136" y="33"/>
                </a:cubicBezTo>
                <a:cubicBezTo>
                  <a:pt x="134" y="34"/>
                  <a:pt x="132" y="34"/>
                  <a:pt x="130" y="34"/>
                </a:cubicBezTo>
                <a:cubicBezTo>
                  <a:pt x="129" y="34"/>
                  <a:pt x="129" y="34"/>
                  <a:pt x="129" y="34"/>
                </a:cubicBezTo>
                <a:cubicBezTo>
                  <a:pt x="127" y="34"/>
                  <a:pt x="126" y="34"/>
                  <a:pt x="125" y="34"/>
                </a:cubicBezTo>
                <a:cubicBezTo>
                  <a:pt x="124" y="33"/>
                  <a:pt x="123" y="33"/>
                  <a:pt x="122" y="32"/>
                </a:cubicBezTo>
                <a:cubicBezTo>
                  <a:pt x="120" y="31"/>
                  <a:pt x="119" y="31"/>
                  <a:pt x="119" y="31"/>
                </a:cubicBezTo>
                <a:cubicBezTo>
                  <a:pt x="119" y="31"/>
                  <a:pt x="119" y="31"/>
                  <a:pt x="119" y="31"/>
                </a:cubicBezTo>
                <a:cubicBezTo>
                  <a:pt x="119" y="32"/>
                  <a:pt x="119" y="32"/>
                  <a:pt x="118" y="32"/>
                </a:cubicBezTo>
                <a:cubicBezTo>
                  <a:pt x="118" y="32"/>
                  <a:pt x="117" y="32"/>
                  <a:pt x="116" y="32"/>
                </a:cubicBezTo>
                <a:cubicBezTo>
                  <a:pt x="113" y="30"/>
                  <a:pt x="113" y="30"/>
                  <a:pt x="113" y="30"/>
                </a:cubicBezTo>
                <a:cubicBezTo>
                  <a:pt x="112" y="30"/>
                  <a:pt x="112" y="30"/>
                  <a:pt x="112" y="30"/>
                </a:cubicBezTo>
                <a:cubicBezTo>
                  <a:pt x="111" y="30"/>
                  <a:pt x="111" y="30"/>
                  <a:pt x="111" y="30"/>
                </a:cubicBezTo>
                <a:cubicBezTo>
                  <a:pt x="110" y="29"/>
                  <a:pt x="109" y="28"/>
                  <a:pt x="108" y="28"/>
                </a:cubicBezTo>
                <a:cubicBezTo>
                  <a:pt x="107" y="28"/>
                  <a:pt x="105" y="28"/>
                  <a:pt x="105" y="28"/>
                </a:cubicBezTo>
                <a:cubicBezTo>
                  <a:pt x="104" y="28"/>
                  <a:pt x="102" y="28"/>
                  <a:pt x="101" y="28"/>
                </a:cubicBezTo>
                <a:cubicBezTo>
                  <a:pt x="100" y="29"/>
                  <a:pt x="100" y="29"/>
                  <a:pt x="100" y="29"/>
                </a:cubicBezTo>
                <a:cubicBezTo>
                  <a:pt x="100" y="30"/>
                  <a:pt x="99" y="30"/>
                  <a:pt x="99" y="30"/>
                </a:cubicBezTo>
                <a:cubicBezTo>
                  <a:pt x="98" y="30"/>
                  <a:pt x="94" y="31"/>
                  <a:pt x="92" y="30"/>
                </a:cubicBezTo>
                <a:cubicBezTo>
                  <a:pt x="92" y="30"/>
                  <a:pt x="92" y="30"/>
                  <a:pt x="92" y="30"/>
                </a:cubicBezTo>
                <a:cubicBezTo>
                  <a:pt x="92" y="31"/>
                  <a:pt x="91" y="32"/>
                  <a:pt x="89" y="32"/>
                </a:cubicBezTo>
                <a:cubicBezTo>
                  <a:pt x="88" y="32"/>
                  <a:pt x="86" y="33"/>
                  <a:pt x="86" y="31"/>
                </a:cubicBezTo>
                <a:cubicBezTo>
                  <a:pt x="85" y="31"/>
                  <a:pt x="85" y="31"/>
                  <a:pt x="85" y="31"/>
                </a:cubicBezTo>
                <a:cubicBezTo>
                  <a:pt x="84" y="28"/>
                  <a:pt x="84" y="28"/>
                  <a:pt x="84" y="28"/>
                </a:cubicBezTo>
                <a:cubicBezTo>
                  <a:pt x="84" y="28"/>
                  <a:pt x="84" y="28"/>
                  <a:pt x="84" y="27"/>
                </a:cubicBezTo>
                <a:cubicBezTo>
                  <a:pt x="84" y="23"/>
                  <a:pt x="84" y="23"/>
                  <a:pt x="84" y="23"/>
                </a:cubicBezTo>
                <a:cubicBezTo>
                  <a:pt x="84" y="22"/>
                  <a:pt x="84" y="22"/>
                  <a:pt x="84" y="21"/>
                </a:cubicBezTo>
                <a:cubicBezTo>
                  <a:pt x="84" y="21"/>
                  <a:pt x="84" y="20"/>
                  <a:pt x="84" y="19"/>
                </a:cubicBezTo>
                <a:cubicBezTo>
                  <a:pt x="84" y="16"/>
                  <a:pt x="84" y="16"/>
                  <a:pt x="84" y="16"/>
                </a:cubicBezTo>
                <a:cubicBezTo>
                  <a:pt x="84" y="15"/>
                  <a:pt x="85" y="15"/>
                  <a:pt x="85" y="14"/>
                </a:cubicBezTo>
                <a:cubicBezTo>
                  <a:pt x="87" y="13"/>
                  <a:pt x="87" y="13"/>
                  <a:pt x="87" y="13"/>
                </a:cubicBezTo>
                <a:cubicBezTo>
                  <a:pt x="87" y="11"/>
                  <a:pt x="87" y="11"/>
                  <a:pt x="87" y="11"/>
                </a:cubicBezTo>
                <a:cubicBezTo>
                  <a:pt x="87" y="11"/>
                  <a:pt x="87" y="10"/>
                  <a:pt x="88" y="10"/>
                </a:cubicBezTo>
                <a:cubicBezTo>
                  <a:pt x="88" y="9"/>
                  <a:pt x="87" y="9"/>
                  <a:pt x="87" y="9"/>
                </a:cubicBezTo>
                <a:cubicBezTo>
                  <a:pt x="86" y="9"/>
                  <a:pt x="85" y="9"/>
                  <a:pt x="84" y="8"/>
                </a:cubicBezTo>
                <a:cubicBezTo>
                  <a:pt x="84" y="8"/>
                  <a:pt x="84" y="8"/>
                  <a:pt x="84" y="8"/>
                </a:cubicBezTo>
                <a:cubicBezTo>
                  <a:pt x="84" y="9"/>
                  <a:pt x="83" y="9"/>
                  <a:pt x="82" y="8"/>
                </a:cubicBezTo>
                <a:cubicBezTo>
                  <a:pt x="78" y="6"/>
                  <a:pt x="78" y="6"/>
                  <a:pt x="78" y="6"/>
                </a:cubicBezTo>
                <a:cubicBezTo>
                  <a:pt x="76" y="6"/>
                  <a:pt x="76" y="6"/>
                  <a:pt x="76" y="6"/>
                </a:cubicBezTo>
                <a:cubicBezTo>
                  <a:pt x="75" y="6"/>
                  <a:pt x="74" y="6"/>
                  <a:pt x="74" y="5"/>
                </a:cubicBezTo>
                <a:cubicBezTo>
                  <a:pt x="74" y="4"/>
                  <a:pt x="74" y="4"/>
                  <a:pt x="74" y="3"/>
                </a:cubicBezTo>
                <a:cubicBezTo>
                  <a:pt x="75" y="3"/>
                  <a:pt x="75" y="3"/>
                  <a:pt x="75" y="3"/>
                </a:cubicBezTo>
                <a:cubicBezTo>
                  <a:pt x="73" y="3"/>
                  <a:pt x="73" y="3"/>
                  <a:pt x="73" y="3"/>
                </a:cubicBezTo>
                <a:cubicBezTo>
                  <a:pt x="72" y="3"/>
                  <a:pt x="71" y="2"/>
                  <a:pt x="71" y="1"/>
                </a:cubicBezTo>
                <a:cubicBezTo>
                  <a:pt x="71" y="1"/>
                  <a:pt x="70" y="1"/>
                  <a:pt x="70" y="0"/>
                </a:cubicBezTo>
                <a:cubicBezTo>
                  <a:pt x="69" y="2"/>
                  <a:pt x="69" y="2"/>
                  <a:pt x="69" y="2"/>
                </a:cubicBezTo>
                <a:cubicBezTo>
                  <a:pt x="69" y="2"/>
                  <a:pt x="67" y="3"/>
                  <a:pt x="66" y="3"/>
                </a:cubicBezTo>
                <a:cubicBezTo>
                  <a:pt x="65" y="3"/>
                  <a:pt x="65" y="3"/>
                  <a:pt x="65" y="3"/>
                </a:cubicBezTo>
                <a:cubicBezTo>
                  <a:pt x="55" y="3"/>
                  <a:pt x="55" y="3"/>
                  <a:pt x="55" y="3"/>
                </a:cubicBezTo>
                <a:cubicBezTo>
                  <a:pt x="55" y="3"/>
                  <a:pt x="51" y="4"/>
                  <a:pt x="49" y="5"/>
                </a:cubicBezTo>
                <a:cubicBezTo>
                  <a:pt x="48" y="5"/>
                  <a:pt x="48" y="5"/>
                  <a:pt x="48" y="5"/>
                </a:cubicBezTo>
                <a:cubicBezTo>
                  <a:pt x="38" y="5"/>
                  <a:pt x="38" y="5"/>
                  <a:pt x="38" y="5"/>
                </a:cubicBezTo>
                <a:cubicBezTo>
                  <a:pt x="37" y="5"/>
                  <a:pt x="37" y="5"/>
                  <a:pt x="37" y="5"/>
                </a:cubicBezTo>
                <a:cubicBezTo>
                  <a:pt x="36" y="5"/>
                  <a:pt x="36" y="5"/>
                  <a:pt x="35" y="5"/>
                </a:cubicBezTo>
                <a:cubicBezTo>
                  <a:pt x="34" y="6"/>
                  <a:pt x="33" y="6"/>
                  <a:pt x="33" y="5"/>
                </a:cubicBezTo>
                <a:cubicBezTo>
                  <a:pt x="25" y="5"/>
                  <a:pt x="25" y="5"/>
                  <a:pt x="25" y="5"/>
                </a:cubicBezTo>
                <a:cubicBezTo>
                  <a:pt x="24" y="5"/>
                  <a:pt x="23" y="5"/>
                  <a:pt x="23" y="4"/>
                </a:cubicBezTo>
                <a:cubicBezTo>
                  <a:pt x="22" y="2"/>
                  <a:pt x="22" y="2"/>
                  <a:pt x="22" y="2"/>
                </a:cubicBezTo>
                <a:cubicBezTo>
                  <a:pt x="16" y="0"/>
                  <a:pt x="16" y="0"/>
                  <a:pt x="16" y="0"/>
                </a:cubicBezTo>
                <a:cubicBezTo>
                  <a:pt x="15" y="1"/>
                  <a:pt x="15" y="1"/>
                  <a:pt x="15" y="1"/>
                </a:cubicBezTo>
                <a:cubicBezTo>
                  <a:pt x="14" y="3"/>
                  <a:pt x="13" y="3"/>
                  <a:pt x="12" y="3"/>
                </a:cubicBezTo>
                <a:cubicBezTo>
                  <a:pt x="11" y="3"/>
                  <a:pt x="11" y="3"/>
                  <a:pt x="11" y="3"/>
                </a:cubicBezTo>
                <a:cubicBezTo>
                  <a:pt x="10" y="3"/>
                  <a:pt x="10" y="4"/>
                  <a:pt x="10" y="5"/>
                </a:cubicBezTo>
                <a:cubicBezTo>
                  <a:pt x="9" y="6"/>
                  <a:pt x="8" y="7"/>
                  <a:pt x="8" y="7"/>
                </a:cubicBezTo>
                <a:cubicBezTo>
                  <a:pt x="7" y="7"/>
                  <a:pt x="7" y="8"/>
                  <a:pt x="7" y="8"/>
                </a:cubicBezTo>
                <a:cubicBezTo>
                  <a:pt x="2" y="10"/>
                  <a:pt x="2" y="10"/>
                  <a:pt x="2" y="10"/>
                </a:cubicBezTo>
                <a:cubicBezTo>
                  <a:pt x="1" y="10"/>
                  <a:pt x="1" y="10"/>
                  <a:pt x="1" y="10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11"/>
                  <a:pt x="1" y="11"/>
                  <a:pt x="3" y="13"/>
                </a:cubicBezTo>
                <a:cubicBezTo>
                  <a:pt x="3" y="14"/>
                  <a:pt x="3" y="14"/>
                  <a:pt x="3" y="14"/>
                </a:cubicBezTo>
                <a:cubicBezTo>
                  <a:pt x="4" y="14"/>
                  <a:pt x="4" y="14"/>
                  <a:pt x="5" y="14"/>
                </a:cubicBezTo>
                <a:cubicBezTo>
                  <a:pt x="5" y="15"/>
                  <a:pt x="5" y="15"/>
                  <a:pt x="5" y="15"/>
                </a:cubicBezTo>
                <a:cubicBezTo>
                  <a:pt x="6" y="15"/>
                  <a:pt x="6" y="15"/>
                  <a:pt x="8" y="15"/>
                </a:cubicBezTo>
                <a:cubicBezTo>
                  <a:pt x="12" y="16"/>
                  <a:pt x="13" y="18"/>
                  <a:pt x="14" y="19"/>
                </a:cubicBezTo>
                <a:cubicBezTo>
                  <a:pt x="15" y="21"/>
                  <a:pt x="15" y="21"/>
                  <a:pt x="15" y="21"/>
                </a:cubicBezTo>
                <a:cubicBezTo>
                  <a:pt x="15" y="21"/>
                  <a:pt x="16" y="21"/>
                  <a:pt x="16" y="22"/>
                </a:cubicBezTo>
                <a:cubicBezTo>
                  <a:pt x="16" y="23"/>
                  <a:pt x="16" y="23"/>
                  <a:pt x="16" y="23"/>
                </a:cubicBezTo>
                <a:cubicBezTo>
                  <a:pt x="18" y="25"/>
                  <a:pt x="17" y="28"/>
                  <a:pt x="16" y="30"/>
                </a:cubicBezTo>
                <a:cubicBezTo>
                  <a:pt x="14" y="34"/>
                  <a:pt x="14" y="34"/>
                  <a:pt x="14" y="34"/>
                </a:cubicBezTo>
                <a:cubicBezTo>
                  <a:pt x="15" y="35"/>
                  <a:pt x="15" y="35"/>
                  <a:pt x="16" y="36"/>
                </a:cubicBezTo>
                <a:cubicBezTo>
                  <a:pt x="16" y="37"/>
                  <a:pt x="16" y="38"/>
                  <a:pt x="16" y="38"/>
                </a:cubicBezTo>
                <a:cubicBezTo>
                  <a:pt x="16" y="38"/>
                  <a:pt x="16" y="38"/>
                  <a:pt x="16" y="38"/>
                </a:cubicBezTo>
                <a:cubicBezTo>
                  <a:pt x="16" y="38"/>
                  <a:pt x="16" y="38"/>
                  <a:pt x="16" y="38"/>
                </a:cubicBezTo>
                <a:cubicBezTo>
                  <a:pt x="16" y="39"/>
                  <a:pt x="16" y="39"/>
                  <a:pt x="16" y="39"/>
                </a:cubicBezTo>
                <a:cubicBezTo>
                  <a:pt x="16" y="39"/>
                  <a:pt x="16" y="39"/>
                  <a:pt x="16" y="39"/>
                </a:cubicBezTo>
                <a:cubicBezTo>
                  <a:pt x="17" y="39"/>
                  <a:pt x="17" y="42"/>
                  <a:pt x="17" y="42"/>
                </a:cubicBezTo>
                <a:cubicBezTo>
                  <a:pt x="18" y="45"/>
                  <a:pt x="18" y="45"/>
                  <a:pt x="18" y="45"/>
                </a:cubicBezTo>
                <a:cubicBezTo>
                  <a:pt x="18" y="46"/>
                  <a:pt x="19" y="47"/>
                  <a:pt x="20" y="48"/>
                </a:cubicBezTo>
                <a:cubicBezTo>
                  <a:pt x="20" y="50"/>
                  <a:pt x="20" y="51"/>
                  <a:pt x="20" y="52"/>
                </a:cubicBezTo>
                <a:cubicBezTo>
                  <a:pt x="20" y="52"/>
                  <a:pt x="20" y="53"/>
                  <a:pt x="20" y="54"/>
                </a:cubicBezTo>
                <a:cubicBezTo>
                  <a:pt x="20" y="55"/>
                  <a:pt x="20" y="56"/>
                  <a:pt x="18" y="57"/>
                </a:cubicBezTo>
                <a:cubicBezTo>
                  <a:pt x="18" y="57"/>
                  <a:pt x="18" y="57"/>
                  <a:pt x="18" y="57"/>
                </a:cubicBezTo>
                <a:cubicBezTo>
                  <a:pt x="18" y="58"/>
                  <a:pt x="17" y="58"/>
                  <a:pt x="17" y="58"/>
                </a:cubicBezTo>
                <a:cubicBezTo>
                  <a:pt x="17" y="59"/>
                  <a:pt x="16" y="59"/>
                  <a:pt x="16" y="59"/>
                </a:cubicBezTo>
                <a:cubicBezTo>
                  <a:pt x="8" y="59"/>
                  <a:pt x="8" y="59"/>
                  <a:pt x="8" y="59"/>
                </a:cubicBezTo>
                <a:cubicBezTo>
                  <a:pt x="8" y="60"/>
                  <a:pt x="8" y="60"/>
                  <a:pt x="8" y="60"/>
                </a:cubicBezTo>
                <a:cubicBezTo>
                  <a:pt x="8" y="61"/>
                  <a:pt x="8" y="61"/>
                  <a:pt x="8" y="61"/>
                </a:cubicBezTo>
                <a:cubicBezTo>
                  <a:pt x="9" y="62"/>
                  <a:pt x="9" y="62"/>
                  <a:pt x="9" y="62"/>
                </a:cubicBezTo>
                <a:cubicBezTo>
                  <a:pt x="15" y="62"/>
                  <a:pt x="15" y="62"/>
                  <a:pt x="15" y="62"/>
                </a:cubicBezTo>
                <a:cubicBezTo>
                  <a:pt x="16" y="62"/>
                  <a:pt x="16" y="62"/>
                  <a:pt x="16" y="62"/>
                </a:cubicBezTo>
                <a:cubicBezTo>
                  <a:pt x="20" y="65"/>
                  <a:pt x="20" y="65"/>
                  <a:pt x="20" y="65"/>
                </a:cubicBezTo>
                <a:cubicBezTo>
                  <a:pt x="20" y="66"/>
                  <a:pt x="20" y="66"/>
                  <a:pt x="20" y="66"/>
                </a:cubicBezTo>
                <a:cubicBezTo>
                  <a:pt x="22" y="69"/>
                  <a:pt x="22" y="69"/>
                  <a:pt x="22" y="69"/>
                </a:cubicBezTo>
                <a:cubicBezTo>
                  <a:pt x="22" y="70"/>
                  <a:pt x="22" y="70"/>
                  <a:pt x="22" y="70"/>
                </a:cubicBezTo>
                <a:cubicBezTo>
                  <a:pt x="22" y="72"/>
                  <a:pt x="22" y="72"/>
                  <a:pt x="22" y="72"/>
                </a:cubicBezTo>
                <a:cubicBezTo>
                  <a:pt x="23" y="73"/>
                  <a:pt x="23" y="73"/>
                  <a:pt x="23" y="73"/>
                </a:cubicBezTo>
                <a:cubicBezTo>
                  <a:pt x="24" y="74"/>
                  <a:pt x="24" y="74"/>
                  <a:pt x="24" y="74"/>
                </a:cubicBezTo>
                <a:cubicBezTo>
                  <a:pt x="24" y="75"/>
                  <a:pt x="24" y="75"/>
                  <a:pt x="24" y="75"/>
                </a:cubicBezTo>
                <a:cubicBezTo>
                  <a:pt x="24" y="75"/>
                  <a:pt x="24" y="75"/>
                  <a:pt x="24" y="75"/>
                </a:cubicBezTo>
                <a:cubicBezTo>
                  <a:pt x="25" y="75"/>
                  <a:pt x="26" y="76"/>
                  <a:pt x="26" y="77"/>
                </a:cubicBezTo>
                <a:cubicBezTo>
                  <a:pt x="26" y="82"/>
                  <a:pt x="26" y="82"/>
                  <a:pt x="26" y="82"/>
                </a:cubicBezTo>
                <a:cubicBezTo>
                  <a:pt x="26" y="83"/>
                  <a:pt x="25" y="84"/>
                  <a:pt x="24" y="84"/>
                </a:cubicBezTo>
                <a:cubicBezTo>
                  <a:pt x="24" y="84"/>
                  <a:pt x="24" y="84"/>
                  <a:pt x="23" y="84"/>
                </a:cubicBezTo>
                <a:cubicBezTo>
                  <a:pt x="22" y="86"/>
                  <a:pt x="20" y="87"/>
                  <a:pt x="19" y="87"/>
                </a:cubicBezTo>
                <a:cubicBezTo>
                  <a:pt x="19" y="88"/>
                  <a:pt x="18" y="88"/>
                  <a:pt x="18" y="89"/>
                </a:cubicBezTo>
                <a:cubicBezTo>
                  <a:pt x="18" y="89"/>
                  <a:pt x="18" y="89"/>
                  <a:pt x="18" y="89"/>
                </a:cubicBezTo>
                <a:cubicBezTo>
                  <a:pt x="19" y="89"/>
                  <a:pt x="20" y="89"/>
                  <a:pt x="21" y="89"/>
                </a:cubicBezTo>
                <a:cubicBezTo>
                  <a:pt x="23" y="90"/>
                  <a:pt x="23" y="90"/>
                  <a:pt x="23" y="90"/>
                </a:cubicBezTo>
                <a:cubicBezTo>
                  <a:pt x="34" y="90"/>
                  <a:pt x="34" y="90"/>
                  <a:pt x="34" y="90"/>
                </a:cubicBezTo>
                <a:cubicBezTo>
                  <a:pt x="34" y="90"/>
                  <a:pt x="35" y="90"/>
                  <a:pt x="35" y="91"/>
                </a:cubicBezTo>
                <a:cubicBezTo>
                  <a:pt x="36" y="91"/>
                  <a:pt x="36" y="91"/>
                  <a:pt x="36" y="91"/>
                </a:cubicBezTo>
                <a:cubicBezTo>
                  <a:pt x="36" y="91"/>
                  <a:pt x="36" y="91"/>
                  <a:pt x="36" y="91"/>
                </a:cubicBezTo>
                <a:cubicBezTo>
                  <a:pt x="39" y="88"/>
                  <a:pt x="40" y="86"/>
                  <a:pt x="40" y="86"/>
                </a:cubicBezTo>
                <a:cubicBezTo>
                  <a:pt x="40" y="86"/>
                  <a:pt x="40" y="85"/>
                  <a:pt x="41" y="85"/>
                </a:cubicBezTo>
                <a:cubicBezTo>
                  <a:pt x="42" y="85"/>
                  <a:pt x="44" y="83"/>
                  <a:pt x="45" y="83"/>
                </a:cubicBezTo>
                <a:cubicBezTo>
                  <a:pt x="49" y="83"/>
                  <a:pt x="49" y="83"/>
                  <a:pt x="49" y="83"/>
                </a:cubicBezTo>
                <a:cubicBezTo>
                  <a:pt x="51" y="83"/>
                  <a:pt x="54" y="85"/>
                  <a:pt x="54" y="85"/>
                </a:cubicBezTo>
                <a:cubicBezTo>
                  <a:pt x="54" y="86"/>
                  <a:pt x="55" y="86"/>
                  <a:pt x="55" y="87"/>
                </a:cubicBezTo>
                <a:cubicBezTo>
                  <a:pt x="55" y="88"/>
                  <a:pt x="55" y="88"/>
                  <a:pt x="55" y="88"/>
                </a:cubicBezTo>
                <a:cubicBezTo>
                  <a:pt x="55" y="89"/>
                  <a:pt x="55" y="89"/>
                  <a:pt x="55" y="89"/>
                </a:cubicBezTo>
                <a:cubicBezTo>
                  <a:pt x="57" y="90"/>
                  <a:pt x="57" y="90"/>
                  <a:pt x="57" y="90"/>
                </a:cubicBezTo>
                <a:cubicBezTo>
                  <a:pt x="60" y="92"/>
                  <a:pt x="60" y="92"/>
                  <a:pt x="60" y="92"/>
                </a:cubicBezTo>
                <a:cubicBezTo>
                  <a:pt x="61" y="92"/>
                  <a:pt x="61" y="93"/>
                  <a:pt x="61" y="93"/>
                </a:cubicBezTo>
                <a:cubicBezTo>
                  <a:pt x="61" y="94"/>
                  <a:pt x="61" y="94"/>
                  <a:pt x="61" y="94"/>
                </a:cubicBezTo>
                <a:cubicBezTo>
                  <a:pt x="62" y="94"/>
                  <a:pt x="62" y="95"/>
                  <a:pt x="62" y="95"/>
                </a:cubicBezTo>
                <a:cubicBezTo>
                  <a:pt x="63" y="96"/>
                  <a:pt x="62" y="97"/>
                  <a:pt x="60" y="99"/>
                </a:cubicBezTo>
                <a:cubicBezTo>
                  <a:pt x="59" y="100"/>
                  <a:pt x="58" y="101"/>
                  <a:pt x="58" y="101"/>
                </a:cubicBezTo>
                <a:cubicBezTo>
                  <a:pt x="57" y="103"/>
                  <a:pt x="56" y="103"/>
                  <a:pt x="54" y="104"/>
                </a:cubicBezTo>
                <a:cubicBezTo>
                  <a:pt x="54" y="104"/>
                  <a:pt x="53" y="104"/>
                  <a:pt x="52" y="104"/>
                </a:cubicBezTo>
                <a:cubicBezTo>
                  <a:pt x="52" y="104"/>
                  <a:pt x="52" y="104"/>
                  <a:pt x="52" y="104"/>
                </a:cubicBezTo>
                <a:cubicBezTo>
                  <a:pt x="51" y="105"/>
                  <a:pt x="50" y="105"/>
                  <a:pt x="50" y="106"/>
                </a:cubicBezTo>
                <a:cubicBezTo>
                  <a:pt x="50" y="108"/>
                  <a:pt x="50" y="108"/>
                  <a:pt x="50" y="108"/>
                </a:cubicBezTo>
                <a:cubicBezTo>
                  <a:pt x="50" y="108"/>
                  <a:pt x="50" y="108"/>
                  <a:pt x="50" y="108"/>
                </a:cubicBezTo>
                <a:cubicBezTo>
                  <a:pt x="50" y="111"/>
                  <a:pt x="50" y="111"/>
                  <a:pt x="50" y="111"/>
                </a:cubicBezTo>
                <a:cubicBezTo>
                  <a:pt x="50" y="111"/>
                  <a:pt x="50" y="111"/>
                  <a:pt x="50" y="111"/>
                </a:cubicBezTo>
                <a:cubicBezTo>
                  <a:pt x="51" y="111"/>
                  <a:pt x="52" y="111"/>
                  <a:pt x="52" y="114"/>
                </a:cubicBezTo>
                <a:cubicBezTo>
                  <a:pt x="52" y="114"/>
                  <a:pt x="52" y="114"/>
                  <a:pt x="52" y="114"/>
                </a:cubicBezTo>
                <a:cubicBezTo>
                  <a:pt x="52" y="114"/>
                  <a:pt x="52" y="114"/>
                  <a:pt x="52" y="114"/>
                </a:cubicBezTo>
                <a:cubicBezTo>
                  <a:pt x="57" y="114"/>
                  <a:pt x="57" y="114"/>
                  <a:pt x="57" y="114"/>
                </a:cubicBezTo>
                <a:cubicBezTo>
                  <a:pt x="56" y="114"/>
                  <a:pt x="59" y="113"/>
                  <a:pt x="61" y="114"/>
                </a:cubicBezTo>
                <a:cubicBezTo>
                  <a:pt x="62" y="114"/>
                  <a:pt x="64" y="114"/>
                  <a:pt x="64" y="114"/>
                </a:cubicBezTo>
                <a:cubicBezTo>
                  <a:pt x="64" y="114"/>
                  <a:pt x="64" y="114"/>
                  <a:pt x="64" y="114"/>
                </a:cubicBezTo>
                <a:cubicBezTo>
                  <a:pt x="67" y="114"/>
                  <a:pt x="67" y="114"/>
                  <a:pt x="67" y="114"/>
                </a:cubicBezTo>
                <a:cubicBezTo>
                  <a:pt x="70" y="114"/>
                  <a:pt x="70" y="114"/>
                  <a:pt x="70" y="114"/>
                </a:cubicBezTo>
                <a:cubicBezTo>
                  <a:pt x="71" y="114"/>
                  <a:pt x="72" y="115"/>
                  <a:pt x="72" y="115"/>
                </a:cubicBezTo>
                <a:cubicBezTo>
                  <a:pt x="72" y="116"/>
                  <a:pt x="73" y="116"/>
                  <a:pt x="73" y="117"/>
                </a:cubicBezTo>
                <a:cubicBezTo>
                  <a:pt x="75" y="117"/>
                  <a:pt x="75" y="117"/>
                  <a:pt x="75" y="117"/>
                </a:cubicBezTo>
                <a:cubicBezTo>
                  <a:pt x="75" y="118"/>
                  <a:pt x="75" y="118"/>
                  <a:pt x="75" y="118"/>
                </a:cubicBezTo>
                <a:cubicBezTo>
                  <a:pt x="79" y="120"/>
                  <a:pt x="79" y="120"/>
                  <a:pt x="79" y="120"/>
                </a:cubicBezTo>
                <a:cubicBezTo>
                  <a:pt x="80" y="121"/>
                  <a:pt x="81" y="121"/>
                  <a:pt x="82" y="122"/>
                </a:cubicBezTo>
                <a:cubicBezTo>
                  <a:pt x="83" y="122"/>
                  <a:pt x="83" y="122"/>
                  <a:pt x="84" y="122"/>
                </a:cubicBezTo>
                <a:cubicBezTo>
                  <a:pt x="85" y="122"/>
                  <a:pt x="85" y="123"/>
                  <a:pt x="85" y="125"/>
                </a:cubicBezTo>
                <a:cubicBezTo>
                  <a:pt x="85" y="126"/>
                  <a:pt x="87" y="128"/>
                  <a:pt x="87" y="129"/>
                </a:cubicBezTo>
                <a:cubicBezTo>
                  <a:pt x="89" y="131"/>
                  <a:pt x="89" y="131"/>
                  <a:pt x="89" y="131"/>
                </a:cubicBezTo>
                <a:cubicBezTo>
                  <a:pt x="89" y="132"/>
                  <a:pt x="89" y="132"/>
                  <a:pt x="89" y="132"/>
                </a:cubicBezTo>
                <a:cubicBezTo>
                  <a:pt x="89" y="136"/>
                  <a:pt x="89" y="136"/>
                  <a:pt x="89" y="136"/>
                </a:cubicBezTo>
                <a:cubicBezTo>
                  <a:pt x="93" y="140"/>
                  <a:pt x="93" y="140"/>
                  <a:pt x="93" y="140"/>
                </a:cubicBezTo>
                <a:cubicBezTo>
                  <a:pt x="96" y="140"/>
                  <a:pt x="96" y="140"/>
                  <a:pt x="96" y="140"/>
                </a:cubicBezTo>
                <a:cubicBezTo>
                  <a:pt x="97" y="140"/>
                  <a:pt x="97" y="141"/>
                  <a:pt x="98" y="141"/>
                </a:cubicBezTo>
                <a:cubicBezTo>
                  <a:pt x="98" y="142"/>
                  <a:pt x="98" y="143"/>
                  <a:pt x="98" y="143"/>
                </a:cubicBezTo>
                <a:cubicBezTo>
                  <a:pt x="98" y="143"/>
                  <a:pt x="98" y="143"/>
                  <a:pt x="98" y="143"/>
                </a:cubicBezTo>
                <a:cubicBezTo>
                  <a:pt x="98" y="144"/>
                  <a:pt x="98" y="144"/>
                  <a:pt x="98" y="144"/>
                </a:cubicBezTo>
                <a:cubicBezTo>
                  <a:pt x="98" y="146"/>
                  <a:pt x="98" y="148"/>
                  <a:pt x="98" y="150"/>
                </a:cubicBezTo>
                <a:cubicBezTo>
                  <a:pt x="99" y="152"/>
                  <a:pt x="99" y="152"/>
                  <a:pt x="99" y="152"/>
                </a:cubicBezTo>
                <a:cubicBezTo>
                  <a:pt x="102" y="156"/>
                  <a:pt x="102" y="156"/>
                  <a:pt x="102" y="156"/>
                </a:cubicBezTo>
                <a:cubicBezTo>
                  <a:pt x="102" y="156"/>
                  <a:pt x="102" y="156"/>
                  <a:pt x="102" y="156"/>
                </a:cubicBezTo>
                <a:cubicBezTo>
                  <a:pt x="102" y="157"/>
                  <a:pt x="102" y="157"/>
                  <a:pt x="103" y="157"/>
                </a:cubicBezTo>
                <a:cubicBezTo>
                  <a:pt x="103" y="157"/>
                  <a:pt x="106" y="158"/>
                  <a:pt x="107" y="159"/>
                </a:cubicBezTo>
                <a:cubicBezTo>
                  <a:pt x="108" y="159"/>
                  <a:pt x="108" y="159"/>
                  <a:pt x="108" y="159"/>
                </a:cubicBezTo>
                <a:cubicBezTo>
                  <a:pt x="108" y="158"/>
                  <a:pt x="108" y="158"/>
                  <a:pt x="108" y="158"/>
                </a:cubicBezTo>
                <a:cubicBezTo>
                  <a:pt x="110" y="152"/>
                  <a:pt x="111" y="151"/>
                  <a:pt x="112" y="151"/>
                </a:cubicBezTo>
                <a:cubicBezTo>
                  <a:pt x="113" y="151"/>
                  <a:pt x="113" y="151"/>
                  <a:pt x="114" y="151"/>
                </a:cubicBezTo>
                <a:cubicBezTo>
                  <a:pt x="114" y="150"/>
                  <a:pt x="114" y="149"/>
                  <a:pt x="114" y="148"/>
                </a:cubicBezTo>
                <a:cubicBezTo>
                  <a:pt x="115" y="146"/>
                  <a:pt x="115" y="146"/>
                  <a:pt x="114" y="145"/>
                </a:cubicBezTo>
                <a:cubicBezTo>
                  <a:pt x="114" y="144"/>
                  <a:pt x="113" y="142"/>
                  <a:pt x="116" y="141"/>
                </a:cubicBezTo>
                <a:cubicBezTo>
                  <a:pt x="116" y="140"/>
                  <a:pt x="117" y="139"/>
                  <a:pt x="117" y="138"/>
                </a:cubicBezTo>
                <a:cubicBezTo>
                  <a:pt x="117" y="137"/>
                  <a:pt x="117" y="137"/>
                  <a:pt x="118" y="136"/>
                </a:cubicBezTo>
                <a:cubicBezTo>
                  <a:pt x="119" y="136"/>
                  <a:pt x="119" y="136"/>
                  <a:pt x="119" y="136"/>
                </a:cubicBezTo>
                <a:cubicBezTo>
                  <a:pt x="119" y="136"/>
                  <a:pt x="119" y="136"/>
                  <a:pt x="119" y="135"/>
                </a:cubicBezTo>
                <a:cubicBezTo>
                  <a:pt x="120" y="134"/>
                  <a:pt x="120" y="134"/>
                  <a:pt x="120" y="134"/>
                </a:cubicBezTo>
                <a:cubicBezTo>
                  <a:pt x="124" y="133"/>
                  <a:pt x="124" y="133"/>
                  <a:pt x="124" y="133"/>
                </a:cubicBezTo>
                <a:cubicBezTo>
                  <a:pt x="124" y="132"/>
                  <a:pt x="124" y="132"/>
                  <a:pt x="124" y="132"/>
                </a:cubicBezTo>
                <a:cubicBezTo>
                  <a:pt x="124" y="131"/>
                  <a:pt x="124" y="130"/>
                  <a:pt x="124" y="129"/>
                </a:cubicBezTo>
                <a:cubicBezTo>
                  <a:pt x="124" y="128"/>
                  <a:pt x="123" y="126"/>
                  <a:pt x="124" y="124"/>
                </a:cubicBezTo>
                <a:cubicBezTo>
                  <a:pt x="124" y="124"/>
                  <a:pt x="124" y="123"/>
                  <a:pt x="124" y="121"/>
                </a:cubicBezTo>
                <a:cubicBezTo>
                  <a:pt x="124" y="119"/>
                  <a:pt x="124" y="119"/>
                  <a:pt x="124" y="119"/>
                </a:cubicBezTo>
                <a:cubicBezTo>
                  <a:pt x="124" y="119"/>
                  <a:pt x="124" y="119"/>
                  <a:pt x="124" y="119"/>
                </a:cubicBezTo>
                <a:cubicBezTo>
                  <a:pt x="124" y="118"/>
                  <a:pt x="124" y="118"/>
                  <a:pt x="124" y="117"/>
                </a:cubicBezTo>
                <a:cubicBezTo>
                  <a:pt x="124" y="117"/>
                  <a:pt x="124" y="117"/>
                  <a:pt x="124" y="117"/>
                </a:cubicBezTo>
                <a:cubicBezTo>
                  <a:pt x="124" y="117"/>
                  <a:pt x="124" y="117"/>
                  <a:pt x="124" y="117"/>
                </a:cubicBezTo>
                <a:cubicBezTo>
                  <a:pt x="124" y="116"/>
                  <a:pt x="124" y="116"/>
                  <a:pt x="124" y="116"/>
                </a:cubicBezTo>
                <a:cubicBezTo>
                  <a:pt x="125" y="113"/>
                  <a:pt x="125" y="112"/>
                  <a:pt x="124" y="110"/>
                </a:cubicBezTo>
                <a:cubicBezTo>
                  <a:pt x="124" y="109"/>
                  <a:pt x="124" y="109"/>
                  <a:pt x="125" y="108"/>
                </a:cubicBezTo>
                <a:cubicBezTo>
                  <a:pt x="125" y="107"/>
                  <a:pt x="126" y="105"/>
                  <a:pt x="126" y="104"/>
                </a:cubicBezTo>
                <a:cubicBezTo>
                  <a:pt x="126" y="101"/>
                  <a:pt x="126" y="101"/>
                  <a:pt x="126" y="101"/>
                </a:cubicBezTo>
                <a:cubicBezTo>
                  <a:pt x="126" y="100"/>
                  <a:pt x="126" y="98"/>
                  <a:pt x="126" y="96"/>
                </a:cubicBezTo>
                <a:cubicBezTo>
                  <a:pt x="127" y="93"/>
                  <a:pt x="126" y="91"/>
                  <a:pt x="126" y="91"/>
                </a:cubicBezTo>
                <a:cubicBezTo>
                  <a:pt x="126" y="90"/>
                  <a:pt x="126" y="89"/>
                  <a:pt x="127" y="89"/>
                </a:cubicBezTo>
                <a:cubicBezTo>
                  <a:pt x="127" y="89"/>
                  <a:pt x="127" y="89"/>
                  <a:pt x="127" y="89"/>
                </a:cubicBezTo>
                <a:cubicBezTo>
                  <a:pt x="127" y="89"/>
                  <a:pt x="127" y="89"/>
                  <a:pt x="127" y="88"/>
                </a:cubicBezTo>
                <a:cubicBezTo>
                  <a:pt x="125" y="84"/>
                  <a:pt x="124" y="79"/>
                  <a:pt x="124" y="7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reeform 32">
            <a:extLst>
              <a:ext uri="{FF2B5EF4-FFF2-40B4-BE49-F238E27FC236}">
                <a16:creationId xmlns:a16="http://schemas.microsoft.com/office/drawing/2014/main" id="{D6C3EE3D-1B74-48B4-982F-BC950F541B15}"/>
              </a:ext>
            </a:extLst>
          </p:cNvPr>
          <p:cNvSpPr>
            <a:spLocks/>
          </p:cNvSpPr>
          <p:nvPr/>
        </p:nvSpPr>
        <p:spPr bwMode="auto">
          <a:xfrm>
            <a:off x="5036753" y="2876079"/>
            <a:ext cx="175419" cy="196850"/>
          </a:xfrm>
          <a:custGeom>
            <a:avLst/>
            <a:gdLst>
              <a:gd name="T0" fmla="*/ 45 w 73"/>
              <a:gd name="T1" fmla="*/ 88 h 88"/>
              <a:gd name="T2" fmla="*/ 45 w 73"/>
              <a:gd name="T3" fmla="*/ 88 h 88"/>
              <a:gd name="T4" fmla="*/ 42 w 73"/>
              <a:gd name="T5" fmla="*/ 84 h 88"/>
              <a:gd name="T6" fmla="*/ 39 w 73"/>
              <a:gd name="T7" fmla="*/ 82 h 88"/>
              <a:gd name="T8" fmla="*/ 42 w 73"/>
              <a:gd name="T9" fmla="*/ 76 h 88"/>
              <a:gd name="T10" fmla="*/ 48 w 73"/>
              <a:gd name="T11" fmla="*/ 76 h 88"/>
              <a:gd name="T12" fmla="*/ 51 w 73"/>
              <a:gd name="T13" fmla="*/ 76 h 88"/>
              <a:gd name="T14" fmla="*/ 53 w 73"/>
              <a:gd name="T15" fmla="*/ 75 h 88"/>
              <a:gd name="T16" fmla="*/ 54 w 73"/>
              <a:gd name="T17" fmla="*/ 68 h 88"/>
              <a:gd name="T18" fmla="*/ 53 w 73"/>
              <a:gd name="T19" fmla="*/ 63 h 88"/>
              <a:gd name="T20" fmla="*/ 52 w 73"/>
              <a:gd name="T21" fmla="*/ 55 h 88"/>
              <a:gd name="T22" fmla="*/ 56 w 73"/>
              <a:gd name="T23" fmla="*/ 54 h 88"/>
              <a:gd name="T24" fmla="*/ 66 w 73"/>
              <a:gd name="T25" fmla="*/ 47 h 88"/>
              <a:gd name="T26" fmla="*/ 71 w 73"/>
              <a:gd name="T27" fmla="*/ 47 h 88"/>
              <a:gd name="T28" fmla="*/ 73 w 73"/>
              <a:gd name="T29" fmla="*/ 44 h 88"/>
              <a:gd name="T30" fmla="*/ 68 w 73"/>
              <a:gd name="T31" fmla="*/ 38 h 88"/>
              <a:gd name="T32" fmla="*/ 67 w 73"/>
              <a:gd name="T33" fmla="*/ 35 h 88"/>
              <a:gd name="T34" fmla="*/ 71 w 73"/>
              <a:gd name="T35" fmla="*/ 31 h 88"/>
              <a:gd name="T36" fmla="*/ 70 w 73"/>
              <a:gd name="T37" fmla="*/ 23 h 88"/>
              <a:gd name="T38" fmla="*/ 61 w 73"/>
              <a:gd name="T39" fmla="*/ 17 h 88"/>
              <a:gd name="T40" fmla="*/ 57 w 73"/>
              <a:gd name="T41" fmla="*/ 13 h 88"/>
              <a:gd name="T42" fmla="*/ 57 w 73"/>
              <a:gd name="T43" fmla="*/ 9 h 88"/>
              <a:gd name="T44" fmla="*/ 58 w 73"/>
              <a:gd name="T45" fmla="*/ 4 h 88"/>
              <a:gd name="T46" fmla="*/ 56 w 73"/>
              <a:gd name="T47" fmla="*/ 2 h 88"/>
              <a:gd name="T48" fmla="*/ 51 w 73"/>
              <a:gd name="T49" fmla="*/ 0 h 88"/>
              <a:gd name="T50" fmla="*/ 52 w 73"/>
              <a:gd name="T51" fmla="*/ 1 h 88"/>
              <a:gd name="T52" fmla="*/ 53 w 73"/>
              <a:gd name="T53" fmla="*/ 3 h 88"/>
              <a:gd name="T54" fmla="*/ 54 w 73"/>
              <a:gd name="T55" fmla="*/ 9 h 88"/>
              <a:gd name="T56" fmla="*/ 53 w 73"/>
              <a:gd name="T57" fmla="*/ 18 h 88"/>
              <a:gd name="T58" fmla="*/ 53 w 73"/>
              <a:gd name="T59" fmla="*/ 21 h 88"/>
              <a:gd name="T60" fmla="*/ 48 w 73"/>
              <a:gd name="T61" fmla="*/ 23 h 88"/>
              <a:gd name="T62" fmla="*/ 44 w 73"/>
              <a:gd name="T63" fmla="*/ 23 h 88"/>
              <a:gd name="T64" fmla="*/ 38 w 73"/>
              <a:gd name="T65" fmla="*/ 20 h 88"/>
              <a:gd name="T66" fmla="*/ 38 w 73"/>
              <a:gd name="T67" fmla="*/ 18 h 88"/>
              <a:gd name="T68" fmla="*/ 35 w 73"/>
              <a:gd name="T69" fmla="*/ 16 h 88"/>
              <a:gd name="T70" fmla="*/ 30 w 73"/>
              <a:gd name="T71" fmla="*/ 19 h 88"/>
              <a:gd name="T72" fmla="*/ 26 w 73"/>
              <a:gd name="T73" fmla="*/ 19 h 88"/>
              <a:gd name="T74" fmla="*/ 26 w 73"/>
              <a:gd name="T75" fmla="*/ 21 h 88"/>
              <a:gd name="T76" fmla="*/ 22 w 73"/>
              <a:gd name="T77" fmla="*/ 27 h 88"/>
              <a:gd name="T78" fmla="*/ 23 w 73"/>
              <a:gd name="T79" fmla="*/ 29 h 88"/>
              <a:gd name="T80" fmla="*/ 22 w 73"/>
              <a:gd name="T81" fmla="*/ 36 h 88"/>
              <a:gd name="T82" fmla="*/ 19 w 73"/>
              <a:gd name="T83" fmla="*/ 40 h 88"/>
              <a:gd name="T84" fmla="*/ 19 w 73"/>
              <a:gd name="T85" fmla="*/ 42 h 88"/>
              <a:gd name="T86" fmla="*/ 22 w 73"/>
              <a:gd name="T87" fmla="*/ 43 h 88"/>
              <a:gd name="T88" fmla="*/ 21 w 73"/>
              <a:gd name="T89" fmla="*/ 47 h 88"/>
              <a:gd name="T90" fmla="*/ 20 w 73"/>
              <a:gd name="T91" fmla="*/ 51 h 88"/>
              <a:gd name="T92" fmla="*/ 12 w 73"/>
              <a:gd name="T93" fmla="*/ 58 h 88"/>
              <a:gd name="T94" fmla="*/ 0 w 73"/>
              <a:gd name="T95" fmla="*/ 56 h 88"/>
              <a:gd name="T96" fmla="*/ 1 w 73"/>
              <a:gd name="T97" fmla="*/ 62 h 88"/>
              <a:gd name="T98" fmla="*/ 4 w 73"/>
              <a:gd name="T99" fmla="*/ 64 h 88"/>
              <a:gd name="T100" fmla="*/ 10 w 73"/>
              <a:gd name="T101" fmla="*/ 68 h 88"/>
              <a:gd name="T102" fmla="*/ 19 w 73"/>
              <a:gd name="T103" fmla="*/ 71 h 88"/>
              <a:gd name="T104" fmla="*/ 12 w 73"/>
              <a:gd name="T105" fmla="*/ 78 h 88"/>
              <a:gd name="T106" fmla="*/ 8 w 73"/>
              <a:gd name="T107" fmla="*/ 77 h 88"/>
              <a:gd name="T108" fmla="*/ 5 w 73"/>
              <a:gd name="T109" fmla="*/ 78 h 88"/>
              <a:gd name="T110" fmla="*/ 4 w 73"/>
              <a:gd name="T111" fmla="*/ 81 h 88"/>
              <a:gd name="T112" fmla="*/ 12 w 73"/>
              <a:gd name="T113" fmla="*/ 85 h 88"/>
              <a:gd name="T114" fmla="*/ 19 w 73"/>
              <a:gd name="T115" fmla="*/ 83 h 88"/>
              <a:gd name="T116" fmla="*/ 24 w 73"/>
              <a:gd name="T117" fmla="*/ 84 h 88"/>
              <a:gd name="T118" fmla="*/ 32 w 73"/>
              <a:gd name="T119" fmla="*/ 86 h 88"/>
              <a:gd name="T120" fmla="*/ 36 w 73"/>
              <a:gd name="T121" fmla="*/ 86 h 88"/>
              <a:gd name="T122" fmla="*/ 38 w 73"/>
              <a:gd name="T123" fmla="*/ 86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" h="88">
                <a:moveTo>
                  <a:pt x="44" y="88"/>
                </a:moveTo>
                <a:cubicBezTo>
                  <a:pt x="45" y="88"/>
                  <a:pt x="45" y="88"/>
                  <a:pt x="45" y="88"/>
                </a:cubicBezTo>
                <a:cubicBezTo>
                  <a:pt x="45" y="88"/>
                  <a:pt x="45" y="88"/>
                  <a:pt x="45" y="88"/>
                </a:cubicBezTo>
                <a:cubicBezTo>
                  <a:pt x="45" y="88"/>
                  <a:pt x="45" y="88"/>
                  <a:pt x="45" y="88"/>
                </a:cubicBezTo>
                <a:cubicBezTo>
                  <a:pt x="43" y="86"/>
                  <a:pt x="43" y="85"/>
                  <a:pt x="43" y="84"/>
                </a:cubicBezTo>
                <a:cubicBezTo>
                  <a:pt x="42" y="84"/>
                  <a:pt x="42" y="84"/>
                  <a:pt x="42" y="84"/>
                </a:cubicBezTo>
                <a:cubicBezTo>
                  <a:pt x="42" y="84"/>
                  <a:pt x="42" y="84"/>
                  <a:pt x="41" y="84"/>
                </a:cubicBezTo>
                <a:cubicBezTo>
                  <a:pt x="40" y="84"/>
                  <a:pt x="39" y="83"/>
                  <a:pt x="39" y="82"/>
                </a:cubicBezTo>
                <a:cubicBezTo>
                  <a:pt x="38" y="80"/>
                  <a:pt x="38" y="79"/>
                  <a:pt x="39" y="78"/>
                </a:cubicBezTo>
                <a:cubicBezTo>
                  <a:pt x="39" y="77"/>
                  <a:pt x="41" y="76"/>
                  <a:pt x="42" y="76"/>
                </a:cubicBezTo>
                <a:cubicBezTo>
                  <a:pt x="43" y="76"/>
                  <a:pt x="43" y="76"/>
                  <a:pt x="43" y="76"/>
                </a:cubicBezTo>
                <a:cubicBezTo>
                  <a:pt x="48" y="76"/>
                  <a:pt x="48" y="76"/>
                  <a:pt x="48" y="76"/>
                </a:cubicBezTo>
                <a:cubicBezTo>
                  <a:pt x="48" y="76"/>
                  <a:pt x="49" y="76"/>
                  <a:pt x="50" y="76"/>
                </a:cubicBezTo>
                <a:cubicBezTo>
                  <a:pt x="50" y="76"/>
                  <a:pt x="50" y="76"/>
                  <a:pt x="51" y="76"/>
                </a:cubicBezTo>
                <a:cubicBezTo>
                  <a:pt x="51" y="76"/>
                  <a:pt x="52" y="75"/>
                  <a:pt x="53" y="75"/>
                </a:cubicBezTo>
                <a:cubicBezTo>
                  <a:pt x="53" y="75"/>
                  <a:pt x="53" y="75"/>
                  <a:pt x="53" y="75"/>
                </a:cubicBezTo>
                <a:cubicBezTo>
                  <a:pt x="54" y="72"/>
                  <a:pt x="53" y="70"/>
                  <a:pt x="53" y="70"/>
                </a:cubicBezTo>
                <a:cubicBezTo>
                  <a:pt x="53" y="69"/>
                  <a:pt x="53" y="69"/>
                  <a:pt x="54" y="68"/>
                </a:cubicBezTo>
                <a:cubicBezTo>
                  <a:pt x="54" y="68"/>
                  <a:pt x="54" y="68"/>
                  <a:pt x="54" y="68"/>
                </a:cubicBezTo>
                <a:cubicBezTo>
                  <a:pt x="53" y="66"/>
                  <a:pt x="53" y="64"/>
                  <a:pt x="53" y="63"/>
                </a:cubicBezTo>
                <a:cubicBezTo>
                  <a:pt x="53" y="62"/>
                  <a:pt x="53" y="60"/>
                  <a:pt x="52" y="60"/>
                </a:cubicBezTo>
                <a:cubicBezTo>
                  <a:pt x="51" y="58"/>
                  <a:pt x="52" y="56"/>
                  <a:pt x="52" y="55"/>
                </a:cubicBezTo>
                <a:cubicBezTo>
                  <a:pt x="52" y="55"/>
                  <a:pt x="53" y="54"/>
                  <a:pt x="54" y="54"/>
                </a:cubicBezTo>
                <a:cubicBezTo>
                  <a:pt x="56" y="54"/>
                  <a:pt x="56" y="54"/>
                  <a:pt x="56" y="54"/>
                </a:cubicBezTo>
                <a:cubicBezTo>
                  <a:pt x="61" y="49"/>
                  <a:pt x="62" y="48"/>
                  <a:pt x="65" y="48"/>
                </a:cubicBezTo>
                <a:cubicBezTo>
                  <a:pt x="66" y="47"/>
                  <a:pt x="66" y="47"/>
                  <a:pt x="66" y="47"/>
                </a:cubicBezTo>
                <a:cubicBezTo>
                  <a:pt x="67" y="47"/>
                  <a:pt x="69" y="47"/>
                  <a:pt x="70" y="47"/>
                </a:cubicBezTo>
                <a:cubicBezTo>
                  <a:pt x="71" y="47"/>
                  <a:pt x="71" y="47"/>
                  <a:pt x="71" y="47"/>
                </a:cubicBezTo>
                <a:cubicBezTo>
                  <a:pt x="71" y="46"/>
                  <a:pt x="72" y="45"/>
                  <a:pt x="73" y="44"/>
                </a:cubicBezTo>
                <a:cubicBezTo>
                  <a:pt x="73" y="44"/>
                  <a:pt x="73" y="44"/>
                  <a:pt x="73" y="44"/>
                </a:cubicBezTo>
                <a:cubicBezTo>
                  <a:pt x="73" y="44"/>
                  <a:pt x="73" y="44"/>
                  <a:pt x="73" y="43"/>
                </a:cubicBezTo>
                <a:cubicBezTo>
                  <a:pt x="70" y="40"/>
                  <a:pt x="69" y="39"/>
                  <a:pt x="68" y="38"/>
                </a:cubicBezTo>
                <a:cubicBezTo>
                  <a:pt x="67" y="36"/>
                  <a:pt x="67" y="36"/>
                  <a:pt x="67" y="36"/>
                </a:cubicBezTo>
                <a:cubicBezTo>
                  <a:pt x="67" y="35"/>
                  <a:pt x="67" y="35"/>
                  <a:pt x="67" y="35"/>
                </a:cubicBezTo>
                <a:cubicBezTo>
                  <a:pt x="67" y="34"/>
                  <a:pt x="67" y="32"/>
                  <a:pt x="70" y="31"/>
                </a:cubicBezTo>
                <a:cubicBezTo>
                  <a:pt x="70" y="31"/>
                  <a:pt x="70" y="31"/>
                  <a:pt x="71" y="31"/>
                </a:cubicBezTo>
                <a:cubicBezTo>
                  <a:pt x="71" y="26"/>
                  <a:pt x="71" y="26"/>
                  <a:pt x="71" y="26"/>
                </a:cubicBezTo>
                <a:cubicBezTo>
                  <a:pt x="71" y="25"/>
                  <a:pt x="71" y="23"/>
                  <a:pt x="70" y="23"/>
                </a:cubicBezTo>
                <a:cubicBezTo>
                  <a:pt x="67" y="22"/>
                  <a:pt x="65" y="20"/>
                  <a:pt x="65" y="20"/>
                </a:cubicBezTo>
                <a:cubicBezTo>
                  <a:pt x="63" y="18"/>
                  <a:pt x="61" y="17"/>
                  <a:pt x="61" y="17"/>
                </a:cubicBezTo>
                <a:cubicBezTo>
                  <a:pt x="58" y="14"/>
                  <a:pt x="58" y="14"/>
                  <a:pt x="58" y="14"/>
                </a:cubicBezTo>
                <a:cubicBezTo>
                  <a:pt x="58" y="14"/>
                  <a:pt x="57" y="14"/>
                  <a:pt x="57" y="13"/>
                </a:cubicBezTo>
                <a:cubicBezTo>
                  <a:pt x="57" y="10"/>
                  <a:pt x="57" y="10"/>
                  <a:pt x="57" y="10"/>
                </a:cubicBezTo>
                <a:cubicBezTo>
                  <a:pt x="57" y="9"/>
                  <a:pt x="57" y="9"/>
                  <a:pt x="57" y="9"/>
                </a:cubicBezTo>
                <a:cubicBezTo>
                  <a:pt x="59" y="7"/>
                  <a:pt x="59" y="7"/>
                  <a:pt x="59" y="7"/>
                </a:cubicBezTo>
                <a:cubicBezTo>
                  <a:pt x="58" y="6"/>
                  <a:pt x="58" y="5"/>
                  <a:pt x="58" y="4"/>
                </a:cubicBezTo>
                <a:cubicBezTo>
                  <a:pt x="57" y="4"/>
                  <a:pt x="57" y="3"/>
                  <a:pt x="57" y="2"/>
                </a:cubicBezTo>
                <a:cubicBezTo>
                  <a:pt x="56" y="2"/>
                  <a:pt x="56" y="2"/>
                  <a:pt x="56" y="2"/>
                </a:cubicBezTo>
                <a:cubicBezTo>
                  <a:pt x="55" y="2"/>
                  <a:pt x="55" y="2"/>
                  <a:pt x="55" y="2"/>
                </a:cubicBezTo>
                <a:cubicBezTo>
                  <a:pt x="51" y="0"/>
                  <a:pt x="51" y="0"/>
                  <a:pt x="51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52" y="1"/>
                  <a:pt x="52" y="1"/>
                  <a:pt x="52" y="1"/>
                </a:cubicBezTo>
                <a:cubicBezTo>
                  <a:pt x="52" y="1"/>
                  <a:pt x="52" y="2"/>
                  <a:pt x="53" y="3"/>
                </a:cubicBezTo>
                <a:cubicBezTo>
                  <a:pt x="53" y="3"/>
                  <a:pt x="53" y="3"/>
                  <a:pt x="53" y="3"/>
                </a:cubicBezTo>
                <a:cubicBezTo>
                  <a:pt x="53" y="4"/>
                  <a:pt x="53" y="4"/>
                  <a:pt x="54" y="5"/>
                </a:cubicBezTo>
                <a:cubicBezTo>
                  <a:pt x="54" y="7"/>
                  <a:pt x="55" y="8"/>
                  <a:pt x="54" y="9"/>
                </a:cubicBezTo>
                <a:cubicBezTo>
                  <a:pt x="54" y="17"/>
                  <a:pt x="54" y="17"/>
                  <a:pt x="54" y="17"/>
                </a:cubicBezTo>
                <a:cubicBezTo>
                  <a:pt x="53" y="18"/>
                  <a:pt x="53" y="18"/>
                  <a:pt x="53" y="18"/>
                </a:cubicBezTo>
                <a:cubicBezTo>
                  <a:pt x="53" y="19"/>
                  <a:pt x="53" y="19"/>
                  <a:pt x="53" y="19"/>
                </a:cubicBezTo>
                <a:cubicBezTo>
                  <a:pt x="53" y="19"/>
                  <a:pt x="53" y="20"/>
                  <a:pt x="53" y="21"/>
                </a:cubicBezTo>
                <a:cubicBezTo>
                  <a:pt x="53" y="23"/>
                  <a:pt x="51" y="23"/>
                  <a:pt x="51" y="23"/>
                </a:cubicBezTo>
                <a:cubicBezTo>
                  <a:pt x="50" y="24"/>
                  <a:pt x="49" y="23"/>
                  <a:pt x="48" y="23"/>
                </a:cubicBezTo>
                <a:cubicBezTo>
                  <a:pt x="44" y="23"/>
                  <a:pt x="44" y="23"/>
                  <a:pt x="44" y="23"/>
                </a:cubicBezTo>
                <a:cubicBezTo>
                  <a:pt x="44" y="23"/>
                  <a:pt x="44" y="23"/>
                  <a:pt x="44" y="23"/>
                </a:cubicBezTo>
                <a:cubicBezTo>
                  <a:pt x="40" y="22"/>
                  <a:pt x="40" y="22"/>
                  <a:pt x="40" y="22"/>
                </a:cubicBezTo>
                <a:cubicBezTo>
                  <a:pt x="39" y="22"/>
                  <a:pt x="38" y="21"/>
                  <a:pt x="38" y="20"/>
                </a:cubicBezTo>
                <a:cubicBezTo>
                  <a:pt x="38" y="18"/>
                  <a:pt x="38" y="18"/>
                  <a:pt x="38" y="18"/>
                </a:cubicBezTo>
                <a:cubicBezTo>
                  <a:pt x="38" y="18"/>
                  <a:pt x="38" y="18"/>
                  <a:pt x="38" y="18"/>
                </a:cubicBezTo>
                <a:cubicBezTo>
                  <a:pt x="37" y="18"/>
                  <a:pt x="37" y="18"/>
                  <a:pt x="36" y="18"/>
                </a:cubicBezTo>
                <a:cubicBezTo>
                  <a:pt x="35" y="16"/>
                  <a:pt x="35" y="16"/>
                  <a:pt x="35" y="16"/>
                </a:cubicBezTo>
                <a:cubicBezTo>
                  <a:pt x="33" y="16"/>
                  <a:pt x="33" y="16"/>
                  <a:pt x="33" y="16"/>
                </a:cubicBezTo>
                <a:cubicBezTo>
                  <a:pt x="30" y="19"/>
                  <a:pt x="30" y="19"/>
                  <a:pt x="30" y="19"/>
                </a:cubicBezTo>
                <a:cubicBezTo>
                  <a:pt x="29" y="19"/>
                  <a:pt x="29" y="19"/>
                  <a:pt x="29" y="19"/>
                </a:cubicBezTo>
                <a:cubicBezTo>
                  <a:pt x="26" y="19"/>
                  <a:pt x="26" y="19"/>
                  <a:pt x="26" y="19"/>
                </a:cubicBezTo>
                <a:cubicBezTo>
                  <a:pt x="26" y="19"/>
                  <a:pt x="26" y="19"/>
                  <a:pt x="26" y="19"/>
                </a:cubicBezTo>
                <a:cubicBezTo>
                  <a:pt x="26" y="20"/>
                  <a:pt x="26" y="20"/>
                  <a:pt x="26" y="21"/>
                </a:cubicBezTo>
                <a:cubicBezTo>
                  <a:pt x="26" y="21"/>
                  <a:pt x="24" y="23"/>
                  <a:pt x="23" y="26"/>
                </a:cubicBezTo>
                <a:cubicBezTo>
                  <a:pt x="22" y="27"/>
                  <a:pt x="22" y="27"/>
                  <a:pt x="22" y="27"/>
                </a:cubicBezTo>
                <a:cubicBezTo>
                  <a:pt x="22" y="27"/>
                  <a:pt x="22" y="27"/>
                  <a:pt x="22" y="27"/>
                </a:cubicBezTo>
                <a:cubicBezTo>
                  <a:pt x="23" y="28"/>
                  <a:pt x="23" y="29"/>
                  <a:pt x="23" y="29"/>
                </a:cubicBezTo>
                <a:cubicBezTo>
                  <a:pt x="23" y="29"/>
                  <a:pt x="22" y="31"/>
                  <a:pt x="22" y="33"/>
                </a:cubicBezTo>
                <a:cubicBezTo>
                  <a:pt x="23" y="34"/>
                  <a:pt x="23" y="35"/>
                  <a:pt x="22" y="36"/>
                </a:cubicBezTo>
                <a:cubicBezTo>
                  <a:pt x="22" y="37"/>
                  <a:pt x="22" y="37"/>
                  <a:pt x="22" y="37"/>
                </a:cubicBezTo>
                <a:cubicBezTo>
                  <a:pt x="21" y="38"/>
                  <a:pt x="19" y="39"/>
                  <a:pt x="19" y="40"/>
                </a:cubicBezTo>
                <a:cubicBezTo>
                  <a:pt x="19" y="40"/>
                  <a:pt x="19" y="41"/>
                  <a:pt x="18" y="41"/>
                </a:cubicBezTo>
                <a:cubicBezTo>
                  <a:pt x="19" y="42"/>
                  <a:pt x="19" y="42"/>
                  <a:pt x="19" y="42"/>
                </a:cubicBezTo>
                <a:cubicBezTo>
                  <a:pt x="20" y="42"/>
                  <a:pt x="21" y="42"/>
                  <a:pt x="21" y="43"/>
                </a:cubicBezTo>
                <a:cubicBezTo>
                  <a:pt x="22" y="43"/>
                  <a:pt x="22" y="43"/>
                  <a:pt x="22" y="43"/>
                </a:cubicBezTo>
                <a:cubicBezTo>
                  <a:pt x="22" y="44"/>
                  <a:pt x="23" y="46"/>
                  <a:pt x="22" y="46"/>
                </a:cubicBezTo>
                <a:cubicBezTo>
                  <a:pt x="22" y="46"/>
                  <a:pt x="22" y="47"/>
                  <a:pt x="21" y="47"/>
                </a:cubicBezTo>
                <a:cubicBezTo>
                  <a:pt x="21" y="49"/>
                  <a:pt x="21" y="49"/>
                  <a:pt x="21" y="49"/>
                </a:cubicBezTo>
                <a:cubicBezTo>
                  <a:pt x="21" y="50"/>
                  <a:pt x="21" y="51"/>
                  <a:pt x="20" y="51"/>
                </a:cubicBezTo>
                <a:cubicBezTo>
                  <a:pt x="19" y="52"/>
                  <a:pt x="16" y="53"/>
                  <a:pt x="15" y="55"/>
                </a:cubicBezTo>
                <a:cubicBezTo>
                  <a:pt x="14" y="57"/>
                  <a:pt x="13" y="58"/>
                  <a:pt x="12" y="58"/>
                </a:cubicBezTo>
                <a:cubicBezTo>
                  <a:pt x="11" y="58"/>
                  <a:pt x="10" y="57"/>
                  <a:pt x="9" y="56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57"/>
                  <a:pt x="0" y="58"/>
                  <a:pt x="0" y="59"/>
                </a:cubicBezTo>
                <a:cubicBezTo>
                  <a:pt x="0" y="59"/>
                  <a:pt x="1" y="61"/>
                  <a:pt x="1" y="62"/>
                </a:cubicBezTo>
                <a:cubicBezTo>
                  <a:pt x="1" y="63"/>
                  <a:pt x="2" y="63"/>
                  <a:pt x="2" y="64"/>
                </a:cubicBezTo>
                <a:cubicBezTo>
                  <a:pt x="2" y="64"/>
                  <a:pt x="3" y="64"/>
                  <a:pt x="4" y="64"/>
                </a:cubicBezTo>
                <a:cubicBezTo>
                  <a:pt x="6" y="65"/>
                  <a:pt x="6" y="65"/>
                  <a:pt x="6" y="65"/>
                </a:cubicBezTo>
                <a:cubicBezTo>
                  <a:pt x="10" y="68"/>
                  <a:pt x="10" y="68"/>
                  <a:pt x="10" y="68"/>
                </a:cubicBezTo>
                <a:cubicBezTo>
                  <a:pt x="17" y="69"/>
                  <a:pt x="17" y="69"/>
                  <a:pt x="17" y="69"/>
                </a:cubicBezTo>
                <a:cubicBezTo>
                  <a:pt x="18" y="70"/>
                  <a:pt x="18" y="70"/>
                  <a:pt x="19" y="71"/>
                </a:cubicBezTo>
                <a:cubicBezTo>
                  <a:pt x="19" y="71"/>
                  <a:pt x="19" y="72"/>
                  <a:pt x="18" y="73"/>
                </a:cubicBezTo>
                <a:cubicBezTo>
                  <a:pt x="17" y="75"/>
                  <a:pt x="14" y="77"/>
                  <a:pt x="12" y="78"/>
                </a:cubicBezTo>
                <a:cubicBezTo>
                  <a:pt x="11" y="78"/>
                  <a:pt x="10" y="77"/>
                  <a:pt x="10" y="77"/>
                </a:cubicBezTo>
                <a:cubicBezTo>
                  <a:pt x="10" y="77"/>
                  <a:pt x="9" y="77"/>
                  <a:pt x="8" y="77"/>
                </a:cubicBezTo>
                <a:cubicBezTo>
                  <a:pt x="7" y="77"/>
                  <a:pt x="6" y="77"/>
                  <a:pt x="6" y="77"/>
                </a:cubicBezTo>
                <a:cubicBezTo>
                  <a:pt x="6" y="77"/>
                  <a:pt x="5" y="77"/>
                  <a:pt x="5" y="78"/>
                </a:cubicBezTo>
                <a:cubicBezTo>
                  <a:pt x="5" y="78"/>
                  <a:pt x="5" y="78"/>
                  <a:pt x="5" y="78"/>
                </a:cubicBezTo>
                <a:cubicBezTo>
                  <a:pt x="4" y="80"/>
                  <a:pt x="4" y="81"/>
                  <a:pt x="4" y="81"/>
                </a:cubicBezTo>
                <a:cubicBezTo>
                  <a:pt x="6" y="86"/>
                  <a:pt x="6" y="86"/>
                  <a:pt x="6" y="86"/>
                </a:cubicBezTo>
                <a:cubicBezTo>
                  <a:pt x="7" y="87"/>
                  <a:pt x="9" y="86"/>
                  <a:pt x="12" y="85"/>
                </a:cubicBezTo>
                <a:cubicBezTo>
                  <a:pt x="15" y="83"/>
                  <a:pt x="18" y="83"/>
                  <a:pt x="18" y="83"/>
                </a:cubicBezTo>
                <a:cubicBezTo>
                  <a:pt x="19" y="83"/>
                  <a:pt x="19" y="83"/>
                  <a:pt x="19" y="83"/>
                </a:cubicBezTo>
                <a:cubicBezTo>
                  <a:pt x="23" y="83"/>
                  <a:pt x="23" y="83"/>
                  <a:pt x="23" y="83"/>
                </a:cubicBezTo>
                <a:cubicBezTo>
                  <a:pt x="23" y="83"/>
                  <a:pt x="23" y="84"/>
                  <a:pt x="24" y="84"/>
                </a:cubicBezTo>
                <a:cubicBezTo>
                  <a:pt x="25" y="85"/>
                  <a:pt x="25" y="85"/>
                  <a:pt x="25" y="85"/>
                </a:cubicBezTo>
                <a:cubicBezTo>
                  <a:pt x="28" y="86"/>
                  <a:pt x="31" y="86"/>
                  <a:pt x="32" y="86"/>
                </a:cubicBezTo>
                <a:cubicBezTo>
                  <a:pt x="32" y="86"/>
                  <a:pt x="32" y="86"/>
                  <a:pt x="32" y="86"/>
                </a:cubicBezTo>
                <a:cubicBezTo>
                  <a:pt x="33" y="86"/>
                  <a:pt x="35" y="85"/>
                  <a:pt x="36" y="86"/>
                </a:cubicBezTo>
                <a:cubicBezTo>
                  <a:pt x="36" y="86"/>
                  <a:pt x="37" y="86"/>
                  <a:pt x="37" y="87"/>
                </a:cubicBezTo>
                <a:cubicBezTo>
                  <a:pt x="37" y="86"/>
                  <a:pt x="38" y="86"/>
                  <a:pt x="38" y="86"/>
                </a:cubicBezTo>
                <a:cubicBezTo>
                  <a:pt x="42" y="88"/>
                  <a:pt x="44" y="88"/>
                  <a:pt x="44" y="8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reeform 33">
            <a:extLst>
              <a:ext uri="{FF2B5EF4-FFF2-40B4-BE49-F238E27FC236}">
                <a16:creationId xmlns:a16="http://schemas.microsoft.com/office/drawing/2014/main" id="{4B03F4DC-F355-4084-A5AB-1A390EC882E2}"/>
              </a:ext>
            </a:extLst>
          </p:cNvPr>
          <p:cNvSpPr>
            <a:spLocks/>
          </p:cNvSpPr>
          <p:nvPr/>
        </p:nvSpPr>
        <p:spPr bwMode="auto">
          <a:xfrm>
            <a:off x="4966243" y="2803054"/>
            <a:ext cx="190897" cy="241300"/>
          </a:xfrm>
          <a:custGeom>
            <a:avLst/>
            <a:gdLst>
              <a:gd name="T0" fmla="*/ 25 w 79"/>
              <a:gd name="T1" fmla="*/ 87 h 108"/>
              <a:gd name="T2" fmla="*/ 27 w 79"/>
              <a:gd name="T3" fmla="*/ 85 h 108"/>
              <a:gd name="T4" fmla="*/ 41 w 79"/>
              <a:gd name="T5" fmla="*/ 86 h 108"/>
              <a:gd name="T6" fmla="*/ 46 w 79"/>
              <a:gd name="T7" fmla="*/ 81 h 108"/>
              <a:gd name="T8" fmla="*/ 47 w 79"/>
              <a:gd name="T9" fmla="*/ 78 h 108"/>
              <a:gd name="T10" fmla="*/ 43 w 79"/>
              <a:gd name="T11" fmla="*/ 75 h 108"/>
              <a:gd name="T12" fmla="*/ 44 w 79"/>
              <a:gd name="T13" fmla="*/ 72 h 108"/>
              <a:gd name="T14" fmla="*/ 48 w 79"/>
              <a:gd name="T15" fmla="*/ 67 h 108"/>
              <a:gd name="T16" fmla="*/ 47 w 79"/>
              <a:gd name="T17" fmla="*/ 62 h 108"/>
              <a:gd name="T18" fmla="*/ 51 w 79"/>
              <a:gd name="T19" fmla="*/ 52 h 108"/>
              <a:gd name="T20" fmla="*/ 53 w 79"/>
              <a:gd name="T21" fmla="*/ 48 h 108"/>
              <a:gd name="T22" fmla="*/ 60 w 79"/>
              <a:gd name="T23" fmla="*/ 46 h 108"/>
              <a:gd name="T24" fmla="*/ 64 w 79"/>
              <a:gd name="T25" fmla="*/ 45 h 108"/>
              <a:gd name="T26" fmla="*/ 68 w 79"/>
              <a:gd name="T27" fmla="*/ 47 h 108"/>
              <a:gd name="T28" fmla="*/ 71 w 79"/>
              <a:gd name="T29" fmla="*/ 51 h 108"/>
              <a:gd name="T30" fmla="*/ 78 w 79"/>
              <a:gd name="T31" fmla="*/ 52 h 108"/>
              <a:gd name="T32" fmla="*/ 79 w 79"/>
              <a:gd name="T33" fmla="*/ 49 h 108"/>
              <a:gd name="T34" fmla="*/ 79 w 79"/>
              <a:gd name="T35" fmla="*/ 40 h 108"/>
              <a:gd name="T36" fmla="*/ 78 w 79"/>
              <a:gd name="T37" fmla="*/ 38 h 108"/>
              <a:gd name="T38" fmla="*/ 77 w 79"/>
              <a:gd name="T39" fmla="*/ 34 h 108"/>
              <a:gd name="T40" fmla="*/ 70 w 79"/>
              <a:gd name="T41" fmla="*/ 32 h 108"/>
              <a:gd name="T42" fmla="*/ 64 w 79"/>
              <a:gd name="T43" fmla="*/ 27 h 108"/>
              <a:gd name="T44" fmla="*/ 51 w 79"/>
              <a:gd name="T45" fmla="*/ 27 h 108"/>
              <a:gd name="T46" fmla="*/ 49 w 79"/>
              <a:gd name="T47" fmla="*/ 21 h 108"/>
              <a:gd name="T48" fmla="*/ 47 w 79"/>
              <a:gd name="T49" fmla="*/ 19 h 108"/>
              <a:gd name="T50" fmla="*/ 45 w 79"/>
              <a:gd name="T51" fmla="*/ 13 h 108"/>
              <a:gd name="T52" fmla="*/ 43 w 79"/>
              <a:gd name="T53" fmla="*/ 6 h 108"/>
              <a:gd name="T54" fmla="*/ 36 w 79"/>
              <a:gd name="T55" fmla="*/ 10 h 108"/>
              <a:gd name="T56" fmla="*/ 31 w 79"/>
              <a:gd name="T57" fmla="*/ 10 h 108"/>
              <a:gd name="T58" fmla="*/ 20 w 79"/>
              <a:gd name="T59" fmla="*/ 7 h 108"/>
              <a:gd name="T60" fmla="*/ 19 w 79"/>
              <a:gd name="T61" fmla="*/ 2 h 108"/>
              <a:gd name="T62" fmla="*/ 13 w 79"/>
              <a:gd name="T63" fmla="*/ 0 h 108"/>
              <a:gd name="T64" fmla="*/ 10 w 79"/>
              <a:gd name="T65" fmla="*/ 1 h 108"/>
              <a:gd name="T66" fmla="*/ 11 w 79"/>
              <a:gd name="T67" fmla="*/ 5 h 108"/>
              <a:gd name="T68" fmla="*/ 11 w 79"/>
              <a:gd name="T69" fmla="*/ 7 h 108"/>
              <a:gd name="T70" fmla="*/ 16 w 79"/>
              <a:gd name="T71" fmla="*/ 11 h 108"/>
              <a:gd name="T72" fmla="*/ 13 w 79"/>
              <a:gd name="T73" fmla="*/ 18 h 108"/>
              <a:gd name="T74" fmla="*/ 15 w 79"/>
              <a:gd name="T75" fmla="*/ 19 h 108"/>
              <a:gd name="T76" fmla="*/ 16 w 79"/>
              <a:gd name="T77" fmla="*/ 26 h 108"/>
              <a:gd name="T78" fmla="*/ 17 w 79"/>
              <a:gd name="T79" fmla="*/ 35 h 108"/>
              <a:gd name="T80" fmla="*/ 13 w 79"/>
              <a:gd name="T81" fmla="*/ 38 h 108"/>
              <a:gd name="T82" fmla="*/ 12 w 79"/>
              <a:gd name="T83" fmla="*/ 39 h 108"/>
              <a:gd name="T84" fmla="*/ 8 w 79"/>
              <a:gd name="T85" fmla="*/ 44 h 108"/>
              <a:gd name="T86" fmla="*/ 6 w 79"/>
              <a:gd name="T87" fmla="*/ 51 h 108"/>
              <a:gd name="T88" fmla="*/ 6 w 79"/>
              <a:gd name="T89" fmla="*/ 51 h 108"/>
              <a:gd name="T90" fmla="*/ 6 w 79"/>
              <a:gd name="T91" fmla="*/ 53 h 108"/>
              <a:gd name="T92" fmla="*/ 2 w 79"/>
              <a:gd name="T93" fmla="*/ 54 h 108"/>
              <a:gd name="T94" fmla="*/ 0 w 79"/>
              <a:gd name="T95" fmla="*/ 56 h 108"/>
              <a:gd name="T96" fmla="*/ 3 w 79"/>
              <a:gd name="T97" fmla="*/ 68 h 108"/>
              <a:gd name="T98" fmla="*/ 2 w 79"/>
              <a:gd name="T99" fmla="*/ 75 h 108"/>
              <a:gd name="T100" fmla="*/ 2 w 79"/>
              <a:gd name="T101" fmla="*/ 81 h 108"/>
              <a:gd name="T102" fmla="*/ 0 w 79"/>
              <a:gd name="T103" fmla="*/ 85 h 108"/>
              <a:gd name="T104" fmla="*/ 0 w 79"/>
              <a:gd name="T105" fmla="*/ 92 h 108"/>
              <a:gd name="T106" fmla="*/ 0 w 79"/>
              <a:gd name="T107" fmla="*/ 94 h 108"/>
              <a:gd name="T108" fmla="*/ 0 w 79"/>
              <a:gd name="T109" fmla="*/ 98 h 108"/>
              <a:gd name="T110" fmla="*/ 0 w 79"/>
              <a:gd name="T111" fmla="*/ 103 h 108"/>
              <a:gd name="T112" fmla="*/ 0 w 79"/>
              <a:gd name="T113" fmla="*/ 108 h 108"/>
              <a:gd name="T114" fmla="*/ 14 w 79"/>
              <a:gd name="T115" fmla="*/ 106 h 108"/>
              <a:gd name="T116" fmla="*/ 18 w 79"/>
              <a:gd name="T117" fmla="*/ 106 h 108"/>
              <a:gd name="T118" fmla="*/ 26 w 79"/>
              <a:gd name="T119" fmla="*/ 105 h 108"/>
              <a:gd name="T120" fmla="*/ 26 w 79"/>
              <a:gd name="T121" fmla="*/ 99 h 108"/>
              <a:gd name="T122" fmla="*/ 27 w 79"/>
              <a:gd name="T123" fmla="*/ 97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9" h="108">
                <a:moveTo>
                  <a:pt x="25" y="91"/>
                </a:moveTo>
                <a:cubicBezTo>
                  <a:pt x="25" y="90"/>
                  <a:pt x="25" y="87"/>
                  <a:pt x="25" y="87"/>
                </a:cubicBezTo>
                <a:cubicBezTo>
                  <a:pt x="25" y="86"/>
                  <a:pt x="25" y="86"/>
                  <a:pt x="25" y="86"/>
                </a:cubicBezTo>
                <a:cubicBezTo>
                  <a:pt x="26" y="85"/>
                  <a:pt x="26" y="85"/>
                  <a:pt x="27" y="85"/>
                </a:cubicBezTo>
                <a:cubicBezTo>
                  <a:pt x="39" y="85"/>
                  <a:pt x="39" y="85"/>
                  <a:pt x="39" y="85"/>
                </a:cubicBezTo>
                <a:cubicBezTo>
                  <a:pt x="40" y="85"/>
                  <a:pt x="40" y="86"/>
                  <a:pt x="41" y="86"/>
                </a:cubicBezTo>
                <a:cubicBezTo>
                  <a:pt x="41" y="86"/>
                  <a:pt x="41" y="86"/>
                  <a:pt x="41" y="86"/>
                </a:cubicBezTo>
                <a:cubicBezTo>
                  <a:pt x="42" y="84"/>
                  <a:pt x="45" y="82"/>
                  <a:pt x="46" y="81"/>
                </a:cubicBezTo>
                <a:cubicBezTo>
                  <a:pt x="46" y="79"/>
                  <a:pt x="46" y="79"/>
                  <a:pt x="46" y="79"/>
                </a:cubicBezTo>
                <a:cubicBezTo>
                  <a:pt x="46" y="79"/>
                  <a:pt x="46" y="78"/>
                  <a:pt x="47" y="78"/>
                </a:cubicBezTo>
                <a:cubicBezTo>
                  <a:pt x="46" y="78"/>
                  <a:pt x="46" y="78"/>
                  <a:pt x="46" y="78"/>
                </a:cubicBezTo>
                <a:cubicBezTo>
                  <a:pt x="43" y="75"/>
                  <a:pt x="43" y="75"/>
                  <a:pt x="43" y="75"/>
                </a:cubicBezTo>
                <a:cubicBezTo>
                  <a:pt x="42" y="75"/>
                  <a:pt x="42" y="74"/>
                  <a:pt x="42" y="73"/>
                </a:cubicBezTo>
                <a:cubicBezTo>
                  <a:pt x="42" y="72"/>
                  <a:pt x="43" y="72"/>
                  <a:pt x="44" y="72"/>
                </a:cubicBezTo>
                <a:cubicBezTo>
                  <a:pt x="44" y="72"/>
                  <a:pt x="44" y="72"/>
                  <a:pt x="44" y="71"/>
                </a:cubicBezTo>
                <a:cubicBezTo>
                  <a:pt x="45" y="70"/>
                  <a:pt x="47" y="68"/>
                  <a:pt x="48" y="67"/>
                </a:cubicBezTo>
                <a:cubicBezTo>
                  <a:pt x="48" y="67"/>
                  <a:pt x="48" y="67"/>
                  <a:pt x="47" y="67"/>
                </a:cubicBezTo>
                <a:cubicBezTo>
                  <a:pt x="47" y="65"/>
                  <a:pt x="47" y="63"/>
                  <a:pt x="47" y="62"/>
                </a:cubicBezTo>
                <a:cubicBezTo>
                  <a:pt x="47" y="61"/>
                  <a:pt x="47" y="59"/>
                  <a:pt x="48" y="58"/>
                </a:cubicBezTo>
                <a:cubicBezTo>
                  <a:pt x="49" y="55"/>
                  <a:pt x="51" y="53"/>
                  <a:pt x="51" y="52"/>
                </a:cubicBezTo>
                <a:cubicBezTo>
                  <a:pt x="51" y="50"/>
                  <a:pt x="51" y="50"/>
                  <a:pt x="51" y="50"/>
                </a:cubicBezTo>
                <a:cubicBezTo>
                  <a:pt x="51" y="49"/>
                  <a:pt x="52" y="48"/>
                  <a:pt x="53" y="48"/>
                </a:cubicBezTo>
                <a:cubicBezTo>
                  <a:pt x="57" y="48"/>
                  <a:pt x="57" y="48"/>
                  <a:pt x="57" y="48"/>
                </a:cubicBezTo>
                <a:cubicBezTo>
                  <a:pt x="60" y="46"/>
                  <a:pt x="60" y="46"/>
                  <a:pt x="60" y="46"/>
                </a:cubicBezTo>
                <a:cubicBezTo>
                  <a:pt x="60" y="45"/>
                  <a:pt x="61" y="45"/>
                  <a:pt x="61" y="45"/>
                </a:cubicBezTo>
                <a:cubicBezTo>
                  <a:pt x="64" y="45"/>
                  <a:pt x="64" y="45"/>
                  <a:pt x="64" y="45"/>
                </a:cubicBezTo>
                <a:cubicBezTo>
                  <a:pt x="65" y="45"/>
                  <a:pt x="65" y="45"/>
                  <a:pt x="66" y="46"/>
                </a:cubicBezTo>
                <a:cubicBezTo>
                  <a:pt x="68" y="47"/>
                  <a:pt x="68" y="47"/>
                  <a:pt x="68" y="47"/>
                </a:cubicBezTo>
                <a:cubicBezTo>
                  <a:pt x="70" y="48"/>
                  <a:pt x="71" y="49"/>
                  <a:pt x="71" y="51"/>
                </a:cubicBezTo>
                <a:cubicBezTo>
                  <a:pt x="71" y="51"/>
                  <a:pt x="71" y="51"/>
                  <a:pt x="71" y="51"/>
                </a:cubicBezTo>
                <a:cubicBezTo>
                  <a:pt x="73" y="52"/>
                  <a:pt x="73" y="52"/>
                  <a:pt x="73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8" y="51"/>
                  <a:pt x="78" y="51"/>
                  <a:pt x="78" y="50"/>
                </a:cubicBezTo>
                <a:cubicBezTo>
                  <a:pt x="79" y="49"/>
                  <a:pt x="79" y="49"/>
                  <a:pt x="79" y="49"/>
                </a:cubicBezTo>
                <a:cubicBezTo>
                  <a:pt x="79" y="41"/>
                  <a:pt x="79" y="41"/>
                  <a:pt x="79" y="41"/>
                </a:cubicBezTo>
                <a:cubicBezTo>
                  <a:pt x="79" y="40"/>
                  <a:pt x="79" y="40"/>
                  <a:pt x="79" y="40"/>
                </a:cubicBezTo>
                <a:cubicBezTo>
                  <a:pt x="79" y="40"/>
                  <a:pt x="79" y="40"/>
                  <a:pt x="79" y="40"/>
                </a:cubicBezTo>
                <a:cubicBezTo>
                  <a:pt x="78" y="39"/>
                  <a:pt x="78" y="38"/>
                  <a:pt x="78" y="38"/>
                </a:cubicBezTo>
                <a:cubicBezTo>
                  <a:pt x="78" y="38"/>
                  <a:pt x="78" y="38"/>
                  <a:pt x="78" y="37"/>
                </a:cubicBezTo>
                <a:cubicBezTo>
                  <a:pt x="77" y="36"/>
                  <a:pt x="77" y="35"/>
                  <a:pt x="77" y="34"/>
                </a:cubicBezTo>
                <a:cubicBezTo>
                  <a:pt x="76" y="32"/>
                  <a:pt x="75" y="31"/>
                  <a:pt x="75" y="31"/>
                </a:cubicBezTo>
                <a:cubicBezTo>
                  <a:pt x="70" y="32"/>
                  <a:pt x="70" y="32"/>
                  <a:pt x="70" y="32"/>
                </a:cubicBezTo>
                <a:cubicBezTo>
                  <a:pt x="70" y="32"/>
                  <a:pt x="69" y="32"/>
                  <a:pt x="68" y="31"/>
                </a:cubicBezTo>
                <a:cubicBezTo>
                  <a:pt x="64" y="27"/>
                  <a:pt x="64" y="27"/>
                  <a:pt x="64" y="27"/>
                </a:cubicBezTo>
                <a:cubicBezTo>
                  <a:pt x="63" y="27"/>
                  <a:pt x="63" y="27"/>
                  <a:pt x="63" y="27"/>
                </a:cubicBezTo>
                <a:cubicBezTo>
                  <a:pt x="61" y="27"/>
                  <a:pt x="54" y="28"/>
                  <a:pt x="51" y="27"/>
                </a:cubicBezTo>
                <a:cubicBezTo>
                  <a:pt x="50" y="27"/>
                  <a:pt x="49" y="26"/>
                  <a:pt x="49" y="25"/>
                </a:cubicBezTo>
                <a:cubicBezTo>
                  <a:pt x="49" y="24"/>
                  <a:pt x="49" y="22"/>
                  <a:pt x="49" y="21"/>
                </a:cubicBezTo>
                <a:cubicBezTo>
                  <a:pt x="48" y="19"/>
                  <a:pt x="48" y="19"/>
                  <a:pt x="48" y="19"/>
                </a:cubicBezTo>
                <a:cubicBezTo>
                  <a:pt x="47" y="19"/>
                  <a:pt x="47" y="19"/>
                  <a:pt x="47" y="19"/>
                </a:cubicBezTo>
                <a:cubicBezTo>
                  <a:pt x="45" y="13"/>
                  <a:pt x="45" y="13"/>
                  <a:pt x="45" y="13"/>
                </a:cubicBezTo>
                <a:cubicBezTo>
                  <a:pt x="45" y="13"/>
                  <a:pt x="45" y="13"/>
                  <a:pt x="45" y="13"/>
                </a:cubicBezTo>
                <a:cubicBezTo>
                  <a:pt x="45" y="9"/>
                  <a:pt x="45" y="9"/>
                  <a:pt x="45" y="9"/>
                </a:cubicBezTo>
                <a:cubicBezTo>
                  <a:pt x="43" y="6"/>
                  <a:pt x="43" y="6"/>
                  <a:pt x="43" y="6"/>
                </a:cubicBezTo>
                <a:cubicBezTo>
                  <a:pt x="43" y="7"/>
                  <a:pt x="42" y="7"/>
                  <a:pt x="42" y="8"/>
                </a:cubicBezTo>
                <a:cubicBezTo>
                  <a:pt x="40" y="10"/>
                  <a:pt x="39" y="10"/>
                  <a:pt x="36" y="10"/>
                </a:cubicBezTo>
                <a:cubicBezTo>
                  <a:pt x="32" y="10"/>
                  <a:pt x="32" y="10"/>
                  <a:pt x="32" y="10"/>
                </a:cubicBezTo>
                <a:cubicBezTo>
                  <a:pt x="31" y="10"/>
                  <a:pt x="31" y="10"/>
                  <a:pt x="31" y="10"/>
                </a:cubicBezTo>
                <a:cubicBezTo>
                  <a:pt x="27" y="8"/>
                  <a:pt x="27" y="8"/>
                  <a:pt x="27" y="8"/>
                </a:cubicBezTo>
                <a:cubicBezTo>
                  <a:pt x="26" y="8"/>
                  <a:pt x="22" y="8"/>
                  <a:pt x="20" y="7"/>
                </a:cubicBezTo>
                <a:cubicBezTo>
                  <a:pt x="19" y="6"/>
                  <a:pt x="18" y="5"/>
                  <a:pt x="18" y="3"/>
                </a:cubicBezTo>
                <a:cubicBezTo>
                  <a:pt x="18" y="3"/>
                  <a:pt x="18" y="3"/>
                  <a:pt x="19" y="2"/>
                </a:cubicBezTo>
                <a:cubicBezTo>
                  <a:pt x="18" y="0"/>
                  <a:pt x="18" y="0"/>
                  <a:pt x="18" y="0"/>
                </a:cubicBezTo>
                <a:cubicBezTo>
                  <a:pt x="13" y="0"/>
                  <a:pt x="13" y="0"/>
                  <a:pt x="13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12" y="0"/>
                  <a:pt x="11" y="0"/>
                  <a:pt x="10" y="1"/>
                </a:cubicBezTo>
                <a:cubicBezTo>
                  <a:pt x="10" y="2"/>
                  <a:pt x="10" y="2"/>
                  <a:pt x="10" y="2"/>
                </a:cubicBezTo>
                <a:cubicBezTo>
                  <a:pt x="10" y="2"/>
                  <a:pt x="11" y="3"/>
                  <a:pt x="11" y="5"/>
                </a:cubicBezTo>
                <a:cubicBezTo>
                  <a:pt x="11" y="6"/>
                  <a:pt x="10" y="6"/>
                  <a:pt x="10" y="6"/>
                </a:cubicBezTo>
                <a:cubicBezTo>
                  <a:pt x="10" y="6"/>
                  <a:pt x="10" y="6"/>
                  <a:pt x="11" y="7"/>
                </a:cubicBezTo>
                <a:cubicBezTo>
                  <a:pt x="13" y="8"/>
                  <a:pt x="13" y="8"/>
                  <a:pt x="13" y="8"/>
                </a:cubicBezTo>
                <a:cubicBezTo>
                  <a:pt x="14" y="8"/>
                  <a:pt x="16" y="9"/>
                  <a:pt x="16" y="11"/>
                </a:cubicBezTo>
                <a:cubicBezTo>
                  <a:pt x="16" y="11"/>
                  <a:pt x="15" y="12"/>
                  <a:pt x="14" y="13"/>
                </a:cubicBezTo>
                <a:cubicBezTo>
                  <a:pt x="14" y="14"/>
                  <a:pt x="13" y="16"/>
                  <a:pt x="13" y="18"/>
                </a:cubicBezTo>
                <a:cubicBezTo>
                  <a:pt x="13" y="18"/>
                  <a:pt x="13" y="18"/>
                  <a:pt x="13" y="18"/>
                </a:cubicBezTo>
                <a:cubicBezTo>
                  <a:pt x="14" y="18"/>
                  <a:pt x="15" y="19"/>
                  <a:pt x="15" y="19"/>
                </a:cubicBezTo>
                <a:cubicBezTo>
                  <a:pt x="15" y="24"/>
                  <a:pt x="15" y="24"/>
                  <a:pt x="15" y="24"/>
                </a:cubicBezTo>
                <a:cubicBezTo>
                  <a:pt x="16" y="26"/>
                  <a:pt x="16" y="26"/>
                  <a:pt x="16" y="26"/>
                </a:cubicBezTo>
                <a:cubicBezTo>
                  <a:pt x="17" y="26"/>
                  <a:pt x="17" y="27"/>
                  <a:pt x="17" y="27"/>
                </a:cubicBezTo>
                <a:cubicBezTo>
                  <a:pt x="17" y="35"/>
                  <a:pt x="17" y="35"/>
                  <a:pt x="17" y="35"/>
                </a:cubicBezTo>
                <a:cubicBezTo>
                  <a:pt x="17" y="39"/>
                  <a:pt x="17" y="39"/>
                  <a:pt x="15" y="40"/>
                </a:cubicBezTo>
                <a:cubicBezTo>
                  <a:pt x="15" y="40"/>
                  <a:pt x="14" y="40"/>
                  <a:pt x="13" y="38"/>
                </a:cubicBezTo>
                <a:cubicBezTo>
                  <a:pt x="13" y="38"/>
                  <a:pt x="13" y="38"/>
                  <a:pt x="13" y="38"/>
                </a:cubicBezTo>
                <a:cubicBezTo>
                  <a:pt x="13" y="38"/>
                  <a:pt x="13" y="39"/>
                  <a:pt x="12" y="39"/>
                </a:cubicBezTo>
                <a:cubicBezTo>
                  <a:pt x="12" y="40"/>
                  <a:pt x="12" y="41"/>
                  <a:pt x="11" y="42"/>
                </a:cubicBezTo>
                <a:cubicBezTo>
                  <a:pt x="10" y="43"/>
                  <a:pt x="9" y="44"/>
                  <a:pt x="8" y="44"/>
                </a:cubicBezTo>
                <a:cubicBezTo>
                  <a:pt x="7" y="48"/>
                  <a:pt x="7" y="48"/>
                  <a:pt x="7" y="48"/>
                </a:cubicBezTo>
                <a:cubicBezTo>
                  <a:pt x="7" y="49"/>
                  <a:pt x="6" y="50"/>
                  <a:pt x="6" y="51"/>
                </a:cubicBezTo>
                <a:cubicBezTo>
                  <a:pt x="6" y="51"/>
                  <a:pt x="6" y="51"/>
                  <a:pt x="6" y="51"/>
                </a:cubicBezTo>
                <a:cubicBezTo>
                  <a:pt x="6" y="51"/>
                  <a:pt x="6" y="51"/>
                  <a:pt x="6" y="51"/>
                </a:cubicBezTo>
                <a:cubicBezTo>
                  <a:pt x="6" y="51"/>
                  <a:pt x="6" y="51"/>
                  <a:pt x="6" y="51"/>
                </a:cubicBezTo>
                <a:cubicBezTo>
                  <a:pt x="6" y="52"/>
                  <a:pt x="6" y="53"/>
                  <a:pt x="6" y="53"/>
                </a:cubicBezTo>
                <a:cubicBezTo>
                  <a:pt x="6" y="54"/>
                  <a:pt x="5" y="54"/>
                  <a:pt x="4" y="54"/>
                </a:cubicBezTo>
                <a:cubicBezTo>
                  <a:pt x="2" y="54"/>
                  <a:pt x="2" y="54"/>
                  <a:pt x="2" y="54"/>
                </a:cubicBezTo>
                <a:cubicBezTo>
                  <a:pt x="1" y="55"/>
                  <a:pt x="1" y="55"/>
                  <a:pt x="1" y="55"/>
                </a:cubicBezTo>
                <a:cubicBezTo>
                  <a:pt x="1" y="56"/>
                  <a:pt x="0" y="56"/>
                  <a:pt x="0" y="56"/>
                </a:cubicBezTo>
                <a:cubicBezTo>
                  <a:pt x="1" y="58"/>
                  <a:pt x="2" y="61"/>
                  <a:pt x="3" y="63"/>
                </a:cubicBezTo>
                <a:cubicBezTo>
                  <a:pt x="3" y="64"/>
                  <a:pt x="4" y="67"/>
                  <a:pt x="3" y="68"/>
                </a:cubicBezTo>
                <a:cubicBezTo>
                  <a:pt x="3" y="69"/>
                  <a:pt x="3" y="71"/>
                  <a:pt x="2" y="73"/>
                </a:cubicBezTo>
                <a:cubicBezTo>
                  <a:pt x="2" y="74"/>
                  <a:pt x="2" y="74"/>
                  <a:pt x="2" y="75"/>
                </a:cubicBezTo>
                <a:cubicBezTo>
                  <a:pt x="2" y="75"/>
                  <a:pt x="2" y="75"/>
                  <a:pt x="2" y="76"/>
                </a:cubicBezTo>
                <a:cubicBezTo>
                  <a:pt x="2" y="81"/>
                  <a:pt x="2" y="81"/>
                  <a:pt x="2" y="81"/>
                </a:cubicBezTo>
                <a:cubicBezTo>
                  <a:pt x="2" y="82"/>
                  <a:pt x="2" y="82"/>
                  <a:pt x="2" y="82"/>
                </a:cubicBezTo>
                <a:cubicBezTo>
                  <a:pt x="1" y="83"/>
                  <a:pt x="1" y="84"/>
                  <a:pt x="0" y="85"/>
                </a:cubicBezTo>
                <a:cubicBezTo>
                  <a:pt x="0" y="86"/>
                  <a:pt x="0" y="86"/>
                  <a:pt x="0" y="86"/>
                </a:cubicBezTo>
                <a:cubicBezTo>
                  <a:pt x="1" y="88"/>
                  <a:pt x="1" y="89"/>
                  <a:pt x="0" y="92"/>
                </a:cubicBezTo>
                <a:cubicBezTo>
                  <a:pt x="0" y="93"/>
                  <a:pt x="0" y="93"/>
                  <a:pt x="0" y="93"/>
                </a:cubicBezTo>
                <a:cubicBezTo>
                  <a:pt x="0" y="93"/>
                  <a:pt x="0" y="93"/>
                  <a:pt x="0" y="94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95"/>
                  <a:pt x="0" y="96"/>
                  <a:pt x="0" y="98"/>
                </a:cubicBezTo>
                <a:cubicBezTo>
                  <a:pt x="0" y="99"/>
                  <a:pt x="0" y="99"/>
                  <a:pt x="0" y="99"/>
                </a:cubicBezTo>
                <a:cubicBezTo>
                  <a:pt x="1" y="101"/>
                  <a:pt x="0" y="102"/>
                  <a:pt x="0" y="103"/>
                </a:cubicBezTo>
                <a:cubicBezTo>
                  <a:pt x="0" y="104"/>
                  <a:pt x="0" y="104"/>
                  <a:pt x="0" y="104"/>
                </a:cubicBezTo>
                <a:cubicBezTo>
                  <a:pt x="0" y="106"/>
                  <a:pt x="0" y="107"/>
                  <a:pt x="0" y="108"/>
                </a:cubicBezTo>
                <a:cubicBezTo>
                  <a:pt x="9" y="106"/>
                  <a:pt x="9" y="106"/>
                  <a:pt x="9" y="106"/>
                </a:cubicBezTo>
                <a:cubicBezTo>
                  <a:pt x="9" y="106"/>
                  <a:pt x="11" y="105"/>
                  <a:pt x="14" y="106"/>
                </a:cubicBezTo>
                <a:cubicBezTo>
                  <a:pt x="16" y="107"/>
                  <a:pt x="17" y="106"/>
                  <a:pt x="17" y="106"/>
                </a:cubicBezTo>
                <a:cubicBezTo>
                  <a:pt x="18" y="106"/>
                  <a:pt x="18" y="106"/>
                  <a:pt x="18" y="106"/>
                </a:cubicBezTo>
                <a:cubicBezTo>
                  <a:pt x="22" y="106"/>
                  <a:pt x="22" y="106"/>
                  <a:pt x="22" y="106"/>
                </a:cubicBezTo>
                <a:cubicBezTo>
                  <a:pt x="24" y="106"/>
                  <a:pt x="25" y="105"/>
                  <a:pt x="26" y="105"/>
                </a:cubicBezTo>
                <a:cubicBezTo>
                  <a:pt x="26" y="104"/>
                  <a:pt x="26" y="102"/>
                  <a:pt x="26" y="100"/>
                </a:cubicBezTo>
                <a:cubicBezTo>
                  <a:pt x="26" y="100"/>
                  <a:pt x="26" y="100"/>
                  <a:pt x="26" y="99"/>
                </a:cubicBezTo>
                <a:cubicBezTo>
                  <a:pt x="27" y="98"/>
                  <a:pt x="27" y="98"/>
                  <a:pt x="27" y="98"/>
                </a:cubicBezTo>
                <a:cubicBezTo>
                  <a:pt x="27" y="97"/>
                  <a:pt x="27" y="97"/>
                  <a:pt x="27" y="97"/>
                </a:cubicBezTo>
                <a:cubicBezTo>
                  <a:pt x="26" y="95"/>
                  <a:pt x="25" y="93"/>
                  <a:pt x="25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Freeform 34">
            <a:extLst>
              <a:ext uri="{FF2B5EF4-FFF2-40B4-BE49-F238E27FC236}">
                <a16:creationId xmlns:a16="http://schemas.microsoft.com/office/drawing/2014/main" id="{2A2D0087-D7BD-4FA2-AC99-814C3132D247}"/>
              </a:ext>
            </a:extLst>
          </p:cNvPr>
          <p:cNvSpPr>
            <a:spLocks/>
          </p:cNvSpPr>
          <p:nvPr/>
        </p:nvSpPr>
        <p:spPr bwMode="auto">
          <a:xfrm>
            <a:off x="5127902" y="2879257"/>
            <a:ext cx="316442" cy="314325"/>
          </a:xfrm>
          <a:custGeom>
            <a:avLst/>
            <a:gdLst>
              <a:gd name="T0" fmla="*/ 60 w 131"/>
              <a:gd name="T1" fmla="*/ 106 h 141"/>
              <a:gd name="T2" fmla="*/ 71 w 131"/>
              <a:gd name="T3" fmla="*/ 96 h 141"/>
              <a:gd name="T4" fmla="*/ 74 w 131"/>
              <a:gd name="T5" fmla="*/ 87 h 141"/>
              <a:gd name="T6" fmla="*/ 84 w 131"/>
              <a:gd name="T7" fmla="*/ 76 h 141"/>
              <a:gd name="T8" fmla="*/ 97 w 131"/>
              <a:gd name="T9" fmla="*/ 72 h 141"/>
              <a:gd name="T10" fmla="*/ 104 w 131"/>
              <a:gd name="T11" fmla="*/ 72 h 141"/>
              <a:gd name="T12" fmla="*/ 105 w 131"/>
              <a:gd name="T13" fmla="*/ 67 h 141"/>
              <a:gd name="T14" fmla="*/ 108 w 131"/>
              <a:gd name="T15" fmla="*/ 63 h 141"/>
              <a:gd name="T16" fmla="*/ 119 w 131"/>
              <a:gd name="T17" fmla="*/ 59 h 141"/>
              <a:gd name="T18" fmla="*/ 124 w 131"/>
              <a:gd name="T19" fmla="*/ 54 h 141"/>
              <a:gd name="T20" fmla="*/ 127 w 131"/>
              <a:gd name="T21" fmla="*/ 51 h 141"/>
              <a:gd name="T22" fmla="*/ 130 w 131"/>
              <a:gd name="T23" fmla="*/ 44 h 141"/>
              <a:gd name="T24" fmla="*/ 127 w 131"/>
              <a:gd name="T25" fmla="*/ 36 h 141"/>
              <a:gd name="T26" fmla="*/ 125 w 131"/>
              <a:gd name="T27" fmla="*/ 33 h 141"/>
              <a:gd name="T28" fmla="*/ 121 w 131"/>
              <a:gd name="T29" fmla="*/ 23 h 141"/>
              <a:gd name="T30" fmla="*/ 116 w 131"/>
              <a:gd name="T31" fmla="*/ 14 h 141"/>
              <a:gd name="T32" fmla="*/ 103 w 131"/>
              <a:gd name="T33" fmla="*/ 4 h 141"/>
              <a:gd name="T34" fmla="*/ 92 w 131"/>
              <a:gd name="T35" fmla="*/ 4 h 141"/>
              <a:gd name="T36" fmla="*/ 75 w 131"/>
              <a:gd name="T37" fmla="*/ 4 h 141"/>
              <a:gd name="T38" fmla="*/ 79 w 131"/>
              <a:gd name="T39" fmla="*/ 12 h 141"/>
              <a:gd name="T40" fmla="*/ 57 w 131"/>
              <a:gd name="T41" fmla="*/ 9 h 141"/>
              <a:gd name="T42" fmla="*/ 57 w 131"/>
              <a:gd name="T43" fmla="*/ 21 h 141"/>
              <a:gd name="T44" fmla="*/ 47 w 131"/>
              <a:gd name="T45" fmla="*/ 18 h 141"/>
              <a:gd name="T46" fmla="*/ 33 w 131"/>
              <a:gd name="T47" fmla="*/ 7 h 141"/>
              <a:gd name="T48" fmla="*/ 32 w 131"/>
              <a:gd name="T49" fmla="*/ 1 h 141"/>
              <a:gd name="T50" fmla="*/ 27 w 131"/>
              <a:gd name="T51" fmla="*/ 8 h 141"/>
              <a:gd name="T52" fmla="*/ 23 w 131"/>
              <a:gd name="T53" fmla="*/ 9 h 141"/>
              <a:gd name="T54" fmla="*/ 30 w 131"/>
              <a:gd name="T55" fmla="*/ 16 h 141"/>
              <a:gd name="T56" fmla="*/ 35 w 131"/>
              <a:gd name="T57" fmla="*/ 36 h 141"/>
              <a:gd name="T58" fmla="*/ 39 w 131"/>
              <a:gd name="T59" fmla="*/ 44 h 141"/>
              <a:gd name="T60" fmla="*/ 29 w 131"/>
              <a:gd name="T61" fmla="*/ 50 h 141"/>
              <a:gd name="T62" fmla="*/ 19 w 131"/>
              <a:gd name="T63" fmla="*/ 57 h 141"/>
              <a:gd name="T64" fmla="*/ 20 w 131"/>
              <a:gd name="T65" fmla="*/ 70 h 141"/>
              <a:gd name="T66" fmla="*/ 10 w 131"/>
              <a:gd name="T67" fmla="*/ 79 h 141"/>
              <a:gd name="T68" fmla="*/ 12 w 131"/>
              <a:gd name="T69" fmla="*/ 88 h 141"/>
              <a:gd name="T70" fmla="*/ 5 w 131"/>
              <a:gd name="T71" fmla="*/ 91 h 141"/>
              <a:gd name="T72" fmla="*/ 4 w 131"/>
              <a:gd name="T73" fmla="*/ 100 h 141"/>
              <a:gd name="T74" fmla="*/ 10 w 131"/>
              <a:gd name="T75" fmla="*/ 108 h 141"/>
              <a:gd name="T76" fmla="*/ 20 w 131"/>
              <a:gd name="T77" fmla="*/ 104 h 141"/>
              <a:gd name="T78" fmla="*/ 36 w 131"/>
              <a:gd name="T79" fmla="*/ 106 h 141"/>
              <a:gd name="T80" fmla="*/ 38 w 131"/>
              <a:gd name="T81" fmla="*/ 115 h 141"/>
              <a:gd name="T82" fmla="*/ 32 w 131"/>
              <a:gd name="T83" fmla="*/ 121 h 141"/>
              <a:gd name="T84" fmla="*/ 31 w 131"/>
              <a:gd name="T85" fmla="*/ 137 h 141"/>
              <a:gd name="T86" fmla="*/ 37 w 131"/>
              <a:gd name="T87" fmla="*/ 141 h 141"/>
              <a:gd name="T88" fmla="*/ 41 w 131"/>
              <a:gd name="T89" fmla="*/ 137 h 141"/>
              <a:gd name="T90" fmla="*/ 53 w 131"/>
              <a:gd name="T91" fmla="*/ 129 h 141"/>
              <a:gd name="T92" fmla="*/ 53 w 131"/>
              <a:gd name="T93" fmla="*/ 117 h 141"/>
              <a:gd name="T94" fmla="*/ 58 w 131"/>
              <a:gd name="T95" fmla="*/ 11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31" h="141">
                <a:moveTo>
                  <a:pt x="59" y="111"/>
                </a:moveTo>
                <a:cubicBezTo>
                  <a:pt x="60" y="111"/>
                  <a:pt x="60" y="111"/>
                  <a:pt x="61" y="110"/>
                </a:cubicBezTo>
                <a:cubicBezTo>
                  <a:pt x="61" y="110"/>
                  <a:pt x="61" y="110"/>
                  <a:pt x="61" y="110"/>
                </a:cubicBezTo>
                <a:cubicBezTo>
                  <a:pt x="61" y="108"/>
                  <a:pt x="61" y="107"/>
                  <a:pt x="60" y="106"/>
                </a:cubicBezTo>
                <a:cubicBezTo>
                  <a:pt x="60" y="105"/>
                  <a:pt x="59" y="103"/>
                  <a:pt x="61" y="101"/>
                </a:cubicBezTo>
                <a:cubicBezTo>
                  <a:pt x="63" y="100"/>
                  <a:pt x="65" y="99"/>
                  <a:pt x="67" y="98"/>
                </a:cubicBezTo>
                <a:cubicBezTo>
                  <a:pt x="68" y="98"/>
                  <a:pt x="69" y="97"/>
                  <a:pt x="69" y="97"/>
                </a:cubicBezTo>
                <a:cubicBezTo>
                  <a:pt x="69" y="96"/>
                  <a:pt x="70" y="96"/>
                  <a:pt x="71" y="96"/>
                </a:cubicBezTo>
                <a:cubicBezTo>
                  <a:pt x="71" y="96"/>
                  <a:pt x="71" y="95"/>
                  <a:pt x="72" y="94"/>
                </a:cubicBezTo>
                <a:cubicBezTo>
                  <a:pt x="72" y="90"/>
                  <a:pt x="72" y="90"/>
                  <a:pt x="72" y="90"/>
                </a:cubicBezTo>
                <a:cubicBezTo>
                  <a:pt x="73" y="90"/>
                  <a:pt x="73" y="90"/>
                  <a:pt x="73" y="90"/>
                </a:cubicBezTo>
                <a:cubicBezTo>
                  <a:pt x="74" y="87"/>
                  <a:pt x="74" y="87"/>
                  <a:pt x="74" y="87"/>
                </a:cubicBezTo>
                <a:cubicBezTo>
                  <a:pt x="77" y="80"/>
                  <a:pt x="77" y="80"/>
                  <a:pt x="77" y="80"/>
                </a:cubicBezTo>
                <a:cubicBezTo>
                  <a:pt x="77" y="79"/>
                  <a:pt x="78" y="79"/>
                  <a:pt x="79" y="79"/>
                </a:cubicBezTo>
                <a:cubicBezTo>
                  <a:pt x="80" y="79"/>
                  <a:pt x="80" y="79"/>
                  <a:pt x="80" y="79"/>
                </a:cubicBezTo>
                <a:cubicBezTo>
                  <a:pt x="82" y="78"/>
                  <a:pt x="83" y="76"/>
                  <a:pt x="84" y="76"/>
                </a:cubicBezTo>
                <a:cubicBezTo>
                  <a:pt x="85" y="75"/>
                  <a:pt x="85" y="75"/>
                  <a:pt x="86" y="75"/>
                </a:cubicBezTo>
                <a:cubicBezTo>
                  <a:pt x="87" y="73"/>
                  <a:pt x="90" y="72"/>
                  <a:pt x="90" y="72"/>
                </a:cubicBezTo>
                <a:cubicBezTo>
                  <a:pt x="90" y="72"/>
                  <a:pt x="90" y="72"/>
                  <a:pt x="91" y="72"/>
                </a:cubicBezTo>
                <a:cubicBezTo>
                  <a:pt x="97" y="72"/>
                  <a:pt x="97" y="72"/>
                  <a:pt x="97" y="72"/>
                </a:cubicBezTo>
                <a:cubicBezTo>
                  <a:pt x="97" y="72"/>
                  <a:pt x="98" y="72"/>
                  <a:pt x="100" y="72"/>
                </a:cubicBezTo>
                <a:cubicBezTo>
                  <a:pt x="101" y="72"/>
                  <a:pt x="101" y="72"/>
                  <a:pt x="101" y="72"/>
                </a:cubicBezTo>
                <a:cubicBezTo>
                  <a:pt x="102" y="72"/>
                  <a:pt x="102" y="72"/>
                  <a:pt x="103" y="72"/>
                </a:cubicBezTo>
                <a:cubicBezTo>
                  <a:pt x="104" y="72"/>
                  <a:pt x="104" y="72"/>
                  <a:pt x="104" y="72"/>
                </a:cubicBezTo>
                <a:cubicBezTo>
                  <a:pt x="104" y="72"/>
                  <a:pt x="104" y="72"/>
                  <a:pt x="104" y="72"/>
                </a:cubicBezTo>
                <a:cubicBezTo>
                  <a:pt x="104" y="72"/>
                  <a:pt x="104" y="71"/>
                  <a:pt x="104" y="69"/>
                </a:cubicBezTo>
                <a:cubicBezTo>
                  <a:pt x="105" y="69"/>
                  <a:pt x="105" y="69"/>
                  <a:pt x="105" y="69"/>
                </a:cubicBezTo>
                <a:cubicBezTo>
                  <a:pt x="105" y="67"/>
                  <a:pt x="105" y="67"/>
                  <a:pt x="105" y="67"/>
                </a:cubicBezTo>
                <a:cubicBezTo>
                  <a:pt x="105" y="67"/>
                  <a:pt x="105" y="67"/>
                  <a:pt x="105" y="67"/>
                </a:cubicBezTo>
                <a:cubicBezTo>
                  <a:pt x="105" y="67"/>
                  <a:pt x="105" y="67"/>
                  <a:pt x="105" y="67"/>
                </a:cubicBezTo>
                <a:cubicBezTo>
                  <a:pt x="105" y="66"/>
                  <a:pt x="106" y="65"/>
                  <a:pt x="106" y="65"/>
                </a:cubicBezTo>
                <a:cubicBezTo>
                  <a:pt x="107" y="65"/>
                  <a:pt x="107" y="64"/>
                  <a:pt x="108" y="63"/>
                </a:cubicBezTo>
                <a:cubicBezTo>
                  <a:pt x="109" y="62"/>
                  <a:pt x="110" y="62"/>
                  <a:pt x="110" y="61"/>
                </a:cubicBezTo>
                <a:cubicBezTo>
                  <a:pt x="112" y="59"/>
                  <a:pt x="113" y="58"/>
                  <a:pt x="115" y="58"/>
                </a:cubicBezTo>
                <a:cubicBezTo>
                  <a:pt x="117" y="58"/>
                  <a:pt x="118" y="59"/>
                  <a:pt x="119" y="59"/>
                </a:cubicBezTo>
                <a:cubicBezTo>
                  <a:pt x="119" y="59"/>
                  <a:pt x="119" y="59"/>
                  <a:pt x="119" y="59"/>
                </a:cubicBezTo>
                <a:cubicBezTo>
                  <a:pt x="119" y="59"/>
                  <a:pt x="119" y="59"/>
                  <a:pt x="119" y="59"/>
                </a:cubicBezTo>
                <a:cubicBezTo>
                  <a:pt x="119" y="59"/>
                  <a:pt x="119" y="59"/>
                  <a:pt x="119" y="59"/>
                </a:cubicBezTo>
                <a:cubicBezTo>
                  <a:pt x="119" y="58"/>
                  <a:pt x="120" y="57"/>
                  <a:pt x="121" y="56"/>
                </a:cubicBezTo>
                <a:cubicBezTo>
                  <a:pt x="123" y="55"/>
                  <a:pt x="124" y="55"/>
                  <a:pt x="124" y="54"/>
                </a:cubicBezTo>
                <a:cubicBezTo>
                  <a:pt x="124" y="54"/>
                  <a:pt x="124" y="54"/>
                  <a:pt x="124" y="54"/>
                </a:cubicBezTo>
                <a:cubicBezTo>
                  <a:pt x="126" y="52"/>
                  <a:pt x="126" y="52"/>
                  <a:pt x="126" y="52"/>
                </a:cubicBezTo>
                <a:cubicBezTo>
                  <a:pt x="127" y="51"/>
                  <a:pt x="127" y="51"/>
                  <a:pt x="127" y="51"/>
                </a:cubicBezTo>
                <a:cubicBezTo>
                  <a:pt x="127" y="51"/>
                  <a:pt x="127" y="51"/>
                  <a:pt x="127" y="51"/>
                </a:cubicBezTo>
                <a:cubicBezTo>
                  <a:pt x="127" y="51"/>
                  <a:pt x="127" y="51"/>
                  <a:pt x="128" y="50"/>
                </a:cubicBezTo>
                <a:cubicBezTo>
                  <a:pt x="127" y="50"/>
                  <a:pt x="126" y="48"/>
                  <a:pt x="128" y="47"/>
                </a:cubicBezTo>
                <a:cubicBezTo>
                  <a:pt x="128" y="46"/>
                  <a:pt x="130" y="45"/>
                  <a:pt x="131" y="45"/>
                </a:cubicBezTo>
                <a:cubicBezTo>
                  <a:pt x="130" y="45"/>
                  <a:pt x="130" y="44"/>
                  <a:pt x="130" y="44"/>
                </a:cubicBezTo>
                <a:cubicBezTo>
                  <a:pt x="129" y="43"/>
                  <a:pt x="129" y="43"/>
                  <a:pt x="128" y="43"/>
                </a:cubicBezTo>
                <a:cubicBezTo>
                  <a:pt x="127" y="42"/>
                  <a:pt x="126" y="41"/>
                  <a:pt x="126" y="39"/>
                </a:cubicBezTo>
                <a:cubicBezTo>
                  <a:pt x="126" y="38"/>
                  <a:pt x="127" y="37"/>
                  <a:pt x="127" y="36"/>
                </a:cubicBezTo>
                <a:cubicBezTo>
                  <a:pt x="127" y="36"/>
                  <a:pt x="127" y="36"/>
                  <a:pt x="127" y="36"/>
                </a:cubicBezTo>
                <a:cubicBezTo>
                  <a:pt x="126" y="36"/>
                  <a:pt x="126" y="36"/>
                  <a:pt x="126" y="36"/>
                </a:cubicBezTo>
                <a:cubicBezTo>
                  <a:pt x="126" y="36"/>
                  <a:pt x="126" y="36"/>
                  <a:pt x="126" y="36"/>
                </a:cubicBezTo>
                <a:cubicBezTo>
                  <a:pt x="125" y="35"/>
                  <a:pt x="125" y="35"/>
                  <a:pt x="125" y="33"/>
                </a:cubicBezTo>
                <a:cubicBezTo>
                  <a:pt x="125" y="33"/>
                  <a:pt x="125" y="33"/>
                  <a:pt x="125" y="33"/>
                </a:cubicBezTo>
                <a:cubicBezTo>
                  <a:pt x="125" y="33"/>
                  <a:pt x="125" y="33"/>
                  <a:pt x="125" y="33"/>
                </a:cubicBezTo>
                <a:cubicBezTo>
                  <a:pt x="125" y="33"/>
                  <a:pt x="125" y="33"/>
                  <a:pt x="125" y="33"/>
                </a:cubicBezTo>
                <a:cubicBezTo>
                  <a:pt x="123" y="25"/>
                  <a:pt x="123" y="25"/>
                  <a:pt x="123" y="25"/>
                </a:cubicBezTo>
                <a:cubicBezTo>
                  <a:pt x="121" y="23"/>
                  <a:pt x="121" y="23"/>
                  <a:pt x="121" y="23"/>
                </a:cubicBezTo>
                <a:cubicBezTo>
                  <a:pt x="119" y="21"/>
                  <a:pt x="119" y="21"/>
                  <a:pt x="119" y="21"/>
                </a:cubicBezTo>
                <a:cubicBezTo>
                  <a:pt x="117" y="19"/>
                  <a:pt x="116" y="16"/>
                  <a:pt x="116" y="15"/>
                </a:cubicBezTo>
                <a:cubicBezTo>
                  <a:pt x="115" y="15"/>
                  <a:pt x="116" y="14"/>
                  <a:pt x="116" y="14"/>
                </a:cubicBezTo>
                <a:cubicBezTo>
                  <a:pt x="116" y="14"/>
                  <a:pt x="116" y="14"/>
                  <a:pt x="116" y="14"/>
                </a:cubicBezTo>
                <a:cubicBezTo>
                  <a:pt x="115" y="12"/>
                  <a:pt x="115" y="12"/>
                  <a:pt x="115" y="12"/>
                </a:cubicBezTo>
                <a:cubicBezTo>
                  <a:pt x="113" y="10"/>
                  <a:pt x="112" y="9"/>
                  <a:pt x="111" y="9"/>
                </a:cubicBezTo>
                <a:cubicBezTo>
                  <a:pt x="110" y="9"/>
                  <a:pt x="109" y="9"/>
                  <a:pt x="107" y="7"/>
                </a:cubicBezTo>
                <a:cubicBezTo>
                  <a:pt x="106" y="6"/>
                  <a:pt x="104" y="5"/>
                  <a:pt x="103" y="4"/>
                </a:cubicBezTo>
                <a:cubicBezTo>
                  <a:pt x="102" y="4"/>
                  <a:pt x="101" y="4"/>
                  <a:pt x="100" y="4"/>
                </a:cubicBezTo>
                <a:cubicBezTo>
                  <a:pt x="99" y="4"/>
                  <a:pt x="97" y="4"/>
                  <a:pt x="95" y="4"/>
                </a:cubicBezTo>
                <a:cubicBezTo>
                  <a:pt x="94" y="4"/>
                  <a:pt x="93" y="4"/>
                  <a:pt x="93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4"/>
                  <a:pt x="86" y="2"/>
                  <a:pt x="82" y="1"/>
                </a:cubicBezTo>
                <a:cubicBezTo>
                  <a:pt x="80" y="1"/>
                  <a:pt x="79" y="1"/>
                  <a:pt x="79" y="2"/>
                </a:cubicBezTo>
                <a:cubicBezTo>
                  <a:pt x="78" y="3"/>
                  <a:pt x="78" y="3"/>
                  <a:pt x="78" y="3"/>
                </a:cubicBezTo>
                <a:cubicBezTo>
                  <a:pt x="77" y="4"/>
                  <a:pt x="76" y="4"/>
                  <a:pt x="75" y="4"/>
                </a:cubicBezTo>
                <a:cubicBezTo>
                  <a:pt x="76" y="5"/>
                  <a:pt x="76" y="5"/>
                  <a:pt x="76" y="5"/>
                </a:cubicBezTo>
                <a:cubicBezTo>
                  <a:pt x="77" y="5"/>
                  <a:pt x="78" y="5"/>
                  <a:pt x="79" y="5"/>
                </a:cubicBezTo>
                <a:cubicBezTo>
                  <a:pt x="81" y="6"/>
                  <a:pt x="82" y="8"/>
                  <a:pt x="82" y="9"/>
                </a:cubicBezTo>
                <a:cubicBezTo>
                  <a:pt x="82" y="10"/>
                  <a:pt x="81" y="11"/>
                  <a:pt x="79" y="12"/>
                </a:cubicBezTo>
                <a:cubicBezTo>
                  <a:pt x="77" y="12"/>
                  <a:pt x="74" y="11"/>
                  <a:pt x="74" y="11"/>
                </a:cubicBezTo>
                <a:cubicBezTo>
                  <a:pt x="68" y="10"/>
                  <a:pt x="68" y="10"/>
                  <a:pt x="68" y="10"/>
                </a:cubicBezTo>
                <a:cubicBezTo>
                  <a:pt x="60" y="8"/>
                  <a:pt x="60" y="8"/>
                  <a:pt x="60" y="8"/>
                </a:cubicBezTo>
                <a:cubicBezTo>
                  <a:pt x="57" y="9"/>
                  <a:pt x="57" y="9"/>
                  <a:pt x="57" y="9"/>
                </a:cubicBezTo>
                <a:cubicBezTo>
                  <a:pt x="57" y="11"/>
                  <a:pt x="59" y="13"/>
                  <a:pt x="60" y="16"/>
                </a:cubicBezTo>
                <a:cubicBezTo>
                  <a:pt x="61" y="17"/>
                  <a:pt x="63" y="20"/>
                  <a:pt x="61" y="21"/>
                </a:cubicBezTo>
                <a:cubicBezTo>
                  <a:pt x="61" y="22"/>
                  <a:pt x="60" y="22"/>
                  <a:pt x="60" y="22"/>
                </a:cubicBezTo>
                <a:cubicBezTo>
                  <a:pt x="59" y="22"/>
                  <a:pt x="58" y="21"/>
                  <a:pt x="57" y="21"/>
                </a:cubicBezTo>
                <a:cubicBezTo>
                  <a:pt x="56" y="21"/>
                  <a:pt x="56" y="21"/>
                  <a:pt x="56" y="21"/>
                </a:cubicBezTo>
                <a:cubicBezTo>
                  <a:pt x="55" y="21"/>
                  <a:pt x="55" y="21"/>
                  <a:pt x="55" y="21"/>
                </a:cubicBezTo>
                <a:cubicBezTo>
                  <a:pt x="54" y="21"/>
                  <a:pt x="54" y="21"/>
                  <a:pt x="54" y="21"/>
                </a:cubicBezTo>
                <a:cubicBezTo>
                  <a:pt x="54" y="21"/>
                  <a:pt x="51" y="19"/>
                  <a:pt x="47" y="18"/>
                </a:cubicBezTo>
                <a:cubicBezTo>
                  <a:pt x="44" y="16"/>
                  <a:pt x="43" y="15"/>
                  <a:pt x="43" y="15"/>
                </a:cubicBezTo>
                <a:cubicBezTo>
                  <a:pt x="41" y="10"/>
                  <a:pt x="41" y="10"/>
                  <a:pt x="41" y="10"/>
                </a:cubicBezTo>
                <a:cubicBezTo>
                  <a:pt x="41" y="10"/>
                  <a:pt x="40" y="9"/>
                  <a:pt x="37" y="9"/>
                </a:cubicBezTo>
                <a:cubicBezTo>
                  <a:pt x="36" y="9"/>
                  <a:pt x="33" y="9"/>
                  <a:pt x="33" y="7"/>
                </a:cubicBezTo>
                <a:cubicBezTo>
                  <a:pt x="33" y="6"/>
                  <a:pt x="33" y="5"/>
                  <a:pt x="34" y="4"/>
                </a:cubicBezTo>
                <a:cubicBezTo>
                  <a:pt x="34" y="1"/>
                  <a:pt x="34" y="1"/>
                  <a:pt x="34" y="1"/>
                </a:cubicBezTo>
                <a:cubicBezTo>
                  <a:pt x="33" y="1"/>
                  <a:pt x="33" y="1"/>
                  <a:pt x="33" y="1"/>
                </a:cubicBezTo>
                <a:cubicBezTo>
                  <a:pt x="32" y="1"/>
                  <a:pt x="32" y="1"/>
                  <a:pt x="32" y="1"/>
                </a:cubicBezTo>
                <a:cubicBezTo>
                  <a:pt x="30" y="0"/>
                  <a:pt x="30" y="0"/>
                  <a:pt x="30" y="0"/>
                </a:cubicBezTo>
                <a:cubicBezTo>
                  <a:pt x="30" y="1"/>
                  <a:pt x="30" y="1"/>
                  <a:pt x="30" y="1"/>
                </a:cubicBezTo>
                <a:cubicBezTo>
                  <a:pt x="29" y="5"/>
                  <a:pt x="29" y="5"/>
                  <a:pt x="29" y="5"/>
                </a:cubicBezTo>
                <a:cubicBezTo>
                  <a:pt x="28" y="6"/>
                  <a:pt x="28" y="7"/>
                  <a:pt x="27" y="8"/>
                </a:cubicBezTo>
                <a:cubicBezTo>
                  <a:pt x="26" y="8"/>
                  <a:pt x="25" y="9"/>
                  <a:pt x="24" y="9"/>
                </a:cubicBezTo>
                <a:cubicBezTo>
                  <a:pt x="24" y="9"/>
                  <a:pt x="24" y="9"/>
                  <a:pt x="24" y="9"/>
                </a:cubicBezTo>
                <a:cubicBezTo>
                  <a:pt x="24" y="9"/>
                  <a:pt x="24" y="9"/>
                  <a:pt x="24" y="9"/>
                </a:cubicBezTo>
                <a:cubicBezTo>
                  <a:pt x="23" y="9"/>
                  <a:pt x="23" y="9"/>
                  <a:pt x="23" y="9"/>
                </a:cubicBezTo>
                <a:cubicBezTo>
                  <a:pt x="23" y="11"/>
                  <a:pt x="23" y="11"/>
                  <a:pt x="23" y="11"/>
                </a:cubicBezTo>
                <a:cubicBezTo>
                  <a:pt x="25" y="13"/>
                  <a:pt x="25" y="13"/>
                  <a:pt x="25" y="13"/>
                </a:cubicBezTo>
                <a:cubicBezTo>
                  <a:pt x="25" y="13"/>
                  <a:pt x="27" y="14"/>
                  <a:pt x="29" y="16"/>
                </a:cubicBezTo>
                <a:cubicBezTo>
                  <a:pt x="30" y="16"/>
                  <a:pt x="30" y="16"/>
                  <a:pt x="30" y="16"/>
                </a:cubicBezTo>
                <a:cubicBezTo>
                  <a:pt x="30" y="16"/>
                  <a:pt x="31" y="17"/>
                  <a:pt x="33" y="18"/>
                </a:cubicBezTo>
                <a:cubicBezTo>
                  <a:pt x="36" y="19"/>
                  <a:pt x="37" y="23"/>
                  <a:pt x="37" y="25"/>
                </a:cubicBezTo>
                <a:cubicBezTo>
                  <a:pt x="37" y="31"/>
                  <a:pt x="37" y="31"/>
                  <a:pt x="37" y="31"/>
                </a:cubicBezTo>
                <a:cubicBezTo>
                  <a:pt x="37" y="35"/>
                  <a:pt x="37" y="35"/>
                  <a:pt x="35" y="36"/>
                </a:cubicBezTo>
                <a:cubicBezTo>
                  <a:pt x="35" y="36"/>
                  <a:pt x="35" y="36"/>
                  <a:pt x="34" y="36"/>
                </a:cubicBezTo>
                <a:cubicBezTo>
                  <a:pt x="35" y="37"/>
                  <a:pt x="36" y="38"/>
                  <a:pt x="38" y="40"/>
                </a:cubicBezTo>
                <a:cubicBezTo>
                  <a:pt x="40" y="42"/>
                  <a:pt x="40" y="43"/>
                  <a:pt x="39" y="44"/>
                </a:cubicBezTo>
                <a:cubicBezTo>
                  <a:pt x="39" y="44"/>
                  <a:pt x="39" y="44"/>
                  <a:pt x="39" y="44"/>
                </a:cubicBezTo>
                <a:cubicBezTo>
                  <a:pt x="39" y="46"/>
                  <a:pt x="38" y="46"/>
                  <a:pt x="37" y="47"/>
                </a:cubicBezTo>
                <a:cubicBezTo>
                  <a:pt x="37" y="47"/>
                  <a:pt x="37" y="47"/>
                  <a:pt x="36" y="48"/>
                </a:cubicBezTo>
                <a:cubicBezTo>
                  <a:pt x="35" y="50"/>
                  <a:pt x="33" y="50"/>
                  <a:pt x="31" y="50"/>
                </a:cubicBezTo>
                <a:cubicBezTo>
                  <a:pt x="30" y="50"/>
                  <a:pt x="30" y="50"/>
                  <a:pt x="29" y="50"/>
                </a:cubicBezTo>
                <a:cubicBezTo>
                  <a:pt x="28" y="51"/>
                  <a:pt x="28" y="51"/>
                  <a:pt x="28" y="51"/>
                </a:cubicBezTo>
                <a:cubicBezTo>
                  <a:pt x="26" y="51"/>
                  <a:pt x="26" y="51"/>
                  <a:pt x="21" y="56"/>
                </a:cubicBezTo>
                <a:cubicBezTo>
                  <a:pt x="21" y="56"/>
                  <a:pt x="21" y="56"/>
                  <a:pt x="21" y="56"/>
                </a:cubicBezTo>
                <a:cubicBezTo>
                  <a:pt x="21" y="57"/>
                  <a:pt x="20" y="57"/>
                  <a:pt x="19" y="57"/>
                </a:cubicBezTo>
                <a:cubicBezTo>
                  <a:pt x="18" y="57"/>
                  <a:pt x="18" y="57"/>
                  <a:pt x="18" y="57"/>
                </a:cubicBezTo>
                <a:cubicBezTo>
                  <a:pt x="18" y="58"/>
                  <a:pt x="19" y="59"/>
                  <a:pt x="19" y="61"/>
                </a:cubicBezTo>
                <a:cubicBezTo>
                  <a:pt x="19" y="63"/>
                  <a:pt x="19" y="64"/>
                  <a:pt x="20" y="66"/>
                </a:cubicBezTo>
                <a:cubicBezTo>
                  <a:pt x="20" y="67"/>
                  <a:pt x="20" y="69"/>
                  <a:pt x="20" y="70"/>
                </a:cubicBezTo>
                <a:cubicBezTo>
                  <a:pt x="20" y="71"/>
                  <a:pt x="20" y="73"/>
                  <a:pt x="19" y="75"/>
                </a:cubicBezTo>
                <a:cubicBezTo>
                  <a:pt x="18" y="77"/>
                  <a:pt x="17" y="78"/>
                  <a:pt x="16" y="78"/>
                </a:cubicBezTo>
                <a:cubicBezTo>
                  <a:pt x="15" y="80"/>
                  <a:pt x="12" y="79"/>
                  <a:pt x="11" y="79"/>
                </a:cubicBezTo>
                <a:cubicBezTo>
                  <a:pt x="10" y="79"/>
                  <a:pt x="10" y="79"/>
                  <a:pt x="10" y="79"/>
                </a:cubicBezTo>
                <a:cubicBezTo>
                  <a:pt x="6" y="79"/>
                  <a:pt x="6" y="79"/>
                  <a:pt x="6" y="79"/>
                </a:cubicBezTo>
                <a:cubicBezTo>
                  <a:pt x="7" y="79"/>
                  <a:pt x="8" y="81"/>
                  <a:pt x="8" y="82"/>
                </a:cubicBezTo>
                <a:cubicBezTo>
                  <a:pt x="9" y="82"/>
                  <a:pt x="9" y="83"/>
                  <a:pt x="10" y="84"/>
                </a:cubicBezTo>
                <a:cubicBezTo>
                  <a:pt x="11" y="86"/>
                  <a:pt x="12" y="87"/>
                  <a:pt x="12" y="88"/>
                </a:cubicBezTo>
                <a:cubicBezTo>
                  <a:pt x="11" y="89"/>
                  <a:pt x="11" y="90"/>
                  <a:pt x="10" y="90"/>
                </a:cubicBezTo>
                <a:cubicBezTo>
                  <a:pt x="10" y="91"/>
                  <a:pt x="9" y="91"/>
                  <a:pt x="9" y="91"/>
                </a:cubicBezTo>
                <a:cubicBezTo>
                  <a:pt x="8" y="92"/>
                  <a:pt x="8" y="92"/>
                  <a:pt x="8" y="92"/>
                </a:cubicBezTo>
                <a:cubicBezTo>
                  <a:pt x="7" y="92"/>
                  <a:pt x="6" y="91"/>
                  <a:pt x="5" y="91"/>
                </a:cubicBezTo>
                <a:cubicBezTo>
                  <a:pt x="5" y="91"/>
                  <a:pt x="3" y="90"/>
                  <a:pt x="0" y="90"/>
                </a:cubicBezTo>
                <a:cubicBezTo>
                  <a:pt x="0" y="92"/>
                  <a:pt x="1" y="93"/>
                  <a:pt x="1" y="93"/>
                </a:cubicBezTo>
                <a:cubicBezTo>
                  <a:pt x="2" y="94"/>
                  <a:pt x="2" y="94"/>
                  <a:pt x="2" y="94"/>
                </a:cubicBezTo>
                <a:cubicBezTo>
                  <a:pt x="4" y="100"/>
                  <a:pt x="4" y="100"/>
                  <a:pt x="4" y="100"/>
                </a:cubicBezTo>
                <a:cubicBezTo>
                  <a:pt x="7" y="104"/>
                  <a:pt x="7" y="104"/>
                  <a:pt x="7" y="104"/>
                </a:cubicBezTo>
                <a:cubicBezTo>
                  <a:pt x="8" y="104"/>
                  <a:pt x="8" y="105"/>
                  <a:pt x="8" y="105"/>
                </a:cubicBezTo>
                <a:cubicBezTo>
                  <a:pt x="8" y="107"/>
                  <a:pt x="8" y="107"/>
                  <a:pt x="8" y="107"/>
                </a:cubicBezTo>
                <a:cubicBezTo>
                  <a:pt x="10" y="108"/>
                  <a:pt x="10" y="108"/>
                  <a:pt x="10" y="108"/>
                </a:cubicBezTo>
                <a:cubicBezTo>
                  <a:pt x="10" y="108"/>
                  <a:pt x="11" y="108"/>
                  <a:pt x="12" y="108"/>
                </a:cubicBezTo>
                <a:cubicBezTo>
                  <a:pt x="13" y="107"/>
                  <a:pt x="13" y="107"/>
                  <a:pt x="13" y="107"/>
                </a:cubicBezTo>
                <a:cubicBezTo>
                  <a:pt x="14" y="105"/>
                  <a:pt x="18" y="104"/>
                  <a:pt x="18" y="104"/>
                </a:cubicBezTo>
                <a:cubicBezTo>
                  <a:pt x="20" y="104"/>
                  <a:pt x="20" y="104"/>
                  <a:pt x="20" y="104"/>
                </a:cubicBezTo>
                <a:cubicBezTo>
                  <a:pt x="21" y="104"/>
                  <a:pt x="21" y="104"/>
                  <a:pt x="21" y="104"/>
                </a:cubicBezTo>
                <a:cubicBezTo>
                  <a:pt x="31" y="104"/>
                  <a:pt x="31" y="104"/>
                  <a:pt x="31" y="104"/>
                </a:cubicBezTo>
                <a:cubicBezTo>
                  <a:pt x="32" y="104"/>
                  <a:pt x="32" y="104"/>
                  <a:pt x="32" y="104"/>
                </a:cubicBezTo>
                <a:cubicBezTo>
                  <a:pt x="36" y="106"/>
                  <a:pt x="36" y="106"/>
                  <a:pt x="36" y="106"/>
                </a:cubicBezTo>
                <a:cubicBezTo>
                  <a:pt x="37" y="106"/>
                  <a:pt x="37" y="106"/>
                  <a:pt x="37" y="106"/>
                </a:cubicBezTo>
                <a:cubicBezTo>
                  <a:pt x="38" y="106"/>
                  <a:pt x="39" y="107"/>
                  <a:pt x="39" y="108"/>
                </a:cubicBezTo>
                <a:cubicBezTo>
                  <a:pt x="39" y="114"/>
                  <a:pt x="39" y="114"/>
                  <a:pt x="39" y="114"/>
                </a:cubicBezTo>
                <a:cubicBezTo>
                  <a:pt x="39" y="114"/>
                  <a:pt x="39" y="114"/>
                  <a:pt x="38" y="115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7" y="118"/>
                  <a:pt x="36" y="118"/>
                  <a:pt x="35" y="118"/>
                </a:cubicBezTo>
                <a:cubicBezTo>
                  <a:pt x="34" y="118"/>
                  <a:pt x="34" y="118"/>
                  <a:pt x="34" y="118"/>
                </a:cubicBezTo>
                <a:cubicBezTo>
                  <a:pt x="32" y="121"/>
                  <a:pt x="32" y="121"/>
                  <a:pt x="32" y="121"/>
                </a:cubicBezTo>
                <a:cubicBezTo>
                  <a:pt x="31" y="124"/>
                  <a:pt x="31" y="124"/>
                  <a:pt x="31" y="124"/>
                </a:cubicBezTo>
                <a:cubicBezTo>
                  <a:pt x="31" y="126"/>
                  <a:pt x="30" y="128"/>
                  <a:pt x="30" y="128"/>
                </a:cubicBezTo>
                <a:cubicBezTo>
                  <a:pt x="30" y="132"/>
                  <a:pt x="30" y="132"/>
                  <a:pt x="30" y="132"/>
                </a:cubicBezTo>
                <a:cubicBezTo>
                  <a:pt x="30" y="132"/>
                  <a:pt x="31" y="134"/>
                  <a:pt x="31" y="137"/>
                </a:cubicBezTo>
                <a:cubicBezTo>
                  <a:pt x="32" y="137"/>
                  <a:pt x="32" y="137"/>
                  <a:pt x="32" y="137"/>
                </a:cubicBezTo>
                <a:cubicBezTo>
                  <a:pt x="36" y="140"/>
                  <a:pt x="36" y="140"/>
                  <a:pt x="36" y="140"/>
                </a:cubicBezTo>
                <a:cubicBezTo>
                  <a:pt x="36" y="141"/>
                  <a:pt x="36" y="141"/>
                  <a:pt x="36" y="141"/>
                </a:cubicBezTo>
                <a:cubicBezTo>
                  <a:pt x="36" y="141"/>
                  <a:pt x="36" y="141"/>
                  <a:pt x="37" y="141"/>
                </a:cubicBezTo>
                <a:cubicBezTo>
                  <a:pt x="37" y="141"/>
                  <a:pt x="38" y="141"/>
                  <a:pt x="39" y="141"/>
                </a:cubicBezTo>
                <a:cubicBezTo>
                  <a:pt x="40" y="139"/>
                  <a:pt x="40" y="139"/>
                  <a:pt x="40" y="139"/>
                </a:cubicBezTo>
                <a:cubicBezTo>
                  <a:pt x="40" y="138"/>
                  <a:pt x="41" y="138"/>
                  <a:pt x="41" y="138"/>
                </a:cubicBezTo>
                <a:cubicBezTo>
                  <a:pt x="41" y="138"/>
                  <a:pt x="41" y="138"/>
                  <a:pt x="41" y="137"/>
                </a:cubicBezTo>
                <a:cubicBezTo>
                  <a:pt x="41" y="135"/>
                  <a:pt x="43" y="134"/>
                  <a:pt x="46" y="133"/>
                </a:cubicBezTo>
                <a:cubicBezTo>
                  <a:pt x="51" y="131"/>
                  <a:pt x="53" y="130"/>
                  <a:pt x="53" y="130"/>
                </a:cubicBezTo>
                <a:cubicBezTo>
                  <a:pt x="53" y="130"/>
                  <a:pt x="53" y="130"/>
                  <a:pt x="54" y="130"/>
                </a:cubicBezTo>
                <a:cubicBezTo>
                  <a:pt x="53" y="130"/>
                  <a:pt x="53" y="129"/>
                  <a:pt x="53" y="129"/>
                </a:cubicBezTo>
                <a:cubicBezTo>
                  <a:pt x="53" y="125"/>
                  <a:pt x="53" y="125"/>
                  <a:pt x="53" y="125"/>
                </a:cubicBezTo>
                <a:cubicBezTo>
                  <a:pt x="53" y="124"/>
                  <a:pt x="53" y="124"/>
                  <a:pt x="53" y="124"/>
                </a:cubicBezTo>
                <a:cubicBezTo>
                  <a:pt x="53" y="123"/>
                  <a:pt x="53" y="122"/>
                  <a:pt x="53" y="120"/>
                </a:cubicBezTo>
                <a:cubicBezTo>
                  <a:pt x="54" y="119"/>
                  <a:pt x="53" y="117"/>
                  <a:pt x="53" y="117"/>
                </a:cubicBezTo>
                <a:cubicBezTo>
                  <a:pt x="53" y="117"/>
                  <a:pt x="53" y="117"/>
                  <a:pt x="53" y="117"/>
                </a:cubicBezTo>
                <a:cubicBezTo>
                  <a:pt x="54" y="115"/>
                  <a:pt x="54" y="115"/>
                  <a:pt x="54" y="115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4" y="114"/>
                  <a:pt x="55" y="112"/>
                  <a:pt x="58" y="111"/>
                </a:cubicBezTo>
                <a:cubicBezTo>
                  <a:pt x="59" y="111"/>
                  <a:pt x="59" y="111"/>
                  <a:pt x="59" y="11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Freeform 36">
            <a:extLst>
              <a:ext uri="{FF2B5EF4-FFF2-40B4-BE49-F238E27FC236}">
                <a16:creationId xmlns:a16="http://schemas.microsoft.com/office/drawing/2014/main" id="{720560AE-25FC-44F7-8809-B5F5A2DDF60B}"/>
              </a:ext>
            </a:extLst>
          </p:cNvPr>
          <p:cNvSpPr>
            <a:spLocks/>
          </p:cNvSpPr>
          <p:nvPr/>
        </p:nvSpPr>
        <p:spPr bwMode="auto">
          <a:xfrm>
            <a:off x="5843336" y="4519141"/>
            <a:ext cx="423069" cy="420688"/>
          </a:xfrm>
          <a:custGeom>
            <a:avLst/>
            <a:gdLst>
              <a:gd name="T0" fmla="*/ 102 w 175"/>
              <a:gd name="T1" fmla="*/ 23 h 189"/>
              <a:gd name="T2" fmla="*/ 93 w 175"/>
              <a:gd name="T3" fmla="*/ 29 h 189"/>
              <a:gd name="T4" fmla="*/ 80 w 175"/>
              <a:gd name="T5" fmla="*/ 37 h 189"/>
              <a:gd name="T6" fmla="*/ 75 w 175"/>
              <a:gd name="T7" fmla="*/ 49 h 189"/>
              <a:gd name="T8" fmla="*/ 64 w 175"/>
              <a:gd name="T9" fmla="*/ 45 h 189"/>
              <a:gd name="T10" fmla="*/ 47 w 175"/>
              <a:gd name="T11" fmla="*/ 51 h 189"/>
              <a:gd name="T12" fmla="*/ 31 w 175"/>
              <a:gd name="T13" fmla="*/ 60 h 189"/>
              <a:gd name="T14" fmla="*/ 31 w 175"/>
              <a:gd name="T15" fmla="*/ 70 h 189"/>
              <a:gd name="T16" fmla="*/ 20 w 175"/>
              <a:gd name="T17" fmla="*/ 67 h 189"/>
              <a:gd name="T18" fmla="*/ 8 w 175"/>
              <a:gd name="T19" fmla="*/ 70 h 189"/>
              <a:gd name="T20" fmla="*/ 12 w 175"/>
              <a:gd name="T21" fmla="*/ 76 h 189"/>
              <a:gd name="T22" fmla="*/ 19 w 175"/>
              <a:gd name="T23" fmla="*/ 86 h 189"/>
              <a:gd name="T24" fmla="*/ 21 w 175"/>
              <a:gd name="T25" fmla="*/ 102 h 189"/>
              <a:gd name="T26" fmla="*/ 10 w 175"/>
              <a:gd name="T27" fmla="*/ 105 h 189"/>
              <a:gd name="T28" fmla="*/ 17 w 175"/>
              <a:gd name="T29" fmla="*/ 112 h 189"/>
              <a:gd name="T30" fmla="*/ 16 w 175"/>
              <a:gd name="T31" fmla="*/ 121 h 189"/>
              <a:gd name="T32" fmla="*/ 16 w 175"/>
              <a:gd name="T33" fmla="*/ 123 h 189"/>
              <a:gd name="T34" fmla="*/ 10 w 175"/>
              <a:gd name="T35" fmla="*/ 129 h 189"/>
              <a:gd name="T36" fmla="*/ 5 w 175"/>
              <a:gd name="T37" fmla="*/ 131 h 189"/>
              <a:gd name="T38" fmla="*/ 15 w 175"/>
              <a:gd name="T39" fmla="*/ 138 h 189"/>
              <a:gd name="T40" fmla="*/ 3 w 175"/>
              <a:gd name="T41" fmla="*/ 142 h 189"/>
              <a:gd name="T42" fmla="*/ 7 w 175"/>
              <a:gd name="T43" fmla="*/ 155 h 189"/>
              <a:gd name="T44" fmla="*/ 13 w 175"/>
              <a:gd name="T45" fmla="*/ 163 h 189"/>
              <a:gd name="T46" fmla="*/ 4 w 175"/>
              <a:gd name="T47" fmla="*/ 167 h 189"/>
              <a:gd name="T48" fmla="*/ 4 w 175"/>
              <a:gd name="T49" fmla="*/ 174 h 189"/>
              <a:gd name="T50" fmla="*/ 8 w 175"/>
              <a:gd name="T51" fmla="*/ 184 h 189"/>
              <a:gd name="T52" fmla="*/ 14 w 175"/>
              <a:gd name="T53" fmla="*/ 189 h 189"/>
              <a:gd name="T54" fmla="*/ 22 w 175"/>
              <a:gd name="T55" fmla="*/ 189 h 189"/>
              <a:gd name="T56" fmla="*/ 27 w 175"/>
              <a:gd name="T57" fmla="*/ 185 h 189"/>
              <a:gd name="T58" fmla="*/ 29 w 175"/>
              <a:gd name="T59" fmla="*/ 179 h 189"/>
              <a:gd name="T60" fmla="*/ 35 w 175"/>
              <a:gd name="T61" fmla="*/ 171 h 189"/>
              <a:gd name="T62" fmla="*/ 44 w 175"/>
              <a:gd name="T63" fmla="*/ 167 h 189"/>
              <a:gd name="T64" fmla="*/ 65 w 175"/>
              <a:gd name="T65" fmla="*/ 168 h 189"/>
              <a:gd name="T66" fmla="*/ 73 w 175"/>
              <a:gd name="T67" fmla="*/ 174 h 189"/>
              <a:gd name="T68" fmla="*/ 79 w 175"/>
              <a:gd name="T69" fmla="*/ 168 h 189"/>
              <a:gd name="T70" fmla="*/ 71 w 175"/>
              <a:gd name="T71" fmla="*/ 154 h 189"/>
              <a:gd name="T72" fmla="*/ 82 w 175"/>
              <a:gd name="T73" fmla="*/ 149 h 189"/>
              <a:gd name="T74" fmla="*/ 89 w 175"/>
              <a:gd name="T75" fmla="*/ 141 h 189"/>
              <a:gd name="T76" fmla="*/ 102 w 175"/>
              <a:gd name="T77" fmla="*/ 136 h 189"/>
              <a:gd name="T78" fmla="*/ 101 w 175"/>
              <a:gd name="T79" fmla="*/ 131 h 189"/>
              <a:gd name="T80" fmla="*/ 102 w 175"/>
              <a:gd name="T81" fmla="*/ 119 h 189"/>
              <a:gd name="T82" fmla="*/ 105 w 175"/>
              <a:gd name="T83" fmla="*/ 111 h 189"/>
              <a:gd name="T84" fmla="*/ 116 w 175"/>
              <a:gd name="T85" fmla="*/ 112 h 189"/>
              <a:gd name="T86" fmla="*/ 124 w 175"/>
              <a:gd name="T87" fmla="*/ 103 h 189"/>
              <a:gd name="T88" fmla="*/ 137 w 175"/>
              <a:gd name="T89" fmla="*/ 97 h 189"/>
              <a:gd name="T90" fmla="*/ 123 w 175"/>
              <a:gd name="T91" fmla="*/ 92 h 189"/>
              <a:gd name="T92" fmla="*/ 129 w 175"/>
              <a:gd name="T93" fmla="*/ 83 h 189"/>
              <a:gd name="T94" fmla="*/ 119 w 175"/>
              <a:gd name="T95" fmla="*/ 79 h 189"/>
              <a:gd name="T96" fmla="*/ 129 w 175"/>
              <a:gd name="T97" fmla="*/ 63 h 189"/>
              <a:gd name="T98" fmla="*/ 140 w 175"/>
              <a:gd name="T99" fmla="*/ 44 h 189"/>
              <a:gd name="T100" fmla="*/ 137 w 175"/>
              <a:gd name="T101" fmla="*/ 22 h 189"/>
              <a:gd name="T102" fmla="*/ 153 w 175"/>
              <a:gd name="T103" fmla="*/ 21 h 189"/>
              <a:gd name="T104" fmla="*/ 170 w 175"/>
              <a:gd name="T105" fmla="*/ 9 h 189"/>
              <a:gd name="T106" fmla="*/ 174 w 175"/>
              <a:gd name="T107" fmla="*/ 1 h 189"/>
              <a:gd name="T108" fmla="*/ 163 w 175"/>
              <a:gd name="T109" fmla="*/ 2 h 189"/>
              <a:gd name="T110" fmla="*/ 144 w 175"/>
              <a:gd name="T111" fmla="*/ 5 h 189"/>
              <a:gd name="T112" fmla="*/ 129 w 175"/>
              <a:gd name="T113" fmla="*/ 0 h 189"/>
              <a:gd name="T114" fmla="*/ 124 w 175"/>
              <a:gd name="T115" fmla="*/ 4 h 189"/>
              <a:gd name="T116" fmla="*/ 114 w 175"/>
              <a:gd name="T117" fmla="*/ 8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75" h="189">
                <a:moveTo>
                  <a:pt x="107" y="17"/>
                </a:moveTo>
                <a:cubicBezTo>
                  <a:pt x="106" y="16"/>
                  <a:pt x="106" y="16"/>
                  <a:pt x="106" y="16"/>
                </a:cubicBezTo>
                <a:cubicBezTo>
                  <a:pt x="106" y="17"/>
                  <a:pt x="105" y="17"/>
                  <a:pt x="105" y="17"/>
                </a:cubicBezTo>
                <a:cubicBezTo>
                  <a:pt x="105" y="18"/>
                  <a:pt x="105" y="18"/>
                  <a:pt x="105" y="18"/>
                </a:cubicBezTo>
                <a:cubicBezTo>
                  <a:pt x="105" y="18"/>
                  <a:pt x="104" y="21"/>
                  <a:pt x="102" y="23"/>
                </a:cubicBezTo>
                <a:cubicBezTo>
                  <a:pt x="102" y="24"/>
                  <a:pt x="102" y="24"/>
                  <a:pt x="102" y="24"/>
                </a:cubicBezTo>
                <a:cubicBezTo>
                  <a:pt x="103" y="24"/>
                  <a:pt x="103" y="25"/>
                  <a:pt x="102" y="26"/>
                </a:cubicBezTo>
                <a:cubicBezTo>
                  <a:pt x="102" y="27"/>
                  <a:pt x="101" y="27"/>
                  <a:pt x="100" y="27"/>
                </a:cubicBezTo>
                <a:cubicBezTo>
                  <a:pt x="99" y="27"/>
                  <a:pt x="99" y="27"/>
                  <a:pt x="99" y="27"/>
                </a:cubicBezTo>
                <a:cubicBezTo>
                  <a:pt x="97" y="27"/>
                  <a:pt x="94" y="28"/>
                  <a:pt x="93" y="29"/>
                </a:cubicBezTo>
                <a:cubicBezTo>
                  <a:pt x="92" y="29"/>
                  <a:pt x="92" y="29"/>
                  <a:pt x="92" y="29"/>
                </a:cubicBezTo>
                <a:cubicBezTo>
                  <a:pt x="88" y="29"/>
                  <a:pt x="88" y="29"/>
                  <a:pt x="88" y="29"/>
                </a:cubicBezTo>
                <a:cubicBezTo>
                  <a:pt x="85" y="31"/>
                  <a:pt x="85" y="31"/>
                  <a:pt x="85" y="31"/>
                </a:cubicBezTo>
                <a:cubicBezTo>
                  <a:pt x="83" y="33"/>
                  <a:pt x="83" y="33"/>
                  <a:pt x="83" y="33"/>
                </a:cubicBezTo>
                <a:cubicBezTo>
                  <a:pt x="80" y="37"/>
                  <a:pt x="80" y="37"/>
                  <a:pt x="80" y="37"/>
                </a:cubicBezTo>
                <a:cubicBezTo>
                  <a:pt x="81" y="37"/>
                  <a:pt x="82" y="38"/>
                  <a:pt x="82" y="39"/>
                </a:cubicBezTo>
                <a:cubicBezTo>
                  <a:pt x="82" y="40"/>
                  <a:pt x="81" y="41"/>
                  <a:pt x="80" y="41"/>
                </a:cubicBezTo>
                <a:cubicBezTo>
                  <a:pt x="80" y="42"/>
                  <a:pt x="80" y="43"/>
                  <a:pt x="80" y="44"/>
                </a:cubicBezTo>
                <a:cubicBezTo>
                  <a:pt x="79" y="46"/>
                  <a:pt x="79" y="47"/>
                  <a:pt x="78" y="47"/>
                </a:cubicBezTo>
                <a:cubicBezTo>
                  <a:pt x="77" y="49"/>
                  <a:pt x="76" y="49"/>
                  <a:pt x="75" y="49"/>
                </a:cubicBezTo>
                <a:cubicBezTo>
                  <a:pt x="74" y="49"/>
                  <a:pt x="73" y="49"/>
                  <a:pt x="73" y="48"/>
                </a:cubicBezTo>
                <a:cubicBezTo>
                  <a:pt x="71" y="48"/>
                  <a:pt x="71" y="48"/>
                  <a:pt x="71" y="48"/>
                </a:cubicBezTo>
                <a:cubicBezTo>
                  <a:pt x="71" y="48"/>
                  <a:pt x="71" y="48"/>
                  <a:pt x="71" y="48"/>
                </a:cubicBezTo>
                <a:cubicBezTo>
                  <a:pt x="64" y="45"/>
                  <a:pt x="64" y="45"/>
                  <a:pt x="64" y="45"/>
                </a:cubicBezTo>
                <a:cubicBezTo>
                  <a:pt x="64" y="45"/>
                  <a:pt x="64" y="45"/>
                  <a:pt x="64" y="45"/>
                </a:cubicBezTo>
                <a:cubicBezTo>
                  <a:pt x="61" y="43"/>
                  <a:pt x="61" y="43"/>
                  <a:pt x="61" y="43"/>
                </a:cubicBezTo>
                <a:cubicBezTo>
                  <a:pt x="59" y="43"/>
                  <a:pt x="59" y="43"/>
                  <a:pt x="59" y="43"/>
                </a:cubicBezTo>
                <a:cubicBezTo>
                  <a:pt x="58" y="43"/>
                  <a:pt x="55" y="44"/>
                  <a:pt x="52" y="43"/>
                </a:cubicBezTo>
                <a:cubicBezTo>
                  <a:pt x="52" y="44"/>
                  <a:pt x="51" y="45"/>
                  <a:pt x="51" y="47"/>
                </a:cubicBezTo>
                <a:cubicBezTo>
                  <a:pt x="50" y="47"/>
                  <a:pt x="49" y="49"/>
                  <a:pt x="47" y="51"/>
                </a:cubicBezTo>
                <a:cubicBezTo>
                  <a:pt x="46" y="51"/>
                  <a:pt x="45" y="54"/>
                  <a:pt x="45" y="56"/>
                </a:cubicBezTo>
                <a:cubicBezTo>
                  <a:pt x="45" y="57"/>
                  <a:pt x="44" y="58"/>
                  <a:pt x="43" y="58"/>
                </a:cubicBezTo>
                <a:cubicBezTo>
                  <a:pt x="37" y="58"/>
                  <a:pt x="37" y="58"/>
                  <a:pt x="37" y="58"/>
                </a:cubicBezTo>
                <a:cubicBezTo>
                  <a:pt x="36" y="58"/>
                  <a:pt x="36" y="59"/>
                  <a:pt x="35" y="60"/>
                </a:cubicBezTo>
                <a:cubicBezTo>
                  <a:pt x="33" y="61"/>
                  <a:pt x="32" y="61"/>
                  <a:pt x="31" y="60"/>
                </a:cubicBezTo>
                <a:cubicBezTo>
                  <a:pt x="31" y="61"/>
                  <a:pt x="31" y="61"/>
                  <a:pt x="30" y="61"/>
                </a:cubicBezTo>
                <a:cubicBezTo>
                  <a:pt x="31" y="61"/>
                  <a:pt x="31" y="61"/>
                  <a:pt x="31" y="61"/>
                </a:cubicBezTo>
                <a:cubicBezTo>
                  <a:pt x="32" y="61"/>
                  <a:pt x="33" y="62"/>
                  <a:pt x="33" y="63"/>
                </a:cubicBezTo>
                <a:cubicBezTo>
                  <a:pt x="33" y="68"/>
                  <a:pt x="33" y="68"/>
                  <a:pt x="33" y="68"/>
                </a:cubicBezTo>
                <a:cubicBezTo>
                  <a:pt x="33" y="69"/>
                  <a:pt x="32" y="70"/>
                  <a:pt x="31" y="70"/>
                </a:cubicBezTo>
                <a:cubicBezTo>
                  <a:pt x="28" y="70"/>
                  <a:pt x="28" y="70"/>
                  <a:pt x="28" y="70"/>
                </a:cubicBezTo>
                <a:cubicBezTo>
                  <a:pt x="27" y="70"/>
                  <a:pt x="27" y="70"/>
                  <a:pt x="27" y="70"/>
                </a:cubicBezTo>
                <a:cubicBezTo>
                  <a:pt x="23" y="68"/>
                  <a:pt x="23" y="68"/>
                  <a:pt x="23" y="68"/>
                </a:cubicBezTo>
                <a:cubicBezTo>
                  <a:pt x="22" y="68"/>
                  <a:pt x="22" y="68"/>
                  <a:pt x="22" y="68"/>
                </a:cubicBezTo>
                <a:cubicBezTo>
                  <a:pt x="21" y="68"/>
                  <a:pt x="21" y="67"/>
                  <a:pt x="20" y="67"/>
                </a:cubicBezTo>
                <a:cubicBezTo>
                  <a:pt x="18" y="65"/>
                  <a:pt x="18" y="65"/>
                  <a:pt x="18" y="65"/>
                </a:cubicBezTo>
                <a:cubicBezTo>
                  <a:pt x="17" y="65"/>
                  <a:pt x="17" y="65"/>
                  <a:pt x="17" y="65"/>
                </a:cubicBezTo>
                <a:cubicBezTo>
                  <a:pt x="17" y="65"/>
                  <a:pt x="16" y="65"/>
                  <a:pt x="15" y="65"/>
                </a:cubicBezTo>
                <a:cubicBezTo>
                  <a:pt x="14" y="65"/>
                  <a:pt x="13" y="65"/>
                  <a:pt x="12" y="65"/>
                </a:cubicBezTo>
                <a:cubicBezTo>
                  <a:pt x="12" y="67"/>
                  <a:pt x="10" y="69"/>
                  <a:pt x="8" y="70"/>
                </a:cubicBezTo>
                <a:cubicBezTo>
                  <a:pt x="8" y="71"/>
                  <a:pt x="8" y="71"/>
                  <a:pt x="8" y="71"/>
                </a:cubicBezTo>
                <a:cubicBezTo>
                  <a:pt x="8" y="71"/>
                  <a:pt x="8" y="71"/>
                  <a:pt x="8" y="71"/>
                </a:cubicBezTo>
                <a:cubicBezTo>
                  <a:pt x="10" y="73"/>
                  <a:pt x="10" y="73"/>
                  <a:pt x="10" y="73"/>
                </a:cubicBezTo>
                <a:cubicBezTo>
                  <a:pt x="11" y="74"/>
                  <a:pt x="11" y="74"/>
                  <a:pt x="11" y="74"/>
                </a:cubicBezTo>
                <a:cubicBezTo>
                  <a:pt x="12" y="76"/>
                  <a:pt x="12" y="76"/>
                  <a:pt x="12" y="76"/>
                </a:cubicBezTo>
                <a:cubicBezTo>
                  <a:pt x="12" y="76"/>
                  <a:pt x="13" y="77"/>
                  <a:pt x="15" y="80"/>
                </a:cubicBezTo>
                <a:cubicBezTo>
                  <a:pt x="15" y="81"/>
                  <a:pt x="15" y="81"/>
                  <a:pt x="15" y="81"/>
                </a:cubicBezTo>
                <a:cubicBezTo>
                  <a:pt x="17" y="82"/>
                  <a:pt x="17" y="83"/>
                  <a:pt x="17" y="84"/>
                </a:cubicBezTo>
                <a:cubicBezTo>
                  <a:pt x="17" y="84"/>
                  <a:pt x="17" y="85"/>
                  <a:pt x="18" y="85"/>
                </a:cubicBezTo>
                <a:cubicBezTo>
                  <a:pt x="18" y="85"/>
                  <a:pt x="19" y="85"/>
                  <a:pt x="19" y="86"/>
                </a:cubicBezTo>
                <a:cubicBezTo>
                  <a:pt x="23" y="93"/>
                  <a:pt x="23" y="93"/>
                  <a:pt x="23" y="93"/>
                </a:cubicBezTo>
                <a:cubicBezTo>
                  <a:pt x="24" y="94"/>
                  <a:pt x="24" y="94"/>
                  <a:pt x="24" y="94"/>
                </a:cubicBezTo>
                <a:cubicBezTo>
                  <a:pt x="24" y="98"/>
                  <a:pt x="24" y="98"/>
                  <a:pt x="24" y="98"/>
                </a:cubicBezTo>
                <a:cubicBezTo>
                  <a:pt x="24" y="100"/>
                  <a:pt x="24" y="102"/>
                  <a:pt x="22" y="102"/>
                </a:cubicBezTo>
                <a:cubicBezTo>
                  <a:pt x="22" y="102"/>
                  <a:pt x="22" y="102"/>
                  <a:pt x="21" y="102"/>
                </a:cubicBezTo>
                <a:cubicBezTo>
                  <a:pt x="21" y="102"/>
                  <a:pt x="21" y="102"/>
                  <a:pt x="20" y="102"/>
                </a:cubicBezTo>
                <a:cubicBezTo>
                  <a:pt x="19" y="103"/>
                  <a:pt x="17" y="104"/>
                  <a:pt x="17" y="104"/>
                </a:cubicBezTo>
                <a:cubicBezTo>
                  <a:pt x="17" y="104"/>
                  <a:pt x="17" y="104"/>
                  <a:pt x="16" y="104"/>
                </a:cubicBezTo>
                <a:cubicBezTo>
                  <a:pt x="12" y="104"/>
                  <a:pt x="12" y="104"/>
                  <a:pt x="12" y="104"/>
                </a:cubicBezTo>
                <a:cubicBezTo>
                  <a:pt x="10" y="105"/>
                  <a:pt x="10" y="105"/>
                  <a:pt x="10" y="105"/>
                </a:cubicBezTo>
                <a:cubicBezTo>
                  <a:pt x="11" y="106"/>
                  <a:pt x="11" y="106"/>
                  <a:pt x="11" y="106"/>
                </a:cubicBezTo>
                <a:cubicBezTo>
                  <a:pt x="13" y="107"/>
                  <a:pt x="13" y="107"/>
                  <a:pt x="13" y="107"/>
                </a:cubicBezTo>
                <a:cubicBezTo>
                  <a:pt x="14" y="107"/>
                  <a:pt x="15" y="107"/>
                  <a:pt x="17" y="108"/>
                </a:cubicBezTo>
                <a:cubicBezTo>
                  <a:pt x="18" y="109"/>
                  <a:pt x="19" y="109"/>
                  <a:pt x="18" y="111"/>
                </a:cubicBezTo>
                <a:cubicBezTo>
                  <a:pt x="18" y="111"/>
                  <a:pt x="18" y="112"/>
                  <a:pt x="17" y="112"/>
                </a:cubicBezTo>
                <a:cubicBezTo>
                  <a:pt x="17" y="112"/>
                  <a:pt x="17" y="112"/>
                  <a:pt x="17" y="113"/>
                </a:cubicBezTo>
                <a:cubicBezTo>
                  <a:pt x="17" y="113"/>
                  <a:pt x="16" y="114"/>
                  <a:pt x="16" y="115"/>
                </a:cubicBezTo>
                <a:cubicBezTo>
                  <a:pt x="16" y="116"/>
                  <a:pt x="16" y="116"/>
                  <a:pt x="16" y="116"/>
                </a:cubicBezTo>
                <a:cubicBezTo>
                  <a:pt x="16" y="117"/>
                  <a:pt x="16" y="117"/>
                  <a:pt x="16" y="119"/>
                </a:cubicBezTo>
                <a:cubicBezTo>
                  <a:pt x="16" y="119"/>
                  <a:pt x="16" y="120"/>
                  <a:pt x="16" y="121"/>
                </a:cubicBezTo>
                <a:cubicBezTo>
                  <a:pt x="16" y="121"/>
                  <a:pt x="16" y="121"/>
                  <a:pt x="16" y="122"/>
                </a:cubicBezTo>
                <a:cubicBezTo>
                  <a:pt x="16" y="122"/>
                  <a:pt x="16" y="122"/>
                  <a:pt x="16" y="123"/>
                </a:cubicBezTo>
                <a:cubicBezTo>
                  <a:pt x="16" y="123"/>
                  <a:pt x="16" y="123"/>
                  <a:pt x="16" y="123"/>
                </a:cubicBezTo>
                <a:cubicBezTo>
                  <a:pt x="16" y="123"/>
                  <a:pt x="16" y="123"/>
                  <a:pt x="16" y="123"/>
                </a:cubicBezTo>
                <a:cubicBezTo>
                  <a:pt x="16" y="123"/>
                  <a:pt x="16" y="123"/>
                  <a:pt x="16" y="123"/>
                </a:cubicBezTo>
                <a:cubicBezTo>
                  <a:pt x="16" y="123"/>
                  <a:pt x="16" y="123"/>
                  <a:pt x="16" y="123"/>
                </a:cubicBezTo>
                <a:cubicBezTo>
                  <a:pt x="16" y="124"/>
                  <a:pt x="16" y="124"/>
                  <a:pt x="16" y="124"/>
                </a:cubicBezTo>
                <a:cubicBezTo>
                  <a:pt x="15" y="126"/>
                  <a:pt x="15" y="127"/>
                  <a:pt x="13" y="128"/>
                </a:cubicBezTo>
                <a:cubicBezTo>
                  <a:pt x="12" y="128"/>
                  <a:pt x="12" y="128"/>
                  <a:pt x="12" y="128"/>
                </a:cubicBezTo>
                <a:cubicBezTo>
                  <a:pt x="12" y="128"/>
                  <a:pt x="11" y="129"/>
                  <a:pt x="10" y="129"/>
                </a:cubicBezTo>
                <a:cubicBezTo>
                  <a:pt x="9" y="129"/>
                  <a:pt x="9" y="129"/>
                  <a:pt x="9" y="129"/>
                </a:cubicBezTo>
                <a:cubicBezTo>
                  <a:pt x="8" y="131"/>
                  <a:pt x="7" y="131"/>
                  <a:pt x="7" y="131"/>
                </a:cubicBezTo>
                <a:cubicBezTo>
                  <a:pt x="7" y="131"/>
                  <a:pt x="7" y="131"/>
                  <a:pt x="7" y="131"/>
                </a:cubicBezTo>
                <a:cubicBezTo>
                  <a:pt x="6" y="131"/>
                  <a:pt x="5" y="131"/>
                  <a:pt x="5" y="131"/>
                </a:cubicBezTo>
                <a:cubicBezTo>
                  <a:pt x="5" y="131"/>
                  <a:pt x="5" y="131"/>
                  <a:pt x="5" y="131"/>
                </a:cubicBezTo>
                <a:cubicBezTo>
                  <a:pt x="5" y="131"/>
                  <a:pt x="6" y="132"/>
                  <a:pt x="7" y="132"/>
                </a:cubicBezTo>
                <a:cubicBezTo>
                  <a:pt x="13" y="132"/>
                  <a:pt x="13" y="132"/>
                  <a:pt x="13" y="132"/>
                </a:cubicBezTo>
                <a:cubicBezTo>
                  <a:pt x="15" y="132"/>
                  <a:pt x="15" y="133"/>
                  <a:pt x="16" y="134"/>
                </a:cubicBezTo>
                <a:cubicBezTo>
                  <a:pt x="16" y="135"/>
                  <a:pt x="16" y="136"/>
                  <a:pt x="15" y="137"/>
                </a:cubicBezTo>
                <a:cubicBezTo>
                  <a:pt x="15" y="138"/>
                  <a:pt x="15" y="138"/>
                  <a:pt x="15" y="138"/>
                </a:cubicBezTo>
                <a:cubicBezTo>
                  <a:pt x="15" y="140"/>
                  <a:pt x="15" y="141"/>
                  <a:pt x="14" y="141"/>
                </a:cubicBezTo>
                <a:cubicBezTo>
                  <a:pt x="14" y="142"/>
                  <a:pt x="13" y="142"/>
                  <a:pt x="13" y="142"/>
                </a:cubicBezTo>
                <a:cubicBezTo>
                  <a:pt x="12" y="143"/>
                  <a:pt x="11" y="142"/>
                  <a:pt x="10" y="142"/>
                </a:cubicBezTo>
                <a:cubicBezTo>
                  <a:pt x="9" y="142"/>
                  <a:pt x="9" y="142"/>
                  <a:pt x="9" y="142"/>
                </a:cubicBezTo>
                <a:cubicBezTo>
                  <a:pt x="3" y="142"/>
                  <a:pt x="3" y="142"/>
                  <a:pt x="3" y="142"/>
                </a:cubicBezTo>
                <a:cubicBezTo>
                  <a:pt x="3" y="143"/>
                  <a:pt x="2" y="144"/>
                  <a:pt x="1" y="144"/>
                </a:cubicBezTo>
                <a:cubicBezTo>
                  <a:pt x="0" y="144"/>
                  <a:pt x="0" y="144"/>
                  <a:pt x="0" y="144"/>
                </a:cubicBezTo>
                <a:cubicBezTo>
                  <a:pt x="2" y="148"/>
                  <a:pt x="3" y="151"/>
                  <a:pt x="4" y="152"/>
                </a:cubicBezTo>
                <a:cubicBezTo>
                  <a:pt x="5" y="153"/>
                  <a:pt x="5" y="154"/>
                  <a:pt x="6" y="154"/>
                </a:cubicBezTo>
                <a:cubicBezTo>
                  <a:pt x="7" y="155"/>
                  <a:pt x="7" y="155"/>
                  <a:pt x="7" y="155"/>
                </a:cubicBezTo>
                <a:cubicBezTo>
                  <a:pt x="7" y="156"/>
                  <a:pt x="7" y="156"/>
                  <a:pt x="7" y="156"/>
                </a:cubicBezTo>
                <a:cubicBezTo>
                  <a:pt x="10" y="158"/>
                  <a:pt x="10" y="158"/>
                  <a:pt x="10" y="158"/>
                </a:cubicBezTo>
                <a:cubicBezTo>
                  <a:pt x="11" y="158"/>
                  <a:pt x="11" y="158"/>
                  <a:pt x="11" y="158"/>
                </a:cubicBezTo>
                <a:cubicBezTo>
                  <a:pt x="12" y="158"/>
                  <a:pt x="13" y="159"/>
                  <a:pt x="13" y="160"/>
                </a:cubicBezTo>
                <a:cubicBezTo>
                  <a:pt x="13" y="163"/>
                  <a:pt x="13" y="163"/>
                  <a:pt x="13" y="163"/>
                </a:cubicBezTo>
                <a:cubicBezTo>
                  <a:pt x="13" y="164"/>
                  <a:pt x="12" y="165"/>
                  <a:pt x="11" y="165"/>
                </a:cubicBezTo>
                <a:cubicBezTo>
                  <a:pt x="7" y="165"/>
                  <a:pt x="7" y="165"/>
                  <a:pt x="7" y="165"/>
                </a:cubicBezTo>
                <a:cubicBezTo>
                  <a:pt x="6" y="166"/>
                  <a:pt x="6" y="166"/>
                  <a:pt x="6" y="166"/>
                </a:cubicBezTo>
                <a:cubicBezTo>
                  <a:pt x="5" y="167"/>
                  <a:pt x="5" y="167"/>
                  <a:pt x="5" y="167"/>
                </a:cubicBezTo>
                <a:cubicBezTo>
                  <a:pt x="4" y="167"/>
                  <a:pt x="4" y="167"/>
                  <a:pt x="4" y="167"/>
                </a:cubicBezTo>
                <a:cubicBezTo>
                  <a:pt x="4" y="167"/>
                  <a:pt x="4" y="167"/>
                  <a:pt x="4" y="167"/>
                </a:cubicBezTo>
                <a:cubicBezTo>
                  <a:pt x="4" y="168"/>
                  <a:pt x="3" y="170"/>
                  <a:pt x="3" y="170"/>
                </a:cubicBezTo>
                <a:cubicBezTo>
                  <a:pt x="3" y="171"/>
                  <a:pt x="3" y="171"/>
                  <a:pt x="3" y="171"/>
                </a:cubicBezTo>
                <a:cubicBezTo>
                  <a:pt x="3" y="172"/>
                  <a:pt x="3" y="173"/>
                  <a:pt x="3" y="174"/>
                </a:cubicBezTo>
                <a:cubicBezTo>
                  <a:pt x="4" y="174"/>
                  <a:pt x="4" y="174"/>
                  <a:pt x="4" y="174"/>
                </a:cubicBezTo>
                <a:cubicBezTo>
                  <a:pt x="4" y="175"/>
                  <a:pt x="5" y="177"/>
                  <a:pt x="6" y="178"/>
                </a:cubicBezTo>
                <a:cubicBezTo>
                  <a:pt x="7" y="179"/>
                  <a:pt x="7" y="179"/>
                  <a:pt x="7" y="179"/>
                </a:cubicBezTo>
                <a:cubicBezTo>
                  <a:pt x="8" y="181"/>
                  <a:pt x="8" y="181"/>
                  <a:pt x="8" y="181"/>
                </a:cubicBezTo>
                <a:cubicBezTo>
                  <a:pt x="8" y="181"/>
                  <a:pt x="8" y="181"/>
                  <a:pt x="8" y="182"/>
                </a:cubicBezTo>
                <a:cubicBezTo>
                  <a:pt x="8" y="184"/>
                  <a:pt x="8" y="184"/>
                  <a:pt x="8" y="184"/>
                </a:cubicBezTo>
                <a:cubicBezTo>
                  <a:pt x="8" y="184"/>
                  <a:pt x="8" y="185"/>
                  <a:pt x="8" y="186"/>
                </a:cubicBezTo>
                <a:cubicBezTo>
                  <a:pt x="8" y="187"/>
                  <a:pt x="8" y="187"/>
                  <a:pt x="9" y="189"/>
                </a:cubicBezTo>
                <a:cubicBezTo>
                  <a:pt x="9" y="189"/>
                  <a:pt x="9" y="189"/>
                  <a:pt x="11" y="189"/>
                </a:cubicBezTo>
                <a:cubicBezTo>
                  <a:pt x="12" y="189"/>
                  <a:pt x="12" y="189"/>
                  <a:pt x="13" y="189"/>
                </a:cubicBezTo>
                <a:cubicBezTo>
                  <a:pt x="13" y="188"/>
                  <a:pt x="13" y="189"/>
                  <a:pt x="14" y="189"/>
                </a:cubicBezTo>
                <a:cubicBezTo>
                  <a:pt x="14" y="189"/>
                  <a:pt x="14" y="189"/>
                  <a:pt x="14" y="189"/>
                </a:cubicBezTo>
                <a:cubicBezTo>
                  <a:pt x="14" y="189"/>
                  <a:pt x="14" y="189"/>
                  <a:pt x="14" y="189"/>
                </a:cubicBezTo>
                <a:cubicBezTo>
                  <a:pt x="15" y="189"/>
                  <a:pt x="17" y="189"/>
                  <a:pt x="17" y="189"/>
                </a:cubicBezTo>
                <a:cubicBezTo>
                  <a:pt x="19" y="189"/>
                  <a:pt x="19" y="189"/>
                  <a:pt x="19" y="189"/>
                </a:cubicBezTo>
                <a:cubicBezTo>
                  <a:pt x="22" y="189"/>
                  <a:pt x="22" y="189"/>
                  <a:pt x="22" y="189"/>
                </a:cubicBezTo>
                <a:cubicBezTo>
                  <a:pt x="22" y="189"/>
                  <a:pt x="22" y="189"/>
                  <a:pt x="22" y="189"/>
                </a:cubicBezTo>
                <a:cubicBezTo>
                  <a:pt x="23" y="188"/>
                  <a:pt x="24" y="187"/>
                  <a:pt x="25" y="188"/>
                </a:cubicBezTo>
                <a:cubicBezTo>
                  <a:pt x="26" y="187"/>
                  <a:pt x="26" y="187"/>
                  <a:pt x="26" y="187"/>
                </a:cubicBezTo>
                <a:cubicBezTo>
                  <a:pt x="26" y="186"/>
                  <a:pt x="26" y="186"/>
                  <a:pt x="26" y="186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28" y="183"/>
                  <a:pt x="28" y="183"/>
                  <a:pt x="28" y="183"/>
                </a:cubicBezTo>
                <a:cubicBezTo>
                  <a:pt x="29" y="182"/>
                  <a:pt x="29" y="182"/>
                  <a:pt x="29" y="182"/>
                </a:cubicBezTo>
                <a:cubicBezTo>
                  <a:pt x="29" y="181"/>
                  <a:pt x="29" y="181"/>
                  <a:pt x="29" y="181"/>
                </a:cubicBezTo>
                <a:cubicBezTo>
                  <a:pt x="29" y="180"/>
                  <a:pt x="29" y="180"/>
                  <a:pt x="29" y="180"/>
                </a:cubicBezTo>
                <a:cubicBezTo>
                  <a:pt x="29" y="179"/>
                  <a:pt x="29" y="179"/>
                  <a:pt x="29" y="179"/>
                </a:cubicBezTo>
                <a:cubicBezTo>
                  <a:pt x="30" y="175"/>
                  <a:pt x="30" y="175"/>
                  <a:pt x="30" y="175"/>
                </a:cubicBezTo>
                <a:cubicBezTo>
                  <a:pt x="30" y="175"/>
                  <a:pt x="31" y="174"/>
                  <a:pt x="32" y="174"/>
                </a:cubicBezTo>
                <a:cubicBezTo>
                  <a:pt x="32" y="174"/>
                  <a:pt x="32" y="174"/>
                  <a:pt x="33" y="174"/>
                </a:cubicBezTo>
                <a:cubicBezTo>
                  <a:pt x="33" y="173"/>
                  <a:pt x="34" y="172"/>
                  <a:pt x="35" y="172"/>
                </a:cubicBezTo>
                <a:cubicBezTo>
                  <a:pt x="35" y="172"/>
                  <a:pt x="35" y="172"/>
                  <a:pt x="35" y="171"/>
                </a:cubicBezTo>
                <a:cubicBezTo>
                  <a:pt x="36" y="170"/>
                  <a:pt x="38" y="169"/>
                  <a:pt x="39" y="169"/>
                </a:cubicBezTo>
                <a:cubicBezTo>
                  <a:pt x="39" y="169"/>
                  <a:pt x="39" y="169"/>
                  <a:pt x="39" y="169"/>
                </a:cubicBezTo>
                <a:cubicBezTo>
                  <a:pt x="41" y="169"/>
                  <a:pt x="41" y="169"/>
                  <a:pt x="41" y="169"/>
                </a:cubicBezTo>
                <a:cubicBezTo>
                  <a:pt x="42" y="168"/>
                  <a:pt x="42" y="168"/>
                  <a:pt x="42" y="168"/>
                </a:cubicBezTo>
                <a:cubicBezTo>
                  <a:pt x="43" y="167"/>
                  <a:pt x="43" y="167"/>
                  <a:pt x="44" y="167"/>
                </a:cubicBezTo>
                <a:cubicBezTo>
                  <a:pt x="57" y="167"/>
                  <a:pt x="57" y="167"/>
                  <a:pt x="57" y="167"/>
                </a:cubicBezTo>
                <a:cubicBezTo>
                  <a:pt x="57" y="166"/>
                  <a:pt x="57" y="166"/>
                  <a:pt x="57" y="166"/>
                </a:cubicBezTo>
                <a:cubicBezTo>
                  <a:pt x="58" y="166"/>
                  <a:pt x="58" y="166"/>
                  <a:pt x="59" y="166"/>
                </a:cubicBezTo>
                <a:cubicBezTo>
                  <a:pt x="63" y="166"/>
                  <a:pt x="63" y="166"/>
                  <a:pt x="63" y="166"/>
                </a:cubicBezTo>
                <a:cubicBezTo>
                  <a:pt x="64" y="166"/>
                  <a:pt x="65" y="167"/>
                  <a:pt x="65" y="168"/>
                </a:cubicBezTo>
                <a:cubicBezTo>
                  <a:pt x="65" y="169"/>
                  <a:pt x="65" y="169"/>
                  <a:pt x="65" y="169"/>
                </a:cubicBezTo>
                <a:cubicBezTo>
                  <a:pt x="68" y="176"/>
                  <a:pt x="68" y="176"/>
                  <a:pt x="68" y="176"/>
                </a:cubicBezTo>
                <a:cubicBezTo>
                  <a:pt x="71" y="177"/>
                  <a:pt x="71" y="177"/>
                  <a:pt x="71" y="177"/>
                </a:cubicBezTo>
                <a:cubicBezTo>
                  <a:pt x="71" y="177"/>
                  <a:pt x="71" y="177"/>
                  <a:pt x="71" y="177"/>
                </a:cubicBezTo>
                <a:cubicBezTo>
                  <a:pt x="70" y="175"/>
                  <a:pt x="72" y="174"/>
                  <a:pt x="73" y="174"/>
                </a:cubicBezTo>
                <a:cubicBezTo>
                  <a:pt x="74" y="173"/>
                  <a:pt x="75" y="173"/>
                  <a:pt x="75" y="173"/>
                </a:cubicBezTo>
                <a:cubicBezTo>
                  <a:pt x="76" y="171"/>
                  <a:pt x="77" y="170"/>
                  <a:pt x="77" y="170"/>
                </a:cubicBezTo>
                <a:cubicBezTo>
                  <a:pt x="77" y="169"/>
                  <a:pt x="78" y="168"/>
                  <a:pt x="79" y="168"/>
                </a:cubicBezTo>
                <a:cubicBezTo>
                  <a:pt x="79" y="168"/>
                  <a:pt x="79" y="168"/>
                  <a:pt x="79" y="168"/>
                </a:cubicBezTo>
                <a:cubicBezTo>
                  <a:pt x="79" y="168"/>
                  <a:pt x="79" y="168"/>
                  <a:pt x="79" y="168"/>
                </a:cubicBezTo>
                <a:cubicBezTo>
                  <a:pt x="78" y="167"/>
                  <a:pt x="78" y="167"/>
                  <a:pt x="77" y="167"/>
                </a:cubicBezTo>
                <a:cubicBezTo>
                  <a:pt x="77" y="166"/>
                  <a:pt x="76" y="165"/>
                  <a:pt x="75" y="164"/>
                </a:cubicBezTo>
                <a:cubicBezTo>
                  <a:pt x="75" y="163"/>
                  <a:pt x="74" y="163"/>
                  <a:pt x="74" y="162"/>
                </a:cubicBezTo>
                <a:cubicBezTo>
                  <a:pt x="74" y="162"/>
                  <a:pt x="74" y="162"/>
                  <a:pt x="73" y="162"/>
                </a:cubicBezTo>
                <a:cubicBezTo>
                  <a:pt x="72" y="161"/>
                  <a:pt x="71" y="157"/>
                  <a:pt x="71" y="154"/>
                </a:cubicBezTo>
                <a:cubicBezTo>
                  <a:pt x="71" y="153"/>
                  <a:pt x="71" y="153"/>
                  <a:pt x="71" y="153"/>
                </a:cubicBezTo>
                <a:cubicBezTo>
                  <a:pt x="72" y="152"/>
                  <a:pt x="72" y="152"/>
                  <a:pt x="73" y="152"/>
                </a:cubicBezTo>
                <a:cubicBezTo>
                  <a:pt x="76" y="152"/>
                  <a:pt x="76" y="152"/>
                  <a:pt x="76" y="152"/>
                </a:cubicBezTo>
                <a:cubicBezTo>
                  <a:pt x="78" y="151"/>
                  <a:pt x="79" y="151"/>
                  <a:pt x="79" y="150"/>
                </a:cubicBezTo>
                <a:cubicBezTo>
                  <a:pt x="80" y="150"/>
                  <a:pt x="81" y="149"/>
                  <a:pt x="82" y="149"/>
                </a:cubicBezTo>
                <a:cubicBezTo>
                  <a:pt x="83" y="149"/>
                  <a:pt x="83" y="149"/>
                  <a:pt x="83" y="149"/>
                </a:cubicBezTo>
                <a:cubicBezTo>
                  <a:pt x="84" y="146"/>
                  <a:pt x="84" y="146"/>
                  <a:pt x="84" y="146"/>
                </a:cubicBezTo>
                <a:cubicBezTo>
                  <a:pt x="84" y="146"/>
                  <a:pt x="84" y="146"/>
                  <a:pt x="84" y="146"/>
                </a:cubicBezTo>
                <a:cubicBezTo>
                  <a:pt x="85" y="144"/>
                  <a:pt x="87" y="142"/>
                  <a:pt x="89" y="142"/>
                </a:cubicBezTo>
                <a:cubicBezTo>
                  <a:pt x="89" y="141"/>
                  <a:pt x="89" y="141"/>
                  <a:pt x="89" y="141"/>
                </a:cubicBezTo>
                <a:cubicBezTo>
                  <a:pt x="90" y="141"/>
                  <a:pt x="91" y="140"/>
                  <a:pt x="92" y="140"/>
                </a:cubicBezTo>
                <a:cubicBezTo>
                  <a:pt x="95" y="140"/>
                  <a:pt x="95" y="140"/>
                  <a:pt x="95" y="140"/>
                </a:cubicBezTo>
                <a:cubicBezTo>
                  <a:pt x="96" y="140"/>
                  <a:pt x="96" y="140"/>
                  <a:pt x="97" y="140"/>
                </a:cubicBezTo>
                <a:cubicBezTo>
                  <a:pt x="98" y="138"/>
                  <a:pt x="100" y="138"/>
                  <a:pt x="101" y="137"/>
                </a:cubicBezTo>
                <a:cubicBezTo>
                  <a:pt x="102" y="136"/>
                  <a:pt x="102" y="136"/>
                  <a:pt x="102" y="136"/>
                </a:cubicBezTo>
                <a:cubicBezTo>
                  <a:pt x="103" y="136"/>
                  <a:pt x="103" y="136"/>
                  <a:pt x="103" y="136"/>
                </a:cubicBezTo>
                <a:cubicBezTo>
                  <a:pt x="105" y="136"/>
                  <a:pt x="105" y="136"/>
                  <a:pt x="105" y="136"/>
                </a:cubicBezTo>
                <a:cubicBezTo>
                  <a:pt x="105" y="135"/>
                  <a:pt x="105" y="135"/>
                  <a:pt x="105" y="135"/>
                </a:cubicBezTo>
                <a:cubicBezTo>
                  <a:pt x="104" y="135"/>
                  <a:pt x="104" y="135"/>
                  <a:pt x="103" y="134"/>
                </a:cubicBezTo>
                <a:cubicBezTo>
                  <a:pt x="102" y="134"/>
                  <a:pt x="101" y="132"/>
                  <a:pt x="101" y="131"/>
                </a:cubicBezTo>
                <a:cubicBezTo>
                  <a:pt x="101" y="131"/>
                  <a:pt x="100" y="131"/>
                  <a:pt x="100" y="130"/>
                </a:cubicBezTo>
                <a:cubicBezTo>
                  <a:pt x="99" y="129"/>
                  <a:pt x="100" y="129"/>
                  <a:pt x="101" y="126"/>
                </a:cubicBezTo>
                <a:cubicBezTo>
                  <a:pt x="102" y="124"/>
                  <a:pt x="102" y="123"/>
                  <a:pt x="102" y="123"/>
                </a:cubicBezTo>
                <a:cubicBezTo>
                  <a:pt x="102" y="123"/>
                  <a:pt x="102" y="123"/>
                  <a:pt x="103" y="122"/>
                </a:cubicBezTo>
                <a:cubicBezTo>
                  <a:pt x="103" y="121"/>
                  <a:pt x="103" y="120"/>
                  <a:pt x="102" y="119"/>
                </a:cubicBezTo>
                <a:cubicBezTo>
                  <a:pt x="102" y="118"/>
                  <a:pt x="101" y="117"/>
                  <a:pt x="103" y="115"/>
                </a:cubicBezTo>
                <a:cubicBezTo>
                  <a:pt x="103" y="115"/>
                  <a:pt x="103" y="115"/>
                  <a:pt x="103" y="114"/>
                </a:cubicBezTo>
                <a:cubicBezTo>
                  <a:pt x="102" y="114"/>
                  <a:pt x="102" y="114"/>
                  <a:pt x="102" y="114"/>
                </a:cubicBezTo>
                <a:cubicBezTo>
                  <a:pt x="102" y="113"/>
                  <a:pt x="102" y="111"/>
                  <a:pt x="103" y="111"/>
                </a:cubicBezTo>
                <a:cubicBezTo>
                  <a:pt x="104" y="111"/>
                  <a:pt x="104" y="110"/>
                  <a:pt x="105" y="111"/>
                </a:cubicBezTo>
                <a:cubicBezTo>
                  <a:pt x="105" y="111"/>
                  <a:pt x="105" y="111"/>
                  <a:pt x="105" y="111"/>
                </a:cubicBezTo>
                <a:cubicBezTo>
                  <a:pt x="106" y="111"/>
                  <a:pt x="106" y="111"/>
                  <a:pt x="106" y="111"/>
                </a:cubicBezTo>
                <a:cubicBezTo>
                  <a:pt x="110" y="110"/>
                  <a:pt x="110" y="110"/>
                  <a:pt x="110" y="110"/>
                </a:cubicBezTo>
                <a:cubicBezTo>
                  <a:pt x="111" y="109"/>
                  <a:pt x="111" y="110"/>
                  <a:pt x="112" y="110"/>
                </a:cubicBezTo>
                <a:cubicBezTo>
                  <a:pt x="116" y="112"/>
                  <a:pt x="116" y="112"/>
                  <a:pt x="116" y="112"/>
                </a:cubicBezTo>
                <a:cubicBezTo>
                  <a:pt x="118" y="113"/>
                  <a:pt x="118" y="113"/>
                  <a:pt x="118" y="113"/>
                </a:cubicBezTo>
                <a:cubicBezTo>
                  <a:pt x="119" y="112"/>
                  <a:pt x="119" y="112"/>
                  <a:pt x="119" y="112"/>
                </a:cubicBezTo>
                <a:cubicBezTo>
                  <a:pt x="121" y="111"/>
                  <a:pt x="121" y="111"/>
                  <a:pt x="121" y="110"/>
                </a:cubicBezTo>
                <a:cubicBezTo>
                  <a:pt x="121" y="107"/>
                  <a:pt x="123" y="104"/>
                  <a:pt x="124" y="103"/>
                </a:cubicBezTo>
                <a:cubicBezTo>
                  <a:pt x="124" y="103"/>
                  <a:pt x="124" y="103"/>
                  <a:pt x="124" y="103"/>
                </a:cubicBezTo>
                <a:cubicBezTo>
                  <a:pt x="130" y="98"/>
                  <a:pt x="130" y="98"/>
                  <a:pt x="130" y="98"/>
                </a:cubicBezTo>
                <a:cubicBezTo>
                  <a:pt x="130" y="98"/>
                  <a:pt x="130" y="98"/>
                  <a:pt x="131" y="98"/>
                </a:cubicBezTo>
                <a:cubicBezTo>
                  <a:pt x="135" y="98"/>
                  <a:pt x="135" y="98"/>
                  <a:pt x="135" y="98"/>
                </a:cubicBezTo>
                <a:cubicBezTo>
                  <a:pt x="136" y="98"/>
                  <a:pt x="136" y="98"/>
                  <a:pt x="136" y="98"/>
                </a:cubicBezTo>
                <a:cubicBezTo>
                  <a:pt x="136" y="98"/>
                  <a:pt x="136" y="97"/>
                  <a:pt x="137" y="97"/>
                </a:cubicBezTo>
                <a:cubicBezTo>
                  <a:pt x="137" y="97"/>
                  <a:pt x="137" y="97"/>
                  <a:pt x="137" y="97"/>
                </a:cubicBezTo>
                <a:cubicBezTo>
                  <a:pt x="134" y="96"/>
                  <a:pt x="134" y="96"/>
                  <a:pt x="134" y="96"/>
                </a:cubicBezTo>
                <a:cubicBezTo>
                  <a:pt x="125" y="96"/>
                  <a:pt x="125" y="96"/>
                  <a:pt x="125" y="96"/>
                </a:cubicBezTo>
                <a:cubicBezTo>
                  <a:pt x="124" y="96"/>
                  <a:pt x="123" y="95"/>
                  <a:pt x="123" y="94"/>
                </a:cubicBezTo>
                <a:cubicBezTo>
                  <a:pt x="123" y="94"/>
                  <a:pt x="123" y="93"/>
                  <a:pt x="123" y="92"/>
                </a:cubicBezTo>
                <a:cubicBezTo>
                  <a:pt x="126" y="90"/>
                  <a:pt x="126" y="90"/>
                  <a:pt x="126" y="90"/>
                </a:cubicBezTo>
                <a:cubicBezTo>
                  <a:pt x="127" y="90"/>
                  <a:pt x="127" y="90"/>
                  <a:pt x="127" y="90"/>
                </a:cubicBezTo>
                <a:cubicBezTo>
                  <a:pt x="128" y="90"/>
                  <a:pt x="129" y="90"/>
                  <a:pt x="129" y="89"/>
                </a:cubicBezTo>
                <a:cubicBezTo>
                  <a:pt x="129" y="87"/>
                  <a:pt x="129" y="84"/>
                  <a:pt x="129" y="84"/>
                </a:cubicBezTo>
                <a:cubicBezTo>
                  <a:pt x="129" y="84"/>
                  <a:pt x="129" y="84"/>
                  <a:pt x="129" y="83"/>
                </a:cubicBezTo>
                <a:cubicBezTo>
                  <a:pt x="129" y="83"/>
                  <a:pt x="129" y="83"/>
                  <a:pt x="129" y="83"/>
                </a:cubicBezTo>
                <a:cubicBezTo>
                  <a:pt x="128" y="84"/>
                  <a:pt x="128" y="84"/>
                  <a:pt x="127" y="84"/>
                </a:cubicBezTo>
                <a:cubicBezTo>
                  <a:pt x="126" y="85"/>
                  <a:pt x="124" y="84"/>
                  <a:pt x="123" y="83"/>
                </a:cubicBezTo>
                <a:cubicBezTo>
                  <a:pt x="123" y="83"/>
                  <a:pt x="121" y="83"/>
                  <a:pt x="120" y="82"/>
                </a:cubicBezTo>
                <a:cubicBezTo>
                  <a:pt x="119" y="82"/>
                  <a:pt x="119" y="80"/>
                  <a:pt x="119" y="79"/>
                </a:cubicBezTo>
                <a:cubicBezTo>
                  <a:pt x="119" y="78"/>
                  <a:pt x="119" y="78"/>
                  <a:pt x="119" y="78"/>
                </a:cubicBezTo>
                <a:cubicBezTo>
                  <a:pt x="119" y="78"/>
                  <a:pt x="119" y="78"/>
                  <a:pt x="119" y="77"/>
                </a:cubicBezTo>
                <a:cubicBezTo>
                  <a:pt x="118" y="76"/>
                  <a:pt x="118" y="76"/>
                  <a:pt x="119" y="74"/>
                </a:cubicBezTo>
                <a:cubicBezTo>
                  <a:pt x="121" y="71"/>
                  <a:pt x="122" y="70"/>
                  <a:pt x="125" y="71"/>
                </a:cubicBezTo>
                <a:cubicBezTo>
                  <a:pt x="126" y="70"/>
                  <a:pt x="128" y="66"/>
                  <a:pt x="129" y="63"/>
                </a:cubicBezTo>
                <a:cubicBezTo>
                  <a:pt x="129" y="56"/>
                  <a:pt x="129" y="56"/>
                  <a:pt x="129" y="56"/>
                </a:cubicBezTo>
                <a:cubicBezTo>
                  <a:pt x="129" y="55"/>
                  <a:pt x="129" y="55"/>
                  <a:pt x="129" y="54"/>
                </a:cubicBezTo>
                <a:cubicBezTo>
                  <a:pt x="130" y="54"/>
                  <a:pt x="132" y="51"/>
                  <a:pt x="135" y="49"/>
                </a:cubicBezTo>
                <a:cubicBezTo>
                  <a:pt x="137" y="49"/>
                  <a:pt x="137" y="49"/>
                  <a:pt x="137" y="49"/>
                </a:cubicBezTo>
                <a:cubicBezTo>
                  <a:pt x="140" y="44"/>
                  <a:pt x="140" y="44"/>
                  <a:pt x="140" y="44"/>
                </a:cubicBezTo>
                <a:cubicBezTo>
                  <a:pt x="134" y="40"/>
                  <a:pt x="134" y="40"/>
                  <a:pt x="134" y="40"/>
                </a:cubicBezTo>
                <a:cubicBezTo>
                  <a:pt x="134" y="40"/>
                  <a:pt x="134" y="40"/>
                  <a:pt x="134" y="40"/>
                </a:cubicBezTo>
                <a:cubicBezTo>
                  <a:pt x="129" y="30"/>
                  <a:pt x="129" y="30"/>
                  <a:pt x="129" y="30"/>
                </a:cubicBezTo>
                <a:cubicBezTo>
                  <a:pt x="129" y="29"/>
                  <a:pt x="127" y="25"/>
                  <a:pt x="129" y="22"/>
                </a:cubicBezTo>
                <a:cubicBezTo>
                  <a:pt x="131" y="20"/>
                  <a:pt x="135" y="21"/>
                  <a:pt x="137" y="22"/>
                </a:cubicBezTo>
                <a:cubicBezTo>
                  <a:pt x="138" y="21"/>
                  <a:pt x="138" y="21"/>
                  <a:pt x="138" y="21"/>
                </a:cubicBezTo>
                <a:cubicBezTo>
                  <a:pt x="138" y="21"/>
                  <a:pt x="139" y="21"/>
                  <a:pt x="140" y="21"/>
                </a:cubicBezTo>
                <a:cubicBezTo>
                  <a:pt x="143" y="23"/>
                  <a:pt x="143" y="23"/>
                  <a:pt x="143" y="23"/>
                </a:cubicBezTo>
                <a:cubicBezTo>
                  <a:pt x="144" y="22"/>
                  <a:pt x="146" y="21"/>
                  <a:pt x="149" y="21"/>
                </a:cubicBezTo>
                <a:cubicBezTo>
                  <a:pt x="153" y="21"/>
                  <a:pt x="153" y="21"/>
                  <a:pt x="153" y="21"/>
                </a:cubicBezTo>
                <a:cubicBezTo>
                  <a:pt x="160" y="21"/>
                  <a:pt x="160" y="21"/>
                  <a:pt x="160" y="21"/>
                </a:cubicBezTo>
                <a:cubicBezTo>
                  <a:pt x="160" y="19"/>
                  <a:pt x="160" y="18"/>
                  <a:pt x="162" y="18"/>
                </a:cubicBezTo>
                <a:cubicBezTo>
                  <a:pt x="163" y="17"/>
                  <a:pt x="163" y="18"/>
                  <a:pt x="164" y="18"/>
                </a:cubicBezTo>
                <a:cubicBezTo>
                  <a:pt x="170" y="9"/>
                  <a:pt x="170" y="9"/>
                  <a:pt x="170" y="9"/>
                </a:cubicBezTo>
                <a:cubicBezTo>
                  <a:pt x="170" y="9"/>
                  <a:pt x="170" y="9"/>
                  <a:pt x="170" y="9"/>
                </a:cubicBezTo>
                <a:cubicBezTo>
                  <a:pt x="170" y="8"/>
                  <a:pt x="170" y="8"/>
                  <a:pt x="170" y="8"/>
                </a:cubicBezTo>
                <a:cubicBezTo>
                  <a:pt x="170" y="6"/>
                  <a:pt x="171" y="5"/>
                  <a:pt x="173" y="4"/>
                </a:cubicBezTo>
                <a:cubicBezTo>
                  <a:pt x="173" y="3"/>
                  <a:pt x="173" y="3"/>
                  <a:pt x="173" y="3"/>
                </a:cubicBezTo>
                <a:cubicBezTo>
                  <a:pt x="174" y="2"/>
                  <a:pt x="174" y="2"/>
                  <a:pt x="175" y="2"/>
                </a:cubicBezTo>
                <a:cubicBezTo>
                  <a:pt x="174" y="1"/>
                  <a:pt x="174" y="1"/>
                  <a:pt x="174" y="1"/>
                </a:cubicBezTo>
                <a:cubicBezTo>
                  <a:pt x="172" y="1"/>
                  <a:pt x="172" y="1"/>
                  <a:pt x="172" y="1"/>
                </a:cubicBezTo>
                <a:cubicBezTo>
                  <a:pt x="171" y="2"/>
                  <a:pt x="171" y="2"/>
                  <a:pt x="171" y="2"/>
                </a:cubicBezTo>
                <a:cubicBezTo>
                  <a:pt x="171" y="2"/>
                  <a:pt x="171" y="2"/>
                  <a:pt x="170" y="2"/>
                </a:cubicBezTo>
                <a:cubicBezTo>
                  <a:pt x="165" y="2"/>
                  <a:pt x="165" y="2"/>
                  <a:pt x="165" y="2"/>
                </a:cubicBezTo>
                <a:cubicBezTo>
                  <a:pt x="163" y="2"/>
                  <a:pt x="163" y="2"/>
                  <a:pt x="163" y="2"/>
                </a:cubicBezTo>
                <a:cubicBezTo>
                  <a:pt x="161" y="2"/>
                  <a:pt x="157" y="3"/>
                  <a:pt x="155" y="2"/>
                </a:cubicBezTo>
                <a:cubicBezTo>
                  <a:pt x="152" y="2"/>
                  <a:pt x="152" y="2"/>
                  <a:pt x="152" y="2"/>
                </a:cubicBezTo>
                <a:cubicBezTo>
                  <a:pt x="147" y="2"/>
                  <a:pt x="147" y="2"/>
                  <a:pt x="147" y="2"/>
                </a:cubicBezTo>
                <a:cubicBezTo>
                  <a:pt x="145" y="4"/>
                  <a:pt x="145" y="4"/>
                  <a:pt x="145" y="4"/>
                </a:cubicBezTo>
                <a:cubicBezTo>
                  <a:pt x="144" y="4"/>
                  <a:pt x="144" y="4"/>
                  <a:pt x="144" y="5"/>
                </a:cubicBezTo>
                <a:cubicBezTo>
                  <a:pt x="141" y="5"/>
                  <a:pt x="141" y="5"/>
                  <a:pt x="141" y="5"/>
                </a:cubicBezTo>
                <a:cubicBezTo>
                  <a:pt x="140" y="5"/>
                  <a:pt x="140" y="5"/>
                  <a:pt x="140" y="5"/>
                </a:cubicBezTo>
                <a:cubicBezTo>
                  <a:pt x="137" y="2"/>
                  <a:pt x="137" y="2"/>
                  <a:pt x="137" y="2"/>
                </a:cubicBezTo>
                <a:cubicBezTo>
                  <a:pt x="133" y="0"/>
                  <a:pt x="133" y="0"/>
                  <a:pt x="133" y="0"/>
                </a:cubicBezTo>
                <a:cubicBezTo>
                  <a:pt x="132" y="0"/>
                  <a:pt x="131" y="0"/>
                  <a:pt x="129" y="0"/>
                </a:cubicBezTo>
                <a:cubicBezTo>
                  <a:pt x="129" y="0"/>
                  <a:pt x="129" y="0"/>
                  <a:pt x="129" y="0"/>
                </a:cubicBezTo>
                <a:cubicBezTo>
                  <a:pt x="128" y="1"/>
                  <a:pt x="128" y="1"/>
                  <a:pt x="128" y="1"/>
                </a:cubicBezTo>
                <a:cubicBezTo>
                  <a:pt x="127" y="1"/>
                  <a:pt x="126" y="1"/>
                  <a:pt x="125" y="2"/>
                </a:cubicBezTo>
                <a:cubicBezTo>
                  <a:pt x="125" y="2"/>
                  <a:pt x="125" y="2"/>
                  <a:pt x="125" y="2"/>
                </a:cubicBezTo>
                <a:cubicBezTo>
                  <a:pt x="125" y="3"/>
                  <a:pt x="124" y="4"/>
                  <a:pt x="124" y="4"/>
                </a:cubicBezTo>
                <a:cubicBezTo>
                  <a:pt x="124" y="4"/>
                  <a:pt x="122" y="5"/>
                  <a:pt x="121" y="6"/>
                </a:cubicBezTo>
                <a:cubicBezTo>
                  <a:pt x="121" y="8"/>
                  <a:pt x="120" y="8"/>
                  <a:pt x="119" y="9"/>
                </a:cubicBezTo>
                <a:cubicBezTo>
                  <a:pt x="117" y="9"/>
                  <a:pt x="115" y="8"/>
                  <a:pt x="115" y="7"/>
                </a:cubicBezTo>
                <a:cubicBezTo>
                  <a:pt x="114" y="7"/>
                  <a:pt x="114" y="7"/>
                  <a:pt x="114" y="7"/>
                </a:cubicBezTo>
                <a:cubicBezTo>
                  <a:pt x="114" y="8"/>
                  <a:pt x="114" y="8"/>
                  <a:pt x="114" y="8"/>
                </a:cubicBezTo>
                <a:cubicBezTo>
                  <a:pt x="114" y="10"/>
                  <a:pt x="114" y="10"/>
                  <a:pt x="114" y="10"/>
                </a:cubicBezTo>
                <a:cubicBezTo>
                  <a:pt x="114" y="11"/>
                  <a:pt x="114" y="11"/>
                  <a:pt x="114" y="12"/>
                </a:cubicBezTo>
                <a:cubicBezTo>
                  <a:pt x="109" y="16"/>
                  <a:pt x="109" y="16"/>
                  <a:pt x="109" y="16"/>
                </a:cubicBezTo>
                <a:cubicBezTo>
                  <a:pt x="108" y="17"/>
                  <a:pt x="108" y="17"/>
                  <a:pt x="107" y="1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Freeform 39">
            <a:extLst>
              <a:ext uri="{FF2B5EF4-FFF2-40B4-BE49-F238E27FC236}">
                <a16:creationId xmlns:a16="http://schemas.microsoft.com/office/drawing/2014/main" id="{8B5DC9F1-783F-43D7-8C12-F097B9867101}"/>
              </a:ext>
            </a:extLst>
          </p:cNvPr>
          <p:cNvSpPr>
            <a:spLocks/>
          </p:cNvSpPr>
          <p:nvPr/>
        </p:nvSpPr>
        <p:spPr bwMode="auto">
          <a:xfrm>
            <a:off x="5920726" y="4831879"/>
            <a:ext cx="261408" cy="401638"/>
          </a:xfrm>
          <a:custGeom>
            <a:avLst/>
            <a:gdLst>
              <a:gd name="T0" fmla="*/ 83 w 108"/>
              <a:gd name="T1" fmla="*/ 24 h 180"/>
              <a:gd name="T2" fmla="*/ 87 w 108"/>
              <a:gd name="T3" fmla="*/ 19 h 180"/>
              <a:gd name="T4" fmla="*/ 81 w 108"/>
              <a:gd name="T5" fmla="*/ 13 h 180"/>
              <a:gd name="T6" fmla="*/ 81 w 108"/>
              <a:gd name="T7" fmla="*/ 5 h 180"/>
              <a:gd name="T8" fmla="*/ 79 w 108"/>
              <a:gd name="T9" fmla="*/ 0 h 180"/>
              <a:gd name="T10" fmla="*/ 63 w 108"/>
              <a:gd name="T11" fmla="*/ 4 h 180"/>
              <a:gd name="T12" fmla="*/ 55 w 108"/>
              <a:gd name="T13" fmla="*/ 10 h 180"/>
              <a:gd name="T14" fmla="*/ 44 w 108"/>
              <a:gd name="T15" fmla="*/ 19 h 180"/>
              <a:gd name="T16" fmla="*/ 51 w 108"/>
              <a:gd name="T17" fmla="*/ 29 h 180"/>
              <a:gd name="T18" fmla="*/ 47 w 108"/>
              <a:gd name="T19" fmla="*/ 35 h 180"/>
              <a:gd name="T20" fmla="*/ 43 w 108"/>
              <a:gd name="T21" fmla="*/ 41 h 180"/>
              <a:gd name="T22" fmla="*/ 34 w 108"/>
              <a:gd name="T23" fmla="*/ 38 h 180"/>
              <a:gd name="T24" fmla="*/ 29 w 108"/>
              <a:gd name="T25" fmla="*/ 30 h 180"/>
              <a:gd name="T26" fmla="*/ 11 w 108"/>
              <a:gd name="T27" fmla="*/ 32 h 180"/>
              <a:gd name="T28" fmla="*/ 4 w 108"/>
              <a:gd name="T29" fmla="*/ 36 h 180"/>
              <a:gd name="T30" fmla="*/ 1 w 108"/>
              <a:gd name="T31" fmla="*/ 42 h 180"/>
              <a:gd name="T32" fmla="*/ 9 w 108"/>
              <a:gd name="T33" fmla="*/ 44 h 180"/>
              <a:gd name="T34" fmla="*/ 9 w 108"/>
              <a:gd name="T35" fmla="*/ 55 h 180"/>
              <a:gd name="T36" fmla="*/ 12 w 108"/>
              <a:gd name="T37" fmla="*/ 59 h 180"/>
              <a:gd name="T38" fmla="*/ 9 w 108"/>
              <a:gd name="T39" fmla="*/ 67 h 180"/>
              <a:gd name="T40" fmla="*/ 9 w 108"/>
              <a:gd name="T41" fmla="*/ 74 h 180"/>
              <a:gd name="T42" fmla="*/ 13 w 108"/>
              <a:gd name="T43" fmla="*/ 82 h 180"/>
              <a:gd name="T44" fmla="*/ 14 w 108"/>
              <a:gd name="T45" fmla="*/ 90 h 180"/>
              <a:gd name="T46" fmla="*/ 8 w 108"/>
              <a:gd name="T47" fmla="*/ 96 h 180"/>
              <a:gd name="T48" fmla="*/ 5 w 108"/>
              <a:gd name="T49" fmla="*/ 99 h 180"/>
              <a:gd name="T50" fmla="*/ 12 w 108"/>
              <a:gd name="T51" fmla="*/ 104 h 180"/>
              <a:gd name="T52" fmla="*/ 21 w 108"/>
              <a:gd name="T53" fmla="*/ 105 h 180"/>
              <a:gd name="T54" fmla="*/ 38 w 108"/>
              <a:gd name="T55" fmla="*/ 112 h 180"/>
              <a:gd name="T56" fmla="*/ 43 w 108"/>
              <a:gd name="T57" fmla="*/ 121 h 180"/>
              <a:gd name="T58" fmla="*/ 48 w 108"/>
              <a:gd name="T59" fmla="*/ 130 h 180"/>
              <a:gd name="T60" fmla="*/ 41 w 108"/>
              <a:gd name="T61" fmla="*/ 140 h 180"/>
              <a:gd name="T62" fmla="*/ 35 w 108"/>
              <a:gd name="T63" fmla="*/ 143 h 180"/>
              <a:gd name="T64" fmla="*/ 45 w 108"/>
              <a:gd name="T65" fmla="*/ 152 h 180"/>
              <a:gd name="T66" fmla="*/ 61 w 108"/>
              <a:gd name="T67" fmla="*/ 151 h 180"/>
              <a:gd name="T68" fmla="*/ 74 w 108"/>
              <a:gd name="T69" fmla="*/ 151 h 180"/>
              <a:gd name="T70" fmla="*/ 75 w 108"/>
              <a:gd name="T71" fmla="*/ 160 h 180"/>
              <a:gd name="T72" fmla="*/ 76 w 108"/>
              <a:gd name="T73" fmla="*/ 166 h 180"/>
              <a:gd name="T74" fmla="*/ 82 w 108"/>
              <a:gd name="T75" fmla="*/ 170 h 180"/>
              <a:gd name="T76" fmla="*/ 91 w 108"/>
              <a:gd name="T77" fmla="*/ 173 h 180"/>
              <a:gd name="T78" fmla="*/ 100 w 108"/>
              <a:gd name="T79" fmla="*/ 179 h 180"/>
              <a:gd name="T80" fmla="*/ 106 w 108"/>
              <a:gd name="T81" fmla="*/ 149 h 180"/>
              <a:gd name="T82" fmla="*/ 100 w 108"/>
              <a:gd name="T83" fmla="*/ 141 h 180"/>
              <a:gd name="T84" fmla="*/ 99 w 108"/>
              <a:gd name="T85" fmla="*/ 132 h 180"/>
              <a:gd name="T86" fmla="*/ 99 w 108"/>
              <a:gd name="T87" fmla="*/ 125 h 180"/>
              <a:gd name="T88" fmla="*/ 97 w 108"/>
              <a:gd name="T89" fmla="*/ 115 h 180"/>
              <a:gd name="T90" fmla="*/ 89 w 108"/>
              <a:gd name="T91" fmla="*/ 109 h 180"/>
              <a:gd name="T92" fmla="*/ 80 w 108"/>
              <a:gd name="T93" fmla="*/ 105 h 180"/>
              <a:gd name="T94" fmla="*/ 73 w 108"/>
              <a:gd name="T95" fmla="*/ 100 h 180"/>
              <a:gd name="T96" fmla="*/ 65 w 108"/>
              <a:gd name="T97" fmla="*/ 87 h 180"/>
              <a:gd name="T98" fmla="*/ 74 w 108"/>
              <a:gd name="T99" fmla="*/ 80 h 180"/>
              <a:gd name="T100" fmla="*/ 77 w 108"/>
              <a:gd name="T101" fmla="*/ 73 h 180"/>
              <a:gd name="T102" fmla="*/ 75 w 108"/>
              <a:gd name="T103" fmla="*/ 64 h 180"/>
              <a:gd name="T104" fmla="*/ 78 w 108"/>
              <a:gd name="T105" fmla="*/ 51 h 180"/>
              <a:gd name="T106" fmla="*/ 78 w 108"/>
              <a:gd name="T107" fmla="*/ 41 h 180"/>
              <a:gd name="T108" fmla="*/ 78 w 108"/>
              <a:gd name="T109" fmla="*/ 30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8" h="180">
                <a:moveTo>
                  <a:pt x="78" y="30"/>
                </a:moveTo>
                <a:cubicBezTo>
                  <a:pt x="78" y="30"/>
                  <a:pt x="79" y="29"/>
                  <a:pt x="79" y="28"/>
                </a:cubicBezTo>
                <a:cubicBezTo>
                  <a:pt x="80" y="26"/>
                  <a:pt x="80" y="26"/>
                  <a:pt x="80" y="26"/>
                </a:cubicBezTo>
                <a:cubicBezTo>
                  <a:pt x="81" y="25"/>
                  <a:pt x="81" y="24"/>
                  <a:pt x="82" y="24"/>
                </a:cubicBezTo>
                <a:cubicBezTo>
                  <a:pt x="83" y="24"/>
                  <a:pt x="83" y="24"/>
                  <a:pt x="83" y="24"/>
                </a:cubicBezTo>
                <a:cubicBezTo>
                  <a:pt x="83" y="24"/>
                  <a:pt x="83" y="24"/>
                  <a:pt x="84" y="24"/>
                </a:cubicBezTo>
                <a:cubicBezTo>
                  <a:pt x="84" y="23"/>
                  <a:pt x="84" y="23"/>
                  <a:pt x="84" y="23"/>
                </a:cubicBezTo>
                <a:cubicBezTo>
                  <a:pt x="85" y="23"/>
                  <a:pt x="85" y="23"/>
                  <a:pt x="85" y="23"/>
                </a:cubicBezTo>
                <a:cubicBezTo>
                  <a:pt x="85" y="22"/>
                  <a:pt x="85" y="22"/>
                  <a:pt x="85" y="22"/>
                </a:cubicBezTo>
                <a:cubicBezTo>
                  <a:pt x="87" y="19"/>
                  <a:pt x="87" y="19"/>
                  <a:pt x="87" y="19"/>
                </a:cubicBezTo>
                <a:cubicBezTo>
                  <a:pt x="87" y="19"/>
                  <a:pt x="87" y="19"/>
                  <a:pt x="87" y="19"/>
                </a:cubicBezTo>
                <a:cubicBezTo>
                  <a:pt x="87" y="19"/>
                  <a:pt x="86" y="19"/>
                  <a:pt x="86" y="18"/>
                </a:cubicBezTo>
                <a:cubicBezTo>
                  <a:pt x="86" y="16"/>
                  <a:pt x="86" y="16"/>
                  <a:pt x="86" y="16"/>
                </a:cubicBezTo>
                <a:cubicBezTo>
                  <a:pt x="83" y="15"/>
                  <a:pt x="83" y="15"/>
                  <a:pt x="83" y="15"/>
                </a:cubicBezTo>
                <a:cubicBezTo>
                  <a:pt x="81" y="13"/>
                  <a:pt x="81" y="13"/>
                  <a:pt x="81" y="13"/>
                </a:cubicBezTo>
                <a:cubicBezTo>
                  <a:pt x="79" y="13"/>
                  <a:pt x="79" y="13"/>
                  <a:pt x="79" y="13"/>
                </a:cubicBezTo>
                <a:cubicBezTo>
                  <a:pt x="79" y="13"/>
                  <a:pt x="78" y="13"/>
                  <a:pt x="78" y="12"/>
                </a:cubicBezTo>
                <a:cubicBezTo>
                  <a:pt x="77" y="12"/>
                  <a:pt x="77" y="11"/>
                  <a:pt x="78" y="10"/>
                </a:cubicBezTo>
                <a:cubicBezTo>
                  <a:pt x="79" y="9"/>
                  <a:pt x="80" y="7"/>
                  <a:pt x="81" y="5"/>
                </a:cubicBezTo>
                <a:cubicBezTo>
                  <a:pt x="81" y="5"/>
                  <a:pt x="81" y="5"/>
                  <a:pt x="81" y="5"/>
                </a:cubicBezTo>
                <a:cubicBezTo>
                  <a:pt x="81" y="4"/>
                  <a:pt x="81" y="4"/>
                  <a:pt x="82" y="4"/>
                </a:cubicBezTo>
                <a:cubicBezTo>
                  <a:pt x="81" y="4"/>
                  <a:pt x="81" y="4"/>
                  <a:pt x="81" y="3"/>
                </a:cubicBezTo>
                <a:cubicBezTo>
                  <a:pt x="80" y="3"/>
                  <a:pt x="80" y="2"/>
                  <a:pt x="80" y="2"/>
                </a:cubicBezTo>
                <a:cubicBezTo>
                  <a:pt x="80" y="1"/>
                  <a:pt x="80" y="1"/>
                  <a:pt x="80" y="1"/>
                </a:cubicBezTo>
                <a:cubicBezTo>
                  <a:pt x="79" y="0"/>
                  <a:pt x="79" y="0"/>
                  <a:pt x="79" y="0"/>
                </a:cubicBezTo>
                <a:cubicBezTo>
                  <a:pt x="71" y="0"/>
                  <a:pt x="71" y="0"/>
                  <a:pt x="71" y="0"/>
                </a:cubicBezTo>
                <a:cubicBezTo>
                  <a:pt x="71" y="1"/>
                  <a:pt x="71" y="1"/>
                  <a:pt x="71" y="1"/>
                </a:cubicBezTo>
                <a:cubicBezTo>
                  <a:pt x="70" y="1"/>
                  <a:pt x="68" y="2"/>
                  <a:pt x="68" y="3"/>
                </a:cubicBezTo>
                <a:cubicBezTo>
                  <a:pt x="67" y="4"/>
                  <a:pt x="67" y="4"/>
                  <a:pt x="66" y="4"/>
                </a:cubicBezTo>
                <a:cubicBezTo>
                  <a:pt x="65" y="5"/>
                  <a:pt x="64" y="4"/>
                  <a:pt x="63" y="4"/>
                </a:cubicBezTo>
                <a:cubicBezTo>
                  <a:pt x="60" y="4"/>
                  <a:pt x="60" y="4"/>
                  <a:pt x="60" y="4"/>
                </a:cubicBezTo>
                <a:cubicBezTo>
                  <a:pt x="60" y="4"/>
                  <a:pt x="60" y="4"/>
                  <a:pt x="60" y="4"/>
                </a:cubicBezTo>
                <a:cubicBezTo>
                  <a:pt x="59" y="5"/>
                  <a:pt x="59" y="5"/>
                  <a:pt x="57" y="6"/>
                </a:cubicBezTo>
                <a:cubicBezTo>
                  <a:pt x="57" y="6"/>
                  <a:pt x="56" y="7"/>
                  <a:pt x="56" y="8"/>
                </a:cubicBezTo>
                <a:cubicBezTo>
                  <a:pt x="55" y="10"/>
                  <a:pt x="55" y="10"/>
                  <a:pt x="55" y="10"/>
                </a:cubicBezTo>
                <a:cubicBezTo>
                  <a:pt x="54" y="12"/>
                  <a:pt x="53" y="13"/>
                  <a:pt x="50" y="13"/>
                </a:cubicBezTo>
                <a:cubicBezTo>
                  <a:pt x="49" y="14"/>
                  <a:pt x="48" y="15"/>
                  <a:pt x="46" y="16"/>
                </a:cubicBezTo>
                <a:cubicBezTo>
                  <a:pt x="45" y="16"/>
                  <a:pt x="45" y="16"/>
                  <a:pt x="45" y="16"/>
                </a:cubicBezTo>
                <a:cubicBezTo>
                  <a:pt x="43" y="16"/>
                  <a:pt x="43" y="16"/>
                  <a:pt x="43" y="16"/>
                </a:cubicBezTo>
                <a:cubicBezTo>
                  <a:pt x="43" y="17"/>
                  <a:pt x="44" y="19"/>
                  <a:pt x="44" y="19"/>
                </a:cubicBezTo>
                <a:cubicBezTo>
                  <a:pt x="44" y="19"/>
                  <a:pt x="44" y="19"/>
                  <a:pt x="44" y="19"/>
                </a:cubicBezTo>
                <a:cubicBezTo>
                  <a:pt x="45" y="20"/>
                  <a:pt x="46" y="20"/>
                  <a:pt x="47" y="22"/>
                </a:cubicBezTo>
                <a:cubicBezTo>
                  <a:pt x="47" y="23"/>
                  <a:pt x="47" y="23"/>
                  <a:pt x="48" y="24"/>
                </a:cubicBezTo>
                <a:cubicBezTo>
                  <a:pt x="48" y="24"/>
                  <a:pt x="49" y="24"/>
                  <a:pt x="50" y="25"/>
                </a:cubicBezTo>
                <a:cubicBezTo>
                  <a:pt x="51" y="26"/>
                  <a:pt x="52" y="28"/>
                  <a:pt x="51" y="29"/>
                </a:cubicBezTo>
                <a:cubicBezTo>
                  <a:pt x="51" y="30"/>
                  <a:pt x="51" y="30"/>
                  <a:pt x="51" y="30"/>
                </a:cubicBezTo>
                <a:cubicBezTo>
                  <a:pt x="51" y="31"/>
                  <a:pt x="51" y="31"/>
                  <a:pt x="50" y="32"/>
                </a:cubicBezTo>
                <a:cubicBezTo>
                  <a:pt x="49" y="32"/>
                  <a:pt x="49" y="32"/>
                  <a:pt x="49" y="32"/>
                </a:cubicBezTo>
                <a:cubicBezTo>
                  <a:pt x="48" y="32"/>
                  <a:pt x="48" y="32"/>
                  <a:pt x="48" y="32"/>
                </a:cubicBezTo>
                <a:cubicBezTo>
                  <a:pt x="48" y="33"/>
                  <a:pt x="47" y="34"/>
                  <a:pt x="47" y="35"/>
                </a:cubicBezTo>
                <a:cubicBezTo>
                  <a:pt x="47" y="36"/>
                  <a:pt x="46" y="37"/>
                  <a:pt x="44" y="37"/>
                </a:cubicBezTo>
                <a:cubicBezTo>
                  <a:pt x="44" y="37"/>
                  <a:pt x="44" y="37"/>
                  <a:pt x="44" y="37"/>
                </a:cubicBezTo>
                <a:cubicBezTo>
                  <a:pt x="44" y="37"/>
                  <a:pt x="44" y="37"/>
                  <a:pt x="44" y="38"/>
                </a:cubicBezTo>
                <a:cubicBezTo>
                  <a:pt x="44" y="39"/>
                  <a:pt x="44" y="39"/>
                  <a:pt x="44" y="39"/>
                </a:cubicBezTo>
                <a:cubicBezTo>
                  <a:pt x="44" y="40"/>
                  <a:pt x="44" y="40"/>
                  <a:pt x="43" y="41"/>
                </a:cubicBezTo>
                <a:cubicBezTo>
                  <a:pt x="42" y="41"/>
                  <a:pt x="42" y="41"/>
                  <a:pt x="42" y="41"/>
                </a:cubicBezTo>
                <a:cubicBezTo>
                  <a:pt x="41" y="42"/>
                  <a:pt x="41" y="42"/>
                  <a:pt x="41" y="42"/>
                </a:cubicBezTo>
                <a:cubicBezTo>
                  <a:pt x="40" y="43"/>
                  <a:pt x="39" y="43"/>
                  <a:pt x="39" y="42"/>
                </a:cubicBezTo>
                <a:cubicBezTo>
                  <a:pt x="36" y="40"/>
                  <a:pt x="36" y="40"/>
                  <a:pt x="36" y="40"/>
                </a:cubicBezTo>
                <a:cubicBezTo>
                  <a:pt x="34" y="38"/>
                  <a:pt x="34" y="38"/>
                  <a:pt x="34" y="38"/>
                </a:cubicBezTo>
                <a:cubicBezTo>
                  <a:pt x="33" y="38"/>
                  <a:pt x="33" y="38"/>
                  <a:pt x="33" y="38"/>
                </a:cubicBezTo>
                <a:cubicBezTo>
                  <a:pt x="32" y="35"/>
                  <a:pt x="32" y="35"/>
                  <a:pt x="32" y="35"/>
                </a:cubicBezTo>
                <a:cubicBezTo>
                  <a:pt x="29" y="31"/>
                  <a:pt x="29" y="31"/>
                  <a:pt x="29" y="31"/>
                </a:cubicBezTo>
                <a:cubicBezTo>
                  <a:pt x="29" y="30"/>
                  <a:pt x="29" y="30"/>
                  <a:pt x="29" y="30"/>
                </a:cubicBezTo>
                <a:cubicBezTo>
                  <a:pt x="29" y="30"/>
                  <a:pt x="29" y="30"/>
                  <a:pt x="29" y="30"/>
                </a:cubicBezTo>
                <a:cubicBezTo>
                  <a:pt x="28" y="30"/>
                  <a:pt x="28" y="30"/>
                  <a:pt x="28" y="30"/>
                </a:cubicBezTo>
                <a:cubicBezTo>
                  <a:pt x="27" y="30"/>
                  <a:pt x="27" y="30"/>
                  <a:pt x="27" y="30"/>
                </a:cubicBezTo>
                <a:cubicBezTo>
                  <a:pt x="27" y="31"/>
                  <a:pt x="26" y="31"/>
                  <a:pt x="26" y="31"/>
                </a:cubicBezTo>
                <a:cubicBezTo>
                  <a:pt x="13" y="31"/>
                  <a:pt x="13" y="31"/>
                  <a:pt x="13" y="31"/>
                </a:cubicBezTo>
                <a:cubicBezTo>
                  <a:pt x="11" y="32"/>
                  <a:pt x="11" y="32"/>
                  <a:pt x="11" y="32"/>
                </a:cubicBezTo>
                <a:cubicBezTo>
                  <a:pt x="11" y="33"/>
                  <a:pt x="10" y="33"/>
                  <a:pt x="10" y="33"/>
                </a:cubicBezTo>
                <a:cubicBezTo>
                  <a:pt x="8" y="33"/>
                  <a:pt x="8" y="33"/>
                  <a:pt x="8" y="33"/>
                </a:cubicBezTo>
                <a:cubicBezTo>
                  <a:pt x="7" y="33"/>
                  <a:pt x="7" y="34"/>
                  <a:pt x="7" y="34"/>
                </a:cubicBezTo>
                <a:cubicBezTo>
                  <a:pt x="6" y="35"/>
                  <a:pt x="5" y="35"/>
                  <a:pt x="5" y="35"/>
                </a:cubicBezTo>
                <a:cubicBezTo>
                  <a:pt x="4" y="36"/>
                  <a:pt x="4" y="36"/>
                  <a:pt x="4" y="36"/>
                </a:cubicBezTo>
                <a:cubicBezTo>
                  <a:pt x="3" y="37"/>
                  <a:pt x="2" y="37"/>
                  <a:pt x="2" y="38"/>
                </a:cubicBezTo>
                <a:cubicBezTo>
                  <a:pt x="1" y="40"/>
                  <a:pt x="1" y="40"/>
                  <a:pt x="1" y="40"/>
                </a:cubicBezTo>
                <a:cubicBezTo>
                  <a:pt x="1" y="41"/>
                  <a:pt x="1" y="41"/>
                  <a:pt x="1" y="41"/>
                </a:cubicBezTo>
                <a:cubicBezTo>
                  <a:pt x="0" y="42"/>
                  <a:pt x="0" y="42"/>
                  <a:pt x="0" y="42"/>
                </a:cubicBezTo>
                <a:cubicBezTo>
                  <a:pt x="1" y="42"/>
                  <a:pt x="1" y="42"/>
                  <a:pt x="1" y="42"/>
                </a:cubicBezTo>
                <a:cubicBezTo>
                  <a:pt x="1" y="42"/>
                  <a:pt x="1" y="42"/>
                  <a:pt x="1" y="42"/>
                </a:cubicBezTo>
                <a:cubicBezTo>
                  <a:pt x="2" y="42"/>
                  <a:pt x="2" y="42"/>
                  <a:pt x="2" y="43"/>
                </a:cubicBezTo>
                <a:cubicBezTo>
                  <a:pt x="4" y="44"/>
                  <a:pt x="4" y="44"/>
                  <a:pt x="4" y="44"/>
                </a:cubicBezTo>
                <a:cubicBezTo>
                  <a:pt x="5" y="44"/>
                  <a:pt x="7" y="44"/>
                  <a:pt x="9" y="44"/>
                </a:cubicBezTo>
                <a:cubicBezTo>
                  <a:pt x="9" y="44"/>
                  <a:pt x="9" y="44"/>
                  <a:pt x="9" y="44"/>
                </a:cubicBezTo>
                <a:cubicBezTo>
                  <a:pt x="10" y="43"/>
                  <a:pt x="12" y="44"/>
                  <a:pt x="12" y="44"/>
                </a:cubicBezTo>
                <a:cubicBezTo>
                  <a:pt x="13" y="44"/>
                  <a:pt x="14" y="45"/>
                  <a:pt x="13" y="46"/>
                </a:cubicBezTo>
                <a:cubicBezTo>
                  <a:pt x="13" y="46"/>
                  <a:pt x="13" y="48"/>
                  <a:pt x="11" y="52"/>
                </a:cubicBezTo>
                <a:cubicBezTo>
                  <a:pt x="11" y="52"/>
                  <a:pt x="11" y="52"/>
                  <a:pt x="11" y="52"/>
                </a:cubicBezTo>
                <a:cubicBezTo>
                  <a:pt x="11" y="53"/>
                  <a:pt x="10" y="54"/>
                  <a:pt x="9" y="55"/>
                </a:cubicBezTo>
                <a:cubicBezTo>
                  <a:pt x="9" y="56"/>
                  <a:pt x="9" y="56"/>
                  <a:pt x="9" y="56"/>
                </a:cubicBezTo>
                <a:cubicBezTo>
                  <a:pt x="9" y="56"/>
                  <a:pt x="9" y="56"/>
                  <a:pt x="9" y="57"/>
                </a:cubicBezTo>
                <a:cubicBezTo>
                  <a:pt x="9" y="57"/>
                  <a:pt x="9" y="57"/>
                  <a:pt x="9" y="57"/>
                </a:cubicBezTo>
                <a:cubicBezTo>
                  <a:pt x="10" y="58"/>
                  <a:pt x="11" y="58"/>
                  <a:pt x="11" y="59"/>
                </a:cubicBezTo>
                <a:cubicBezTo>
                  <a:pt x="11" y="59"/>
                  <a:pt x="11" y="59"/>
                  <a:pt x="12" y="59"/>
                </a:cubicBezTo>
                <a:cubicBezTo>
                  <a:pt x="12" y="59"/>
                  <a:pt x="12" y="60"/>
                  <a:pt x="13" y="60"/>
                </a:cubicBezTo>
                <a:cubicBezTo>
                  <a:pt x="13" y="61"/>
                  <a:pt x="12" y="62"/>
                  <a:pt x="12" y="62"/>
                </a:cubicBezTo>
                <a:cubicBezTo>
                  <a:pt x="12" y="62"/>
                  <a:pt x="11" y="63"/>
                  <a:pt x="10" y="65"/>
                </a:cubicBezTo>
                <a:cubicBezTo>
                  <a:pt x="9" y="66"/>
                  <a:pt x="9" y="66"/>
                  <a:pt x="9" y="66"/>
                </a:cubicBezTo>
                <a:cubicBezTo>
                  <a:pt x="10" y="67"/>
                  <a:pt x="9" y="67"/>
                  <a:pt x="9" y="67"/>
                </a:cubicBezTo>
                <a:cubicBezTo>
                  <a:pt x="9" y="69"/>
                  <a:pt x="9" y="69"/>
                  <a:pt x="9" y="69"/>
                </a:cubicBezTo>
                <a:cubicBezTo>
                  <a:pt x="8" y="70"/>
                  <a:pt x="8" y="70"/>
                  <a:pt x="8" y="71"/>
                </a:cubicBezTo>
                <a:cubicBezTo>
                  <a:pt x="8" y="72"/>
                  <a:pt x="8" y="72"/>
                  <a:pt x="8" y="72"/>
                </a:cubicBezTo>
                <a:cubicBezTo>
                  <a:pt x="8" y="73"/>
                  <a:pt x="8" y="73"/>
                  <a:pt x="8" y="74"/>
                </a:cubicBezTo>
                <a:cubicBezTo>
                  <a:pt x="8" y="74"/>
                  <a:pt x="8" y="74"/>
                  <a:pt x="9" y="74"/>
                </a:cubicBezTo>
                <a:cubicBezTo>
                  <a:pt x="10" y="75"/>
                  <a:pt x="11" y="76"/>
                  <a:pt x="11" y="76"/>
                </a:cubicBezTo>
                <a:cubicBezTo>
                  <a:pt x="12" y="77"/>
                  <a:pt x="12" y="77"/>
                  <a:pt x="12" y="78"/>
                </a:cubicBezTo>
                <a:cubicBezTo>
                  <a:pt x="12" y="79"/>
                  <a:pt x="12" y="79"/>
                  <a:pt x="12" y="79"/>
                </a:cubicBezTo>
                <a:cubicBezTo>
                  <a:pt x="13" y="81"/>
                  <a:pt x="13" y="81"/>
                  <a:pt x="13" y="81"/>
                </a:cubicBezTo>
                <a:cubicBezTo>
                  <a:pt x="13" y="82"/>
                  <a:pt x="13" y="82"/>
                  <a:pt x="13" y="82"/>
                </a:cubicBezTo>
                <a:cubicBezTo>
                  <a:pt x="14" y="82"/>
                  <a:pt x="14" y="82"/>
                  <a:pt x="14" y="83"/>
                </a:cubicBezTo>
                <a:cubicBezTo>
                  <a:pt x="15" y="87"/>
                  <a:pt x="15" y="87"/>
                  <a:pt x="15" y="87"/>
                </a:cubicBezTo>
                <a:cubicBezTo>
                  <a:pt x="15" y="87"/>
                  <a:pt x="15" y="87"/>
                  <a:pt x="15" y="87"/>
                </a:cubicBezTo>
                <a:cubicBezTo>
                  <a:pt x="14" y="89"/>
                  <a:pt x="14" y="89"/>
                  <a:pt x="14" y="89"/>
                </a:cubicBezTo>
                <a:cubicBezTo>
                  <a:pt x="14" y="90"/>
                  <a:pt x="14" y="90"/>
                  <a:pt x="14" y="90"/>
                </a:cubicBezTo>
                <a:cubicBezTo>
                  <a:pt x="13" y="91"/>
                  <a:pt x="13" y="91"/>
                  <a:pt x="13" y="91"/>
                </a:cubicBezTo>
                <a:cubicBezTo>
                  <a:pt x="11" y="93"/>
                  <a:pt x="11" y="93"/>
                  <a:pt x="11" y="93"/>
                </a:cubicBezTo>
                <a:cubicBezTo>
                  <a:pt x="11" y="95"/>
                  <a:pt x="11" y="95"/>
                  <a:pt x="11" y="95"/>
                </a:cubicBezTo>
                <a:cubicBezTo>
                  <a:pt x="10" y="95"/>
                  <a:pt x="10" y="96"/>
                  <a:pt x="9" y="96"/>
                </a:cubicBezTo>
                <a:cubicBezTo>
                  <a:pt x="8" y="96"/>
                  <a:pt x="8" y="96"/>
                  <a:pt x="8" y="96"/>
                </a:cubicBezTo>
                <a:cubicBezTo>
                  <a:pt x="8" y="96"/>
                  <a:pt x="8" y="96"/>
                  <a:pt x="8" y="96"/>
                </a:cubicBezTo>
                <a:cubicBezTo>
                  <a:pt x="7" y="97"/>
                  <a:pt x="7" y="97"/>
                  <a:pt x="6" y="97"/>
                </a:cubicBezTo>
                <a:cubicBezTo>
                  <a:pt x="5" y="97"/>
                  <a:pt x="5" y="97"/>
                  <a:pt x="5" y="97"/>
                </a:cubicBezTo>
                <a:cubicBezTo>
                  <a:pt x="5" y="97"/>
                  <a:pt x="5" y="97"/>
                  <a:pt x="5" y="97"/>
                </a:cubicBezTo>
                <a:cubicBezTo>
                  <a:pt x="5" y="99"/>
                  <a:pt x="5" y="99"/>
                  <a:pt x="5" y="99"/>
                </a:cubicBezTo>
                <a:cubicBezTo>
                  <a:pt x="8" y="99"/>
                  <a:pt x="8" y="99"/>
                  <a:pt x="8" y="99"/>
                </a:cubicBezTo>
                <a:cubicBezTo>
                  <a:pt x="9" y="99"/>
                  <a:pt x="9" y="99"/>
                  <a:pt x="9" y="99"/>
                </a:cubicBezTo>
                <a:cubicBezTo>
                  <a:pt x="11" y="101"/>
                  <a:pt x="11" y="101"/>
                  <a:pt x="11" y="101"/>
                </a:cubicBezTo>
                <a:cubicBezTo>
                  <a:pt x="11" y="101"/>
                  <a:pt x="12" y="101"/>
                  <a:pt x="12" y="102"/>
                </a:cubicBezTo>
                <a:cubicBezTo>
                  <a:pt x="12" y="104"/>
                  <a:pt x="12" y="104"/>
                  <a:pt x="12" y="104"/>
                </a:cubicBezTo>
                <a:cubicBezTo>
                  <a:pt x="12" y="106"/>
                  <a:pt x="12" y="106"/>
                  <a:pt x="12" y="106"/>
                </a:cubicBezTo>
                <a:cubicBezTo>
                  <a:pt x="13" y="106"/>
                  <a:pt x="13" y="106"/>
                  <a:pt x="13" y="106"/>
                </a:cubicBezTo>
                <a:cubicBezTo>
                  <a:pt x="15" y="106"/>
                  <a:pt x="15" y="106"/>
                  <a:pt x="15" y="106"/>
                </a:cubicBezTo>
                <a:cubicBezTo>
                  <a:pt x="16" y="106"/>
                  <a:pt x="19" y="105"/>
                  <a:pt x="21" y="105"/>
                </a:cubicBezTo>
                <a:cubicBezTo>
                  <a:pt x="21" y="105"/>
                  <a:pt x="21" y="105"/>
                  <a:pt x="21" y="105"/>
                </a:cubicBezTo>
                <a:cubicBezTo>
                  <a:pt x="22" y="105"/>
                  <a:pt x="22" y="105"/>
                  <a:pt x="22" y="105"/>
                </a:cubicBezTo>
                <a:cubicBezTo>
                  <a:pt x="27" y="104"/>
                  <a:pt x="27" y="104"/>
                  <a:pt x="27" y="104"/>
                </a:cubicBezTo>
                <a:cubicBezTo>
                  <a:pt x="27" y="104"/>
                  <a:pt x="27" y="105"/>
                  <a:pt x="28" y="105"/>
                </a:cubicBezTo>
                <a:cubicBezTo>
                  <a:pt x="28" y="105"/>
                  <a:pt x="30" y="106"/>
                  <a:pt x="34" y="108"/>
                </a:cubicBezTo>
                <a:cubicBezTo>
                  <a:pt x="34" y="108"/>
                  <a:pt x="37" y="110"/>
                  <a:pt x="38" y="112"/>
                </a:cubicBezTo>
                <a:cubicBezTo>
                  <a:pt x="38" y="112"/>
                  <a:pt x="38" y="112"/>
                  <a:pt x="38" y="112"/>
                </a:cubicBezTo>
                <a:cubicBezTo>
                  <a:pt x="39" y="112"/>
                  <a:pt x="40" y="113"/>
                  <a:pt x="41" y="113"/>
                </a:cubicBezTo>
                <a:cubicBezTo>
                  <a:pt x="41" y="114"/>
                  <a:pt x="43" y="115"/>
                  <a:pt x="43" y="117"/>
                </a:cubicBezTo>
                <a:cubicBezTo>
                  <a:pt x="43" y="117"/>
                  <a:pt x="43" y="117"/>
                  <a:pt x="42" y="118"/>
                </a:cubicBezTo>
                <a:cubicBezTo>
                  <a:pt x="43" y="119"/>
                  <a:pt x="43" y="120"/>
                  <a:pt x="43" y="121"/>
                </a:cubicBezTo>
                <a:cubicBezTo>
                  <a:pt x="43" y="126"/>
                  <a:pt x="43" y="126"/>
                  <a:pt x="43" y="126"/>
                </a:cubicBezTo>
                <a:cubicBezTo>
                  <a:pt x="43" y="127"/>
                  <a:pt x="43" y="127"/>
                  <a:pt x="44" y="127"/>
                </a:cubicBezTo>
                <a:cubicBezTo>
                  <a:pt x="47" y="127"/>
                  <a:pt x="47" y="127"/>
                  <a:pt x="47" y="127"/>
                </a:cubicBezTo>
                <a:cubicBezTo>
                  <a:pt x="48" y="128"/>
                  <a:pt x="48" y="128"/>
                  <a:pt x="48" y="128"/>
                </a:cubicBezTo>
                <a:cubicBezTo>
                  <a:pt x="49" y="129"/>
                  <a:pt x="49" y="129"/>
                  <a:pt x="48" y="130"/>
                </a:cubicBezTo>
                <a:cubicBezTo>
                  <a:pt x="48" y="131"/>
                  <a:pt x="48" y="131"/>
                  <a:pt x="48" y="131"/>
                </a:cubicBezTo>
                <a:cubicBezTo>
                  <a:pt x="49" y="133"/>
                  <a:pt x="47" y="136"/>
                  <a:pt x="47" y="136"/>
                </a:cubicBezTo>
                <a:cubicBezTo>
                  <a:pt x="45" y="138"/>
                  <a:pt x="45" y="138"/>
                  <a:pt x="45" y="138"/>
                </a:cubicBezTo>
                <a:cubicBezTo>
                  <a:pt x="44" y="139"/>
                  <a:pt x="44" y="139"/>
                  <a:pt x="44" y="139"/>
                </a:cubicBezTo>
                <a:cubicBezTo>
                  <a:pt x="41" y="140"/>
                  <a:pt x="41" y="140"/>
                  <a:pt x="41" y="140"/>
                </a:cubicBezTo>
                <a:cubicBezTo>
                  <a:pt x="36" y="141"/>
                  <a:pt x="36" y="141"/>
                  <a:pt x="36" y="141"/>
                </a:cubicBezTo>
                <a:cubicBezTo>
                  <a:pt x="35" y="141"/>
                  <a:pt x="35" y="141"/>
                  <a:pt x="35" y="141"/>
                </a:cubicBezTo>
                <a:cubicBezTo>
                  <a:pt x="34" y="140"/>
                  <a:pt x="34" y="140"/>
                  <a:pt x="34" y="140"/>
                </a:cubicBezTo>
                <a:cubicBezTo>
                  <a:pt x="34" y="141"/>
                  <a:pt x="34" y="141"/>
                  <a:pt x="34" y="141"/>
                </a:cubicBezTo>
                <a:cubicBezTo>
                  <a:pt x="34" y="141"/>
                  <a:pt x="34" y="142"/>
                  <a:pt x="35" y="143"/>
                </a:cubicBezTo>
                <a:cubicBezTo>
                  <a:pt x="35" y="144"/>
                  <a:pt x="35" y="144"/>
                  <a:pt x="35" y="144"/>
                </a:cubicBezTo>
                <a:cubicBezTo>
                  <a:pt x="37" y="144"/>
                  <a:pt x="38" y="145"/>
                  <a:pt x="38" y="145"/>
                </a:cubicBezTo>
                <a:cubicBezTo>
                  <a:pt x="38" y="146"/>
                  <a:pt x="39" y="147"/>
                  <a:pt x="38" y="148"/>
                </a:cubicBezTo>
                <a:cubicBezTo>
                  <a:pt x="36" y="152"/>
                  <a:pt x="36" y="152"/>
                  <a:pt x="36" y="152"/>
                </a:cubicBezTo>
                <a:cubicBezTo>
                  <a:pt x="37" y="151"/>
                  <a:pt x="40" y="151"/>
                  <a:pt x="45" y="152"/>
                </a:cubicBezTo>
                <a:cubicBezTo>
                  <a:pt x="48" y="152"/>
                  <a:pt x="49" y="153"/>
                  <a:pt x="49" y="154"/>
                </a:cubicBezTo>
                <a:cubicBezTo>
                  <a:pt x="54" y="156"/>
                  <a:pt x="54" y="156"/>
                  <a:pt x="54" y="156"/>
                </a:cubicBezTo>
                <a:cubicBezTo>
                  <a:pt x="54" y="156"/>
                  <a:pt x="54" y="156"/>
                  <a:pt x="54" y="156"/>
                </a:cubicBezTo>
                <a:cubicBezTo>
                  <a:pt x="57" y="154"/>
                  <a:pt x="57" y="154"/>
                  <a:pt x="57" y="154"/>
                </a:cubicBezTo>
                <a:cubicBezTo>
                  <a:pt x="61" y="151"/>
                  <a:pt x="61" y="151"/>
                  <a:pt x="61" y="151"/>
                </a:cubicBezTo>
                <a:cubicBezTo>
                  <a:pt x="62" y="150"/>
                  <a:pt x="63" y="149"/>
                  <a:pt x="65" y="148"/>
                </a:cubicBezTo>
                <a:cubicBezTo>
                  <a:pt x="67" y="148"/>
                  <a:pt x="67" y="148"/>
                  <a:pt x="68" y="148"/>
                </a:cubicBezTo>
                <a:cubicBezTo>
                  <a:pt x="69" y="148"/>
                  <a:pt x="70" y="148"/>
                  <a:pt x="71" y="149"/>
                </a:cubicBezTo>
                <a:cubicBezTo>
                  <a:pt x="71" y="149"/>
                  <a:pt x="71" y="149"/>
                  <a:pt x="71" y="149"/>
                </a:cubicBezTo>
                <a:cubicBezTo>
                  <a:pt x="72" y="150"/>
                  <a:pt x="73" y="150"/>
                  <a:pt x="74" y="151"/>
                </a:cubicBezTo>
                <a:cubicBezTo>
                  <a:pt x="74" y="151"/>
                  <a:pt x="74" y="151"/>
                  <a:pt x="74" y="152"/>
                </a:cubicBezTo>
                <a:cubicBezTo>
                  <a:pt x="76" y="153"/>
                  <a:pt x="77" y="154"/>
                  <a:pt x="76" y="155"/>
                </a:cubicBezTo>
                <a:cubicBezTo>
                  <a:pt x="76" y="155"/>
                  <a:pt x="76" y="155"/>
                  <a:pt x="76" y="156"/>
                </a:cubicBezTo>
                <a:cubicBezTo>
                  <a:pt x="76" y="157"/>
                  <a:pt x="76" y="157"/>
                  <a:pt x="76" y="158"/>
                </a:cubicBezTo>
                <a:cubicBezTo>
                  <a:pt x="76" y="159"/>
                  <a:pt x="75" y="159"/>
                  <a:pt x="75" y="160"/>
                </a:cubicBezTo>
                <a:cubicBezTo>
                  <a:pt x="75" y="160"/>
                  <a:pt x="75" y="161"/>
                  <a:pt x="75" y="162"/>
                </a:cubicBezTo>
                <a:cubicBezTo>
                  <a:pt x="75" y="162"/>
                  <a:pt x="75" y="162"/>
                  <a:pt x="75" y="162"/>
                </a:cubicBezTo>
                <a:cubicBezTo>
                  <a:pt x="75" y="162"/>
                  <a:pt x="75" y="163"/>
                  <a:pt x="76" y="164"/>
                </a:cubicBezTo>
                <a:cubicBezTo>
                  <a:pt x="76" y="165"/>
                  <a:pt x="76" y="165"/>
                  <a:pt x="76" y="166"/>
                </a:cubicBezTo>
                <a:cubicBezTo>
                  <a:pt x="76" y="166"/>
                  <a:pt x="76" y="166"/>
                  <a:pt x="76" y="166"/>
                </a:cubicBezTo>
                <a:cubicBezTo>
                  <a:pt x="76" y="166"/>
                  <a:pt x="76" y="166"/>
                  <a:pt x="76" y="166"/>
                </a:cubicBezTo>
                <a:cubicBezTo>
                  <a:pt x="76" y="166"/>
                  <a:pt x="76" y="166"/>
                  <a:pt x="76" y="166"/>
                </a:cubicBezTo>
                <a:cubicBezTo>
                  <a:pt x="77" y="167"/>
                  <a:pt x="77" y="167"/>
                  <a:pt x="77" y="167"/>
                </a:cubicBezTo>
                <a:cubicBezTo>
                  <a:pt x="79" y="169"/>
                  <a:pt x="79" y="169"/>
                  <a:pt x="79" y="169"/>
                </a:cubicBezTo>
                <a:cubicBezTo>
                  <a:pt x="81" y="170"/>
                  <a:pt x="82" y="170"/>
                  <a:pt x="82" y="170"/>
                </a:cubicBezTo>
                <a:cubicBezTo>
                  <a:pt x="82" y="170"/>
                  <a:pt x="82" y="170"/>
                  <a:pt x="82" y="171"/>
                </a:cubicBezTo>
                <a:cubicBezTo>
                  <a:pt x="86" y="172"/>
                  <a:pt x="86" y="172"/>
                  <a:pt x="86" y="172"/>
                </a:cubicBezTo>
                <a:cubicBezTo>
                  <a:pt x="87" y="173"/>
                  <a:pt x="87" y="173"/>
                  <a:pt x="88" y="173"/>
                </a:cubicBezTo>
                <a:cubicBezTo>
                  <a:pt x="88" y="173"/>
                  <a:pt x="88" y="173"/>
                  <a:pt x="88" y="173"/>
                </a:cubicBezTo>
                <a:cubicBezTo>
                  <a:pt x="91" y="173"/>
                  <a:pt x="91" y="173"/>
                  <a:pt x="91" y="173"/>
                </a:cubicBezTo>
                <a:cubicBezTo>
                  <a:pt x="93" y="173"/>
                  <a:pt x="94" y="174"/>
                  <a:pt x="95" y="175"/>
                </a:cubicBezTo>
                <a:cubicBezTo>
                  <a:pt x="95" y="175"/>
                  <a:pt x="95" y="175"/>
                  <a:pt x="95" y="176"/>
                </a:cubicBezTo>
                <a:cubicBezTo>
                  <a:pt x="97" y="177"/>
                  <a:pt x="97" y="177"/>
                  <a:pt x="97" y="177"/>
                </a:cubicBezTo>
                <a:cubicBezTo>
                  <a:pt x="98" y="178"/>
                  <a:pt x="98" y="180"/>
                  <a:pt x="98" y="180"/>
                </a:cubicBezTo>
                <a:cubicBezTo>
                  <a:pt x="99" y="180"/>
                  <a:pt x="99" y="180"/>
                  <a:pt x="100" y="179"/>
                </a:cubicBezTo>
                <a:cubicBezTo>
                  <a:pt x="103" y="174"/>
                  <a:pt x="103" y="174"/>
                  <a:pt x="103" y="174"/>
                </a:cubicBezTo>
                <a:cubicBezTo>
                  <a:pt x="103" y="173"/>
                  <a:pt x="104" y="171"/>
                  <a:pt x="108" y="169"/>
                </a:cubicBezTo>
                <a:cubicBezTo>
                  <a:pt x="108" y="169"/>
                  <a:pt x="108" y="169"/>
                  <a:pt x="108" y="168"/>
                </a:cubicBezTo>
                <a:cubicBezTo>
                  <a:pt x="108" y="153"/>
                  <a:pt x="108" y="153"/>
                  <a:pt x="108" y="153"/>
                </a:cubicBezTo>
                <a:cubicBezTo>
                  <a:pt x="106" y="149"/>
                  <a:pt x="106" y="149"/>
                  <a:pt x="106" y="149"/>
                </a:cubicBezTo>
                <a:cubicBezTo>
                  <a:pt x="105" y="149"/>
                  <a:pt x="105" y="149"/>
                  <a:pt x="105" y="149"/>
                </a:cubicBezTo>
                <a:cubicBezTo>
                  <a:pt x="104" y="149"/>
                  <a:pt x="103" y="148"/>
                  <a:pt x="103" y="147"/>
                </a:cubicBezTo>
                <a:cubicBezTo>
                  <a:pt x="103" y="147"/>
                  <a:pt x="103" y="147"/>
                  <a:pt x="103" y="147"/>
                </a:cubicBezTo>
                <a:cubicBezTo>
                  <a:pt x="103" y="146"/>
                  <a:pt x="102" y="144"/>
                  <a:pt x="101" y="144"/>
                </a:cubicBezTo>
                <a:cubicBezTo>
                  <a:pt x="101" y="143"/>
                  <a:pt x="100" y="142"/>
                  <a:pt x="100" y="141"/>
                </a:cubicBezTo>
                <a:cubicBezTo>
                  <a:pt x="100" y="140"/>
                  <a:pt x="100" y="140"/>
                  <a:pt x="100" y="139"/>
                </a:cubicBezTo>
                <a:cubicBezTo>
                  <a:pt x="100" y="139"/>
                  <a:pt x="100" y="139"/>
                  <a:pt x="100" y="139"/>
                </a:cubicBezTo>
                <a:cubicBezTo>
                  <a:pt x="100" y="138"/>
                  <a:pt x="99" y="138"/>
                  <a:pt x="99" y="137"/>
                </a:cubicBezTo>
                <a:cubicBezTo>
                  <a:pt x="99" y="136"/>
                  <a:pt x="99" y="135"/>
                  <a:pt x="99" y="135"/>
                </a:cubicBezTo>
                <a:cubicBezTo>
                  <a:pt x="99" y="132"/>
                  <a:pt x="99" y="132"/>
                  <a:pt x="99" y="132"/>
                </a:cubicBezTo>
                <a:cubicBezTo>
                  <a:pt x="99" y="132"/>
                  <a:pt x="99" y="131"/>
                  <a:pt x="100" y="131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2" y="126"/>
                  <a:pt x="102" y="126"/>
                  <a:pt x="102" y="126"/>
                </a:cubicBezTo>
                <a:cubicBezTo>
                  <a:pt x="101" y="126"/>
                  <a:pt x="101" y="126"/>
                  <a:pt x="101" y="126"/>
                </a:cubicBezTo>
                <a:cubicBezTo>
                  <a:pt x="100" y="126"/>
                  <a:pt x="99" y="126"/>
                  <a:pt x="99" y="125"/>
                </a:cubicBezTo>
                <a:cubicBezTo>
                  <a:pt x="98" y="123"/>
                  <a:pt x="98" y="123"/>
                  <a:pt x="98" y="123"/>
                </a:cubicBezTo>
                <a:cubicBezTo>
                  <a:pt x="96" y="121"/>
                  <a:pt x="96" y="121"/>
                  <a:pt x="96" y="121"/>
                </a:cubicBezTo>
                <a:cubicBezTo>
                  <a:pt x="96" y="120"/>
                  <a:pt x="96" y="119"/>
                  <a:pt x="96" y="119"/>
                </a:cubicBezTo>
                <a:cubicBezTo>
                  <a:pt x="97" y="118"/>
                  <a:pt x="97" y="117"/>
                  <a:pt x="97" y="117"/>
                </a:cubicBezTo>
                <a:cubicBezTo>
                  <a:pt x="97" y="116"/>
                  <a:pt x="97" y="115"/>
                  <a:pt x="97" y="115"/>
                </a:cubicBezTo>
                <a:cubicBezTo>
                  <a:pt x="95" y="111"/>
                  <a:pt x="95" y="111"/>
                  <a:pt x="95" y="111"/>
                </a:cubicBezTo>
                <a:cubicBezTo>
                  <a:pt x="95" y="111"/>
                  <a:pt x="95" y="111"/>
                  <a:pt x="95" y="110"/>
                </a:cubicBezTo>
                <a:cubicBezTo>
                  <a:pt x="95" y="110"/>
                  <a:pt x="94" y="110"/>
                  <a:pt x="93" y="109"/>
                </a:cubicBezTo>
                <a:cubicBezTo>
                  <a:pt x="92" y="109"/>
                  <a:pt x="92" y="109"/>
                  <a:pt x="92" y="109"/>
                </a:cubicBezTo>
                <a:cubicBezTo>
                  <a:pt x="92" y="109"/>
                  <a:pt x="91" y="109"/>
                  <a:pt x="89" y="109"/>
                </a:cubicBezTo>
                <a:cubicBezTo>
                  <a:pt x="88" y="109"/>
                  <a:pt x="86" y="108"/>
                  <a:pt x="85" y="107"/>
                </a:cubicBezTo>
                <a:cubicBezTo>
                  <a:pt x="85" y="107"/>
                  <a:pt x="85" y="107"/>
                  <a:pt x="85" y="107"/>
                </a:cubicBezTo>
                <a:cubicBezTo>
                  <a:pt x="84" y="107"/>
                  <a:pt x="84" y="107"/>
                  <a:pt x="84" y="107"/>
                </a:cubicBezTo>
                <a:cubicBezTo>
                  <a:pt x="84" y="107"/>
                  <a:pt x="82" y="106"/>
                  <a:pt x="80" y="105"/>
                </a:cubicBezTo>
                <a:cubicBezTo>
                  <a:pt x="80" y="105"/>
                  <a:pt x="80" y="105"/>
                  <a:pt x="80" y="105"/>
                </a:cubicBezTo>
                <a:cubicBezTo>
                  <a:pt x="78" y="104"/>
                  <a:pt x="76" y="103"/>
                  <a:pt x="75" y="103"/>
                </a:cubicBezTo>
                <a:cubicBezTo>
                  <a:pt x="75" y="103"/>
                  <a:pt x="75" y="102"/>
                  <a:pt x="74" y="102"/>
                </a:cubicBezTo>
                <a:cubicBezTo>
                  <a:pt x="74" y="101"/>
                  <a:pt x="74" y="101"/>
                  <a:pt x="74" y="101"/>
                </a:cubicBezTo>
                <a:cubicBezTo>
                  <a:pt x="74" y="100"/>
                  <a:pt x="74" y="100"/>
                  <a:pt x="74" y="100"/>
                </a:cubicBezTo>
                <a:cubicBezTo>
                  <a:pt x="73" y="100"/>
                  <a:pt x="73" y="100"/>
                  <a:pt x="73" y="100"/>
                </a:cubicBezTo>
                <a:cubicBezTo>
                  <a:pt x="73" y="99"/>
                  <a:pt x="72" y="97"/>
                  <a:pt x="72" y="94"/>
                </a:cubicBezTo>
                <a:cubicBezTo>
                  <a:pt x="71" y="94"/>
                  <a:pt x="71" y="94"/>
                  <a:pt x="71" y="94"/>
                </a:cubicBezTo>
                <a:cubicBezTo>
                  <a:pt x="70" y="95"/>
                  <a:pt x="69" y="94"/>
                  <a:pt x="68" y="93"/>
                </a:cubicBezTo>
                <a:cubicBezTo>
                  <a:pt x="65" y="88"/>
                  <a:pt x="65" y="88"/>
                  <a:pt x="65" y="88"/>
                </a:cubicBezTo>
                <a:cubicBezTo>
                  <a:pt x="65" y="87"/>
                  <a:pt x="65" y="87"/>
                  <a:pt x="65" y="87"/>
                </a:cubicBezTo>
                <a:cubicBezTo>
                  <a:pt x="67" y="84"/>
                  <a:pt x="67" y="84"/>
                  <a:pt x="67" y="84"/>
                </a:cubicBezTo>
                <a:cubicBezTo>
                  <a:pt x="67" y="83"/>
                  <a:pt x="67" y="83"/>
                  <a:pt x="68" y="82"/>
                </a:cubicBezTo>
                <a:cubicBezTo>
                  <a:pt x="68" y="82"/>
                  <a:pt x="70" y="82"/>
                  <a:pt x="73" y="81"/>
                </a:cubicBezTo>
                <a:cubicBezTo>
                  <a:pt x="73" y="80"/>
                  <a:pt x="73" y="80"/>
                  <a:pt x="73" y="80"/>
                </a:cubicBezTo>
                <a:cubicBezTo>
                  <a:pt x="74" y="80"/>
                  <a:pt x="74" y="80"/>
                  <a:pt x="74" y="80"/>
                </a:cubicBezTo>
                <a:cubicBezTo>
                  <a:pt x="75" y="79"/>
                  <a:pt x="76" y="79"/>
                  <a:pt x="77" y="79"/>
                </a:cubicBezTo>
                <a:cubicBezTo>
                  <a:pt x="77" y="79"/>
                  <a:pt x="77" y="79"/>
                  <a:pt x="77" y="79"/>
                </a:cubicBezTo>
                <a:cubicBezTo>
                  <a:pt x="76" y="78"/>
                  <a:pt x="76" y="78"/>
                  <a:pt x="76" y="77"/>
                </a:cubicBezTo>
                <a:cubicBezTo>
                  <a:pt x="77" y="74"/>
                  <a:pt x="77" y="74"/>
                  <a:pt x="77" y="74"/>
                </a:cubicBezTo>
                <a:cubicBezTo>
                  <a:pt x="77" y="74"/>
                  <a:pt x="77" y="74"/>
                  <a:pt x="77" y="73"/>
                </a:cubicBezTo>
                <a:cubicBezTo>
                  <a:pt x="78" y="72"/>
                  <a:pt x="78" y="72"/>
                  <a:pt x="78" y="72"/>
                </a:cubicBezTo>
                <a:cubicBezTo>
                  <a:pt x="78" y="71"/>
                  <a:pt x="78" y="71"/>
                  <a:pt x="78" y="71"/>
                </a:cubicBezTo>
                <a:cubicBezTo>
                  <a:pt x="78" y="70"/>
                  <a:pt x="77" y="69"/>
                  <a:pt x="77" y="68"/>
                </a:cubicBezTo>
                <a:cubicBezTo>
                  <a:pt x="76" y="67"/>
                  <a:pt x="76" y="67"/>
                  <a:pt x="76" y="66"/>
                </a:cubicBezTo>
                <a:cubicBezTo>
                  <a:pt x="75" y="66"/>
                  <a:pt x="75" y="65"/>
                  <a:pt x="75" y="64"/>
                </a:cubicBezTo>
                <a:cubicBezTo>
                  <a:pt x="75" y="60"/>
                  <a:pt x="75" y="60"/>
                  <a:pt x="75" y="60"/>
                </a:cubicBezTo>
                <a:cubicBezTo>
                  <a:pt x="75" y="59"/>
                  <a:pt x="75" y="57"/>
                  <a:pt x="77" y="56"/>
                </a:cubicBezTo>
                <a:cubicBezTo>
                  <a:pt x="77" y="55"/>
                  <a:pt x="77" y="55"/>
                  <a:pt x="78" y="54"/>
                </a:cubicBezTo>
                <a:cubicBezTo>
                  <a:pt x="78" y="53"/>
                  <a:pt x="78" y="53"/>
                  <a:pt x="78" y="53"/>
                </a:cubicBezTo>
                <a:cubicBezTo>
                  <a:pt x="78" y="51"/>
                  <a:pt x="78" y="51"/>
                  <a:pt x="78" y="51"/>
                </a:cubicBezTo>
                <a:cubicBezTo>
                  <a:pt x="78" y="50"/>
                  <a:pt x="78" y="50"/>
                  <a:pt x="78" y="50"/>
                </a:cubicBezTo>
                <a:cubicBezTo>
                  <a:pt x="77" y="49"/>
                  <a:pt x="77" y="49"/>
                  <a:pt x="77" y="48"/>
                </a:cubicBezTo>
                <a:cubicBezTo>
                  <a:pt x="78" y="45"/>
                  <a:pt x="78" y="45"/>
                  <a:pt x="78" y="45"/>
                </a:cubicBezTo>
                <a:cubicBezTo>
                  <a:pt x="78" y="43"/>
                  <a:pt x="78" y="43"/>
                  <a:pt x="78" y="43"/>
                </a:cubicBezTo>
                <a:cubicBezTo>
                  <a:pt x="78" y="41"/>
                  <a:pt x="78" y="41"/>
                  <a:pt x="78" y="41"/>
                </a:cubicBezTo>
                <a:cubicBezTo>
                  <a:pt x="78" y="39"/>
                  <a:pt x="78" y="39"/>
                  <a:pt x="78" y="39"/>
                </a:cubicBezTo>
                <a:cubicBezTo>
                  <a:pt x="77" y="37"/>
                  <a:pt x="77" y="37"/>
                  <a:pt x="77" y="37"/>
                </a:cubicBezTo>
                <a:cubicBezTo>
                  <a:pt x="75" y="35"/>
                  <a:pt x="75" y="35"/>
                  <a:pt x="75" y="35"/>
                </a:cubicBezTo>
                <a:cubicBezTo>
                  <a:pt x="75" y="34"/>
                  <a:pt x="75" y="33"/>
                  <a:pt x="75" y="32"/>
                </a:cubicBezTo>
                <a:cubicBezTo>
                  <a:pt x="75" y="32"/>
                  <a:pt x="76" y="30"/>
                  <a:pt x="78" y="3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Freeform 40">
            <a:extLst>
              <a:ext uri="{FF2B5EF4-FFF2-40B4-BE49-F238E27FC236}">
                <a16:creationId xmlns:a16="http://schemas.microsoft.com/office/drawing/2014/main" id="{82ABED28-DDBD-4034-B56D-77465A9A5E7D}"/>
              </a:ext>
            </a:extLst>
          </p:cNvPr>
          <p:cNvSpPr>
            <a:spLocks/>
          </p:cNvSpPr>
          <p:nvPr/>
        </p:nvSpPr>
        <p:spPr bwMode="auto">
          <a:xfrm>
            <a:off x="5819259" y="4047654"/>
            <a:ext cx="201216" cy="400050"/>
          </a:xfrm>
          <a:custGeom>
            <a:avLst/>
            <a:gdLst>
              <a:gd name="T0" fmla="*/ 27 w 83"/>
              <a:gd name="T1" fmla="*/ 69 h 179"/>
              <a:gd name="T2" fmla="*/ 26 w 83"/>
              <a:gd name="T3" fmla="*/ 84 h 179"/>
              <a:gd name="T4" fmla="*/ 20 w 83"/>
              <a:gd name="T5" fmla="*/ 84 h 179"/>
              <a:gd name="T6" fmla="*/ 21 w 83"/>
              <a:gd name="T7" fmla="*/ 91 h 179"/>
              <a:gd name="T8" fmla="*/ 21 w 83"/>
              <a:gd name="T9" fmla="*/ 100 h 179"/>
              <a:gd name="T10" fmla="*/ 16 w 83"/>
              <a:gd name="T11" fmla="*/ 105 h 179"/>
              <a:gd name="T12" fmla="*/ 4 w 83"/>
              <a:gd name="T13" fmla="*/ 107 h 179"/>
              <a:gd name="T14" fmla="*/ 3 w 83"/>
              <a:gd name="T15" fmla="*/ 116 h 179"/>
              <a:gd name="T16" fmla="*/ 5 w 83"/>
              <a:gd name="T17" fmla="*/ 122 h 179"/>
              <a:gd name="T18" fmla="*/ 1 w 83"/>
              <a:gd name="T19" fmla="*/ 129 h 179"/>
              <a:gd name="T20" fmla="*/ 1 w 83"/>
              <a:gd name="T21" fmla="*/ 136 h 179"/>
              <a:gd name="T22" fmla="*/ 5 w 83"/>
              <a:gd name="T23" fmla="*/ 141 h 179"/>
              <a:gd name="T24" fmla="*/ 9 w 83"/>
              <a:gd name="T25" fmla="*/ 156 h 179"/>
              <a:gd name="T26" fmla="*/ 15 w 83"/>
              <a:gd name="T27" fmla="*/ 169 h 179"/>
              <a:gd name="T28" fmla="*/ 13 w 83"/>
              <a:gd name="T29" fmla="*/ 179 h 179"/>
              <a:gd name="T30" fmla="*/ 26 w 83"/>
              <a:gd name="T31" fmla="*/ 174 h 179"/>
              <a:gd name="T32" fmla="*/ 34 w 83"/>
              <a:gd name="T33" fmla="*/ 173 h 179"/>
              <a:gd name="T34" fmla="*/ 42 w 83"/>
              <a:gd name="T35" fmla="*/ 171 h 179"/>
              <a:gd name="T36" fmla="*/ 49 w 83"/>
              <a:gd name="T37" fmla="*/ 170 h 179"/>
              <a:gd name="T38" fmla="*/ 55 w 83"/>
              <a:gd name="T39" fmla="*/ 167 h 179"/>
              <a:gd name="T40" fmla="*/ 55 w 83"/>
              <a:gd name="T41" fmla="*/ 159 h 179"/>
              <a:gd name="T42" fmla="*/ 63 w 83"/>
              <a:gd name="T43" fmla="*/ 157 h 179"/>
              <a:gd name="T44" fmla="*/ 64 w 83"/>
              <a:gd name="T45" fmla="*/ 146 h 179"/>
              <a:gd name="T46" fmla="*/ 64 w 83"/>
              <a:gd name="T47" fmla="*/ 141 h 179"/>
              <a:gd name="T48" fmla="*/ 60 w 83"/>
              <a:gd name="T49" fmla="*/ 132 h 179"/>
              <a:gd name="T50" fmla="*/ 57 w 83"/>
              <a:gd name="T51" fmla="*/ 126 h 179"/>
              <a:gd name="T52" fmla="*/ 66 w 83"/>
              <a:gd name="T53" fmla="*/ 115 h 179"/>
              <a:gd name="T54" fmla="*/ 73 w 83"/>
              <a:gd name="T55" fmla="*/ 112 h 179"/>
              <a:gd name="T56" fmla="*/ 70 w 83"/>
              <a:gd name="T57" fmla="*/ 101 h 179"/>
              <a:gd name="T58" fmla="*/ 65 w 83"/>
              <a:gd name="T59" fmla="*/ 86 h 179"/>
              <a:gd name="T60" fmla="*/ 61 w 83"/>
              <a:gd name="T61" fmla="*/ 81 h 179"/>
              <a:gd name="T62" fmla="*/ 72 w 83"/>
              <a:gd name="T63" fmla="*/ 75 h 179"/>
              <a:gd name="T64" fmla="*/ 83 w 83"/>
              <a:gd name="T65" fmla="*/ 68 h 179"/>
              <a:gd name="T66" fmla="*/ 77 w 83"/>
              <a:gd name="T67" fmla="*/ 69 h 179"/>
              <a:gd name="T68" fmla="*/ 71 w 83"/>
              <a:gd name="T69" fmla="*/ 72 h 179"/>
              <a:gd name="T70" fmla="*/ 61 w 83"/>
              <a:gd name="T71" fmla="*/ 61 h 179"/>
              <a:gd name="T72" fmla="*/ 61 w 83"/>
              <a:gd name="T73" fmla="*/ 44 h 179"/>
              <a:gd name="T74" fmla="*/ 58 w 83"/>
              <a:gd name="T75" fmla="*/ 37 h 179"/>
              <a:gd name="T76" fmla="*/ 53 w 83"/>
              <a:gd name="T77" fmla="*/ 24 h 179"/>
              <a:gd name="T78" fmla="*/ 57 w 83"/>
              <a:gd name="T79" fmla="*/ 12 h 179"/>
              <a:gd name="T80" fmla="*/ 49 w 83"/>
              <a:gd name="T81" fmla="*/ 0 h 179"/>
              <a:gd name="T82" fmla="*/ 46 w 83"/>
              <a:gd name="T83" fmla="*/ 3 h 179"/>
              <a:gd name="T84" fmla="*/ 40 w 83"/>
              <a:gd name="T85" fmla="*/ 9 h 179"/>
              <a:gd name="T86" fmla="*/ 40 w 83"/>
              <a:gd name="T87" fmla="*/ 13 h 179"/>
              <a:gd name="T88" fmla="*/ 37 w 83"/>
              <a:gd name="T89" fmla="*/ 23 h 179"/>
              <a:gd name="T90" fmla="*/ 34 w 83"/>
              <a:gd name="T91" fmla="*/ 39 h 179"/>
              <a:gd name="T92" fmla="*/ 29 w 83"/>
              <a:gd name="T93" fmla="*/ 51 h 179"/>
              <a:gd name="T94" fmla="*/ 25 w 83"/>
              <a:gd name="T95" fmla="*/ 60 h 179"/>
              <a:gd name="T96" fmla="*/ 24 w 83"/>
              <a:gd name="T97" fmla="*/ 65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83" h="179">
                <a:moveTo>
                  <a:pt x="24" y="65"/>
                </a:moveTo>
                <a:cubicBezTo>
                  <a:pt x="23" y="66"/>
                  <a:pt x="23" y="66"/>
                  <a:pt x="23" y="66"/>
                </a:cubicBezTo>
                <a:cubicBezTo>
                  <a:pt x="24" y="66"/>
                  <a:pt x="25" y="67"/>
                  <a:pt x="25" y="68"/>
                </a:cubicBezTo>
                <a:cubicBezTo>
                  <a:pt x="27" y="69"/>
                  <a:pt x="27" y="69"/>
                  <a:pt x="27" y="69"/>
                </a:cubicBezTo>
                <a:cubicBezTo>
                  <a:pt x="29" y="70"/>
                  <a:pt x="29" y="72"/>
                  <a:pt x="29" y="73"/>
                </a:cubicBezTo>
                <a:cubicBezTo>
                  <a:pt x="29" y="74"/>
                  <a:pt x="29" y="75"/>
                  <a:pt x="28" y="76"/>
                </a:cubicBezTo>
                <a:cubicBezTo>
                  <a:pt x="28" y="80"/>
                  <a:pt x="28" y="80"/>
                  <a:pt x="28" y="80"/>
                </a:cubicBezTo>
                <a:cubicBezTo>
                  <a:pt x="27" y="82"/>
                  <a:pt x="27" y="83"/>
                  <a:pt x="26" y="84"/>
                </a:cubicBezTo>
                <a:cubicBezTo>
                  <a:pt x="25" y="84"/>
                  <a:pt x="24" y="84"/>
                  <a:pt x="23" y="83"/>
                </a:cubicBezTo>
                <a:cubicBezTo>
                  <a:pt x="23" y="83"/>
                  <a:pt x="23" y="83"/>
                  <a:pt x="22" y="83"/>
                </a:cubicBezTo>
                <a:cubicBezTo>
                  <a:pt x="21" y="83"/>
                  <a:pt x="21" y="83"/>
                  <a:pt x="21" y="83"/>
                </a:cubicBezTo>
                <a:cubicBezTo>
                  <a:pt x="21" y="83"/>
                  <a:pt x="21" y="84"/>
                  <a:pt x="20" y="84"/>
                </a:cubicBezTo>
                <a:cubicBezTo>
                  <a:pt x="20" y="85"/>
                  <a:pt x="20" y="85"/>
                  <a:pt x="20" y="85"/>
                </a:cubicBezTo>
                <a:cubicBezTo>
                  <a:pt x="20" y="86"/>
                  <a:pt x="20" y="86"/>
                  <a:pt x="20" y="86"/>
                </a:cubicBezTo>
                <a:cubicBezTo>
                  <a:pt x="20" y="87"/>
                  <a:pt x="20" y="88"/>
                  <a:pt x="20" y="90"/>
                </a:cubicBezTo>
                <a:cubicBezTo>
                  <a:pt x="21" y="91"/>
                  <a:pt x="21" y="91"/>
                  <a:pt x="21" y="91"/>
                </a:cubicBezTo>
                <a:cubicBezTo>
                  <a:pt x="21" y="92"/>
                  <a:pt x="22" y="92"/>
                  <a:pt x="22" y="94"/>
                </a:cubicBezTo>
                <a:cubicBezTo>
                  <a:pt x="22" y="95"/>
                  <a:pt x="22" y="96"/>
                  <a:pt x="22" y="97"/>
                </a:cubicBezTo>
                <a:cubicBezTo>
                  <a:pt x="22" y="97"/>
                  <a:pt x="22" y="97"/>
                  <a:pt x="22" y="98"/>
                </a:cubicBezTo>
                <a:cubicBezTo>
                  <a:pt x="21" y="99"/>
                  <a:pt x="21" y="99"/>
                  <a:pt x="21" y="100"/>
                </a:cubicBezTo>
                <a:cubicBezTo>
                  <a:pt x="22" y="100"/>
                  <a:pt x="22" y="100"/>
                  <a:pt x="22" y="100"/>
                </a:cubicBezTo>
                <a:cubicBezTo>
                  <a:pt x="22" y="101"/>
                  <a:pt x="21" y="102"/>
                  <a:pt x="20" y="102"/>
                </a:cubicBezTo>
                <a:cubicBezTo>
                  <a:pt x="20" y="102"/>
                  <a:pt x="19" y="103"/>
                  <a:pt x="18" y="104"/>
                </a:cubicBezTo>
                <a:cubicBezTo>
                  <a:pt x="18" y="105"/>
                  <a:pt x="17" y="105"/>
                  <a:pt x="16" y="105"/>
                </a:cubicBezTo>
                <a:cubicBezTo>
                  <a:pt x="8" y="105"/>
                  <a:pt x="8" y="105"/>
                  <a:pt x="8" y="105"/>
                </a:cubicBezTo>
                <a:cubicBezTo>
                  <a:pt x="8" y="106"/>
                  <a:pt x="8" y="106"/>
                  <a:pt x="8" y="106"/>
                </a:cubicBezTo>
                <a:cubicBezTo>
                  <a:pt x="7" y="107"/>
                  <a:pt x="7" y="107"/>
                  <a:pt x="6" y="107"/>
                </a:cubicBezTo>
                <a:cubicBezTo>
                  <a:pt x="4" y="107"/>
                  <a:pt x="4" y="107"/>
                  <a:pt x="4" y="107"/>
                </a:cubicBezTo>
                <a:cubicBezTo>
                  <a:pt x="3" y="109"/>
                  <a:pt x="3" y="109"/>
                  <a:pt x="3" y="109"/>
                </a:cubicBezTo>
                <a:cubicBezTo>
                  <a:pt x="2" y="109"/>
                  <a:pt x="2" y="109"/>
                  <a:pt x="2" y="109"/>
                </a:cubicBezTo>
                <a:cubicBezTo>
                  <a:pt x="3" y="110"/>
                  <a:pt x="3" y="112"/>
                  <a:pt x="3" y="116"/>
                </a:cubicBezTo>
                <a:cubicBezTo>
                  <a:pt x="3" y="116"/>
                  <a:pt x="3" y="116"/>
                  <a:pt x="3" y="116"/>
                </a:cubicBezTo>
                <a:cubicBezTo>
                  <a:pt x="4" y="116"/>
                  <a:pt x="4" y="117"/>
                  <a:pt x="5" y="117"/>
                </a:cubicBezTo>
                <a:cubicBezTo>
                  <a:pt x="6" y="119"/>
                  <a:pt x="6" y="119"/>
                  <a:pt x="6" y="121"/>
                </a:cubicBezTo>
                <a:cubicBezTo>
                  <a:pt x="5" y="121"/>
                  <a:pt x="5" y="121"/>
                  <a:pt x="5" y="121"/>
                </a:cubicBezTo>
                <a:cubicBezTo>
                  <a:pt x="5" y="122"/>
                  <a:pt x="5" y="122"/>
                  <a:pt x="5" y="122"/>
                </a:cubicBezTo>
                <a:cubicBezTo>
                  <a:pt x="5" y="122"/>
                  <a:pt x="5" y="122"/>
                  <a:pt x="5" y="123"/>
                </a:cubicBezTo>
                <a:cubicBezTo>
                  <a:pt x="4" y="126"/>
                  <a:pt x="4" y="126"/>
                  <a:pt x="4" y="126"/>
                </a:cubicBezTo>
                <a:cubicBezTo>
                  <a:pt x="4" y="127"/>
                  <a:pt x="4" y="129"/>
                  <a:pt x="2" y="129"/>
                </a:cubicBezTo>
                <a:cubicBezTo>
                  <a:pt x="1" y="129"/>
                  <a:pt x="1" y="129"/>
                  <a:pt x="1" y="129"/>
                </a:cubicBezTo>
                <a:cubicBezTo>
                  <a:pt x="0" y="130"/>
                  <a:pt x="0" y="130"/>
                  <a:pt x="0" y="130"/>
                </a:cubicBezTo>
                <a:cubicBezTo>
                  <a:pt x="0" y="131"/>
                  <a:pt x="0" y="131"/>
                  <a:pt x="0" y="131"/>
                </a:cubicBezTo>
                <a:cubicBezTo>
                  <a:pt x="1" y="132"/>
                  <a:pt x="1" y="132"/>
                  <a:pt x="1" y="132"/>
                </a:cubicBezTo>
                <a:cubicBezTo>
                  <a:pt x="1" y="133"/>
                  <a:pt x="1" y="134"/>
                  <a:pt x="1" y="136"/>
                </a:cubicBezTo>
                <a:cubicBezTo>
                  <a:pt x="1" y="136"/>
                  <a:pt x="1" y="136"/>
                  <a:pt x="2" y="137"/>
                </a:cubicBezTo>
                <a:cubicBezTo>
                  <a:pt x="3" y="138"/>
                  <a:pt x="3" y="138"/>
                  <a:pt x="3" y="138"/>
                </a:cubicBezTo>
                <a:cubicBezTo>
                  <a:pt x="3" y="139"/>
                  <a:pt x="4" y="140"/>
                  <a:pt x="4" y="140"/>
                </a:cubicBezTo>
                <a:cubicBezTo>
                  <a:pt x="5" y="140"/>
                  <a:pt x="5" y="140"/>
                  <a:pt x="5" y="141"/>
                </a:cubicBezTo>
                <a:cubicBezTo>
                  <a:pt x="5" y="141"/>
                  <a:pt x="6" y="143"/>
                  <a:pt x="7" y="146"/>
                </a:cubicBezTo>
                <a:cubicBezTo>
                  <a:pt x="8" y="147"/>
                  <a:pt x="8" y="148"/>
                  <a:pt x="8" y="149"/>
                </a:cubicBezTo>
                <a:cubicBezTo>
                  <a:pt x="8" y="150"/>
                  <a:pt x="8" y="150"/>
                  <a:pt x="8" y="150"/>
                </a:cubicBezTo>
                <a:cubicBezTo>
                  <a:pt x="9" y="151"/>
                  <a:pt x="9" y="154"/>
                  <a:pt x="9" y="156"/>
                </a:cubicBezTo>
                <a:cubicBezTo>
                  <a:pt x="9" y="157"/>
                  <a:pt x="10" y="157"/>
                  <a:pt x="10" y="158"/>
                </a:cubicBezTo>
                <a:cubicBezTo>
                  <a:pt x="10" y="168"/>
                  <a:pt x="10" y="168"/>
                  <a:pt x="10" y="168"/>
                </a:cubicBezTo>
                <a:cubicBezTo>
                  <a:pt x="10" y="168"/>
                  <a:pt x="11" y="168"/>
                  <a:pt x="11" y="169"/>
                </a:cubicBezTo>
                <a:cubicBezTo>
                  <a:pt x="12" y="168"/>
                  <a:pt x="14" y="168"/>
                  <a:pt x="15" y="169"/>
                </a:cubicBezTo>
                <a:cubicBezTo>
                  <a:pt x="15" y="170"/>
                  <a:pt x="15" y="170"/>
                  <a:pt x="15" y="171"/>
                </a:cubicBezTo>
                <a:cubicBezTo>
                  <a:pt x="16" y="172"/>
                  <a:pt x="15" y="173"/>
                  <a:pt x="14" y="174"/>
                </a:cubicBezTo>
                <a:cubicBezTo>
                  <a:pt x="14" y="178"/>
                  <a:pt x="14" y="178"/>
                  <a:pt x="14" y="178"/>
                </a:cubicBezTo>
                <a:cubicBezTo>
                  <a:pt x="14" y="178"/>
                  <a:pt x="14" y="179"/>
                  <a:pt x="13" y="179"/>
                </a:cubicBezTo>
                <a:cubicBezTo>
                  <a:pt x="13" y="179"/>
                  <a:pt x="13" y="179"/>
                  <a:pt x="13" y="179"/>
                </a:cubicBezTo>
                <a:cubicBezTo>
                  <a:pt x="17" y="179"/>
                  <a:pt x="17" y="179"/>
                  <a:pt x="17" y="179"/>
                </a:cubicBezTo>
                <a:cubicBezTo>
                  <a:pt x="22" y="178"/>
                  <a:pt x="22" y="178"/>
                  <a:pt x="22" y="178"/>
                </a:cubicBezTo>
                <a:cubicBezTo>
                  <a:pt x="26" y="174"/>
                  <a:pt x="26" y="174"/>
                  <a:pt x="26" y="174"/>
                </a:cubicBezTo>
                <a:cubicBezTo>
                  <a:pt x="27" y="173"/>
                  <a:pt x="27" y="173"/>
                  <a:pt x="28" y="173"/>
                </a:cubicBezTo>
                <a:cubicBezTo>
                  <a:pt x="28" y="173"/>
                  <a:pt x="29" y="174"/>
                  <a:pt x="31" y="173"/>
                </a:cubicBezTo>
                <a:cubicBezTo>
                  <a:pt x="34" y="173"/>
                  <a:pt x="34" y="173"/>
                  <a:pt x="34" y="173"/>
                </a:cubicBezTo>
                <a:cubicBezTo>
                  <a:pt x="34" y="173"/>
                  <a:pt x="34" y="173"/>
                  <a:pt x="34" y="173"/>
                </a:cubicBezTo>
                <a:cubicBezTo>
                  <a:pt x="39" y="173"/>
                  <a:pt x="39" y="173"/>
                  <a:pt x="39" y="173"/>
                </a:cubicBezTo>
                <a:cubicBezTo>
                  <a:pt x="40" y="173"/>
                  <a:pt x="40" y="173"/>
                  <a:pt x="41" y="174"/>
                </a:cubicBezTo>
                <a:cubicBezTo>
                  <a:pt x="42" y="176"/>
                  <a:pt x="42" y="176"/>
                  <a:pt x="42" y="176"/>
                </a:cubicBezTo>
                <a:cubicBezTo>
                  <a:pt x="42" y="171"/>
                  <a:pt x="42" y="171"/>
                  <a:pt x="42" y="171"/>
                </a:cubicBezTo>
                <a:cubicBezTo>
                  <a:pt x="42" y="170"/>
                  <a:pt x="43" y="169"/>
                  <a:pt x="44" y="169"/>
                </a:cubicBezTo>
                <a:cubicBezTo>
                  <a:pt x="44" y="169"/>
                  <a:pt x="44" y="169"/>
                  <a:pt x="44" y="169"/>
                </a:cubicBezTo>
                <a:cubicBezTo>
                  <a:pt x="45" y="169"/>
                  <a:pt x="45" y="168"/>
                  <a:pt x="46" y="168"/>
                </a:cubicBezTo>
                <a:cubicBezTo>
                  <a:pt x="47" y="168"/>
                  <a:pt x="48" y="168"/>
                  <a:pt x="49" y="170"/>
                </a:cubicBezTo>
                <a:cubicBezTo>
                  <a:pt x="50" y="170"/>
                  <a:pt x="50" y="170"/>
                  <a:pt x="51" y="171"/>
                </a:cubicBezTo>
                <a:cubicBezTo>
                  <a:pt x="52" y="169"/>
                  <a:pt x="52" y="169"/>
                  <a:pt x="52" y="169"/>
                </a:cubicBezTo>
                <a:cubicBezTo>
                  <a:pt x="53" y="168"/>
                  <a:pt x="53" y="168"/>
                  <a:pt x="53" y="168"/>
                </a:cubicBezTo>
                <a:cubicBezTo>
                  <a:pt x="54" y="168"/>
                  <a:pt x="55" y="167"/>
                  <a:pt x="55" y="167"/>
                </a:cubicBezTo>
                <a:cubicBezTo>
                  <a:pt x="55" y="166"/>
                  <a:pt x="55" y="166"/>
                  <a:pt x="55" y="166"/>
                </a:cubicBezTo>
                <a:cubicBezTo>
                  <a:pt x="55" y="166"/>
                  <a:pt x="55" y="166"/>
                  <a:pt x="55" y="165"/>
                </a:cubicBezTo>
                <a:cubicBezTo>
                  <a:pt x="55" y="161"/>
                  <a:pt x="55" y="161"/>
                  <a:pt x="55" y="161"/>
                </a:cubicBezTo>
                <a:cubicBezTo>
                  <a:pt x="55" y="160"/>
                  <a:pt x="55" y="160"/>
                  <a:pt x="55" y="159"/>
                </a:cubicBezTo>
                <a:cubicBezTo>
                  <a:pt x="56" y="159"/>
                  <a:pt x="56" y="159"/>
                  <a:pt x="57" y="159"/>
                </a:cubicBezTo>
                <a:cubicBezTo>
                  <a:pt x="64" y="159"/>
                  <a:pt x="64" y="159"/>
                  <a:pt x="64" y="159"/>
                </a:cubicBezTo>
                <a:cubicBezTo>
                  <a:pt x="64" y="158"/>
                  <a:pt x="64" y="158"/>
                  <a:pt x="64" y="158"/>
                </a:cubicBezTo>
                <a:cubicBezTo>
                  <a:pt x="63" y="158"/>
                  <a:pt x="63" y="158"/>
                  <a:pt x="63" y="157"/>
                </a:cubicBezTo>
                <a:cubicBezTo>
                  <a:pt x="63" y="151"/>
                  <a:pt x="63" y="151"/>
                  <a:pt x="63" y="151"/>
                </a:cubicBezTo>
                <a:cubicBezTo>
                  <a:pt x="63" y="151"/>
                  <a:pt x="63" y="151"/>
                  <a:pt x="63" y="151"/>
                </a:cubicBezTo>
                <a:cubicBezTo>
                  <a:pt x="63" y="149"/>
                  <a:pt x="63" y="149"/>
                  <a:pt x="63" y="149"/>
                </a:cubicBezTo>
                <a:cubicBezTo>
                  <a:pt x="64" y="148"/>
                  <a:pt x="64" y="146"/>
                  <a:pt x="64" y="146"/>
                </a:cubicBezTo>
                <a:cubicBezTo>
                  <a:pt x="65" y="145"/>
                  <a:pt x="65" y="145"/>
                  <a:pt x="65" y="145"/>
                </a:cubicBezTo>
                <a:cubicBezTo>
                  <a:pt x="66" y="144"/>
                  <a:pt x="66" y="144"/>
                  <a:pt x="66" y="144"/>
                </a:cubicBezTo>
                <a:cubicBezTo>
                  <a:pt x="66" y="143"/>
                  <a:pt x="66" y="143"/>
                  <a:pt x="66" y="143"/>
                </a:cubicBezTo>
                <a:cubicBezTo>
                  <a:pt x="65" y="143"/>
                  <a:pt x="64" y="142"/>
                  <a:pt x="64" y="141"/>
                </a:cubicBezTo>
                <a:cubicBezTo>
                  <a:pt x="64" y="138"/>
                  <a:pt x="64" y="138"/>
                  <a:pt x="64" y="138"/>
                </a:cubicBezTo>
                <a:cubicBezTo>
                  <a:pt x="63" y="135"/>
                  <a:pt x="63" y="135"/>
                  <a:pt x="63" y="135"/>
                </a:cubicBezTo>
                <a:cubicBezTo>
                  <a:pt x="62" y="133"/>
                  <a:pt x="62" y="132"/>
                  <a:pt x="62" y="132"/>
                </a:cubicBezTo>
                <a:cubicBezTo>
                  <a:pt x="61" y="132"/>
                  <a:pt x="61" y="132"/>
                  <a:pt x="60" y="132"/>
                </a:cubicBezTo>
                <a:cubicBezTo>
                  <a:pt x="59" y="133"/>
                  <a:pt x="58" y="132"/>
                  <a:pt x="58" y="131"/>
                </a:cubicBezTo>
                <a:cubicBezTo>
                  <a:pt x="57" y="128"/>
                  <a:pt x="57" y="128"/>
                  <a:pt x="57" y="128"/>
                </a:cubicBezTo>
                <a:cubicBezTo>
                  <a:pt x="57" y="128"/>
                  <a:pt x="57" y="128"/>
                  <a:pt x="57" y="128"/>
                </a:cubicBezTo>
                <a:cubicBezTo>
                  <a:pt x="57" y="127"/>
                  <a:pt x="57" y="127"/>
                  <a:pt x="57" y="126"/>
                </a:cubicBezTo>
                <a:cubicBezTo>
                  <a:pt x="56" y="124"/>
                  <a:pt x="57" y="123"/>
                  <a:pt x="58" y="122"/>
                </a:cubicBezTo>
                <a:cubicBezTo>
                  <a:pt x="58" y="122"/>
                  <a:pt x="59" y="121"/>
                  <a:pt x="60" y="121"/>
                </a:cubicBezTo>
                <a:cubicBezTo>
                  <a:pt x="61" y="121"/>
                  <a:pt x="62" y="120"/>
                  <a:pt x="63" y="119"/>
                </a:cubicBezTo>
                <a:cubicBezTo>
                  <a:pt x="63" y="118"/>
                  <a:pt x="64" y="116"/>
                  <a:pt x="66" y="115"/>
                </a:cubicBezTo>
                <a:cubicBezTo>
                  <a:pt x="67" y="114"/>
                  <a:pt x="68" y="113"/>
                  <a:pt x="69" y="114"/>
                </a:cubicBezTo>
                <a:cubicBezTo>
                  <a:pt x="70" y="114"/>
                  <a:pt x="71" y="113"/>
                  <a:pt x="72" y="113"/>
                </a:cubicBezTo>
                <a:cubicBezTo>
                  <a:pt x="73" y="113"/>
                  <a:pt x="73" y="112"/>
                  <a:pt x="73" y="112"/>
                </a:cubicBezTo>
                <a:cubicBezTo>
                  <a:pt x="73" y="112"/>
                  <a:pt x="73" y="112"/>
                  <a:pt x="73" y="112"/>
                </a:cubicBezTo>
                <a:cubicBezTo>
                  <a:pt x="73" y="108"/>
                  <a:pt x="73" y="108"/>
                  <a:pt x="73" y="108"/>
                </a:cubicBezTo>
                <a:cubicBezTo>
                  <a:pt x="72" y="107"/>
                  <a:pt x="71" y="106"/>
                  <a:pt x="71" y="106"/>
                </a:cubicBezTo>
                <a:cubicBezTo>
                  <a:pt x="69" y="105"/>
                  <a:pt x="69" y="104"/>
                  <a:pt x="69" y="104"/>
                </a:cubicBezTo>
                <a:cubicBezTo>
                  <a:pt x="69" y="103"/>
                  <a:pt x="69" y="102"/>
                  <a:pt x="70" y="101"/>
                </a:cubicBezTo>
                <a:cubicBezTo>
                  <a:pt x="70" y="95"/>
                  <a:pt x="70" y="95"/>
                  <a:pt x="70" y="95"/>
                </a:cubicBezTo>
                <a:cubicBezTo>
                  <a:pt x="71" y="89"/>
                  <a:pt x="71" y="89"/>
                  <a:pt x="71" y="89"/>
                </a:cubicBezTo>
                <a:cubicBezTo>
                  <a:pt x="71" y="89"/>
                  <a:pt x="71" y="88"/>
                  <a:pt x="70" y="86"/>
                </a:cubicBezTo>
                <a:cubicBezTo>
                  <a:pt x="65" y="86"/>
                  <a:pt x="65" y="86"/>
                  <a:pt x="65" y="86"/>
                </a:cubicBezTo>
                <a:cubicBezTo>
                  <a:pt x="65" y="86"/>
                  <a:pt x="65" y="86"/>
                  <a:pt x="64" y="86"/>
                </a:cubicBezTo>
                <a:cubicBezTo>
                  <a:pt x="61" y="84"/>
                  <a:pt x="61" y="84"/>
                  <a:pt x="61" y="84"/>
                </a:cubicBezTo>
                <a:cubicBezTo>
                  <a:pt x="61" y="84"/>
                  <a:pt x="60" y="84"/>
                  <a:pt x="60" y="83"/>
                </a:cubicBezTo>
                <a:cubicBezTo>
                  <a:pt x="60" y="82"/>
                  <a:pt x="60" y="81"/>
                  <a:pt x="61" y="81"/>
                </a:cubicBezTo>
                <a:cubicBezTo>
                  <a:pt x="61" y="81"/>
                  <a:pt x="64" y="79"/>
                  <a:pt x="65" y="78"/>
                </a:cubicBezTo>
                <a:cubicBezTo>
                  <a:pt x="66" y="77"/>
                  <a:pt x="67" y="76"/>
                  <a:pt x="68" y="75"/>
                </a:cubicBezTo>
                <a:cubicBezTo>
                  <a:pt x="69" y="75"/>
                  <a:pt x="69" y="75"/>
                  <a:pt x="69" y="75"/>
                </a:cubicBezTo>
                <a:cubicBezTo>
                  <a:pt x="72" y="75"/>
                  <a:pt x="72" y="75"/>
                  <a:pt x="72" y="75"/>
                </a:cubicBezTo>
                <a:cubicBezTo>
                  <a:pt x="75" y="72"/>
                  <a:pt x="75" y="72"/>
                  <a:pt x="75" y="72"/>
                </a:cubicBezTo>
                <a:cubicBezTo>
                  <a:pt x="75" y="71"/>
                  <a:pt x="75" y="71"/>
                  <a:pt x="75" y="71"/>
                </a:cubicBezTo>
                <a:cubicBezTo>
                  <a:pt x="76" y="69"/>
                  <a:pt x="79" y="68"/>
                  <a:pt x="81" y="68"/>
                </a:cubicBezTo>
                <a:cubicBezTo>
                  <a:pt x="83" y="68"/>
                  <a:pt x="83" y="68"/>
                  <a:pt x="83" y="68"/>
                </a:cubicBezTo>
                <a:cubicBezTo>
                  <a:pt x="83" y="67"/>
                  <a:pt x="83" y="67"/>
                  <a:pt x="83" y="67"/>
                </a:cubicBezTo>
                <a:cubicBezTo>
                  <a:pt x="83" y="67"/>
                  <a:pt x="83" y="67"/>
                  <a:pt x="83" y="67"/>
                </a:cubicBezTo>
                <a:cubicBezTo>
                  <a:pt x="81" y="67"/>
                  <a:pt x="81" y="67"/>
                  <a:pt x="81" y="67"/>
                </a:cubicBezTo>
                <a:cubicBezTo>
                  <a:pt x="80" y="67"/>
                  <a:pt x="79" y="68"/>
                  <a:pt x="77" y="69"/>
                </a:cubicBezTo>
                <a:cubicBezTo>
                  <a:pt x="76" y="69"/>
                  <a:pt x="75" y="69"/>
                  <a:pt x="75" y="69"/>
                </a:cubicBezTo>
                <a:cubicBezTo>
                  <a:pt x="74" y="69"/>
                  <a:pt x="74" y="69"/>
                  <a:pt x="73" y="69"/>
                </a:cubicBezTo>
                <a:cubicBezTo>
                  <a:pt x="73" y="70"/>
                  <a:pt x="73" y="70"/>
                  <a:pt x="73" y="70"/>
                </a:cubicBezTo>
                <a:cubicBezTo>
                  <a:pt x="73" y="71"/>
                  <a:pt x="72" y="72"/>
                  <a:pt x="71" y="72"/>
                </a:cubicBezTo>
                <a:cubicBezTo>
                  <a:pt x="70" y="72"/>
                  <a:pt x="67" y="72"/>
                  <a:pt x="66" y="72"/>
                </a:cubicBezTo>
                <a:cubicBezTo>
                  <a:pt x="64" y="71"/>
                  <a:pt x="63" y="69"/>
                  <a:pt x="62" y="69"/>
                </a:cubicBezTo>
                <a:cubicBezTo>
                  <a:pt x="62" y="68"/>
                  <a:pt x="62" y="68"/>
                  <a:pt x="62" y="68"/>
                </a:cubicBezTo>
                <a:cubicBezTo>
                  <a:pt x="62" y="68"/>
                  <a:pt x="61" y="63"/>
                  <a:pt x="61" y="61"/>
                </a:cubicBezTo>
                <a:cubicBezTo>
                  <a:pt x="61" y="60"/>
                  <a:pt x="61" y="58"/>
                  <a:pt x="63" y="57"/>
                </a:cubicBezTo>
                <a:cubicBezTo>
                  <a:pt x="64" y="56"/>
                  <a:pt x="64" y="56"/>
                  <a:pt x="64" y="56"/>
                </a:cubicBezTo>
                <a:cubicBezTo>
                  <a:pt x="64" y="46"/>
                  <a:pt x="64" y="46"/>
                  <a:pt x="64" y="46"/>
                </a:cubicBezTo>
                <a:cubicBezTo>
                  <a:pt x="61" y="44"/>
                  <a:pt x="61" y="44"/>
                  <a:pt x="61" y="44"/>
                </a:cubicBezTo>
                <a:cubicBezTo>
                  <a:pt x="61" y="43"/>
                  <a:pt x="60" y="43"/>
                  <a:pt x="60" y="42"/>
                </a:cubicBezTo>
                <a:cubicBezTo>
                  <a:pt x="60" y="40"/>
                  <a:pt x="60" y="40"/>
                  <a:pt x="60" y="40"/>
                </a:cubicBezTo>
                <a:cubicBezTo>
                  <a:pt x="59" y="39"/>
                  <a:pt x="59" y="39"/>
                  <a:pt x="59" y="39"/>
                </a:cubicBezTo>
                <a:cubicBezTo>
                  <a:pt x="58" y="38"/>
                  <a:pt x="58" y="38"/>
                  <a:pt x="58" y="37"/>
                </a:cubicBezTo>
                <a:cubicBezTo>
                  <a:pt x="58" y="28"/>
                  <a:pt x="58" y="28"/>
                  <a:pt x="58" y="28"/>
                </a:cubicBezTo>
                <a:cubicBezTo>
                  <a:pt x="56" y="26"/>
                  <a:pt x="56" y="26"/>
                  <a:pt x="56" y="26"/>
                </a:cubicBezTo>
                <a:cubicBezTo>
                  <a:pt x="53" y="25"/>
                  <a:pt x="53" y="25"/>
                  <a:pt x="53" y="25"/>
                </a:cubicBezTo>
                <a:cubicBezTo>
                  <a:pt x="53" y="25"/>
                  <a:pt x="53" y="25"/>
                  <a:pt x="53" y="24"/>
                </a:cubicBezTo>
                <a:cubicBezTo>
                  <a:pt x="51" y="23"/>
                  <a:pt x="51" y="23"/>
                  <a:pt x="51" y="23"/>
                </a:cubicBezTo>
                <a:cubicBezTo>
                  <a:pt x="50" y="22"/>
                  <a:pt x="50" y="21"/>
                  <a:pt x="51" y="20"/>
                </a:cubicBezTo>
                <a:cubicBezTo>
                  <a:pt x="54" y="16"/>
                  <a:pt x="54" y="16"/>
                  <a:pt x="54" y="16"/>
                </a:cubicBezTo>
                <a:cubicBezTo>
                  <a:pt x="54" y="16"/>
                  <a:pt x="56" y="14"/>
                  <a:pt x="57" y="12"/>
                </a:cubicBezTo>
                <a:cubicBezTo>
                  <a:pt x="56" y="12"/>
                  <a:pt x="56" y="11"/>
                  <a:pt x="56" y="10"/>
                </a:cubicBezTo>
                <a:cubicBezTo>
                  <a:pt x="56" y="4"/>
                  <a:pt x="56" y="4"/>
                  <a:pt x="56" y="4"/>
                </a:cubicBezTo>
                <a:cubicBezTo>
                  <a:pt x="53" y="2"/>
                  <a:pt x="53" y="2"/>
                  <a:pt x="53" y="2"/>
                </a:cubicBezTo>
                <a:cubicBezTo>
                  <a:pt x="49" y="0"/>
                  <a:pt x="49" y="0"/>
                  <a:pt x="49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6" y="2"/>
                  <a:pt x="46" y="2"/>
                  <a:pt x="46" y="2"/>
                </a:cubicBezTo>
                <a:cubicBezTo>
                  <a:pt x="46" y="2"/>
                  <a:pt x="46" y="2"/>
                  <a:pt x="46" y="3"/>
                </a:cubicBezTo>
                <a:cubicBezTo>
                  <a:pt x="46" y="5"/>
                  <a:pt x="46" y="5"/>
                  <a:pt x="46" y="5"/>
                </a:cubicBezTo>
                <a:cubicBezTo>
                  <a:pt x="46" y="6"/>
                  <a:pt x="45" y="7"/>
                  <a:pt x="44" y="7"/>
                </a:cubicBezTo>
                <a:cubicBezTo>
                  <a:pt x="43" y="7"/>
                  <a:pt x="43" y="7"/>
                  <a:pt x="43" y="7"/>
                </a:cubicBezTo>
                <a:cubicBezTo>
                  <a:pt x="40" y="9"/>
                  <a:pt x="40" y="9"/>
                  <a:pt x="40" y="9"/>
                </a:cubicBezTo>
                <a:cubicBezTo>
                  <a:pt x="39" y="10"/>
                  <a:pt x="39" y="10"/>
                  <a:pt x="39" y="10"/>
                </a:cubicBezTo>
                <a:cubicBezTo>
                  <a:pt x="39" y="10"/>
                  <a:pt x="39" y="10"/>
                  <a:pt x="39" y="10"/>
                </a:cubicBezTo>
                <a:cubicBezTo>
                  <a:pt x="40" y="12"/>
                  <a:pt x="40" y="12"/>
                  <a:pt x="40" y="12"/>
                </a:cubicBezTo>
                <a:cubicBezTo>
                  <a:pt x="40" y="13"/>
                  <a:pt x="40" y="13"/>
                  <a:pt x="40" y="13"/>
                </a:cubicBezTo>
                <a:cubicBezTo>
                  <a:pt x="39" y="14"/>
                  <a:pt x="38" y="17"/>
                  <a:pt x="36" y="18"/>
                </a:cubicBezTo>
                <a:cubicBezTo>
                  <a:pt x="35" y="18"/>
                  <a:pt x="35" y="18"/>
                  <a:pt x="35" y="18"/>
                </a:cubicBezTo>
                <a:cubicBezTo>
                  <a:pt x="34" y="20"/>
                  <a:pt x="34" y="20"/>
                  <a:pt x="34" y="20"/>
                </a:cubicBezTo>
                <a:cubicBezTo>
                  <a:pt x="37" y="23"/>
                  <a:pt x="37" y="23"/>
                  <a:pt x="37" y="23"/>
                </a:cubicBezTo>
                <a:cubicBezTo>
                  <a:pt x="37" y="24"/>
                  <a:pt x="37" y="24"/>
                  <a:pt x="37" y="24"/>
                </a:cubicBezTo>
                <a:cubicBezTo>
                  <a:pt x="37" y="33"/>
                  <a:pt x="37" y="33"/>
                  <a:pt x="37" y="33"/>
                </a:cubicBezTo>
                <a:cubicBezTo>
                  <a:pt x="37" y="34"/>
                  <a:pt x="37" y="34"/>
                  <a:pt x="37" y="35"/>
                </a:cubicBezTo>
                <a:cubicBezTo>
                  <a:pt x="34" y="39"/>
                  <a:pt x="34" y="39"/>
                  <a:pt x="34" y="39"/>
                </a:cubicBezTo>
                <a:cubicBezTo>
                  <a:pt x="34" y="40"/>
                  <a:pt x="34" y="41"/>
                  <a:pt x="34" y="42"/>
                </a:cubicBezTo>
                <a:cubicBezTo>
                  <a:pt x="33" y="44"/>
                  <a:pt x="31" y="45"/>
                  <a:pt x="29" y="45"/>
                </a:cubicBezTo>
                <a:cubicBezTo>
                  <a:pt x="29" y="46"/>
                  <a:pt x="29" y="46"/>
                  <a:pt x="29" y="46"/>
                </a:cubicBezTo>
                <a:cubicBezTo>
                  <a:pt x="29" y="48"/>
                  <a:pt x="29" y="50"/>
                  <a:pt x="29" y="51"/>
                </a:cubicBezTo>
                <a:cubicBezTo>
                  <a:pt x="30" y="53"/>
                  <a:pt x="29" y="54"/>
                  <a:pt x="28" y="55"/>
                </a:cubicBezTo>
                <a:cubicBezTo>
                  <a:pt x="28" y="56"/>
                  <a:pt x="28" y="56"/>
                  <a:pt x="27" y="57"/>
                </a:cubicBezTo>
                <a:cubicBezTo>
                  <a:pt x="27" y="58"/>
                  <a:pt x="26" y="59"/>
                  <a:pt x="26" y="59"/>
                </a:cubicBezTo>
                <a:cubicBezTo>
                  <a:pt x="25" y="59"/>
                  <a:pt x="25" y="59"/>
                  <a:pt x="25" y="60"/>
                </a:cubicBezTo>
                <a:cubicBezTo>
                  <a:pt x="25" y="60"/>
                  <a:pt x="25" y="60"/>
                  <a:pt x="24" y="61"/>
                </a:cubicBezTo>
                <a:cubicBezTo>
                  <a:pt x="24" y="61"/>
                  <a:pt x="24" y="61"/>
                  <a:pt x="23" y="62"/>
                </a:cubicBezTo>
                <a:cubicBezTo>
                  <a:pt x="23" y="63"/>
                  <a:pt x="23" y="63"/>
                  <a:pt x="23" y="63"/>
                </a:cubicBezTo>
                <a:cubicBezTo>
                  <a:pt x="23" y="63"/>
                  <a:pt x="24" y="64"/>
                  <a:pt x="24" y="6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Freeform 41">
            <a:extLst>
              <a:ext uri="{FF2B5EF4-FFF2-40B4-BE49-F238E27FC236}">
                <a16:creationId xmlns:a16="http://schemas.microsoft.com/office/drawing/2014/main" id="{CD2D319A-8841-47D3-92D1-7F73DC387B55}"/>
              </a:ext>
            </a:extLst>
          </p:cNvPr>
          <p:cNvSpPr>
            <a:spLocks/>
          </p:cNvSpPr>
          <p:nvPr/>
        </p:nvSpPr>
        <p:spPr bwMode="auto">
          <a:xfrm>
            <a:off x="5167457" y="4369916"/>
            <a:ext cx="85990" cy="52388"/>
          </a:xfrm>
          <a:custGeom>
            <a:avLst/>
            <a:gdLst>
              <a:gd name="T0" fmla="*/ 2 w 36"/>
              <a:gd name="T1" fmla="*/ 13 h 24"/>
              <a:gd name="T2" fmla="*/ 4 w 36"/>
              <a:gd name="T3" fmla="*/ 13 h 24"/>
              <a:gd name="T4" fmla="*/ 5 w 36"/>
              <a:gd name="T5" fmla="*/ 12 h 24"/>
              <a:gd name="T6" fmla="*/ 6 w 36"/>
              <a:gd name="T7" fmla="*/ 12 h 24"/>
              <a:gd name="T8" fmla="*/ 13 w 36"/>
              <a:gd name="T9" fmla="*/ 12 h 24"/>
              <a:gd name="T10" fmla="*/ 14 w 36"/>
              <a:gd name="T11" fmla="*/ 12 h 24"/>
              <a:gd name="T12" fmla="*/ 16 w 36"/>
              <a:gd name="T13" fmla="*/ 13 h 24"/>
              <a:gd name="T14" fmla="*/ 17 w 36"/>
              <a:gd name="T15" fmla="*/ 14 h 24"/>
              <a:gd name="T16" fmla="*/ 18 w 36"/>
              <a:gd name="T17" fmla="*/ 16 h 24"/>
              <a:gd name="T18" fmla="*/ 21 w 36"/>
              <a:gd name="T19" fmla="*/ 17 h 24"/>
              <a:gd name="T20" fmla="*/ 23 w 36"/>
              <a:gd name="T21" fmla="*/ 19 h 24"/>
              <a:gd name="T22" fmla="*/ 24 w 36"/>
              <a:gd name="T23" fmla="*/ 21 h 24"/>
              <a:gd name="T24" fmla="*/ 24 w 36"/>
              <a:gd name="T25" fmla="*/ 22 h 24"/>
              <a:gd name="T26" fmla="*/ 26 w 36"/>
              <a:gd name="T27" fmla="*/ 24 h 24"/>
              <a:gd name="T28" fmla="*/ 26 w 36"/>
              <a:gd name="T29" fmla="*/ 24 h 24"/>
              <a:gd name="T30" fmla="*/ 29 w 36"/>
              <a:gd name="T31" fmla="*/ 23 h 24"/>
              <a:gd name="T32" fmla="*/ 30 w 36"/>
              <a:gd name="T33" fmla="*/ 23 h 24"/>
              <a:gd name="T34" fmla="*/ 32 w 36"/>
              <a:gd name="T35" fmla="*/ 21 h 24"/>
              <a:gd name="T36" fmla="*/ 35 w 36"/>
              <a:gd name="T37" fmla="*/ 20 h 24"/>
              <a:gd name="T38" fmla="*/ 35 w 36"/>
              <a:gd name="T39" fmla="*/ 19 h 24"/>
              <a:gd name="T40" fmla="*/ 35 w 36"/>
              <a:gd name="T41" fmla="*/ 19 h 24"/>
              <a:gd name="T42" fmla="*/ 35 w 36"/>
              <a:gd name="T43" fmla="*/ 9 h 24"/>
              <a:gd name="T44" fmla="*/ 36 w 36"/>
              <a:gd name="T45" fmla="*/ 8 h 24"/>
              <a:gd name="T46" fmla="*/ 34 w 36"/>
              <a:gd name="T47" fmla="*/ 7 h 24"/>
              <a:gd name="T48" fmla="*/ 31 w 36"/>
              <a:gd name="T49" fmla="*/ 7 h 24"/>
              <a:gd name="T50" fmla="*/ 29 w 36"/>
              <a:gd name="T51" fmla="*/ 5 h 24"/>
              <a:gd name="T52" fmla="*/ 25 w 36"/>
              <a:gd name="T53" fmla="*/ 5 h 24"/>
              <a:gd name="T54" fmla="*/ 24 w 36"/>
              <a:gd name="T55" fmla="*/ 5 h 24"/>
              <a:gd name="T56" fmla="*/ 22 w 36"/>
              <a:gd name="T57" fmla="*/ 3 h 24"/>
              <a:gd name="T58" fmla="*/ 16 w 36"/>
              <a:gd name="T59" fmla="*/ 3 h 24"/>
              <a:gd name="T60" fmla="*/ 14 w 36"/>
              <a:gd name="T61" fmla="*/ 1 h 24"/>
              <a:gd name="T62" fmla="*/ 14 w 36"/>
              <a:gd name="T63" fmla="*/ 1 h 24"/>
              <a:gd name="T64" fmla="*/ 13 w 36"/>
              <a:gd name="T65" fmla="*/ 0 h 24"/>
              <a:gd name="T66" fmla="*/ 7 w 36"/>
              <a:gd name="T67" fmla="*/ 2 h 24"/>
              <a:gd name="T68" fmla="*/ 7 w 36"/>
              <a:gd name="T69" fmla="*/ 2 h 24"/>
              <a:gd name="T70" fmla="*/ 5 w 36"/>
              <a:gd name="T71" fmla="*/ 5 h 24"/>
              <a:gd name="T72" fmla="*/ 3 w 36"/>
              <a:gd name="T73" fmla="*/ 7 h 24"/>
              <a:gd name="T74" fmla="*/ 2 w 36"/>
              <a:gd name="T75" fmla="*/ 7 h 24"/>
              <a:gd name="T76" fmla="*/ 0 w 36"/>
              <a:gd name="T77" fmla="*/ 8 h 24"/>
              <a:gd name="T78" fmla="*/ 0 w 36"/>
              <a:gd name="T79" fmla="*/ 8 h 24"/>
              <a:gd name="T80" fmla="*/ 0 w 36"/>
              <a:gd name="T81" fmla="*/ 10 h 24"/>
              <a:gd name="T82" fmla="*/ 1 w 36"/>
              <a:gd name="T83" fmla="*/ 12 h 24"/>
              <a:gd name="T84" fmla="*/ 2 w 36"/>
              <a:gd name="T85" fmla="*/ 13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6" h="24">
                <a:moveTo>
                  <a:pt x="2" y="13"/>
                </a:moveTo>
                <a:cubicBezTo>
                  <a:pt x="4" y="13"/>
                  <a:pt x="4" y="13"/>
                  <a:pt x="4" y="13"/>
                </a:cubicBezTo>
                <a:cubicBezTo>
                  <a:pt x="5" y="12"/>
                  <a:pt x="5" y="12"/>
                  <a:pt x="5" y="12"/>
                </a:cubicBezTo>
                <a:cubicBezTo>
                  <a:pt x="6" y="12"/>
                  <a:pt x="6" y="12"/>
                  <a:pt x="6" y="12"/>
                </a:cubicBezTo>
                <a:cubicBezTo>
                  <a:pt x="13" y="12"/>
                  <a:pt x="13" y="12"/>
                  <a:pt x="13" y="12"/>
                </a:cubicBezTo>
                <a:cubicBezTo>
                  <a:pt x="14" y="12"/>
                  <a:pt x="14" y="12"/>
                  <a:pt x="14" y="12"/>
                </a:cubicBezTo>
                <a:cubicBezTo>
                  <a:pt x="16" y="13"/>
                  <a:pt x="16" y="13"/>
                  <a:pt x="16" y="13"/>
                </a:cubicBezTo>
                <a:cubicBezTo>
                  <a:pt x="16" y="14"/>
                  <a:pt x="17" y="14"/>
                  <a:pt x="17" y="14"/>
                </a:cubicBezTo>
                <a:cubicBezTo>
                  <a:pt x="18" y="16"/>
                  <a:pt x="18" y="16"/>
                  <a:pt x="18" y="16"/>
                </a:cubicBezTo>
                <a:cubicBezTo>
                  <a:pt x="21" y="17"/>
                  <a:pt x="21" y="17"/>
                  <a:pt x="21" y="17"/>
                </a:cubicBezTo>
                <a:cubicBezTo>
                  <a:pt x="23" y="19"/>
                  <a:pt x="23" y="19"/>
                  <a:pt x="23" y="19"/>
                </a:cubicBezTo>
                <a:cubicBezTo>
                  <a:pt x="24" y="20"/>
                  <a:pt x="24" y="20"/>
                  <a:pt x="24" y="21"/>
                </a:cubicBezTo>
                <a:cubicBezTo>
                  <a:pt x="24" y="21"/>
                  <a:pt x="24" y="21"/>
                  <a:pt x="24" y="22"/>
                </a:cubicBezTo>
                <a:cubicBezTo>
                  <a:pt x="24" y="23"/>
                  <a:pt x="25" y="23"/>
                  <a:pt x="26" y="24"/>
                </a:cubicBezTo>
                <a:cubicBezTo>
                  <a:pt x="26" y="24"/>
                  <a:pt x="26" y="24"/>
                  <a:pt x="26" y="24"/>
                </a:cubicBezTo>
                <a:cubicBezTo>
                  <a:pt x="27" y="24"/>
                  <a:pt x="28" y="23"/>
                  <a:pt x="29" y="23"/>
                </a:cubicBezTo>
                <a:cubicBezTo>
                  <a:pt x="30" y="23"/>
                  <a:pt x="30" y="23"/>
                  <a:pt x="30" y="23"/>
                </a:cubicBezTo>
                <a:cubicBezTo>
                  <a:pt x="30" y="22"/>
                  <a:pt x="32" y="22"/>
                  <a:pt x="32" y="21"/>
                </a:cubicBezTo>
                <a:cubicBezTo>
                  <a:pt x="33" y="21"/>
                  <a:pt x="34" y="20"/>
                  <a:pt x="35" y="20"/>
                </a:cubicBezTo>
                <a:cubicBezTo>
                  <a:pt x="35" y="20"/>
                  <a:pt x="35" y="20"/>
                  <a:pt x="35" y="19"/>
                </a:cubicBezTo>
                <a:cubicBezTo>
                  <a:pt x="35" y="19"/>
                  <a:pt x="35" y="19"/>
                  <a:pt x="35" y="19"/>
                </a:cubicBezTo>
                <a:cubicBezTo>
                  <a:pt x="35" y="9"/>
                  <a:pt x="35" y="9"/>
                  <a:pt x="35" y="9"/>
                </a:cubicBezTo>
                <a:cubicBezTo>
                  <a:pt x="35" y="9"/>
                  <a:pt x="35" y="8"/>
                  <a:pt x="36" y="8"/>
                </a:cubicBezTo>
                <a:cubicBezTo>
                  <a:pt x="34" y="7"/>
                  <a:pt x="34" y="7"/>
                  <a:pt x="34" y="7"/>
                </a:cubicBezTo>
                <a:cubicBezTo>
                  <a:pt x="31" y="7"/>
                  <a:pt x="31" y="7"/>
                  <a:pt x="31" y="7"/>
                </a:cubicBezTo>
                <a:cubicBezTo>
                  <a:pt x="30" y="7"/>
                  <a:pt x="29" y="6"/>
                  <a:pt x="29" y="5"/>
                </a:cubicBezTo>
                <a:cubicBezTo>
                  <a:pt x="25" y="5"/>
                  <a:pt x="25" y="5"/>
                  <a:pt x="25" y="5"/>
                </a:cubicBezTo>
                <a:cubicBezTo>
                  <a:pt x="24" y="5"/>
                  <a:pt x="24" y="5"/>
                  <a:pt x="24" y="5"/>
                </a:cubicBezTo>
                <a:cubicBezTo>
                  <a:pt x="22" y="3"/>
                  <a:pt x="22" y="3"/>
                  <a:pt x="22" y="3"/>
                </a:cubicBezTo>
                <a:cubicBezTo>
                  <a:pt x="16" y="3"/>
                  <a:pt x="16" y="3"/>
                  <a:pt x="16" y="3"/>
                </a:cubicBezTo>
                <a:cubicBezTo>
                  <a:pt x="15" y="3"/>
                  <a:pt x="14" y="2"/>
                  <a:pt x="14" y="1"/>
                </a:cubicBezTo>
                <a:cubicBezTo>
                  <a:pt x="14" y="1"/>
                  <a:pt x="14" y="1"/>
                  <a:pt x="14" y="1"/>
                </a:cubicBezTo>
                <a:cubicBezTo>
                  <a:pt x="13" y="0"/>
                  <a:pt x="13" y="0"/>
                  <a:pt x="13" y="0"/>
                </a:cubicBezTo>
                <a:cubicBezTo>
                  <a:pt x="7" y="2"/>
                  <a:pt x="7" y="2"/>
                  <a:pt x="7" y="2"/>
                </a:cubicBezTo>
                <a:cubicBezTo>
                  <a:pt x="7" y="2"/>
                  <a:pt x="7" y="2"/>
                  <a:pt x="7" y="2"/>
                </a:cubicBezTo>
                <a:cubicBezTo>
                  <a:pt x="5" y="5"/>
                  <a:pt x="5" y="5"/>
                  <a:pt x="5" y="5"/>
                </a:cubicBezTo>
                <a:cubicBezTo>
                  <a:pt x="5" y="6"/>
                  <a:pt x="4" y="7"/>
                  <a:pt x="3" y="7"/>
                </a:cubicBezTo>
                <a:cubicBezTo>
                  <a:pt x="2" y="7"/>
                  <a:pt x="2" y="7"/>
                  <a:pt x="2" y="7"/>
                </a:cubicBezTo>
                <a:cubicBezTo>
                  <a:pt x="0" y="8"/>
                  <a:pt x="0" y="8"/>
                  <a:pt x="0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10"/>
                  <a:pt x="0" y="10"/>
                  <a:pt x="0" y="10"/>
                </a:cubicBezTo>
                <a:cubicBezTo>
                  <a:pt x="1" y="12"/>
                  <a:pt x="1" y="12"/>
                  <a:pt x="1" y="12"/>
                </a:cubicBezTo>
                <a:lnTo>
                  <a:pt x="2" y="1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Freeform 42">
            <a:extLst>
              <a:ext uri="{FF2B5EF4-FFF2-40B4-BE49-F238E27FC236}">
                <a16:creationId xmlns:a16="http://schemas.microsoft.com/office/drawing/2014/main" id="{F4BA6174-37C2-4B56-9F4B-611F113F59F1}"/>
              </a:ext>
            </a:extLst>
          </p:cNvPr>
          <p:cNvSpPr>
            <a:spLocks/>
          </p:cNvSpPr>
          <p:nvPr/>
        </p:nvSpPr>
        <p:spPr bwMode="auto">
          <a:xfrm>
            <a:off x="4813181" y="4449291"/>
            <a:ext cx="345679" cy="280988"/>
          </a:xfrm>
          <a:custGeom>
            <a:avLst/>
            <a:gdLst>
              <a:gd name="T0" fmla="*/ 119 w 143"/>
              <a:gd name="T1" fmla="*/ 90 h 126"/>
              <a:gd name="T2" fmla="*/ 131 w 143"/>
              <a:gd name="T3" fmla="*/ 89 h 126"/>
              <a:gd name="T4" fmla="*/ 136 w 143"/>
              <a:gd name="T5" fmla="*/ 85 h 126"/>
              <a:gd name="T6" fmla="*/ 140 w 143"/>
              <a:gd name="T7" fmla="*/ 84 h 126"/>
              <a:gd name="T8" fmla="*/ 141 w 143"/>
              <a:gd name="T9" fmla="*/ 78 h 126"/>
              <a:gd name="T10" fmla="*/ 134 w 143"/>
              <a:gd name="T11" fmla="*/ 80 h 126"/>
              <a:gd name="T12" fmla="*/ 129 w 143"/>
              <a:gd name="T13" fmla="*/ 86 h 126"/>
              <a:gd name="T14" fmla="*/ 120 w 143"/>
              <a:gd name="T15" fmla="*/ 87 h 126"/>
              <a:gd name="T16" fmla="*/ 119 w 143"/>
              <a:gd name="T17" fmla="*/ 72 h 126"/>
              <a:gd name="T18" fmla="*/ 125 w 143"/>
              <a:gd name="T19" fmla="*/ 66 h 126"/>
              <a:gd name="T20" fmla="*/ 130 w 143"/>
              <a:gd name="T21" fmla="*/ 58 h 126"/>
              <a:gd name="T22" fmla="*/ 137 w 143"/>
              <a:gd name="T23" fmla="*/ 40 h 126"/>
              <a:gd name="T24" fmla="*/ 142 w 143"/>
              <a:gd name="T25" fmla="*/ 35 h 126"/>
              <a:gd name="T26" fmla="*/ 137 w 143"/>
              <a:gd name="T27" fmla="*/ 29 h 126"/>
              <a:gd name="T28" fmla="*/ 124 w 143"/>
              <a:gd name="T29" fmla="*/ 26 h 126"/>
              <a:gd name="T30" fmla="*/ 121 w 143"/>
              <a:gd name="T31" fmla="*/ 18 h 126"/>
              <a:gd name="T32" fmla="*/ 116 w 143"/>
              <a:gd name="T33" fmla="*/ 20 h 126"/>
              <a:gd name="T34" fmla="*/ 110 w 143"/>
              <a:gd name="T35" fmla="*/ 25 h 126"/>
              <a:gd name="T36" fmla="*/ 95 w 143"/>
              <a:gd name="T37" fmla="*/ 26 h 126"/>
              <a:gd name="T38" fmla="*/ 93 w 143"/>
              <a:gd name="T39" fmla="*/ 18 h 126"/>
              <a:gd name="T40" fmla="*/ 87 w 143"/>
              <a:gd name="T41" fmla="*/ 11 h 126"/>
              <a:gd name="T42" fmla="*/ 83 w 143"/>
              <a:gd name="T43" fmla="*/ 5 h 126"/>
              <a:gd name="T44" fmla="*/ 80 w 143"/>
              <a:gd name="T45" fmla="*/ 1 h 126"/>
              <a:gd name="T46" fmla="*/ 76 w 143"/>
              <a:gd name="T47" fmla="*/ 2 h 126"/>
              <a:gd name="T48" fmla="*/ 67 w 143"/>
              <a:gd name="T49" fmla="*/ 5 h 126"/>
              <a:gd name="T50" fmla="*/ 56 w 143"/>
              <a:gd name="T51" fmla="*/ 11 h 126"/>
              <a:gd name="T52" fmla="*/ 51 w 143"/>
              <a:gd name="T53" fmla="*/ 14 h 126"/>
              <a:gd name="T54" fmla="*/ 50 w 143"/>
              <a:gd name="T55" fmla="*/ 22 h 126"/>
              <a:gd name="T56" fmla="*/ 47 w 143"/>
              <a:gd name="T57" fmla="*/ 40 h 126"/>
              <a:gd name="T58" fmla="*/ 42 w 143"/>
              <a:gd name="T59" fmla="*/ 43 h 126"/>
              <a:gd name="T60" fmla="*/ 34 w 143"/>
              <a:gd name="T61" fmla="*/ 44 h 126"/>
              <a:gd name="T62" fmla="*/ 28 w 143"/>
              <a:gd name="T63" fmla="*/ 48 h 126"/>
              <a:gd name="T64" fmla="*/ 16 w 143"/>
              <a:gd name="T65" fmla="*/ 50 h 126"/>
              <a:gd name="T66" fmla="*/ 11 w 143"/>
              <a:gd name="T67" fmla="*/ 60 h 126"/>
              <a:gd name="T68" fmla="*/ 6 w 143"/>
              <a:gd name="T69" fmla="*/ 67 h 126"/>
              <a:gd name="T70" fmla="*/ 0 w 143"/>
              <a:gd name="T71" fmla="*/ 71 h 126"/>
              <a:gd name="T72" fmla="*/ 3 w 143"/>
              <a:gd name="T73" fmla="*/ 78 h 126"/>
              <a:gd name="T74" fmla="*/ 2 w 143"/>
              <a:gd name="T75" fmla="*/ 84 h 126"/>
              <a:gd name="T76" fmla="*/ 3 w 143"/>
              <a:gd name="T77" fmla="*/ 92 h 126"/>
              <a:gd name="T78" fmla="*/ 14 w 143"/>
              <a:gd name="T79" fmla="*/ 88 h 126"/>
              <a:gd name="T80" fmla="*/ 21 w 143"/>
              <a:gd name="T81" fmla="*/ 90 h 126"/>
              <a:gd name="T82" fmla="*/ 17 w 143"/>
              <a:gd name="T83" fmla="*/ 96 h 126"/>
              <a:gd name="T84" fmla="*/ 13 w 143"/>
              <a:gd name="T85" fmla="*/ 103 h 126"/>
              <a:gd name="T86" fmla="*/ 19 w 143"/>
              <a:gd name="T87" fmla="*/ 108 h 126"/>
              <a:gd name="T88" fmla="*/ 23 w 143"/>
              <a:gd name="T89" fmla="*/ 115 h 126"/>
              <a:gd name="T90" fmla="*/ 23 w 143"/>
              <a:gd name="T91" fmla="*/ 121 h 126"/>
              <a:gd name="T92" fmla="*/ 31 w 143"/>
              <a:gd name="T93" fmla="*/ 125 h 126"/>
              <a:gd name="T94" fmla="*/ 38 w 143"/>
              <a:gd name="T95" fmla="*/ 122 h 126"/>
              <a:gd name="T96" fmla="*/ 46 w 143"/>
              <a:gd name="T97" fmla="*/ 116 h 126"/>
              <a:gd name="T98" fmla="*/ 48 w 143"/>
              <a:gd name="T99" fmla="*/ 110 h 126"/>
              <a:gd name="T100" fmla="*/ 59 w 143"/>
              <a:gd name="T101" fmla="*/ 116 h 126"/>
              <a:gd name="T102" fmla="*/ 67 w 143"/>
              <a:gd name="T103" fmla="*/ 113 h 126"/>
              <a:gd name="T104" fmla="*/ 74 w 143"/>
              <a:gd name="T105" fmla="*/ 108 h 126"/>
              <a:gd name="T106" fmla="*/ 82 w 143"/>
              <a:gd name="T107" fmla="*/ 104 h 126"/>
              <a:gd name="T108" fmla="*/ 90 w 143"/>
              <a:gd name="T109" fmla="*/ 104 h 126"/>
              <a:gd name="T110" fmla="*/ 98 w 143"/>
              <a:gd name="T111" fmla="*/ 102 h 126"/>
              <a:gd name="T112" fmla="*/ 106 w 143"/>
              <a:gd name="T113" fmla="*/ 99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43" h="126">
                <a:moveTo>
                  <a:pt x="110" y="95"/>
                </a:moveTo>
                <a:cubicBezTo>
                  <a:pt x="110" y="95"/>
                  <a:pt x="111" y="95"/>
                  <a:pt x="111" y="94"/>
                </a:cubicBezTo>
                <a:cubicBezTo>
                  <a:pt x="116" y="93"/>
                  <a:pt x="116" y="93"/>
                  <a:pt x="116" y="93"/>
                </a:cubicBezTo>
                <a:cubicBezTo>
                  <a:pt x="116" y="93"/>
                  <a:pt x="118" y="92"/>
                  <a:pt x="119" y="90"/>
                </a:cubicBezTo>
                <a:cubicBezTo>
                  <a:pt x="120" y="89"/>
                  <a:pt x="121" y="88"/>
                  <a:pt x="122" y="88"/>
                </a:cubicBezTo>
                <a:cubicBezTo>
                  <a:pt x="122" y="88"/>
                  <a:pt x="122" y="88"/>
                  <a:pt x="122" y="88"/>
                </a:cubicBezTo>
                <a:cubicBezTo>
                  <a:pt x="123" y="88"/>
                  <a:pt x="123" y="89"/>
                  <a:pt x="124" y="89"/>
                </a:cubicBezTo>
                <a:cubicBezTo>
                  <a:pt x="131" y="89"/>
                  <a:pt x="131" y="89"/>
                  <a:pt x="131" y="89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6"/>
                  <a:pt x="134" y="86"/>
                  <a:pt x="134" y="86"/>
                </a:cubicBezTo>
                <a:cubicBezTo>
                  <a:pt x="135" y="86"/>
                  <a:pt x="135" y="86"/>
                  <a:pt x="135" y="86"/>
                </a:cubicBezTo>
                <a:cubicBezTo>
                  <a:pt x="136" y="85"/>
                  <a:pt x="136" y="85"/>
                  <a:pt x="136" y="85"/>
                </a:cubicBezTo>
                <a:cubicBezTo>
                  <a:pt x="136" y="84"/>
                  <a:pt x="138" y="84"/>
                  <a:pt x="138" y="84"/>
                </a:cubicBezTo>
                <a:cubicBezTo>
                  <a:pt x="138" y="84"/>
                  <a:pt x="138" y="84"/>
                  <a:pt x="139" y="84"/>
                </a:cubicBezTo>
                <a:cubicBezTo>
                  <a:pt x="139" y="84"/>
                  <a:pt x="139" y="84"/>
                  <a:pt x="140" y="84"/>
                </a:cubicBezTo>
                <a:cubicBezTo>
                  <a:pt x="140" y="84"/>
                  <a:pt x="140" y="84"/>
                  <a:pt x="140" y="84"/>
                </a:cubicBezTo>
                <a:cubicBezTo>
                  <a:pt x="140" y="83"/>
                  <a:pt x="141" y="83"/>
                  <a:pt x="142" y="81"/>
                </a:cubicBezTo>
                <a:cubicBezTo>
                  <a:pt x="142" y="81"/>
                  <a:pt x="142" y="81"/>
                  <a:pt x="142" y="80"/>
                </a:cubicBezTo>
                <a:cubicBezTo>
                  <a:pt x="142" y="78"/>
                  <a:pt x="142" y="78"/>
                  <a:pt x="142" y="78"/>
                </a:cubicBezTo>
                <a:cubicBezTo>
                  <a:pt x="141" y="78"/>
                  <a:pt x="141" y="78"/>
                  <a:pt x="141" y="78"/>
                </a:cubicBezTo>
                <a:cubicBezTo>
                  <a:pt x="140" y="78"/>
                  <a:pt x="140" y="78"/>
                  <a:pt x="140" y="78"/>
                </a:cubicBezTo>
                <a:cubicBezTo>
                  <a:pt x="137" y="78"/>
                  <a:pt x="137" y="78"/>
                  <a:pt x="137" y="78"/>
                </a:cubicBezTo>
                <a:cubicBezTo>
                  <a:pt x="136" y="79"/>
                  <a:pt x="136" y="79"/>
                  <a:pt x="136" y="79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34" y="80"/>
                  <a:pt x="133" y="81"/>
                  <a:pt x="132" y="82"/>
                </a:cubicBezTo>
                <a:cubicBezTo>
                  <a:pt x="132" y="82"/>
                  <a:pt x="132" y="82"/>
                  <a:pt x="132" y="82"/>
                </a:cubicBezTo>
                <a:cubicBezTo>
                  <a:pt x="131" y="83"/>
                  <a:pt x="131" y="84"/>
                  <a:pt x="129" y="85"/>
                </a:cubicBezTo>
                <a:cubicBezTo>
                  <a:pt x="129" y="86"/>
                  <a:pt x="129" y="86"/>
                  <a:pt x="129" y="86"/>
                </a:cubicBezTo>
                <a:cubicBezTo>
                  <a:pt x="128" y="87"/>
                  <a:pt x="126" y="87"/>
                  <a:pt x="125" y="88"/>
                </a:cubicBezTo>
                <a:cubicBezTo>
                  <a:pt x="124" y="88"/>
                  <a:pt x="124" y="88"/>
                  <a:pt x="124" y="88"/>
                </a:cubicBezTo>
                <a:cubicBezTo>
                  <a:pt x="123" y="88"/>
                  <a:pt x="121" y="88"/>
                  <a:pt x="121" y="88"/>
                </a:cubicBezTo>
                <a:cubicBezTo>
                  <a:pt x="120" y="88"/>
                  <a:pt x="120" y="88"/>
                  <a:pt x="120" y="87"/>
                </a:cubicBezTo>
                <a:cubicBezTo>
                  <a:pt x="117" y="85"/>
                  <a:pt x="117" y="85"/>
                  <a:pt x="117" y="85"/>
                </a:cubicBezTo>
                <a:cubicBezTo>
                  <a:pt x="117" y="84"/>
                  <a:pt x="117" y="84"/>
                  <a:pt x="117" y="84"/>
                </a:cubicBezTo>
                <a:cubicBezTo>
                  <a:pt x="117" y="74"/>
                  <a:pt x="117" y="74"/>
                  <a:pt x="117" y="74"/>
                </a:cubicBezTo>
                <a:cubicBezTo>
                  <a:pt x="117" y="72"/>
                  <a:pt x="118" y="72"/>
                  <a:pt x="119" y="72"/>
                </a:cubicBezTo>
                <a:cubicBezTo>
                  <a:pt x="121" y="72"/>
                  <a:pt x="121" y="72"/>
                  <a:pt x="121" y="72"/>
                </a:cubicBezTo>
                <a:cubicBezTo>
                  <a:pt x="124" y="71"/>
                  <a:pt x="124" y="71"/>
                  <a:pt x="124" y="71"/>
                </a:cubicBezTo>
                <a:cubicBezTo>
                  <a:pt x="124" y="70"/>
                  <a:pt x="124" y="70"/>
                  <a:pt x="124" y="70"/>
                </a:cubicBezTo>
                <a:cubicBezTo>
                  <a:pt x="124" y="69"/>
                  <a:pt x="125" y="67"/>
                  <a:pt x="125" y="66"/>
                </a:cubicBezTo>
                <a:cubicBezTo>
                  <a:pt x="125" y="64"/>
                  <a:pt x="126" y="64"/>
                  <a:pt x="127" y="64"/>
                </a:cubicBezTo>
                <a:cubicBezTo>
                  <a:pt x="128" y="64"/>
                  <a:pt x="128" y="64"/>
                  <a:pt x="128" y="64"/>
                </a:cubicBezTo>
                <a:cubicBezTo>
                  <a:pt x="129" y="61"/>
                  <a:pt x="129" y="61"/>
                  <a:pt x="129" y="61"/>
                </a:cubicBezTo>
                <a:cubicBezTo>
                  <a:pt x="130" y="58"/>
                  <a:pt x="130" y="58"/>
                  <a:pt x="130" y="58"/>
                </a:cubicBezTo>
                <a:cubicBezTo>
                  <a:pt x="130" y="57"/>
                  <a:pt x="130" y="57"/>
                  <a:pt x="130" y="57"/>
                </a:cubicBezTo>
                <a:cubicBezTo>
                  <a:pt x="134" y="48"/>
                  <a:pt x="134" y="48"/>
                  <a:pt x="134" y="48"/>
                </a:cubicBezTo>
                <a:cubicBezTo>
                  <a:pt x="134" y="47"/>
                  <a:pt x="134" y="45"/>
                  <a:pt x="135" y="44"/>
                </a:cubicBezTo>
                <a:cubicBezTo>
                  <a:pt x="135" y="42"/>
                  <a:pt x="137" y="40"/>
                  <a:pt x="137" y="40"/>
                </a:cubicBezTo>
                <a:cubicBezTo>
                  <a:pt x="137" y="39"/>
                  <a:pt x="138" y="38"/>
                  <a:pt x="138" y="38"/>
                </a:cubicBezTo>
                <a:cubicBezTo>
                  <a:pt x="138" y="37"/>
                  <a:pt x="139" y="37"/>
                  <a:pt x="140" y="37"/>
                </a:cubicBezTo>
                <a:cubicBezTo>
                  <a:pt x="143" y="37"/>
                  <a:pt x="143" y="37"/>
                  <a:pt x="143" y="37"/>
                </a:cubicBezTo>
                <a:cubicBezTo>
                  <a:pt x="142" y="36"/>
                  <a:pt x="142" y="36"/>
                  <a:pt x="142" y="35"/>
                </a:cubicBezTo>
                <a:cubicBezTo>
                  <a:pt x="142" y="33"/>
                  <a:pt x="142" y="33"/>
                  <a:pt x="142" y="33"/>
                </a:cubicBezTo>
                <a:cubicBezTo>
                  <a:pt x="139" y="31"/>
                  <a:pt x="139" y="31"/>
                  <a:pt x="139" y="31"/>
                </a:cubicBezTo>
                <a:cubicBezTo>
                  <a:pt x="137" y="29"/>
                  <a:pt x="137" y="29"/>
                  <a:pt x="137" y="29"/>
                </a:cubicBezTo>
                <a:cubicBezTo>
                  <a:pt x="137" y="29"/>
                  <a:pt x="137" y="29"/>
                  <a:pt x="137" y="29"/>
                </a:cubicBezTo>
                <a:cubicBezTo>
                  <a:pt x="136" y="29"/>
                  <a:pt x="135" y="29"/>
                  <a:pt x="135" y="29"/>
                </a:cubicBezTo>
                <a:cubicBezTo>
                  <a:pt x="134" y="27"/>
                  <a:pt x="134" y="27"/>
                  <a:pt x="134" y="27"/>
                </a:cubicBezTo>
                <a:cubicBezTo>
                  <a:pt x="125" y="27"/>
                  <a:pt x="125" y="27"/>
                  <a:pt x="125" y="27"/>
                </a:cubicBezTo>
                <a:cubicBezTo>
                  <a:pt x="125" y="27"/>
                  <a:pt x="125" y="27"/>
                  <a:pt x="124" y="26"/>
                </a:cubicBezTo>
                <a:cubicBezTo>
                  <a:pt x="122" y="25"/>
                  <a:pt x="122" y="25"/>
                  <a:pt x="122" y="25"/>
                </a:cubicBezTo>
                <a:cubicBezTo>
                  <a:pt x="121" y="24"/>
                  <a:pt x="121" y="24"/>
                  <a:pt x="121" y="23"/>
                </a:cubicBezTo>
                <a:cubicBezTo>
                  <a:pt x="121" y="18"/>
                  <a:pt x="121" y="18"/>
                  <a:pt x="121" y="18"/>
                </a:cubicBezTo>
                <a:cubicBezTo>
                  <a:pt x="121" y="18"/>
                  <a:pt x="121" y="18"/>
                  <a:pt x="121" y="18"/>
                </a:cubicBezTo>
                <a:cubicBezTo>
                  <a:pt x="120" y="18"/>
                  <a:pt x="120" y="18"/>
                  <a:pt x="120" y="18"/>
                </a:cubicBezTo>
                <a:cubicBezTo>
                  <a:pt x="119" y="19"/>
                  <a:pt x="119" y="19"/>
                  <a:pt x="119" y="19"/>
                </a:cubicBezTo>
                <a:cubicBezTo>
                  <a:pt x="119" y="20"/>
                  <a:pt x="118" y="20"/>
                  <a:pt x="118" y="20"/>
                </a:cubicBezTo>
                <a:cubicBezTo>
                  <a:pt x="116" y="20"/>
                  <a:pt x="116" y="20"/>
                  <a:pt x="116" y="20"/>
                </a:cubicBezTo>
                <a:cubicBezTo>
                  <a:pt x="115" y="20"/>
                  <a:pt x="115" y="20"/>
                  <a:pt x="115" y="20"/>
                </a:cubicBezTo>
                <a:cubicBezTo>
                  <a:pt x="111" y="22"/>
                  <a:pt x="111" y="22"/>
                  <a:pt x="111" y="22"/>
                </a:cubicBezTo>
                <a:cubicBezTo>
                  <a:pt x="111" y="23"/>
                  <a:pt x="111" y="23"/>
                  <a:pt x="111" y="23"/>
                </a:cubicBezTo>
                <a:cubicBezTo>
                  <a:pt x="111" y="24"/>
                  <a:pt x="111" y="24"/>
                  <a:pt x="110" y="25"/>
                </a:cubicBezTo>
                <a:cubicBezTo>
                  <a:pt x="106" y="27"/>
                  <a:pt x="106" y="27"/>
                  <a:pt x="106" y="27"/>
                </a:cubicBezTo>
                <a:cubicBezTo>
                  <a:pt x="106" y="27"/>
                  <a:pt x="106" y="27"/>
                  <a:pt x="105" y="27"/>
                </a:cubicBezTo>
                <a:cubicBezTo>
                  <a:pt x="97" y="27"/>
                  <a:pt x="97" y="27"/>
                  <a:pt x="97" y="27"/>
                </a:cubicBezTo>
                <a:cubicBezTo>
                  <a:pt x="96" y="27"/>
                  <a:pt x="95" y="27"/>
                  <a:pt x="95" y="26"/>
                </a:cubicBezTo>
                <a:cubicBezTo>
                  <a:pt x="95" y="26"/>
                  <a:pt x="95" y="25"/>
                  <a:pt x="95" y="24"/>
                </a:cubicBezTo>
                <a:cubicBezTo>
                  <a:pt x="95" y="23"/>
                  <a:pt x="95" y="22"/>
                  <a:pt x="95" y="22"/>
                </a:cubicBezTo>
                <a:cubicBezTo>
                  <a:pt x="94" y="21"/>
                  <a:pt x="94" y="20"/>
                  <a:pt x="94" y="18"/>
                </a:cubicBezTo>
                <a:cubicBezTo>
                  <a:pt x="93" y="18"/>
                  <a:pt x="93" y="18"/>
                  <a:pt x="93" y="18"/>
                </a:cubicBezTo>
                <a:cubicBezTo>
                  <a:pt x="92" y="18"/>
                  <a:pt x="91" y="18"/>
                  <a:pt x="91" y="16"/>
                </a:cubicBezTo>
                <a:cubicBezTo>
                  <a:pt x="91" y="12"/>
                  <a:pt x="91" y="12"/>
                  <a:pt x="91" y="12"/>
                </a:cubicBezTo>
                <a:cubicBezTo>
                  <a:pt x="90" y="11"/>
                  <a:pt x="90" y="11"/>
                  <a:pt x="90" y="11"/>
                </a:cubicBezTo>
                <a:cubicBezTo>
                  <a:pt x="87" y="11"/>
                  <a:pt x="87" y="11"/>
                  <a:pt x="87" y="11"/>
                </a:cubicBezTo>
                <a:cubicBezTo>
                  <a:pt x="86" y="11"/>
                  <a:pt x="85" y="10"/>
                  <a:pt x="85" y="9"/>
                </a:cubicBezTo>
                <a:cubicBezTo>
                  <a:pt x="85" y="8"/>
                  <a:pt x="85" y="8"/>
                  <a:pt x="85" y="8"/>
                </a:cubicBezTo>
                <a:cubicBezTo>
                  <a:pt x="84" y="7"/>
                  <a:pt x="84" y="7"/>
                  <a:pt x="84" y="7"/>
                </a:cubicBezTo>
                <a:cubicBezTo>
                  <a:pt x="83" y="7"/>
                  <a:pt x="83" y="6"/>
                  <a:pt x="83" y="5"/>
                </a:cubicBezTo>
                <a:cubicBezTo>
                  <a:pt x="83" y="4"/>
                  <a:pt x="83" y="4"/>
                  <a:pt x="83" y="4"/>
                </a:cubicBezTo>
                <a:cubicBezTo>
                  <a:pt x="82" y="3"/>
                  <a:pt x="82" y="3"/>
                  <a:pt x="82" y="3"/>
                </a:cubicBezTo>
                <a:cubicBezTo>
                  <a:pt x="81" y="2"/>
                  <a:pt x="81" y="2"/>
                  <a:pt x="81" y="1"/>
                </a:cubicBezTo>
                <a:cubicBezTo>
                  <a:pt x="80" y="1"/>
                  <a:pt x="80" y="1"/>
                  <a:pt x="80" y="1"/>
                </a:cubicBezTo>
                <a:cubicBezTo>
                  <a:pt x="80" y="1"/>
                  <a:pt x="80" y="1"/>
                  <a:pt x="79" y="1"/>
                </a:cubicBezTo>
                <a:cubicBezTo>
                  <a:pt x="79" y="1"/>
                  <a:pt x="78" y="0"/>
                  <a:pt x="78" y="1"/>
                </a:cubicBezTo>
                <a:cubicBezTo>
                  <a:pt x="78" y="1"/>
                  <a:pt x="78" y="1"/>
                  <a:pt x="78" y="1"/>
                </a:cubicBezTo>
                <a:cubicBezTo>
                  <a:pt x="77" y="2"/>
                  <a:pt x="77" y="2"/>
                  <a:pt x="76" y="2"/>
                </a:cubicBezTo>
                <a:cubicBezTo>
                  <a:pt x="71" y="2"/>
                  <a:pt x="71" y="2"/>
                  <a:pt x="71" y="2"/>
                </a:cubicBezTo>
                <a:cubicBezTo>
                  <a:pt x="71" y="2"/>
                  <a:pt x="71" y="2"/>
                  <a:pt x="71" y="2"/>
                </a:cubicBezTo>
                <a:cubicBezTo>
                  <a:pt x="70" y="3"/>
                  <a:pt x="69" y="5"/>
                  <a:pt x="69" y="5"/>
                </a:cubicBezTo>
                <a:cubicBezTo>
                  <a:pt x="69" y="5"/>
                  <a:pt x="68" y="5"/>
                  <a:pt x="67" y="5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8"/>
                  <a:pt x="65" y="10"/>
                  <a:pt x="62" y="10"/>
                </a:cubicBezTo>
                <a:cubicBezTo>
                  <a:pt x="57" y="10"/>
                  <a:pt x="57" y="10"/>
                  <a:pt x="57" y="10"/>
                </a:cubicBezTo>
                <a:cubicBezTo>
                  <a:pt x="56" y="11"/>
                  <a:pt x="56" y="11"/>
                  <a:pt x="56" y="11"/>
                </a:cubicBezTo>
                <a:cubicBezTo>
                  <a:pt x="55" y="12"/>
                  <a:pt x="55" y="12"/>
                  <a:pt x="54" y="12"/>
                </a:cubicBezTo>
                <a:cubicBezTo>
                  <a:pt x="54" y="12"/>
                  <a:pt x="54" y="12"/>
                  <a:pt x="54" y="12"/>
                </a:cubicBezTo>
                <a:cubicBezTo>
                  <a:pt x="52" y="13"/>
                  <a:pt x="52" y="13"/>
                  <a:pt x="52" y="13"/>
                </a:cubicBezTo>
                <a:cubicBezTo>
                  <a:pt x="52" y="14"/>
                  <a:pt x="52" y="14"/>
                  <a:pt x="51" y="14"/>
                </a:cubicBezTo>
                <a:cubicBezTo>
                  <a:pt x="50" y="15"/>
                  <a:pt x="50" y="17"/>
                  <a:pt x="49" y="17"/>
                </a:cubicBezTo>
                <a:cubicBezTo>
                  <a:pt x="49" y="20"/>
                  <a:pt x="49" y="20"/>
                  <a:pt x="49" y="20"/>
                </a:cubicBezTo>
                <a:cubicBezTo>
                  <a:pt x="49" y="22"/>
                  <a:pt x="49" y="22"/>
                  <a:pt x="49" y="22"/>
                </a:cubicBezTo>
                <a:cubicBezTo>
                  <a:pt x="50" y="22"/>
                  <a:pt x="50" y="22"/>
                  <a:pt x="50" y="22"/>
                </a:cubicBezTo>
                <a:cubicBezTo>
                  <a:pt x="50" y="32"/>
                  <a:pt x="50" y="32"/>
                  <a:pt x="50" y="32"/>
                </a:cubicBezTo>
                <a:cubicBezTo>
                  <a:pt x="50" y="32"/>
                  <a:pt x="50" y="32"/>
                  <a:pt x="50" y="32"/>
                </a:cubicBezTo>
                <a:cubicBezTo>
                  <a:pt x="49" y="38"/>
                  <a:pt x="49" y="38"/>
                  <a:pt x="49" y="38"/>
                </a:cubicBezTo>
                <a:cubicBezTo>
                  <a:pt x="49" y="39"/>
                  <a:pt x="48" y="40"/>
                  <a:pt x="47" y="40"/>
                </a:cubicBezTo>
                <a:cubicBezTo>
                  <a:pt x="47" y="40"/>
                  <a:pt x="47" y="40"/>
                  <a:pt x="47" y="40"/>
                </a:cubicBezTo>
                <a:cubicBezTo>
                  <a:pt x="45" y="42"/>
                  <a:pt x="45" y="42"/>
                  <a:pt x="45" y="42"/>
                </a:cubicBezTo>
                <a:cubicBezTo>
                  <a:pt x="44" y="43"/>
                  <a:pt x="44" y="43"/>
                  <a:pt x="44" y="43"/>
                </a:cubicBezTo>
                <a:cubicBezTo>
                  <a:pt x="42" y="43"/>
                  <a:pt x="42" y="43"/>
                  <a:pt x="42" y="43"/>
                </a:cubicBezTo>
                <a:cubicBezTo>
                  <a:pt x="42" y="43"/>
                  <a:pt x="42" y="43"/>
                  <a:pt x="41" y="42"/>
                </a:cubicBezTo>
                <a:cubicBezTo>
                  <a:pt x="41" y="42"/>
                  <a:pt x="41" y="42"/>
                  <a:pt x="41" y="42"/>
                </a:cubicBezTo>
                <a:cubicBezTo>
                  <a:pt x="38" y="44"/>
                  <a:pt x="36" y="44"/>
                  <a:pt x="36" y="44"/>
                </a:cubicBezTo>
                <a:cubicBezTo>
                  <a:pt x="34" y="44"/>
                  <a:pt x="34" y="44"/>
                  <a:pt x="34" y="44"/>
                </a:cubicBezTo>
                <a:cubicBezTo>
                  <a:pt x="34" y="45"/>
                  <a:pt x="34" y="45"/>
                  <a:pt x="34" y="45"/>
                </a:cubicBezTo>
                <a:cubicBezTo>
                  <a:pt x="34" y="45"/>
                  <a:pt x="34" y="46"/>
                  <a:pt x="33" y="46"/>
                </a:cubicBezTo>
                <a:cubicBezTo>
                  <a:pt x="29" y="48"/>
                  <a:pt x="29" y="48"/>
                  <a:pt x="29" y="48"/>
                </a:cubicBezTo>
                <a:cubicBezTo>
                  <a:pt x="28" y="48"/>
                  <a:pt x="28" y="48"/>
                  <a:pt x="28" y="48"/>
                </a:cubicBezTo>
                <a:cubicBezTo>
                  <a:pt x="20" y="48"/>
                  <a:pt x="20" y="48"/>
                  <a:pt x="20" y="48"/>
                </a:cubicBezTo>
                <a:cubicBezTo>
                  <a:pt x="18" y="50"/>
                  <a:pt x="18" y="50"/>
                  <a:pt x="18" y="50"/>
                </a:cubicBezTo>
                <a:cubicBezTo>
                  <a:pt x="17" y="50"/>
                  <a:pt x="17" y="50"/>
                  <a:pt x="17" y="50"/>
                </a:cubicBezTo>
                <a:cubicBezTo>
                  <a:pt x="16" y="50"/>
                  <a:pt x="16" y="50"/>
                  <a:pt x="16" y="50"/>
                </a:cubicBezTo>
                <a:cubicBezTo>
                  <a:pt x="16" y="51"/>
                  <a:pt x="15" y="52"/>
                  <a:pt x="14" y="52"/>
                </a:cubicBezTo>
                <a:cubicBezTo>
                  <a:pt x="13" y="52"/>
                  <a:pt x="13" y="52"/>
                  <a:pt x="13" y="52"/>
                </a:cubicBezTo>
                <a:cubicBezTo>
                  <a:pt x="11" y="56"/>
                  <a:pt x="11" y="56"/>
                  <a:pt x="11" y="56"/>
                </a:cubicBezTo>
                <a:cubicBezTo>
                  <a:pt x="11" y="60"/>
                  <a:pt x="11" y="60"/>
                  <a:pt x="11" y="60"/>
                </a:cubicBezTo>
                <a:cubicBezTo>
                  <a:pt x="11" y="61"/>
                  <a:pt x="11" y="61"/>
                  <a:pt x="11" y="62"/>
                </a:cubicBezTo>
                <a:cubicBezTo>
                  <a:pt x="11" y="62"/>
                  <a:pt x="11" y="63"/>
                  <a:pt x="10" y="64"/>
                </a:cubicBezTo>
                <a:cubicBezTo>
                  <a:pt x="7" y="67"/>
                  <a:pt x="7" y="67"/>
                  <a:pt x="7" y="67"/>
                </a:cubicBezTo>
                <a:cubicBezTo>
                  <a:pt x="7" y="67"/>
                  <a:pt x="7" y="67"/>
                  <a:pt x="6" y="67"/>
                </a:cubicBezTo>
                <a:cubicBezTo>
                  <a:pt x="6" y="68"/>
                  <a:pt x="6" y="69"/>
                  <a:pt x="5" y="69"/>
                </a:cubicBezTo>
                <a:cubicBezTo>
                  <a:pt x="2" y="71"/>
                  <a:pt x="2" y="71"/>
                  <a:pt x="2" y="71"/>
                </a:cubicBezTo>
                <a:cubicBezTo>
                  <a:pt x="1" y="71"/>
                  <a:pt x="1" y="71"/>
                  <a:pt x="1" y="71"/>
                </a:cubicBezTo>
                <a:cubicBezTo>
                  <a:pt x="0" y="71"/>
                  <a:pt x="0" y="71"/>
                  <a:pt x="0" y="71"/>
                </a:cubicBezTo>
                <a:cubicBezTo>
                  <a:pt x="0" y="71"/>
                  <a:pt x="0" y="71"/>
                  <a:pt x="0" y="71"/>
                </a:cubicBezTo>
                <a:cubicBezTo>
                  <a:pt x="0" y="72"/>
                  <a:pt x="1" y="73"/>
                  <a:pt x="2" y="73"/>
                </a:cubicBezTo>
                <a:cubicBezTo>
                  <a:pt x="3" y="74"/>
                  <a:pt x="3" y="75"/>
                  <a:pt x="3" y="77"/>
                </a:cubicBezTo>
                <a:cubicBezTo>
                  <a:pt x="3" y="77"/>
                  <a:pt x="3" y="77"/>
                  <a:pt x="3" y="78"/>
                </a:cubicBezTo>
                <a:cubicBezTo>
                  <a:pt x="4" y="79"/>
                  <a:pt x="4" y="80"/>
                  <a:pt x="3" y="81"/>
                </a:cubicBezTo>
                <a:cubicBezTo>
                  <a:pt x="3" y="81"/>
                  <a:pt x="3" y="81"/>
                  <a:pt x="3" y="81"/>
                </a:cubicBezTo>
                <a:cubicBezTo>
                  <a:pt x="3" y="82"/>
                  <a:pt x="3" y="82"/>
                  <a:pt x="3" y="82"/>
                </a:cubicBezTo>
                <a:cubicBezTo>
                  <a:pt x="3" y="83"/>
                  <a:pt x="3" y="83"/>
                  <a:pt x="2" y="84"/>
                </a:cubicBezTo>
                <a:cubicBezTo>
                  <a:pt x="3" y="84"/>
                  <a:pt x="3" y="84"/>
                  <a:pt x="3" y="84"/>
                </a:cubicBezTo>
                <a:cubicBezTo>
                  <a:pt x="3" y="85"/>
                  <a:pt x="3" y="87"/>
                  <a:pt x="3" y="88"/>
                </a:cubicBezTo>
                <a:cubicBezTo>
                  <a:pt x="3" y="89"/>
                  <a:pt x="3" y="91"/>
                  <a:pt x="3" y="92"/>
                </a:cubicBezTo>
                <a:cubicBezTo>
                  <a:pt x="3" y="92"/>
                  <a:pt x="3" y="92"/>
                  <a:pt x="3" y="92"/>
                </a:cubicBezTo>
                <a:cubicBezTo>
                  <a:pt x="5" y="92"/>
                  <a:pt x="5" y="92"/>
                  <a:pt x="5" y="92"/>
                </a:cubicBezTo>
                <a:cubicBezTo>
                  <a:pt x="7" y="91"/>
                  <a:pt x="7" y="91"/>
                  <a:pt x="7" y="91"/>
                </a:cubicBezTo>
                <a:cubicBezTo>
                  <a:pt x="8" y="91"/>
                  <a:pt x="9" y="90"/>
                  <a:pt x="10" y="89"/>
                </a:cubicBezTo>
                <a:cubicBezTo>
                  <a:pt x="12" y="88"/>
                  <a:pt x="13" y="88"/>
                  <a:pt x="14" y="88"/>
                </a:cubicBezTo>
                <a:cubicBezTo>
                  <a:pt x="16" y="88"/>
                  <a:pt x="16" y="88"/>
                  <a:pt x="16" y="88"/>
                </a:cubicBezTo>
                <a:cubicBezTo>
                  <a:pt x="17" y="88"/>
                  <a:pt x="17" y="88"/>
                  <a:pt x="17" y="88"/>
                </a:cubicBezTo>
                <a:cubicBezTo>
                  <a:pt x="20" y="88"/>
                  <a:pt x="20" y="88"/>
                  <a:pt x="20" y="88"/>
                </a:cubicBezTo>
                <a:cubicBezTo>
                  <a:pt x="20" y="89"/>
                  <a:pt x="21" y="89"/>
                  <a:pt x="21" y="90"/>
                </a:cubicBezTo>
                <a:cubicBezTo>
                  <a:pt x="21" y="91"/>
                  <a:pt x="21" y="91"/>
                  <a:pt x="21" y="91"/>
                </a:cubicBezTo>
                <a:cubicBezTo>
                  <a:pt x="19" y="94"/>
                  <a:pt x="19" y="94"/>
                  <a:pt x="19" y="94"/>
                </a:cubicBezTo>
                <a:cubicBezTo>
                  <a:pt x="19" y="94"/>
                  <a:pt x="19" y="94"/>
                  <a:pt x="19" y="94"/>
                </a:cubicBezTo>
                <a:cubicBezTo>
                  <a:pt x="17" y="96"/>
                  <a:pt x="17" y="96"/>
                  <a:pt x="17" y="96"/>
                </a:cubicBezTo>
                <a:cubicBezTo>
                  <a:pt x="16" y="97"/>
                  <a:pt x="16" y="98"/>
                  <a:pt x="15" y="98"/>
                </a:cubicBezTo>
                <a:cubicBezTo>
                  <a:pt x="15" y="98"/>
                  <a:pt x="15" y="98"/>
                  <a:pt x="15" y="99"/>
                </a:cubicBezTo>
                <a:cubicBezTo>
                  <a:pt x="13" y="99"/>
                  <a:pt x="13" y="99"/>
                  <a:pt x="13" y="99"/>
                </a:cubicBezTo>
                <a:cubicBezTo>
                  <a:pt x="13" y="103"/>
                  <a:pt x="13" y="103"/>
                  <a:pt x="13" y="103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4"/>
                  <a:pt x="15" y="104"/>
                  <a:pt x="15" y="105"/>
                </a:cubicBezTo>
                <a:cubicBezTo>
                  <a:pt x="15" y="105"/>
                  <a:pt x="16" y="106"/>
                  <a:pt x="18" y="108"/>
                </a:cubicBezTo>
                <a:cubicBezTo>
                  <a:pt x="19" y="108"/>
                  <a:pt x="19" y="108"/>
                  <a:pt x="19" y="108"/>
                </a:cubicBezTo>
                <a:cubicBezTo>
                  <a:pt x="19" y="109"/>
                  <a:pt x="19" y="109"/>
                  <a:pt x="20" y="109"/>
                </a:cubicBezTo>
                <a:cubicBezTo>
                  <a:pt x="21" y="110"/>
                  <a:pt x="21" y="110"/>
                  <a:pt x="21" y="111"/>
                </a:cubicBezTo>
                <a:cubicBezTo>
                  <a:pt x="22" y="111"/>
                  <a:pt x="22" y="111"/>
                  <a:pt x="22" y="111"/>
                </a:cubicBezTo>
                <a:cubicBezTo>
                  <a:pt x="23" y="112"/>
                  <a:pt x="24" y="114"/>
                  <a:pt x="23" y="115"/>
                </a:cubicBezTo>
                <a:cubicBezTo>
                  <a:pt x="23" y="116"/>
                  <a:pt x="23" y="116"/>
                  <a:pt x="23" y="116"/>
                </a:cubicBezTo>
                <a:cubicBezTo>
                  <a:pt x="23" y="118"/>
                  <a:pt x="23" y="118"/>
                  <a:pt x="23" y="118"/>
                </a:cubicBezTo>
                <a:cubicBezTo>
                  <a:pt x="24" y="119"/>
                  <a:pt x="24" y="120"/>
                  <a:pt x="23" y="121"/>
                </a:cubicBezTo>
                <a:cubicBezTo>
                  <a:pt x="23" y="121"/>
                  <a:pt x="23" y="121"/>
                  <a:pt x="23" y="121"/>
                </a:cubicBezTo>
                <a:cubicBezTo>
                  <a:pt x="24" y="122"/>
                  <a:pt x="24" y="122"/>
                  <a:pt x="24" y="122"/>
                </a:cubicBezTo>
                <a:cubicBezTo>
                  <a:pt x="24" y="122"/>
                  <a:pt x="25" y="122"/>
                  <a:pt x="25" y="123"/>
                </a:cubicBezTo>
                <a:cubicBezTo>
                  <a:pt x="27" y="123"/>
                  <a:pt x="28" y="124"/>
                  <a:pt x="29" y="126"/>
                </a:cubicBezTo>
                <a:cubicBezTo>
                  <a:pt x="30" y="125"/>
                  <a:pt x="31" y="125"/>
                  <a:pt x="31" y="125"/>
                </a:cubicBezTo>
                <a:cubicBezTo>
                  <a:pt x="32" y="125"/>
                  <a:pt x="32" y="125"/>
                  <a:pt x="32" y="125"/>
                </a:cubicBezTo>
                <a:cubicBezTo>
                  <a:pt x="33" y="125"/>
                  <a:pt x="34" y="125"/>
                  <a:pt x="35" y="125"/>
                </a:cubicBezTo>
                <a:cubicBezTo>
                  <a:pt x="37" y="123"/>
                  <a:pt x="37" y="123"/>
                  <a:pt x="37" y="123"/>
                </a:cubicBezTo>
                <a:cubicBezTo>
                  <a:pt x="38" y="122"/>
                  <a:pt x="38" y="122"/>
                  <a:pt x="38" y="122"/>
                </a:cubicBezTo>
                <a:cubicBezTo>
                  <a:pt x="39" y="121"/>
                  <a:pt x="40" y="120"/>
                  <a:pt x="41" y="120"/>
                </a:cubicBezTo>
                <a:cubicBezTo>
                  <a:pt x="42" y="120"/>
                  <a:pt x="42" y="120"/>
                  <a:pt x="42" y="120"/>
                </a:cubicBezTo>
                <a:cubicBezTo>
                  <a:pt x="45" y="117"/>
                  <a:pt x="45" y="117"/>
                  <a:pt x="45" y="117"/>
                </a:cubicBezTo>
                <a:cubicBezTo>
                  <a:pt x="46" y="117"/>
                  <a:pt x="46" y="117"/>
                  <a:pt x="46" y="116"/>
                </a:cubicBezTo>
                <a:cubicBezTo>
                  <a:pt x="46" y="116"/>
                  <a:pt x="46" y="116"/>
                  <a:pt x="46" y="116"/>
                </a:cubicBezTo>
                <a:cubicBezTo>
                  <a:pt x="46" y="115"/>
                  <a:pt x="46" y="114"/>
                  <a:pt x="46" y="114"/>
                </a:cubicBezTo>
                <a:cubicBezTo>
                  <a:pt x="46" y="112"/>
                  <a:pt x="46" y="112"/>
                  <a:pt x="46" y="112"/>
                </a:cubicBezTo>
                <a:cubicBezTo>
                  <a:pt x="46" y="111"/>
                  <a:pt x="47" y="110"/>
                  <a:pt x="48" y="110"/>
                </a:cubicBezTo>
                <a:cubicBezTo>
                  <a:pt x="48" y="110"/>
                  <a:pt x="51" y="110"/>
                  <a:pt x="54" y="112"/>
                </a:cubicBezTo>
                <a:cubicBezTo>
                  <a:pt x="55" y="112"/>
                  <a:pt x="55" y="112"/>
                  <a:pt x="55" y="112"/>
                </a:cubicBezTo>
                <a:cubicBezTo>
                  <a:pt x="56" y="113"/>
                  <a:pt x="56" y="113"/>
                  <a:pt x="56" y="113"/>
                </a:cubicBezTo>
                <a:cubicBezTo>
                  <a:pt x="58" y="114"/>
                  <a:pt x="59" y="115"/>
                  <a:pt x="59" y="116"/>
                </a:cubicBezTo>
                <a:cubicBezTo>
                  <a:pt x="59" y="116"/>
                  <a:pt x="59" y="116"/>
                  <a:pt x="59" y="116"/>
                </a:cubicBezTo>
                <a:cubicBezTo>
                  <a:pt x="60" y="116"/>
                  <a:pt x="60" y="116"/>
                  <a:pt x="60" y="116"/>
                </a:cubicBezTo>
                <a:cubicBezTo>
                  <a:pt x="60" y="113"/>
                  <a:pt x="60" y="113"/>
                  <a:pt x="60" y="113"/>
                </a:cubicBezTo>
                <a:cubicBezTo>
                  <a:pt x="67" y="113"/>
                  <a:pt x="67" y="113"/>
                  <a:pt x="67" y="113"/>
                </a:cubicBezTo>
                <a:cubicBezTo>
                  <a:pt x="68" y="113"/>
                  <a:pt x="69" y="112"/>
                  <a:pt x="70" y="111"/>
                </a:cubicBezTo>
                <a:cubicBezTo>
                  <a:pt x="70" y="111"/>
                  <a:pt x="70" y="111"/>
                  <a:pt x="70" y="111"/>
                </a:cubicBezTo>
                <a:cubicBezTo>
                  <a:pt x="71" y="110"/>
                  <a:pt x="71" y="110"/>
                  <a:pt x="71" y="110"/>
                </a:cubicBezTo>
                <a:cubicBezTo>
                  <a:pt x="72" y="109"/>
                  <a:pt x="74" y="108"/>
                  <a:pt x="74" y="108"/>
                </a:cubicBezTo>
                <a:cubicBezTo>
                  <a:pt x="75" y="108"/>
                  <a:pt x="75" y="108"/>
                  <a:pt x="75" y="108"/>
                </a:cubicBezTo>
                <a:cubicBezTo>
                  <a:pt x="79" y="108"/>
                  <a:pt x="79" y="108"/>
                  <a:pt x="79" y="108"/>
                </a:cubicBezTo>
                <a:cubicBezTo>
                  <a:pt x="80" y="107"/>
                  <a:pt x="80" y="106"/>
                  <a:pt x="81" y="105"/>
                </a:cubicBezTo>
                <a:cubicBezTo>
                  <a:pt x="81" y="104"/>
                  <a:pt x="82" y="104"/>
                  <a:pt x="82" y="104"/>
                </a:cubicBezTo>
                <a:cubicBezTo>
                  <a:pt x="84" y="103"/>
                  <a:pt x="84" y="103"/>
                  <a:pt x="84" y="103"/>
                </a:cubicBezTo>
                <a:cubicBezTo>
                  <a:pt x="84" y="103"/>
                  <a:pt x="84" y="103"/>
                  <a:pt x="85" y="103"/>
                </a:cubicBezTo>
                <a:cubicBezTo>
                  <a:pt x="89" y="104"/>
                  <a:pt x="89" y="104"/>
                  <a:pt x="89" y="104"/>
                </a:cubicBezTo>
                <a:cubicBezTo>
                  <a:pt x="89" y="104"/>
                  <a:pt x="89" y="104"/>
                  <a:pt x="90" y="104"/>
                </a:cubicBezTo>
                <a:cubicBezTo>
                  <a:pt x="90" y="103"/>
                  <a:pt x="92" y="102"/>
                  <a:pt x="93" y="102"/>
                </a:cubicBezTo>
                <a:cubicBezTo>
                  <a:pt x="94" y="102"/>
                  <a:pt x="94" y="102"/>
                  <a:pt x="94" y="102"/>
                </a:cubicBezTo>
                <a:cubicBezTo>
                  <a:pt x="95" y="101"/>
                  <a:pt x="96" y="101"/>
                  <a:pt x="97" y="102"/>
                </a:cubicBezTo>
                <a:cubicBezTo>
                  <a:pt x="97" y="102"/>
                  <a:pt x="97" y="102"/>
                  <a:pt x="98" y="102"/>
                </a:cubicBezTo>
                <a:cubicBezTo>
                  <a:pt x="98" y="102"/>
                  <a:pt x="99" y="102"/>
                  <a:pt x="100" y="102"/>
                </a:cubicBezTo>
                <a:cubicBezTo>
                  <a:pt x="103" y="102"/>
                  <a:pt x="103" y="102"/>
                  <a:pt x="103" y="102"/>
                </a:cubicBezTo>
                <a:cubicBezTo>
                  <a:pt x="103" y="102"/>
                  <a:pt x="104" y="101"/>
                  <a:pt x="105" y="100"/>
                </a:cubicBezTo>
                <a:cubicBezTo>
                  <a:pt x="105" y="100"/>
                  <a:pt x="105" y="100"/>
                  <a:pt x="106" y="99"/>
                </a:cubicBezTo>
                <a:cubicBezTo>
                  <a:pt x="108" y="98"/>
                  <a:pt x="108" y="98"/>
                  <a:pt x="108" y="98"/>
                </a:cubicBezTo>
                <a:lnTo>
                  <a:pt x="110" y="9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Freeform 43">
            <a:extLst>
              <a:ext uri="{FF2B5EF4-FFF2-40B4-BE49-F238E27FC236}">
                <a16:creationId xmlns:a16="http://schemas.microsoft.com/office/drawing/2014/main" id="{0DDD23B4-5E30-4B68-B3DA-FFE4DCD6BBAD}"/>
              </a:ext>
            </a:extLst>
          </p:cNvPr>
          <p:cNvSpPr>
            <a:spLocks/>
          </p:cNvSpPr>
          <p:nvPr/>
        </p:nvSpPr>
        <p:spPr bwMode="auto">
          <a:xfrm>
            <a:off x="5728110" y="4409604"/>
            <a:ext cx="300964" cy="260350"/>
          </a:xfrm>
          <a:custGeom>
            <a:avLst/>
            <a:gdLst>
              <a:gd name="T0" fmla="*/ 97 w 125"/>
              <a:gd name="T1" fmla="*/ 7 h 117"/>
              <a:gd name="T2" fmla="*/ 89 w 125"/>
              <a:gd name="T3" fmla="*/ 13 h 117"/>
              <a:gd name="T4" fmla="*/ 84 w 125"/>
              <a:gd name="T5" fmla="*/ 16 h 117"/>
              <a:gd name="T6" fmla="*/ 77 w 125"/>
              <a:gd name="T7" fmla="*/ 17 h 117"/>
              <a:gd name="T8" fmla="*/ 70 w 125"/>
              <a:gd name="T9" fmla="*/ 15 h 117"/>
              <a:gd name="T10" fmla="*/ 61 w 125"/>
              <a:gd name="T11" fmla="*/ 20 h 117"/>
              <a:gd name="T12" fmla="*/ 51 w 125"/>
              <a:gd name="T13" fmla="*/ 21 h 117"/>
              <a:gd name="T14" fmla="*/ 44 w 125"/>
              <a:gd name="T15" fmla="*/ 20 h 117"/>
              <a:gd name="T16" fmla="*/ 40 w 125"/>
              <a:gd name="T17" fmla="*/ 21 h 117"/>
              <a:gd name="T18" fmla="*/ 35 w 125"/>
              <a:gd name="T19" fmla="*/ 24 h 117"/>
              <a:gd name="T20" fmla="*/ 30 w 125"/>
              <a:gd name="T21" fmla="*/ 26 h 117"/>
              <a:gd name="T22" fmla="*/ 27 w 125"/>
              <a:gd name="T23" fmla="*/ 33 h 117"/>
              <a:gd name="T24" fmla="*/ 24 w 125"/>
              <a:gd name="T25" fmla="*/ 36 h 117"/>
              <a:gd name="T26" fmla="*/ 20 w 125"/>
              <a:gd name="T27" fmla="*/ 40 h 117"/>
              <a:gd name="T28" fmla="*/ 16 w 125"/>
              <a:gd name="T29" fmla="*/ 45 h 117"/>
              <a:gd name="T30" fmla="*/ 5 w 125"/>
              <a:gd name="T31" fmla="*/ 45 h 117"/>
              <a:gd name="T32" fmla="*/ 4 w 125"/>
              <a:gd name="T33" fmla="*/ 46 h 117"/>
              <a:gd name="T34" fmla="*/ 4 w 125"/>
              <a:gd name="T35" fmla="*/ 48 h 117"/>
              <a:gd name="T36" fmla="*/ 7 w 125"/>
              <a:gd name="T37" fmla="*/ 55 h 117"/>
              <a:gd name="T38" fmla="*/ 0 w 125"/>
              <a:gd name="T39" fmla="*/ 59 h 117"/>
              <a:gd name="T40" fmla="*/ 6 w 125"/>
              <a:gd name="T41" fmla="*/ 67 h 117"/>
              <a:gd name="T42" fmla="*/ 10 w 125"/>
              <a:gd name="T43" fmla="*/ 72 h 117"/>
              <a:gd name="T44" fmla="*/ 10 w 125"/>
              <a:gd name="T45" fmla="*/ 78 h 117"/>
              <a:gd name="T46" fmla="*/ 7 w 125"/>
              <a:gd name="T47" fmla="*/ 81 h 117"/>
              <a:gd name="T48" fmla="*/ 8 w 125"/>
              <a:gd name="T49" fmla="*/ 86 h 117"/>
              <a:gd name="T50" fmla="*/ 8 w 125"/>
              <a:gd name="T51" fmla="*/ 87 h 117"/>
              <a:gd name="T52" fmla="*/ 14 w 125"/>
              <a:gd name="T53" fmla="*/ 92 h 117"/>
              <a:gd name="T54" fmla="*/ 18 w 125"/>
              <a:gd name="T55" fmla="*/ 96 h 117"/>
              <a:gd name="T56" fmla="*/ 25 w 125"/>
              <a:gd name="T57" fmla="*/ 99 h 117"/>
              <a:gd name="T58" fmla="*/ 29 w 125"/>
              <a:gd name="T59" fmla="*/ 101 h 117"/>
              <a:gd name="T60" fmla="*/ 34 w 125"/>
              <a:gd name="T61" fmla="*/ 104 h 117"/>
              <a:gd name="T62" fmla="*/ 40 w 125"/>
              <a:gd name="T63" fmla="*/ 110 h 117"/>
              <a:gd name="T64" fmla="*/ 43 w 125"/>
              <a:gd name="T65" fmla="*/ 110 h 117"/>
              <a:gd name="T66" fmla="*/ 48 w 125"/>
              <a:gd name="T67" fmla="*/ 116 h 117"/>
              <a:gd name="T68" fmla="*/ 52 w 125"/>
              <a:gd name="T69" fmla="*/ 117 h 117"/>
              <a:gd name="T70" fmla="*/ 59 w 125"/>
              <a:gd name="T71" fmla="*/ 110 h 117"/>
              <a:gd name="T72" fmla="*/ 67 w 125"/>
              <a:gd name="T73" fmla="*/ 110 h 117"/>
              <a:gd name="T74" fmla="*/ 72 w 125"/>
              <a:gd name="T75" fmla="*/ 113 h 117"/>
              <a:gd name="T76" fmla="*/ 77 w 125"/>
              <a:gd name="T77" fmla="*/ 114 h 117"/>
              <a:gd name="T78" fmla="*/ 74 w 125"/>
              <a:gd name="T79" fmla="*/ 110 h 117"/>
              <a:gd name="T80" fmla="*/ 80 w 125"/>
              <a:gd name="T81" fmla="*/ 105 h 117"/>
              <a:gd name="T82" fmla="*/ 83 w 125"/>
              <a:gd name="T83" fmla="*/ 103 h 117"/>
              <a:gd name="T84" fmla="*/ 95 w 125"/>
              <a:gd name="T85" fmla="*/ 94 h 117"/>
              <a:gd name="T86" fmla="*/ 106 w 125"/>
              <a:gd name="T87" fmla="*/ 88 h 117"/>
              <a:gd name="T88" fmla="*/ 114 w 125"/>
              <a:gd name="T89" fmla="*/ 91 h 117"/>
              <a:gd name="T90" fmla="*/ 123 w 125"/>
              <a:gd name="T91" fmla="*/ 94 h 117"/>
              <a:gd name="T92" fmla="*/ 124 w 125"/>
              <a:gd name="T93" fmla="*/ 90 h 117"/>
              <a:gd name="T94" fmla="*/ 119 w 125"/>
              <a:gd name="T95" fmla="*/ 90 h 117"/>
              <a:gd name="T96" fmla="*/ 113 w 125"/>
              <a:gd name="T97" fmla="*/ 85 h 117"/>
              <a:gd name="T98" fmla="*/ 112 w 125"/>
              <a:gd name="T99" fmla="*/ 69 h 117"/>
              <a:gd name="T100" fmla="*/ 107 w 125"/>
              <a:gd name="T101" fmla="*/ 64 h 117"/>
              <a:gd name="T102" fmla="*/ 107 w 125"/>
              <a:gd name="T103" fmla="*/ 53 h 117"/>
              <a:gd name="T104" fmla="*/ 106 w 125"/>
              <a:gd name="T105" fmla="*/ 46 h 117"/>
              <a:gd name="T106" fmla="*/ 102 w 125"/>
              <a:gd name="T107" fmla="*/ 40 h 117"/>
              <a:gd name="T108" fmla="*/ 111 w 125"/>
              <a:gd name="T109" fmla="*/ 35 h 117"/>
              <a:gd name="T110" fmla="*/ 125 w 125"/>
              <a:gd name="T111" fmla="*/ 30 h 117"/>
              <a:gd name="T112" fmla="*/ 123 w 125"/>
              <a:gd name="T113" fmla="*/ 28 h 117"/>
              <a:gd name="T114" fmla="*/ 117 w 125"/>
              <a:gd name="T115" fmla="*/ 24 h 117"/>
              <a:gd name="T116" fmla="*/ 116 w 125"/>
              <a:gd name="T117" fmla="*/ 12 h 117"/>
              <a:gd name="T118" fmla="*/ 112 w 125"/>
              <a:gd name="T119" fmla="*/ 7 h 117"/>
              <a:gd name="T120" fmla="*/ 108 w 125"/>
              <a:gd name="T121" fmla="*/ 1 h 117"/>
              <a:gd name="T122" fmla="*/ 106 w 125"/>
              <a:gd name="T123" fmla="*/ 0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25" h="117">
                <a:moveTo>
                  <a:pt x="97" y="1"/>
                </a:moveTo>
                <a:cubicBezTo>
                  <a:pt x="97" y="3"/>
                  <a:pt x="97" y="3"/>
                  <a:pt x="97" y="3"/>
                </a:cubicBezTo>
                <a:cubicBezTo>
                  <a:pt x="97" y="5"/>
                  <a:pt x="98" y="6"/>
                  <a:pt x="97" y="7"/>
                </a:cubicBezTo>
                <a:cubicBezTo>
                  <a:pt x="96" y="8"/>
                  <a:pt x="94" y="9"/>
                  <a:pt x="93" y="10"/>
                </a:cubicBezTo>
                <a:cubicBezTo>
                  <a:pt x="91" y="12"/>
                  <a:pt x="91" y="12"/>
                  <a:pt x="91" y="12"/>
                </a:cubicBezTo>
                <a:cubicBezTo>
                  <a:pt x="90" y="13"/>
                  <a:pt x="90" y="13"/>
                  <a:pt x="89" y="13"/>
                </a:cubicBezTo>
                <a:cubicBezTo>
                  <a:pt x="89" y="13"/>
                  <a:pt x="86" y="12"/>
                  <a:pt x="84" y="10"/>
                </a:cubicBezTo>
                <a:cubicBezTo>
                  <a:pt x="84" y="11"/>
                  <a:pt x="84" y="11"/>
                  <a:pt x="84" y="11"/>
                </a:cubicBezTo>
                <a:cubicBezTo>
                  <a:pt x="84" y="16"/>
                  <a:pt x="84" y="16"/>
                  <a:pt x="84" y="16"/>
                </a:cubicBezTo>
                <a:cubicBezTo>
                  <a:pt x="84" y="17"/>
                  <a:pt x="83" y="18"/>
                  <a:pt x="82" y="18"/>
                </a:cubicBezTo>
                <a:cubicBezTo>
                  <a:pt x="79" y="18"/>
                  <a:pt x="79" y="18"/>
                  <a:pt x="79" y="18"/>
                </a:cubicBezTo>
                <a:cubicBezTo>
                  <a:pt x="78" y="18"/>
                  <a:pt x="77" y="18"/>
                  <a:pt x="77" y="17"/>
                </a:cubicBezTo>
                <a:cubicBezTo>
                  <a:pt x="76" y="15"/>
                  <a:pt x="76" y="15"/>
                  <a:pt x="76" y="15"/>
                </a:cubicBezTo>
                <a:cubicBezTo>
                  <a:pt x="72" y="15"/>
                  <a:pt x="72" y="15"/>
                  <a:pt x="72" y="15"/>
                </a:cubicBezTo>
                <a:cubicBezTo>
                  <a:pt x="70" y="15"/>
                  <a:pt x="70" y="15"/>
                  <a:pt x="70" y="15"/>
                </a:cubicBezTo>
                <a:cubicBezTo>
                  <a:pt x="68" y="16"/>
                  <a:pt x="67" y="16"/>
                  <a:pt x="66" y="16"/>
                </a:cubicBezTo>
                <a:cubicBezTo>
                  <a:pt x="62" y="19"/>
                  <a:pt x="62" y="19"/>
                  <a:pt x="62" y="19"/>
                </a:cubicBezTo>
                <a:cubicBezTo>
                  <a:pt x="61" y="20"/>
                  <a:pt x="61" y="20"/>
                  <a:pt x="61" y="20"/>
                </a:cubicBezTo>
                <a:cubicBezTo>
                  <a:pt x="56" y="20"/>
                  <a:pt x="56" y="20"/>
                  <a:pt x="56" y="20"/>
                </a:cubicBezTo>
                <a:cubicBezTo>
                  <a:pt x="52" y="21"/>
                  <a:pt x="52" y="21"/>
                  <a:pt x="52" y="21"/>
                </a:cubicBezTo>
                <a:cubicBezTo>
                  <a:pt x="51" y="21"/>
                  <a:pt x="51" y="21"/>
                  <a:pt x="51" y="21"/>
                </a:cubicBezTo>
                <a:cubicBezTo>
                  <a:pt x="51" y="21"/>
                  <a:pt x="51" y="21"/>
                  <a:pt x="50" y="21"/>
                </a:cubicBezTo>
                <a:cubicBezTo>
                  <a:pt x="47" y="20"/>
                  <a:pt x="47" y="20"/>
                  <a:pt x="47" y="20"/>
                </a:cubicBezTo>
                <a:cubicBezTo>
                  <a:pt x="44" y="20"/>
                  <a:pt x="44" y="20"/>
                  <a:pt x="44" y="20"/>
                </a:cubicBezTo>
                <a:cubicBezTo>
                  <a:pt x="44" y="20"/>
                  <a:pt x="43" y="21"/>
                  <a:pt x="42" y="21"/>
                </a:cubicBezTo>
                <a:cubicBezTo>
                  <a:pt x="40" y="21"/>
                  <a:pt x="40" y="21"/>
                  <a:pt x="40" y="21"/>
                </a:cubicBezTo>
                <a:cubicBezTo>
                  <a:pt x="40" y="21"/>
                  <a:pt x="40" y="21"/>
                  <a:pt x="40" y="21"/>
                </a:cubicBezTo>
                <a:cubicBezTo>
                  <a:pt x="39" y="22"/>
                  <a:pt x="38" y="22"/>
                  <a:pt x="38" y="22"/>
                </a:cubicBezTo>
                <a:cubicBezTo>
                  <a:pt x="36" y="23"/>
                  <a:pt x="36" y="23"/>
                  <a:pt x="36" y="23"/>
                </a:cubicBezTo>
                <a:cubicBezTo>
                  <a:pt x="36" y="23"/>
                  <a:pt x="36" y="24"/>
                  <a:pt x="35" y="24"/>
                </a:cubicBezTo>
                <a:cubicBezTo>
                  <a:pt x="34" y="24"/>
                  <a:pt x="34" y="24"/>
                  <a:pt x="34" y="24"/>
                </a:cubicBezTo>
                <a:cubicBezTo>
                  <a:pt x="34" y="24"/>
                  <a:pt x="34" y="24"/>
                  <a:pt x="34" y="24"/>
                </a:cubicBezTo>
                <a:cubicBezTo>
                  <a:pt x="33" y="25"/>
                  <a:pt x="31" y="25"/>
                  <a:pt x="30" y="26"/>
                </a:cubicBezTo>
                <a:cubicBezTo>
                  <a:pt x="30" y="31"/>
                  <a:pt x="30" y="31"/>
                  <a:pt x="30" y="31"/>
                </a:cubicBezTo>
                <a:cubicBezTo>
                  <a:pt x="30" y="32"/>
                  <a:pt x="30" y="33"/>
                  <a:pt x="28" y="33"/>
                </a:cubicBezTo>
                <a:cubicBezTo>
                  <a:pt x="28" y="34"/>
                  <a:pt x="27" y="33"/>
                  <a:pt x="27" y="33"/>
                </a:cubicBezTo>
                <a:cubicBezTo>
                  <a:pt x="26" y="33"/>
                  <a:pt x="26" y="34"/>
                  <a:pt x="26" y="34"/>
                </a:cubicBezTo>
                <a:cubicBezTo>
                  <a:pt x="26" y="34"/>
                  <a:pt x="26" y="34"/>
                  <a:pt x="26" y="34"/>
                </a:cubicBezTo>
                <a:cubicBezTo>
                  <a:pt x="26" y="35"/>
                  <a:pt x="25" y="36"/>
                  <a:pt x="24" y="36"/>
                </a:cubicBezTo>
                <a:cubicBezTo>
                  <a:pt x="23" y="37"/>
                  <a:pt x="23" y="37"/>
                  <a:pt x="23" y="37"/>
                </a:cubicBezTo>
                <a:cubicBezTo>
                  <a:pt x="20" y="39"/>
                  <a:pt x="20" y="39"/>
                  <a:pt x="20" y="39"/>
                </a:cubicBezTo>
                <a:cubicBezTo>
                  <a:pt x="20" y="40"/>
                  <a:pt x="20" y="40"/>
                  <a:pt x="20" y="40"/>
                </a:cubicBezTo>
                <a:cubicBezTo>
                  <a:pt x="20" y="41"/>
                  <a:pt x="19" y="41"/>
                  <a:pt x="19" y="42"/>
                </a:cubicBezTo>
                <a:cubicBezTo>
                  <a:pt x="18" y="44"/>
                  <a:pt x="18" y="44"/>
                  <a:pt x="18" y="44"/>
                </a:cubicBezTo>
                <a:cubicBezTo>
                  <a:pt x="17" y="44"/>
                  <a:pt x="17" y="45"/>
                  <a:pt x="16" y="45"/>
                </a:cubicBezTo>
                <a:cubicBezTo>
                  <a:pt x="13" y="45"/>
                  <a:pt x="13" y="45"/>
                  <a:pt x="13" y="45"/>
                </a:cubicBezTo>
                <a:cubicBezTo>
                  <a:pt x="5" y="45"/>
                  <a:pt x="5" y="45"/>
                  <a:pt x="5" y="45"/>
                </a:cubicBezTo>
                <a:cubicBezTo>
                  <a:pt x="5" y="45"/>
                  <a:pt x="5" y="45"/>
                  <a:pt x="5" y="45"/>
                </a:cubicBezTo>
                <a:cubicBezTo>
                  <a:pt x="5" y="45"/>
                  <a:pt x="5" y="45"/>
                  <a:pt x="5" y="45"/>
                </a:cubicBezTo>
                <a:cubicBezTo>
                  <a:pt x="5" y="45"/>
                  <a:pt x="5" y="45"/>
                  <a:pt x="5" y="45"/>
                </a:cubicBezTo>
                <a:cubicBezTo>
                  <a:pt x="4" y="46"/>
                  <a:pt x="4" y="46"/>
                  <a:pt x="4" y="46"/>
                </a:cubicBezTo>
                <a:cubicBezTo>
                  <a:pt x="3" y="47"/>
                  <a:pt x="3" y="47"/>
                  <a:pt x="3" y="47"/>
                </a:cubicBezTo>
                <a:cubicBezTo>
                  <a:pt x="4" y="47"/>
                  <a:pt x="4" y="47"/>
                  <a:pt x="4" y="47"/>
                </a:cubicBezTo>
                <a:cubicBezTo>
                  <a:pt x="4" y="48"/>
                  <a:pt x="4" y="48"/>
                  <a:pt x="4" y="48"/>
                </a:cubicBezTo>
                <a:cubicBezTo>
                  <a:pt x="4" y="48"/>
                  <a:pt x="4" y="48"/>
                  <a:pt x="4" y="48"/>
                </a:cubicBezTo>
                <a:cubicBezTo>
                  <a:pt x="4" y="48"/>
                  <a:pt x="4" y="49"/>
                  <a:pt x="5" y="51"/>
                </a:cubicBezTo>
                <a:cubicBezTo>
                  <a:pt x="7" y="52"/>
                  <a:pt x="7" y="54"/>
                  <a:pt x="7" y="55"/>
                </a:cubicBezTo>
                <a:cubicBezTo>
                  <a:pt x="6" y="56"/>
                  <a:pt x="5" y="57"/>
                  <a:pt x="4" y="57"/>
                </a:cubicBezTo>
                <a:cubicBezTo>
                  <a:pt x="0" y="59"/>
                  <a:pt x="0" y="59"/>
                  <a:pt x="0" y="59"/>
                </a:cubicBezTo>
                <a:cubicBezTo>
                  <a:pt x="0" y="59"/>
                  <a:pt x="0" y="59"/>
                  <a:pt x="0" y="59"/>
                </a:cubicBezTo>
                <a:cubicBezTo>
                  <a:pt x="0" y="59"/>
                  <a:pt x="0" y="59"/>
                  <a:pt x="0" y="59"/>
                </a:cubicBezTo>
                <a:cubicBezTo>
                  <a:pt x="1" y="59"/>
                  <a:pt x="1" y="59"/>
                  <a:pt x="1" y="59"/>
                </a:cubicBezTo>
                <a:cubicBezTo>
                  <a:pt x="6" y="67"/>
                  <a:pt x="6" y="67"/>
                  <a:pt x="6" y="67"/>
                </a:cubicBezTo>
                <a:cubicBezTo>
                  <a:pt x="7" y="68"/>
                  <a:pt x="7" y="68"/>
                  <a:pt x="8" y="68"/>
                </a:cubicBezTo>
                <a:cubicBezTo>
                  <a:pt x="10" y="71"/>
                  <a:pt x="10" y="71"/>
                  <a:pt x="10" y="71"/>
                </a:cubicBezTo>
                <a:cubicBezTo>
                  <a:pt x="10" y="71"/>
                  <a:pt x="10" y="71"/>
                  <a:pt x="10" y="72"/>
                </a:cubicBezTo>
                <a:cubicBezTo>
                  <a:pt x="11" y="75"/>
                  <a:pt x="11" y="75"/>
                  <a:pt x="11" y="75"/>
                </a:cubicBezTo>
                <a:cubicBezTo>
                  <a:pt x="11" y="75"/>
                  <a:pt x="11" y="75"/>
                  <a:pt x="11" y="76"/>
                </a:cubicBezTo>
                <a:cubicBezTo>
                  <a:pt x="10" y="78"/>
                  <a:pt x="10" y="78"/>
                  <a:pt x="10" y="78"/>
                </a:cubicBezTo>
                <a:cubicBezTo>
                  <a:pt x="10" y="78"/>
                  <a:pt x="10" y="79"/>
                  <a:pt x="9" y="79"/>
                </a:cubicBezTo>
                <a:cubicBezTo>
                  <a:pt x="8" y="80"/>
                  <a:pt x="8" y="80"/>
                  <a:pt x="8" y="80"/>
                </a:cubicBezTo>
                <a:cubicBezTo>
                  <a:pt x="7" y="81"/>
                  <a:pt x="7" y="81"/>
                  <a:pt x="7" y="81"/>
                </a:cubicBezTo>
                <a:cubicBezTo>
                  <a:pt x="7" y="81"/>
                  <a:pt x="7" y="82"/>
                  <a:pt x="7" y="83"/>
                </a:cubicBezTo>
                <a:cubicBezTo>
                  <a:pt x="8" y="84"/>
                  <a:pt x="8" y="85"/>
                  <a:pt x="8" y="86"/>
                </a:cubicBezTo>
                <a:cubicBezTo>
                  <a:pt x="8" y="86"/>
                  <a:pt x="8" y="86"/>
                  <a:pt x="8" y="86"/>
                </a:cubicBezTo>
                <a:cubicBezTo>
                  <a:pt x="8" y="86"/>
                  <a:pt x="8" y="86"/>
                  <a:pt x="8" y="86"/>
                </a:cubicBezTo>
                <a:cubicBezTo>
                  <a:pt x="8" y="87"/>
                  <a:pt x="8" y="87"/>
                  <a:pt x="8" y="87"/>
                </a:cubicBezTo>
                <a:cubicBezTo>
                  <a:pt x="8" y="87"/>
                  <a:pt x="8" y="87"/>
                  <a:pt x="8" y="87"/>
                </a:cubicBezTo>
                <a:cubicBezTo>
                  <a:pt x="9" y="88"/>
                  <a:pt x="10" y="89"/>
                  <a:pt x="12" y="91"/>
                </a:cubicBezTo>
                <a:cubicBezTo>
                  <a:pt x="12" y="91"/>
                  <a:pt x="12" y="91"/>
                  <a:pt x="12" y="91"/>
                </a:cubicBezTo>
                <a:cubicBezTo>
                  <a:pt x="13" y="91"/>
                  <a:pt x="14" y="91"/>
                  <a:pt x="14" y="92"/>
                </a:cubicBezTo>
                <a:cubicBezTo>
                  <a:pt x="15" y="95"/>
                  <a:pt x="15" y="95"/>
                  <a:pt x="15" y="95"/>
                </a:cubicBezTo>
                <a:cubicBezTo>
                  <a:pt x="16" y="95"/>
                  <a:pt x="16" y="95"/>
                  <a:pt x="17" y="95"/>
                </a:cubicBezTo>
                <a:cubicBezTo>
                  <a:pt x="17" y="96"/>
                  <a:pt x="18" y="96"/>
                  <a:pt x="18" y="96"/>
                </a:cubicBezTo>
                <a:cubicBezTo>
                  <a:pt x="18" y="96"/>
                  <a:pt x="18" y="96"/>
                  <a:pt x="18" y="96"/>
                </a:cubicBezTo>
                <a:cubicBezTo>
                  <a:pt x="19" y="96"/>
                  <a:pt x="20" y="98"/>
                  <a:pt x="21" y="99"/>
                </a:cubicBezTo>
                <a:cubicBezTo>
                  <a:pt x="25" y="99"/>
                  <a:pt x="25" y="99"/>
                  <a:pt x="25" y="99"/>
                </a:cubicBezTo>
                <a:cubicBezTo>
                  <a:pt x="26" y="99"/>
                  <a:pt x="26" y="99"/>
                  <a:pt x="26" y="99"/>
                </a:cubicBezTo>
                <a:cubicBezTo>
                  <a:pt x="28" y="100"/>
                  <a:pt x="28" y="100"/>
                  <a:pt x="28" y="100"/>
                </a:cubicBezTo>
                <a:cubicBezTo>
                  <a:pt x="28" y="101"/>
                  <a:pt x="28" y="101"/>
                  <a:pt x="29" y="101"/>
                </a:cubicBezTo>
                <a:cubicBezTo>
                  <a:pt x="30" y="102"/>
                  <a:pt x="31" y="102"/>
                  <a:pt x="32" y="103"/>
                </a:cubicBezTo>
                <a:cubicBezTo>
                  <a:pt x="32" y="103"/>
                  <a:pt x="32" y="103"/>
                  <a:pt x="32" y="103"/>
                </a:cubicBezTo>
                <a:cubicBezTo>
                  <a:pt x="33" y="103"/>
                  <a:pt x="34" y="103"/>
                  <a:pt x="34" y="104"/>
                </a:cubicBezTo>
                <a:cubicBezTo>
                  <a:pt x="37" y="107"/>
                  <a:pt x="37" y="107"/>
                  <a:pt x="37" y="107"/>
                </a:cubicBezTo>
                <a:cubicBezTo>
                  <a:pt x="38" y="107"/>
                  <a:pt x="38" y="108"/>
                  <a:pt x="38" y="109"/>
                </a:cubicBezTo>
                <a:cubicBezTo>
                  <a:pt x="39" y="109"/>
                  <a:pt x="39" y="109"/>
                  <a:pt x="40" y="110"/>
                </a:cubicBezTo>
                <a:cubicBezTo>
                  <a:pt x="40" y="110"/>
                  <a:pt x="40" y="110"/>
                  <a:pt x="40" y="110"/>
                </a:cubicBezTo>
                <a:cubicBezTo>
                  <a:pt x="41" y="111"/>
                  <a:pt x="42" y="110"/>
                  <a:pt x="42" y="110"/>
                </a:cubicBezTo>
                <a:cubicBezTo>
                  <a:pt x="43" y="110"/>
                  <a:pt x="43" y="110"/>
                  <a:pt x="43" y="110"/>
                </a:cubicBezTo>
                <a:cubicBezTo>
                  <a:pt x="44" y="110"/>
                  <a:pt x="44" y="110"/>
                  <a:pt x="44" y="110"/>
                </a:cubicBezTo>
                <a:cubicBezTo>
                  <a:pt x="45" y="110"/>
                  <a:pt x="45" y="111"/>
                  <a:pt x="46" y="111"/>
                </a:cubicBezTo>
                <a:cubicBezTo>
                  <a:pt x="48" y="116"/>
                  <a:pt x="48" y="116"/>
                  <a:pt x="48" y="116"/>
                </a:cubicBezTo>
                <a:cubicBezTo>
                  <a:pt x="50" y="116"/>
                  <a:pt x="50" y="116"/>
                  <a:pt x="50" y="116"/>
                </a:cubicBezTo>
                <a:cubicBezTo>
                  <a:pt x="51" y="116"/>
                  <a:pt x="51" y="116"/>
                  <a:pt x="51" y="116"/>
                </a:cubicBezTo>
                <a:cubicBezTo>
                  <a:pt x="52" y="117"/>
                  <a:pt x="52" y="117"/>
                  <a:pt x="52" y="117"/>
                </a:cubicBezTo>
                <a:cubicBezTo>
                  <a:pt x="52" y="116"/>
                  <a:pt x="53" y="115"/>
                  <a:pt x="54" y="115"/>
                </a:cubicBezTo>
                <a:cubicBezTo>
                  <a:pt x="56" y="115"/>
                  <a:pt x="57" y="113"/>
                  <a:pt x="57" y="112"/>
                </a:cubicBezTo>
                <a:cubicBezTo>
                  <a:pt x="57" y="111"/>
                  <a:pt x="58" y="110"/>
                  <a:pt x="59" y="110"/>
                </a:cubicBezTo>
                <a:cubicBezTo>
                  <a:pt x="60" y="110"/>
                  <a:pt x="61" y="111"/>
                  <a:pt x="62" y="110"/>
                </a:cubicBezTo>
                <a:cubicBezTo>
                  <a:pt x="64" y="110"/>
                  <a:pt x="66" y="110"/>
                  <a:pt x="66" y="110"/>
                </a:cubicBezTo>
                <a:cubicBezTo>
                  <a:pt x="67" y="110"/>
                  <a:pt x="67" y="110"/>
                  <a:pt x="67" y="110"/>
                </a:cubicBezTo>
                <a:cubicBezTo>
                  <a:pt x="68" y="110"/>
                  <a:pt x="68" y="111"/>
                  <a:pt x="68" y="111"/>
                </a:cubicBezTo>
                <a:cubicBezTo>
                  <a:pt x="70" y="113"/>
                  <a:pt x="70" y="113"/>
                  <a:pt x="70" y="113"/>
                </a:cubicBezTo>
                <a:cubicBezTo>
                  <a:pt x="72" y="113"/>
                  <a:pt x="72" y="113"/>
                  <a:pt x="72" y="113"/>
                </a:cubicBezTo>
                <a:cubicBezTo>
                  <a:pt x="73" y="113"/>
                  <a:pt x="73" y="113"/>
                  <a:pt x="73" y="113"/>
                </a:cubicBezTo>
                <a:cubicBezTo>
                  <a:pt x="77" y="115"/>
                  <a:pt x="77" y="115"/>
                  <a:pt x="77" y="115"/>
                </a:cubicBezTo>
                <a:cubicBezTo>
                  <a:pt x="77" y="114"/>
                  <a:pt x="77" y="114"/>
                  <a:pt x="77" y="114"/>
                </a:cubicBezTo>
                <a:cubicBezTo>
                  <a:pt x="76" y="114"/>
                  <a:pt x="76" y="114"/>
                  <a:pt x="76" y="114"/>
                </a:cubicBezTo>
                <a:cubicBezTo>
                  <a:pt x="75" y="114"/>
                  <a:pt x="74" y="113"/>
                  <a:pt x="74" y="112"/>
                </a:cubicBezTo>
                <a:cubicBezTo>
                  <a:pt x="74" y="110"/>
                  <a:pt x="74" y="110"/>
                  <a:pt x="74" y="110"/>
                </a:cubicBezTo>
                <a:cubicBezTo>
                  <a:pt x="74" y="109"/>
                  <a:pt x="74" y="109"/>
                  <a:pt x="74" y="109"/>
                </a:cubicBezTo>
                <a:cubicBezTo>
                  <a:pt x="77" y="106"/>
                  <a:pt x="78" y="105"/>
                  <a:pt x="79" y="105"/>
                </a:cubicBezTo>
                <a:cubicBezTo>
                  <a:pt x="79" y="105"/>
                  <a:pt x="79" y="105"/>
                  <a:pt x="80" y="105"/>
                </a:cubicBezTo>
                <a:cubicBezTo>
                  <a:pt x="80" y="106"/>
                  <a:pt x="80" y="106"/>
                  <a:pt x="80" y="106"/>
                </a:cubicBezTo>
                <a:cubicBezTo>
                  <a:pt x="81" y="105"/>
                  <a:pt x="81" y="104"/>
                  <a:pt x="81" y="104"/>
                </a:cubicBezTo>
                <a:cubicBezTo>
                  <a:pt x="81" y="103"/>
                  <a:pt x="82" y="103"/>
                  <a:pt x="83" y="103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90" y="100"/>
                  <a:pt x="91" y="97"/>
                  <a:pt x="93" y="96"/>
                </a:cubicBezTo>
                <a:cubicBezTo>
                  <a:pt x="94" y="95"/>
                  <a:pt x="95" y="95"/>
                  <a:pt x="95" y="94"/>
                </a:cubicBezTo>
                <a:cubicBezTo>
                  <a:pt x="95" y="93"/>
                  <a:pt x="97" y="89"/>
                  <a:pt x="99" y="88"/>
                </a:cubicBezTo>
                <a:cubicBezTo>
                  <a:pt x="100" y="88"/>
                  <a:pt x="101" y="88"/>
                  <a:pt x="101" y="88"/>
                </a:cubicBezTo>
                <a:cubicBezTo>
                  <a:pt x="102" y="89"/>
                  <a:pt x="105" y="88"/>
                  <a:pt x="106" y="88"/>
                </a:cubicBezTo>
                <a:cubicBezTo>
                  <a:pt x="110" y="88"/>
                  <a:pt x="110" y="88"/>
                  <a:pt x="110" y="88"/>
                </a:cubicBezTo>
                <a:cubicBezTo>
                  <a:pt x="110" y="88"/>
                  <a:pt x="111" y="88"/>
                  <a:pt x="111" y="89"/>
                </a:cubicBezTo>
                <a:cubicBezTo>
                  <a:pt x="114" y="91"/>
                  <a:pt x="114" y="91"/>
                  <a:pt x="114" y="91"/>
                </a:cubicBezTo>
                <a:cubicBezTo>
                  <a:pt x="120" y="93"/>
                  <a:pt x="120" y="93"/>
                  <a:pt x="120" y="93"/>
                </a:cubicBezTo>
                <a:cubicBezTo>
                  <a:pt x="122" y="93"/>
                  <a:pt x="122" y="93"/>
                  <a:pt x="122" y="93"/>
                </a:cubicBezTo>
                <a:cubicBezTo>
                  <a:pt x="122" y="93"/>
                  <a:pt x="123" y="93"/>
                  <a:pt x="123" y="94"/>
                </a:cubicBezTo>
                <a:cubicBezTo>
                  <a:pt x="123" y="93"/>
                  <a:pt x="123" y="93"/>
                  <a:pt x="124" y="93"/>
                </a:cubicBezTo>
                <a:cubicBezTo>
                  <a:pt x="124" y="93"/>
                  <a:pt x="124" y="93"/>
                  <a:pt x="124" y="92"/>
                </a:cubicBezTo>
                <a:cubicBezTo>
                  <a:pt x="124" y="91"/>
                  <a:pt x="124" y="90"/>
                  <a:pt x="124" y="90"/>
                </a:cubicBezTo>
                <a:cubicBezTo>
                  <a:pt x="124" y="90"/>
                  <a:pt x="124" y="90"/>
                  <a:pt x="124" y="90"/>
                </a:cubicBezTo>
                <a:cubicBezTo>
                  <a:pt x="121" y="89"/>
                  <a:pt x="121" y="89"/>
                  <a:pt x="121" y="89"/>
                </a:cubicBezTo>
                <a:cubicBezTo>
                  <a:pt x="121" y="90"/>
                  <a:pt x="120" y="90"/>
                  <a:pt x="119" y="90"/>
                </a:cubicBezTo>
                <a:cubicBezTo>
                  <a:pt x="118" y="90"/>
                  <a:pt x="117" y="89"/>
                  <a:pt x="116" y="88"/>
                </a:cubicBezTo>
                <a:cubicBezTo>
                  <a:pt x="116" y="88"/>
                  <a:pt x="115" y="87"/>
                  <a:pt x="114" y="86"/>
                </a:cubicBezTo>
                <a:cubicBezTo>
                  <a:pt x="114" y="86"/>
                  <a:pt x="114" y="86"/>
                  <a:pt x="113" y="85"/>
                </a:cubicBezTo>
                <a:cubicBezTo>
                  <a:pt x="113" y="81"/>
                  <a:pt x="113" y="81"/>
                  <a:pt x="113" y="81"/>
                </a:cubicBezTo>
                <a:cubicBezTo>
                  <a:pt x="112" y="76"/>
                  <a:pt x="112" y="76"/>
                  <a:pt x="112" y="76"/>
                </a:cubicBezTo>
                <a:cubicBezTo>
                  <a:pt x="112" y="76"/>
                  <a:pt x="112" y="72"/>
                  <a:pt x="112" y="69"/>
                </a:cubicBezTo>
                <a:cubicBezTo>
                  <a:pt x="111" y="70"/>
                  <a:pt x="111" y="70"/>
                  <a:pt x="110" y="70"/>
                </a:cubicBezTo>
                <a:cubicBezTo>
                  <a:pt x="109" y="70"/>
                  <a:pt x="109" y="69"/>
                  <a:pt x="109" y="68"/>
                </a:cubicBezTo>
                <a:cubicBezTo>
                  <a:pt x="107" y="64"/>
                  <a:pt x="107" y="64"/>
                  <a:pt x="107" y="64"/>
                </a:cubicBezTo>
                <a:cubicBezTo>
                  <a:pt x="107" y="64"/>
                  <a:pt x="107" y="64"/>
                  <a:pt x="107" y="63"/>
                </a:cubicBezTo>
                <a:cubicBezTo>
                  <a:pt x="107" y="57"/>
                  <a:pt x="107" y="57"/>
                  <a:pt x="107" y="57"/>
                </a:cubicBezTo>
                <a:cubicBezTo>
                  <a:pt x="107" y="53"/>
                  <a:pt x="107" y="53"/>
                  <a:pt x="107" y="53"/>
                </a:cubicBezTo>
                <a:cubicBezTo>
                  <a:pt x="107" y="53"/>
                  <a:pt x="107" y="53"/>
                  <a:pt x="107" y="52"/>
                </a:cubicBezTo>
                <a:cubicBezTo>
                  <a:pt x="107" y="48"/>
                  <a:pt x="107" y="48"/>
                  <a:pt x="107" y="48"/>
                </a:cubicBezTo>
                <a:cubicBezTo>
                  <a:pt x="106" y="46"/>
                  <a:pt x="106" y="46"/>
                  <a:pt x="106" y="46"/>
                </a:cubicBezTo>
                <a:cubicBezTo>
                  <a:pt x="103" y="44"/>
                  <a:pt x="103" y="44"/>
                  <a:pt x="103" y="44"/>
                </a:cubicBezTo>
                <a:cubicBezTo>
                  <a:pt x="102" y="43"/>
                  <a:pt x="102" y="43"/>
                  <a:pt x="102" y="43"/>
                </a:cubicBezTo>
                <a:cubicBezTo>
                  <a:pt x="102" y="40"/>
                  <a:pt x="102" y="40"/>
                  <a:pt x="102" y="40"/>
                </a:cubicBezTo>
                <a:cubicBezTo>
                  <a:pt x="103" y="39"/>
                  <a:pt x="103" y="39"/>
                  <a:pt x="103" y="39"/>
                </a:cubicBezTo>
                <a:cubicBezTo>
                  <a:pt x="103" y="39"/>
                  <a:pt x="105" y="37"/>
                  <a:pt x="106" y="35"/>
                </a:cubicBezTo>
                <a:cubicBezTo>
                  <a:pt x="108" y="34"/>
                  <a:pt x="110" y="35"/>
                  <a:pt x="111" y="35"/>
                </a:cubicBezTo>
                <a:cubicBezTo>
                  <a:pt x="120" y="35"/>
                  <a:pt x="120" y="35"/>
                  <a:pt x="120" y="35"/>
                </a:cubicBezTo>
                <a:cubicBezTo>
                  <a:pt x="125" y="33"/>
                  <a:pt x="125" y="33"/>
                  <a:pt x="125" y="33"/>
                </a:cubicBezTo>
                <a:cubicBezTo>
                  <a:pt x="124" y="32"/>
                  <a:pt x="124" y="31"/>
                  <a:pt x="125" y="30"/>
                </a:cubicBezTo>
                <a:cubicBezTo>
                  <a:pt x="125" y="30"/>
                  <a:pt x="125" y="30"/>
                  <a:pt x="125" y="29"/>
                </a:cubicBezTo>
                <a:cubicBezTo>
                  <a:pt x="124" y="29"/>
                  <a:pt x="124" y="29"/>
                  <a:pt x="124" y="29"/>
                </a:cubicBezTo>
                <a:cubicBezTo>
                  <a:pt x="124" y="29"/>
                  <a:pt x="123" y="29"/>
                  <a:pt x="123" y="28"/>
                </a:cubicBezTo>
                <a:cubicBezTo>
                  <a:pt x="122" y="28"/>
                  <a:pt x="121" y="28"/>
                  <a:pt x="121" y="28"/>
                </a:cubicBezTo>
                <a:cubicBezTo>
                  <a:pt x="120" y="29"/>
                  <a:pt x="118" y="29"/>
                  <a:pt x="117" y="27"/>
                </a:cubicBezTo>
                <a:cubicBezTo>
                  <a:pt x="117" y="26"/>
                  <a:pt x="117" y="25"/>
                  <a:pt x="117" y="24"/>
                </a:cubicBezTo>
                <a:cubicBezTo>
                  <a:pt x="117" y="21"/>
                  <a:pt x="117" y="21"/>
                  <a:pt x="117" y="21"/>
                </a:cubicBezTo>
                <a:cubicBezTo>
                  <a:pt x="116" y="17"/>
                  <a:pt x="116" y="17"/>
                  <a:pt x="116" y="17"/>
                </a:cubicBezTo>
                <a:cubicBezTo>
                  <a:pt x="116" y="12"/>
                  <a:pt x="116" y="12"/>
                  <a:pt x="116" y="12"/>
                </a:cubicBezTo>
                <a:cubicBezTo>
                  <a:pt x="116" y="9"/>
                  <a:pt x="116" y="9"/>
                  <a:pt x="116" y="9"/>
                </a:cubicBezTo>
                <a:cubicBezTo>
                  <a:pt x="115" y="9"/>
                  <a:pt x="115" y="9"/>
                  <a:pt x="114" y="9"/>
                </a:cubicBezTo>
                <a:cubicBezTo>
                  <a:pt x="112" y="7"/>
                  <a:pt x="112" y="7"/>
                  <a:pt x="112" y="7"/>
                </a:cubicBezTo>
                <a:cubicBezTo>
                  <a:pt x="111" y="7"/>
                  <a:pt x="111" y="7"/>
                  <a:pt x="111" y="7"/>
                </a:cubicBezTo>
                <a:cubicBezTo>
                  <a:pt x="110" y="7"/>
                  <a:pt x="109" y="6"/>
                  <a:pt x="109" y="5"/>
                </a:cubicBezTo>
                <a:cubicBezTo>
                  <a:pt x="108" y="1"/>
                  <a:pt x="108" y="1"/>
                  <a:pt x="108" y="1"/>
                </a:cubicBezTo>
                <a:cubicBezTo>
                  <a:pt x="107" y="0"/>
                  <a:pt x="107" y="0"/>
                  <a:pt x="107" y="0"/>
                </a:cubicBezTo>
                <a:cubicBezTo>
                  <a:pt x="107" y="0"/>
                  <a:pt x="107" y="0"/>
                  <a:pt x="107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05" y="0"/>
                  <a:pt x="105" y="1"/>
                  <a:pt x="104" y="1"/>
                </a:cubicBezTo>
                <a:lnTo>
                  <a:pt x="97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Freeform 44">
            <a:extLst>
              <a:ext uri="{FF2B5EF4-FFF2-40B4-BE49-F238E27FC236}">
                <a16:creationId xmlns:a16="http://schemas.microsoft.com/office/drawing/2014/main" id="{6A7ECA72-6EA3-4638-A7A7-7A0FE01FE1A6}"/>
              </a:ext>
            </a:extLst>
          </p:cNvPr>
          <p:cNvSpPr>
            <a:spLocks/>
          </p:cNvSpPr>
          <p:nvPr/>
        </p:nvSpPr>
        <p:spPr bwMode="auto">
          <a:xfrm>
            <a:off x="5984358" y="4479454"/>
            <a:ext cx="132425" cy="122238"/>
          </a:xfrm>
          <a:custGeom>
            <a:avLst/>
            <a:gdLst>
              <a:gd name="T0" fmla="*/ 4 w 55"/>
              <a:gd name="T1" fmla="*/ 8 h 55"/>
              <a:gd name="T2" fmla="*/ 3 w 55"/>
              <a:gd name="T3" fmla="*/ 8 h 55"/>
              <a:gd name="T4" fmla="*/ 0 w 55"/>
              <a:gd name="T5" fmla="*/ 11 h 55"/>
              <a:gd name="T6" fmla="*/ 3 w 55"/>
              <a:gd name="T7" fmla="*/ 13 h 55"/>
              <a:gd name="T8" fmla="*/ 5 w 55"/>
              <a:gd name="T9" fmla="*/ 17 h 55"/>
              <a:gd name="T10" fmla="*/ 5 w 55"/>
              <a:gd name="T11" fmla="*/ 26 h 55"/>
              <a:gd name="T12" fmla="*/ 5 w 55"/>
              <a:gd name="T13" fmla="*/ 33 h 55"/>
              <a:gd name="T14" fmla="*/ 9 w 55"/>
              <a:gd name="T15" fmla="*/ 36 h 55"/>
              <a:gd name="T16" fmla="*/ 11 w 55"/>
              <a:gd name="T17" fmla="*/ 50 h 55"/>
              <a:gd name="T18" fmla="*/ 13 w 55"/>
              <a:gd name="T19" fmla="*/ 55 h 55"/>
              <a:gd name="T20" fmla="*/ 15 w 55"/>
              <a:gd name="T21" fmla="*/ 54 h 55"/>
              <a:gd name="T22" fmla="*/ 19 w 55"/>
              <a:gd name="T23" fmla="*/ 53 h 55"/>
              <a:gd name="T24" fmla="*/ 22 w 55"/>
              <a:gd name="T25" fmla="*/ 49 h 55"/>
              <a:gd name="T26" fmla="*/ 28 w 55"/>
              <a:gd name="T27" fmla="*/ 44 h 55"/>
              <a:gd name="T28" fmla="*/ 34 w 55"/>
              <a:gd name="T29" fmla="*/ 43 h 55"/>
              <a:gd name="T30" fmla="*/ 40 w 55"/>
              <a:gd name="T31" fmla="*/ 40 h 55"/>
              <a:gd name="T32" fmla="*/ 43 w 55"/>
              <a:gd name="T33" fmla="*/ 35 h 55"/>
              <a:gd name="T34" fmla="*/ 48 w 55"/>
              <a:gd name="T35" fmla="*/ 30 h 55"/>
              <a:gd name="T36" fmla="*/ 52 w 55"/>
              <a:gd name="T37" fmla="*/ 27 h 55"/>
              <a:gd name="T38" fmla="*/ 51 w 55"/>
              <a:gd name="T39" fmla="*/ 24 h 55"/>
              <a:gd name="T40" fmla="*/ 43 w 55"/>
              <a:gd name="T41" fmla="*/ 24 h 55"/>
              <a:gd name="T42" fmla="*/ 40 w 55"/>
              <a:gd name="T43" fmla="*/ 22 h 55"/>
              <a:gd name="T44" fmla="*/ 41 w 55"/>
              <a:gd name="T45" fmla="*/ 17 h 55"/>
              <a:gd name="T46" fmla="*/ 46 w 55"/>
              <a:gd name="T47" fmla="*/ 15 h 55"/>
              <a:gd name="T48" fmla="*/ 49 w 55"/>
              <a:gd name="T49" fmla="*/ 12 h 55"/>
              <a:gd name="T50" fmla="*/ 54 w 55"/>
              <a:gd name="T51" fmla="*/ 11 h 55"/>
              <a:gd name="T52" fmla="*/ 55 w 55"/>
              <a:gd name="T53" fmla="*/ 8 h 55"/>
              <a:gd name="T54" fmla="*/ 53 w 55"/>
              <a:gd name="T55" fmla="*/ 9 h 55"/>
              <a:gd name="T56" fmla="*/ 50 w 55"/>
              <a:gd name="T57" fmla="*/ 8 h 55"/>
              <a:gd name="T58" fmla="*/ 43 w 55"/>
              <a:gd name="T59" fmla="*/ 7 h 55"/>
              <a:gd name="T60" fmla="*/ 43 w 55"/>
              <a:gd name="T61" fmla="*/ 7 h 55"/>
              <a:gd name="T62" fmla="*/ 41 w 55"/>
              <a:gd name="T63" fmla="*/ 6 h 55"/>
              <a:gd name="T64" fmla="*/ 37 w 55"/>
              <a:gd name="T65" fmla="*/ 4 h 55"/>
              <a:gd name="T66" fmla="*/ 33 w 55"/>
              <a:gd name="T67" fmla="*/ 3 h 55"/>
              <a:gd name="T68" fmla="*/ 29 w 55"/>
              <a:gd name="T69" fmla="*/ 0 h 55"/>
              <a:gd name="T70" fmla="*/ 27 w 55"/>
              <a:gd name="T71" fmla="*/ 0 h 55"/>
              <a:gd name="T72" fmla="*/ 26 w 55"/>
              <a:gd name="T73" fmla="*/ 0 h 55"/>
              <a:gd name="T74" fmla="*/ 23 w 55"/>
              <a:gd name="T75" fmla="*/ 1 h 55"/>
              <a:gd name="T76" fmla="*/ 24 w 55"/>
              <a:gd name="T77" fmla="*/ 3 h 55"/>
              <a:gd name="T78" fmla="*/ 15 w 55"/>
              <a:gd name="T79" fmla="*/ 8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5" h="55">
                <a:moveTo>
                  <a:pt x="14" y="8"/>
                </a:moveTo>
                <a:cubicBezTo>
                  <a:pt x="4" y="8"/>
                  <a:pt x="4" y="8"/>
                  <a:pt x="4" y="8"/>
                </a:cubicBezTo>
                <a:cubicBezTo>
                  <a:pt x="4" y="8"/>
                  <a:pt x="4" y="8"/>
                  <a:pt x="3" y="8"/>
                </a:cubicBezTo>
                <a:cubicBezTo>
                  <a:pt x="3" y="8"/>
                  <a:pt x="3" y="8"/>
                  <a:pt x="3" y="8"/>
                </a:cubicBezTo>
                <a:cubicBezTo>
                  <a:pt x="2" y="8"/>
                  <a:pt x="1" y="9"/>
                  <a:pt x="0" y="10"/>
                </a:cubicBezTo>
                <a:cubicBezTo>
                  <a:pt x="0" y="11"/>
                  <a:pt x="0" y="11"/>
                  <a:pt x="0" y="11"/>
                </a:cubicBezTo>
                <a:cubicBezTo>
                  <a:pt x="2" y="12"/>
                  <a:pt x="2" y="12"/>
                  <a:pt x="2" y="12"/>
                </a:cubicBezTo>
                <a:cubicBezTo>
                  <a:pt x="2" y="13"/>
                  <a:pt x="3" y="13"/>
                  <a:pt x="3" y="13"/>
                </a:cubicBezTo>
                <a:cubicBezTo>
                  <a:pt x="5" y="16"/>
                  <a:pt x="5" y="16"/>
                  <a:pt x="5" y="16"/>
                </a:cubicBezTo>
                <a:cubicBezTo>
                  <a:pt x="5" y="17"/>
                  <a:pt x="5" y="17"/>
                  <a:pt x="5" y="17"/>
                </a:cubicBezTo>
                <a:cubicBezTo>
                  <a:pt x="5" y="22"/>
                  <a:pt x="5" y="22"/>
                  <a:pt x="5" y="22"/>
                </a:cubicBezTo>
                <a:cubicBezTo>
                  <a:pt x="5" y="26"/>
                  <a:pt x="5" y="26"/>
                  <a:pt x="5" y="26"/>
                </a:cubicBezTo>
                <a:cubicBezTo>
                  <a:pt x="5" y="32"/>
                  <a:pt x="5" y="32"/>
                  <a:pt x="5" y="32"/>
                </a:cubicBezTo>
                <a:cubicBezTo>
                  <a:pt x="5" y="33"/>
                  <a:pt x="5" y="33"/>
                  <a:pt x="5" y="33"/>
                </a:cubicBezTo>
                <a:cubicBezTo>
                  <a:pt x="6" y="33"/>
                  <a:pt x="7" y="33"/>
                  <a:pt x="7" y="33"/>
                </a:cubicBezTo>
                <a:cubicBezTo>
                  <a:pt x="8" y="33"/>
                  <a:pt x="9" y="34"/>
                  <a:pt x="9" y="36"/>
                </a:cubicBezTo>
                <a:cubicBezTo>
                  <a:pt x="10" y="40"/>
                  <a:pt x="10" y="45"/>
                  <a:pt x="10" y="45"/>
                </a:cubicBezTo>
                <a:cubicBezTo>
                  <a:pt x="11" y="50"/>
                  <a:pt x="11" y="50"/>
                  <a:pt x="11" y="50"/>
                </a:cubicBezTo>
                <a:cubicBezTo>
                  <a:pt x="11" y="53"/>
                  <a:pt x="11" y="53"/>
                  <a:pt x="11" y="53"/>
                </a:cubicBezTo>
                <a:cubicBezTo>
                  <a:pt x="12" y="54"/>
                  <a:pt x="13" y="54"/>
                  <a:pt x="13" y="55"/>
                </a:cubicBezTo>
                <a:cubicBezTo>
                  <a:pt x="14" y="55"/>
                  <a:pt x="15" y="55"/>
                  <a:pt x="15" y="54"/>
                </a:cubicBezTo>
                <a:cubicBezTo>
                  <a:pt x="15" y="54"/>
                  <a:pt x="15" y="54"/>
                  <a:pt x="15" y="54"/>
                </a:cubicBezTo>
                <a:cubicBezTo>
                  <a:pt x="17" y="55"/>
                  <a:pt x="17" y="55"/>
                  <a:pt x="17" y="55"/>
                </a:cubicBezTo>
                <a:cubicBezTo>
                  <a:pt x="19" y="53"/>
                  <a:pt x="19" y="53"/>
                  <a:pt x="19" y="53"/>
                </a:cubicBezTo>
                <a:cubicBezTo>
                  <a:pt x="22" y="49"/>
                  <a:pt x="22" y="49"/>
                  <a:pt x="22" y="49"/>
                </a:cubicBezTo>
                <a:cubicBezTo>
                  <a:pt x="22" y="49"/>
                  <a:pt x="22" y="49"/>
                  <a:pt x="22" y="49"/>
                </a:cubicBezTo>
                <a:cubicBezTo>
                  <a:pt x="25" y="46"/>
                  <a:pt x="25" y="46"/>
                  <a:pt x="25" y="46"/>
                </a:cubicBezTo>
                <a:cubicBezTo>
                  <a:pt x="28" y="44"/>
                  <a:pt x="28" y="44"/>
                  <a:pt x="28" y="44"/>
                </a:cubicBezTo>
                <a:cubicBezTo>
                  <a:pt x="28" y="43"/>
                  <a:pt x="29" y="43"/>
                  <a:pt x="29" y="43"/>
                </a:cubicBezTo>
                <a:cubicBezTo>
                  <a:pt x="34" y="43"/>
                  <a:pt x="34" y="43"/>
                  <a:pt x="34" y="43"/>
                </a:cubicBezTo>
                <a:cubicBezTo>
                  <a:pt x="35" y="42"/>
                  <a:pt x="38" y="41"/>
                  <a:pt x="40" y="41"/>
                </a:cubicBezTo>
                <a:cubicBezTo>
                  <a:pt x="40" y="41"/>
                  <a:pt x="40" y="41"/>
                  <a:pt x="40" y="40"/>
                </a:cubicBezTo>
                <a:cubicBezTo>
                  <a:pt x="40" y="39"/>
                  <a:pt x="40" y="38"/>
                  <a:pt x="41" y="38"/>
                </a:cubicBezTo>
                <a:cubicBezTo>
                  <a:pt x="42" y="37"/>
                  <a:pt x="43" y="35"/>
                  <a:pt x="43" y="35"/>
                </a:cubicBezTo>
                <a:cubicBezTo>
                  <a:pt x="44" y="34"/>
                  <a:pt x="44" y="32"/>
                  <a:pt x="45" y="31"/>
                </a:cubicBezTo>
                <a:cubicBezTo>
                  <a:pt x="46" y="31"/>
                  <a:pt x="47" y="30"/>
                  <a:pt x="48" y="30"/>
                </a:cubicBezTo>
                <a:cubicBezTo>
                  <a:pt x="49" y="31"/>
                  <a:pt x="49" y="31"/>
                  <a:pt x="49" y="31"/>
                </a:cubicBezTo>
                <a:cubicBezTo>
                  <a:pt x="52" y="27"/>
                  <a:pt x="52" y="27"/>
                  <a:pt x="52" y="27"/>
                </a:cubicBezTo>
                <a:cubicBezTo>
                  <a:pt x="52" y="24"/>
                  <a:pt x="52" y="24"/>
                  <a:pt x="52" y="24"/>
                </a:cubicBezTo>
                <a:cubicBezTo>
                  <a:pt x="51" y="24"/>
                  <a:pt x="51" y="24"/>
                  <a:pt x="51" y="24"/>
                </a:cubicBezTo>
                <a:cubicBezTo>
                  <a:pt x="50" y="24"/>
                  <a:pt x="47" y="25"/>
                  <a:pt x="45" y="24"/>
                </a:cubicBezTo>
                <a:cubicBezTo>
                  <a:pt x="44" y="23"/>
                  <a:pt x="43" y="24"/>
                  <a:pt x="43" y="24"/>
                </a:cubicBezTo>
                <a:cubicBezTo>
                  <a:pt x="42" y="24"/>
                  <a:pt x="41" y="24"/>
                  <a:pt x="41" y="24"/>
                </a:cubicBezTo>
                <a:cubicBezTo>
                  <a:pt x="40" y="23"/>
                  <a:pt x="40" y="23"/>
                  <a:pt x="40" y="22"/>
                </a:cubicBezTo>
                <a:cubicBezTo>
                  <a:pt x="40" y="18"/>
                  <a:pt x="40" y="18"/>
                  <a:pt x="40" y="18"/>
                </a:cubicBezTo>
                <a:cubicBezTo>
                  <a:pt x="41" y="17"/>
                  <a:pt x="41" y="17"/>
                  <a:pt x="41" y="17"/>
                </a:cubicBezTo>
                <a:cubicBezTo>
                  <a:pt x="43" y="16"/>
                  <a:pt x="43" y="16"/>
                  <a:pt x="43" y="16"/>
                </a:cubicBezTo>
                <a:cubicBezTo>
                  <a:pt x="44" y="14"/>
                  <a:pt x="46" y="15"/>
                  <a:pt x="46" y="15"/>
                </a:cubicBezTo>
                <a:cubicBezTo>
                  <a:pt x="47" y="15"/>
                  <a:pt x="47" y="15"/>
                  <a:pt x="48" y="14"/>
                </a:cubicBezTo>
                <a:cubicBezTo>
                  <a:pt x="48" y="14"/>
                  <a:pt x="49" y="13"/>
                  <a:pt x="49" y="12"/>
                </a:cubicBezTo>
                <a:cubicBezTo>
                  <a:pt x="50" y="11"/>
                  <a:pt x="51" y="11"/>
                  <a:pt x="51" y="11"/>
                </a:cubicBezTo>
                <a:cubicBezTo>
                  <a:pt x="52" y="11"/>
                  <a:pt x="53" y="11"/>
                  <a:pt x="54" y="11"/>
                </a:cubicBezTo>
                <a:cubicBezTo>
                  <a:pt x="54" y="11"/>
                  <a:pt x="54" y="11"/>
                  <a:pt x="54" y="11"/>
                </a:cubicBezTo>
                <a:cubicBezTo>
                  <a:pt x="54" y="10"/>
                  <a:pt x="54" y="9"/>
                  <a:pt x="55" y="8"/>
                </a:cubicBezTo>
                <a:cubicBezTo>
                  <a:pt x="55" y="8"/>
                  <a:pt x="55" y="8"/>
                  <a:pt x="55" y="8"/>
                </a:cubicBezTo>
                <a:cubicBezTo>
                  <a:pt x="54" y="8"/>
                  <a:pt x="54" y="9"/>
                  <a:pt x="53" y="9"/>
                </a:cubicBezTo>
                <a:cubicBezTo>
                  <a:pt x="52" y="8"/>
                  <a:pt x="52" y="8"/>
                  <a:pt x="51" y="8"/>
                </a:cubicBezTo>
                <a:cubicBezTo>
                  <a:pt x="51" y="8"/>
                  <a:pt x="51" y="8"/>
                  <a:pt x="50" y="8"/>
                </a:cubicBezTo>
                <a:cubicBezTo>
                  <a:pt x="48" y="8"/>
                  <a:pt x="46" y="9"/>
                  <a:pt x="44" y="8"/>
                </a:cubicBezTo>
                <a:cubicBezTo>
                  <a:pt x="43" y="7"/>
                  <a:pt x="43" y="7"/>
                  <a:pt x="43" y="7"/>
                </a:cubicBezTo>
                <a:cubicBezTo>
                  <a:pt x="43" y="7"/>
                  <a:pt x="43" y="7"/>
                  <a:pt x="43" y="7"/>
                </a:cubicBezTo>
                <a:cubicBezTo>
                  <a:pt x="43" y="7"/>
                  <a:pt x="43" y="7"/>
                  <a:pt x="43" y="7"/>
                </a:cubicBezTo>
                <a:cubicBezTo>
                  <a:pt x="43" y="7"/>
                  <a:pt x="43" y="7"/>
                  <a:pt x="43" y="7"/>
                </a:cubicBezTo>
                <a:cubicBezTo>
                  <a:pt x="42" y="6"/>
                  <a:pt x="41" y="6"/>
                  <a:pt x="41" y="6"/>
                </a:cubicBezTo>
                <a:cubicBezTo>
                  <a:pt x="39" y="6"/>
                  <a:pt x="39" y="6"/>
                  <a:pt x="39" y="6"/>
                </a:cubicBezTo>
                <a:cubicBezTo>
                  <a:pt x="37" y="6"/>
                  <a:pt x="37" y="5"/>
                  <a:pt x="37" y="4"/>
                </a:cubicBezTo>
                <a:cubicBezTo>
                  <a:pt x="37" y="3"/>
                  <a:pt x="37" y="3"/>
                  <a:pt x="37" y="3"/>
                </a:cubicBezTo>
                <a:cubicBezTo>
                  <a:pt x="33" y="3"/>
                  <a:pt x="33" y="3"/>
                  <a:pt x="33" y="3"/>
                </a:cubicBezTo>
                <a:cubicBezTo>
                  <a:pt x="33" y="3"/>
                  <a:pt x="32" y="3"/>
                  <a:pt x="32" y="2"/>
                </a:cubicBezTo>
                <a:cubicBezTo>
                  <a:pt x="29" y="0"/>
                  <a:pt x="29" y="0"/>
                  <a:pt x="29" y="0"/>
                </a:cubicBezTo>
                <a:cubicBezTo>
                  <a:pt x="28" y="0"/>
                  <a:pt x="27" y="0"/>
                  <a:pt x="27" y="0"/>
                </a:cubicBezTo>
                <a:cubicBezTo>
                  <a:pt x="27" y="0"/>
                  <a:pt x="27" y="0"/>
                  <a:pt x="27" y="0"/>
                </a:cubicBezTo>
                <a:cubicBezTo>
                  <a:pt x="27" y="0"/>
                  <a:pt x="27" y="0"/>
                  <a:pt x="26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25" y="0"/>
                  <a:pt x="24" y="1"/>
                  <a:pt x="23" y="1"/>
                </a:cubicBezTo>
                <a:cubicBezTo>
                  <a:pt x="23" y="1"/>
                  <a:pt x="23" y="1"/>
                  <a:pt x="23" y="1"/>
                </a:cubicBezTo>
                <a:cubicBezTo>
                  <a:pt x="24" y="1"/>
                  <a:pt x="24" y="2"/>
                  <a:pt x="24" y="3"/>
                </a:cubicBezTo>
                <a:cubicBezTo>
                  <a:pt x="23" y="4"/>
                  <a:pt x="23" y="4"/>
                  <a:pt x="23" y="4"/>
                </a:cubicBezTo>
                <a:cubicBezTo>
                  <a:pt x="15" y="8"/>
                  <a:pt x="15" y="8"/>
                  <a:pt x="15" y="8"/>
                </a:cubicBezTo>
                <a:cubicBezTo>
                  <a:pt x="15" y="8"/>
                  <a:pt x="15" y="8"/>
                  <a:pt x="14" y="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Freeform 45">
            <a:extLst>
              <a:ext uri="{FF2B5EF4-FFF2-40B4-BE49-F238E27FC236}">
                <a16:creationId xmlns:a16="http://schemas.microsoft.com/office/drawing/2014/main" id="{7149A136-0AB5-4F36-AFB5-2D0CD8FB8223}"/>
              </a:ext>
            </a:extLst>
          </p:cNvPr>
          <p:cNvSpPr>
            <a:spLocks/>
          </p:cNvSpPr>
          <p:nvPr/>
        </p:nvSpPr>
        <p:spPr bwMode="auto">
          <a:xfrm>
            <a:off x="4353998" y="3233269"/>
            <a:ext cx="300964" cy="231775"/>
          </a:xfrm>
          <a:custGeom>
            <a:avLst/>
            <a:gdLst>
              <a:gd name="T0" fmla="*/ 110 w 124"/>
              <a:gd name="T1" fmla="*/ 32 h 104"/>
              <a:gd name="T2" fmla="*/ 107 w 124"/>
              <a:gd name="T3" fmla="*/ 24 h 104"/>
              <a:gd name="T4" fmla="*/ 104 w 124"/>
              <a:gd name="T5" fmla="*/ 19 h 104"/>
              <a:gd name="T6" fmla="*/ 98 w 124"/>
              <a:gd name="T7" fmla="*/ 17 h 104"/>
              <a:gd name="T8" fmla="*/ 97 w 124"/>
              <a:gd name="T9" fmla="*/ 13 h 104"/>
              <a:gd name="T10" fmla="*/ 94 w 124"/>
              <a:gd name="T11" fmla="*/ 10 h 104"/>
              <a:gd name="T12" fmla="*/ 86 w 124"/>
              <a:gd name="T13" fmla="*/ 2 h 104"/>
              <a:gd name="T14" fmla="*/ 81 w 124"/>
              <a:gd name="T15" fmla="*/ 0 h 104"/>
              <a:gd name="T16" fmla="*/ 68 w 124"/>
              <a:gd name="T17" fmla="*/ 3 h 104"/>
              <a:gd name="T18" fmla="*/ 61 w 124"/>
              <a:gd name="T19" fmla="*/ 3 h 104"/>
              <a:gd name="T20" fmla="*/ 53 w 124"/>
              <a:gd name="T21" fmla="*/ 4 h 104"/>
              <a:gd name="T22" fmla="*/ 46 w 124"/>
              <a:gd name="T23" fmla="*/ 4 h 104"/>
              <a:gd name="T24" fmla="*/ 41 w 124"/>
              <a:gd name="T25" fmla="*/ 6 h 104"/>
              <a:gd name="T26" fmla="*/ 33 w 124"/>
              <a:gd name="T27" fmla="*/ 11 h 104"/>
              <a:gd name="T28" fmla="*/ 19 w 124"/>
              <a:gd name="T29" fmla="*/ 10 h 104"/>
              <a:gd name="T30" fmla="*/ 22 w 124"/>
              <a:gd name="T31" fmla="*/ 16 h 104"/>
              <a:gd name="T32" fmla="*/ 30 w 124"/>
              <a:gd name="T33" fmla="*/ 30 h 104"/>
              <a:gd name="T34" fmla="*/ 29 w 124"/>
              <a:gd name="T35" fmla="*/ 35 h 104"/>
              <a:gd name="T36" fmla="*/ 26 w 124"/>
              <a:gd name="T37" fmla="*/ 35 h 104"/>
              <a:gd name="T38" fmla="*/ 18 w 124"/>
              <a:gd name="T39" fmla="*/ 28 h 104"/>
              <a:gd name="T40" fmla="*/ 18 w 124"/>
              <a:gd name="T41" fmla="*/ 19 h 104"/>
              <a:gd name="T42" fmla="*/ 17 w 124"/>
              <a:gd name="T43" fmla="*/ 11 h 104"/>
              <a:gd name="T44" fmla="*/ 11 w 124"/>
              <a:gd name="T45" fmla="*/ 7 h 104"/>
              <a:gd name="T46" fmla="*/ 4 w 124"/>
              <a:gd name="T47" fmla="*/ 9 h 104"/>
              <a:gd name="T48" fmla="*/ 1 w 124"/>
              <a:gd name="T49" fmla="*/ 24 h 104"/>
              <a:gd name="T50" fmla="*/ 1 w 124"/>
              <a:gd name="T51" fmla="*/ 33 h 104"/>
              <a:gd name="T52" fmla="*/ 6 w 124"/>
              <a:gd name="T53" fmla="*/ 45 h 104"/>
              <a:gd name="T54" fmla="*/ 12 w 124"/>
              <a:gd name="T55" fmla="*/ 55 h 104"/>
              <a:gd name="T56" fmla="*/ 33 w 124"/>
              <a:gd name="T57" fmla="*/ 89 h 104"/>
              <a:gd name="T58" fmla="*/ 34 w 124"/>
              <a:gd name="T59" fmla="*/ 96 h 104"/>
              <a:gd name="T60" fmla="*/ 47 w 124"/>
              <a:gd name="T61" fmla="*/ 104 h 104"/>
              <a:gd name="T62" fmla="*/ 49 w 124"/>
              <a:gd name="T63" fmla="*/ 103 h 104"/>
              <a:gd name="T64" fmla="*/ 47 w 124"/>
              <a:gd name="T65" fmla="*/ 90 h 104"/>
              <a:gd name="T66" fmla="*/ 43 w 124"/>
              <a:gd name="T67" fmla="*/ 87 h 104"/>
              <a:gd name="T68" fmla="*/ 32 w 124"/>
              <a:gd name="T69" fmla="*/ 61 h 104"/>
              <a:gd name="T70" fmla="*/ 41 w 124"/>
              <a:gd name="T71" fmla="*/ 52 h 104"/>
              <a:gd name="T72" fmla="*/ 55 w 124"/>
              <a:gd name="T73" fmla="*/ 45 h 104"/>
              <a:gd name="T74" fmla="*/ 92 w 124"/>
              <a:gd name="T75" fmla="*/ 75 h 104"/>
              <a:gd name="T76" fmla="*/ 100 w 124"/>
              <a:gd name="T77" fmla="*/ 86 h 104"/>
              <a:gd name="T78" fmla="*/ 119 w 124"/>
              <a:gd name="T79" fmla="*/ 91 h 104"/>
              <a:gd name="T80" fmla="*/ 123 w 124"/>
              <a:gd name="T81" fmla="*/ 86 h 104"/>
              <a:gd name="T82" fmla="*/ 124 w 124"/>
              <a:gd name="T83" fmla="*/ 62 h 104"/>
              <a:gd name="T84" fmla="*/ 116 w 124"/>
              <a:gd name="T85" fmla="*/ 54 h 104"/>
              <a:gd name="T86" fmla="*/ 113 w 124"/>
              <a:gd name="T87" fmla="*/ 52 h 104"/>
              <a:gd name="T88" fmla="*/ 111 w 124"/>
              <a:gd name="T89" fmla="*/ 42 h 104"/>
              <a:gd name="T90" fmla="*/ 114 w 124"/>
              <a:gd name="T91" fmla="*/ 36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4" h="104">
                <a:moveTo>
                  <a:pt x="114" y="34"/>
                </a:moveTo>
                <a:cubicBezTo>
                  <a:pt x="112" y="34"/>
                  <a:pt x="112" y="34"/>
                  <a:pt x="112" y="34"/>
                </a:cubicBezTo>
                <a:cubicBezTo>
                  <a:pt x="111" y="34"/>
                  <a:pt x="110" y="33"/>
                  <a:pt x="110" y="32"/>
                </a:cubicBezTo>
                <a:cubicBezTo>
                  <a:pt x="110" y="27"/>
                  <a:pt x="110" y="27"/>
                  <a:pt x="110" y="27"/>
                </a:cubicBezTo>
                <a:cubicBezTo>
                  <a:pt x="108" y="24"/>
                  <a:pt x="108" y="24"/>
                  <a:pt x="108" y="24"/>
                </a:cubicBezTo>
                <a:cubicBezTo>
                  <a:pt x="107" y="24"/>
                  <a:pt x="107" y="24"/>
                  <a:pt x="107" y="24"/>
                </a:cubicBezTo>
                <a:cubicBezTo>
                  <a:pt x="106" y="24"/>
                  <a:pt x="105" y="23"/>
                  <a:pt x="105" y="22"/>
                </a:cubicBezTo>
                <a:cubicBezTo>
                  <a:pt x="104" y="20"/>
                  <a:pt x="104" y="20"/>
                  <a:pt x="104" y="20"/>
                </a:cubicBezTo>
                <a:cubicBezTo>
                  <a:pt x="104" y="19"/>
                  <a:pt x="104" y="19"/>
                  <a:pt x="104" y="19"/>
                </a:cubicBezTo>
                <a:cubicBezTo>
                  <a:pt x="103" y="19"/>
                  <a:pt x="103" y="19"/>
                  <a:pt x="103" y="19"/>
                </a:cubicBezTo>
                <a:cubicBezTo>
                  <a:pt x="102" y="19"/>
                  <a:pt x="101" y="19"/>
                  <a:pt x="100" y="19"/>
                </a:cubicBezTo>
                <a:cubicBezTo>
                  <a:pt x="98" y="19"/>
                  <a:pt x="98" y="18"/>
                  <a:pt x="98" y="17"/>
                </a:cubicBezTo>
                <a:cubicBezTo>
                  <a:pt x="98" y="16"/>
                  <a:pt x="98" y="16"/>
                  <a:pt x="98" y="15"/>
                </a:cubicBezTo>
                <a:cubicBezTo>
                  <a:pt x="97" y="14"/>
                  <a:pt x="97" y="14"/>
                  <a:pt x="97" y="14"/>
                </a:cubicBezTo>
                <a:cubicBezTo>
                  <a:pt x="97" y="13"/>
                  <a:pt x="97" y="13"/>
                  <a:pt x="97" y="13"/>
                </a:cubicBezTo>
                <a:cubicBezTo>
                  <a:pt x="97" y="13"/>
                  <a:pt x="97" y="13"/>
                  <a:pt x="97" y="13"/>
                </a:cubicBezTo>
                <a:cubicBezTo>
                  <a:pt x="95" y="11"/>
                  <a:pt x="95" y="11"/>
                  <a:pt x="95" y="11"/>
                </a:cubicBezTo>
                <a:cubicBezTo>
                  <a:pt x="94" y="11"/>
                  <a:pt x="94" y="10"/>
                  <a:pt x="94" y="10"/>
                </a:cubicBezTo>
                <a:cubicBezTo>
                  <a:pt x="94" y="4"/>
                  <a:pt x="94" y="4"/>
                  <a:pt x="94" y="4"/>
                </a:cubicBezTo>
                <a:cubicBezTo>
                  <a:pt x="92" y="2"/>
                  <a:pt x="92" y="2"/>
                  <a:pt x="92" y="2"/>
                </a:cubicBezTo>
                <a:cubicBezTo>
                  <a:pt x="86" y="2"/>
                  <a:pt x="86" y="2"/>
                  <a:pt x="86" y="2"/>
                </a:cubicBezTo>
                <a:cubicBezTo>
                  <a:pt x="85" y="2"/>
                  <a:pt x="84" y="1"/>
                  <a:pt x="84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1" y="0"/>
                  <a:pt x="81" y="0"/>
                  <a:pt x="81" y="0"/>
                </a:cubicBezTo>
                <a:cubicBezTo>
                  <a:pt x="80" y="0"/>
                  <a:pt x="76" y="2"/>
                  <a:pt x="74" y="3"/>
                </a:cubicBezTo>
                <a:cubicBezTo>
                  <a:pt x="72" y="3"/>
                  <a:pt x="71" y="4"/>
                  <a:pt x="70" y="3"/>
                </a:cubicBezTo>
                <a:cubicBezTo>
                  <a:pt x="69" y="3"/>
                  <a:pt x="68" y="3"/>
                  <a:pt x="68" y="3"/>
                </a:cubicBezTo>
                <a:cubicBezTo>
                  <a:pt x="65" y="3"/>
                  <a:pt x="65" y="3"/>
                  <a:pt x="65" y="3"/>
                </a:cubicBezTo>
                <a:cubicBezTo>
                  <a:pt x="62" y="3"/>
                  <a:pt x="62" y="3"/>
                  <a:pt x="62" y="3"/>
                </a:cubicBezTo>
                <a:cubicBezTo>
                  <a:pt x="62" y="3"/>
                  <a:pt x="62" y="3"/>
                  <a:pt x="61" y="3"/>
                </a:cubicBezTo>
                <a:cubicBezTo>
                  <a:pt x="60" y="3"/>
                  <a:pt x="60" y="3"/>
                  <a:pt x="60" y="3"/>
                </a:cubicBezTo>
                <a:cubicBezTo>
                  <a:pt x="58" y="4"/>
                  <a:pt x="56" y="4"/>
                  <a:pt x="55" y="4"/>
                </a:cubicBezTo>
                <a:cubicBezTo>
                  <a:pt x="55" y="3"/>
                  <a:pt x="54" y="3"/>
                  <a:pt x="53" y="4"/>
                </a:cubicBezTo>
                <a:cubicBezTo>
                  <a:pt x="51" y="4"/>
                  <a:pt x="49" y="4"/>
                  <a:pt x="48" y="4"/>
                </a:cubicBezTo>
                <a:cubicBezTo>
                  <a:pt x="46" y="4"/>
                  <a:pt x="46" y="4"/>
                  <a:pt x="46" y="4"/>
                </a:cubicBezTo>
                <a:cubicBezTo>
                  <a:pt x="46" y="4"/>
                  <a:pt x="46" y="4"/>
                  <a:pt x="46" y="4"/>
                </a:cubicBezTo>
                <a:cubicBezTo>
                  <a:pt x="45" y="4"/>
                  <a:pt x="43" y="4"/>
                  <a:pt x="42" y="4"/>
                </a:cubicBezTo>
                <a:cubicBezTo>
                  <a:pt x="42" y="4"/>
                  <a:pt x="42" y="4"/>
                  <a:pt x="41" y="5"/>
                </a:cubicBezTo>
                <a:cubicBezTo>
                  <a:pt x="41" y="6"/>
                  <a:pt x="41" y="6"/>
                  <a:pt x="41" y="6"/>
                </a:cubicBezTo>
                <a:cubicBezTo>
                  <a:pt x="40" y="6"/>
                  <a:pt x="39" y="7"/>
                  <a:pt x="38" y="9"/>
                </a:cubicBezTo>
                <a:cubicBezTo>
                  <a:pt x="37" y="11"/>
                  <a:pt x="36" y="11"/>
                  <a:pt x="34" y="11"/>
                </a:cubicBezTo>
                <a:cubicBezTo>
                  <a:pt x="34" y="11"/>
                  <a:pt x="34" y="11"/>
                  <a:pt x="33" y="11"/>
                </a:cubicBezTo>
                <a:cubicBezTo>
                  <a:pt x="31" y="12"/>
                  <a:pt x="30" y="11"/>
                  <a:pt x="30" y="11"/>
                </a:cubicBezTo>
                <a:cubicBezTo>
                  <a:pt x="30" y="10"/>
                  <a:pt x="30" y="10"/>
                  <a:pt x="30" y="10"/>
                </a:cubicBezTo>
                <a:cubicBezTo>
                  <a:pt x="19" y="10"/>
                  <a:pt x="19" y="10"/>
                  <a:pt x="19" y="10"/>
                </a:cubicBezTo>
                <a:cubicBezTo>
                  <a:pt x="18" y="7"/>
                  <a:pt x="18" y="7"/>
                  <a:pt x="18" y="7"/>
                </a:cubicBezTo>
                <a:cubicBezTo>
                  <a:pt x="21" y="15"/>
                  <a:pt x="21" y="15"/>
                  <a:pt x="21" y="15"/>
                </a:cubicBezTo>
                <a:cubicBezTo>
                  <a:pt x="22" y="16"/>
                  <a:pt x="22" y="16"/>
                  <a:pt x="22" y="16"/>
                </a:cubicBezTo>
                <a:cubicBezTo>
                  <a:pt x="25" y="20"/>
                  <a:pt x="25" y="20"/>
                  <a:pt x="25" y="20"/>
                </a:cubicBezTo>
                <a:cubicBezTo>
                  <a:pt x="30" y="29"/>
                  <a:pt x="30" y="29"/>
                  <a:pt x="30" y="29"/>
                </a:cubicBezTo>
                <a:cubicBezTo>
                  <a:pt x="30" y="30"/>
                  <a:pt x="30" y="30"/>
                  <a:pt x="30" y="30"/>
                </a:cubicBezTo>
                <a:cubicBezTo>
                  <a:pt x="30" y="32"/>
                  <a:pt x="30" y="32"/>
                  <a:pt x="30" y="32"/>
                </a:cubicBezTo>
                <a:cubicBezTo>
                  <a:pt x="30" y="33"/>
                  <a:pt x="30" y="33"/>
                  <a:pt x="30" y="33"/>
                </a:cubicBezTo>
                <a:cubicBezTo>
                  <a:pt x="29" y="35"/>
                  <a:pt x="29" y="35"/>
                  <a:pt x="29" y="35"/>
                </a:cubicBezTo>
                <a:cubicBezTo>
                  <a:pt x="28" y="35"/>
                  <a:pt x="28" y="35"/>
                  <a:pt x="28" y="35"/>
                </a:cubicBezTo>
                <a:cubicBezTo>
                  <a:pt x="27" y="35"/>
                  <a:pt x="27" y="35"/>
                  <a:pt x="27" y="35"/>
                </a:cubicBezTo>
                <a:cubicBezTo>
                  <a:pt x="26" y="35"/>
                  <a:pt x="26" y="35"/>
                  <a:pt x="26" y="35"/>
                </a:cubicBezTo>
                <a:cubicBezTo>
                  <a:pt x="20" y="32"/>
                  <a:pt x="20" y="32"/>
                  <a:pt x="20" y="32"/>
                </a:cubicBezTo>
                <a:cubicBezTo>
                  <a:pt x="19" y="30"/>
                  <a:pt x="19" y="30"/>
                  <a:pt x="19" y="30"/>
                </a:cubicBezTo>
                <a:cubicBezTo>
                  <a:pt x="18" y="28"/>
                  <a:pt x="18" y="28"/>
                  <a:pt x="18" y="28"/>
                </a:cubicBezTo>
                <a:cubicBezTo>
                  <a:pt x="17" y="21"/>
                  <a:pt x="17" y="21"/>
                  <a:pt x="17" y="21"/>
                </a:cubicBezTo>
                <a:cubicBezTo>
                  <a:pt x="17" y="20"/>
                  <a:pt x="17" y="20"/>
                  <a:pt x="17" y="20"/>
                </a:cubicBezTo>
                <a:cubicBezTo>
                  <a:pt x="18" y="19"/>
                  <a:pt x="18" y="19"/>
                  <a:pt x="18" y="19"/>
                </a:cubicBezTo>
                <a:cubicBezTo>
                  <a:pt x="18" y="18"/>
                  <a:pt x="18" y="18"/>
                  <a:pt x="18" y="18"/>
                </a:cubicBezTo>
                <a:cubicBezTo>
                  <a:pt x="18" y="17"/>
                  <a:pt x="18" y="17"/>
                  <a:pt x="18" y="17"/>
                </a:cubicBezTo>
                <a:cubicBezTo>
                  <a:pt x="17" y="11"/>
                  <a:pt x="17" y="11"/>
                  <a:pt x="17" y="11"/>
                </a:cubicBezTo>
                <a:cubicBezTo>
                  <a:pt x="16" y="10"/>
                  <a:pt x="16" y="10"/>
                  <a:pt x="16" y="10"/>
                </a:cubicBezTo>
                <a:cubicBezTo>
                  <a:pt x="14" y="8"/>
                  <a:pt x="14" y="8"/>
                  <a:pt x="14" y="8"/>
                </a:cubicBezTo>
                <a:cubicBezTo>
                  <a:pt x="11" y="7"/>
                  <a:pt x="11" y="7"/>
                  <a:pt x="11" y="7"/>
                </a:cubicBezTo>
                <a:cubicBezTo>
                  <a:pt x="10" y="7"/>
                  <a:pt x="10" y="7"/>
                  <a:pt x="10" y="7"/>
                </a:cubicBezTo>
                <a:cubicBezTo>
                  <a:pt x="5" y="8"/>
                  <a:pt x="5" y="8"/>
                  <a:pt x="5" y="8"/>
                </a:cubicBezTo>
                <a:cubicBezTo>
                  <a:pt x="4" y="9"/>
                  <a:pt x="4" y="9"/>
                  <a:pt x="4" y="9"/>
                </a:cubicBezTo>
                <a:cubicBezTo>
                  <a:pt x="3" y="10"/>
                  <a:pt x="3" y="10"/>
                  <a:pt x="3" y="10"/>
                </a:cubicBezTo>
                <a:cubicBezTo>
                  <a:pt x="3" y="11"/>
                  <a:pt x="3" y="11"/>
                  <a:pt x="3" y="11"/>
                </a:cubicBezTo>
                <a:cubicBezTo>
                  <a:pt x="1" y="24"/>
                  <a:pt x="1" y="24"/>
                  <a:pt x="1" y="24"/>
                </a:cubicBezTo>
                <a:cubicBezTo>
                  <a:pt x="0" y="28"/>
                  <a:pt x="0" y="28"/>
                  <a:pt x="0" y="28"/>
                </a:cubicBezTo>
                <a:cubicBezTo>
                  <a:pt x="1" y="31"/>
                  <a:pt x="1" y="31"/>
                  <a:pt x="1" y="31"/>
                </a:cubicBezTo>
                <a:cubicBezTo>
                  <a:pt x="1" y="33"/>
                  <a:pt x="1" y="33"/>
                  <a:pt x="1" y="33"/>
                </a:cubicBezTo>
                <a:cubicBezTo>
                  <a:pt x="2" y="35"/>
                  <a:pt x="2" y="35"/>
                  <a:pt x="2" y="35"/>
                </a:cubicBezTo>
                <a:cubicBezTo>
                  <a:pt x="6" y="44"/>
                  <a:pt x="6" y="44"/>
                  <a:pt x="6" y="44"/>
                </a:cubicBezTo>
                <a:cubicBezTo>
                  <a:pt x="6" y="45"/>
                  <a:pt x="6" y="45"/>
                  <a:pt x="6" y="45"/>
                </a:cubicBezTo>
                <a:cubicBezTo>
                  <a:pt x="7" y="47"/>
                  <a:pt x="7" y="47"/>
                  <a:pt x="7" y="47"/>
                </a:cubicBezTo>
                <a:cubicBezTo>
                  <a:pt x="9" y="51"/>
                  <a:pt x="9" y="51"/>
                  <a:pt x="9" y="51"/>
                </a:cubicBezTo>
                <a:cubicBezTo>
                  <a:pt x="12" y="55"/>
                  <a:pt x="12" y="55"/>
                  <a:pt x="12" y="55"/>
                </a:cubicBezTo>
                <a:cubicBezTo>
                  <a:pt x="20" y="62"/>
                  <a:pt x="20" y="62"/>
                  <a:pt x="20" y="62"/>
                </a:cubicBezTo>
                <a:cubicBezTo>
                  <a:pt x="33" y="79"/>
                  <a:pt x="33" y="79"/>
                  <a:pt x="33" y="79"/>
                </a:cubicBezTo>
                <a:cubicBezTo>
                  <a:pt x="33" y="89"/>
                  <a:pt x="33" y="89"/>
                  <a:pt x="33" y="89"/>
                </a:cubicBezTo>
                <a:cubicBezTo>
                  <a:pt x="33" y="90"/>
                  <a:pt x="33" y="90"/>
                  <a:pt x="33" y="90"/>
                </a:cubicBezTo>
                <a:cubicBezTo>
                  <a:pt x="33" y="92"/>
                  <a:pt x="33" y="92"/>
                  <a:pt x="33" y="92"/>
                </a:cubicBezTo>
                <a:cubicBezTo>
                  <a:pt x="34" y="96"/>
                  <a:pt x="34" y="96"/>
                  <a:pt x="34" y="96"/>
                </a:cubicBezTo>
                <a:cubicBezTo>
                  <a:pt x="35" y="98"/>
                  <a:pt x="35" y="98"/>
                  <a:pt x="35" y="98"/>
                </a:cubicBezTo>
                <a:cubicBezTo>
                  <a:pt x="39" y="100"/>
                  <a:pt x="39" y="100"/>
                  <a:pt x="39" y="100"/>
                </a:cubicBezTo>
                <a:cubicBezTo>
                  <a:pt x="47" y="104"/>
                  <a:pt x="47" y="104"/>
                  <a:pt x="47" y="104"/>
                </a:cubicBezTo>
                <a:cubicBezTo>
                  <a:pt x="47" y="104"/>
                  <a:pt x="47" y="104"/>
                  <a:pt x="47" y="104"/>
                </a:cubicBezTo>
                <a:cubicBezTo>
                  <a:pt x="48" y="104"/>
                  <a:pt x="48" y="104"/>
                  <a:pt x="48" y="104"/>
                </a:cubicBezTo>
                <a:cubicBezTo>
                  <a:pt x="49" y="103"/>
                  <a:pt x="49" y="103"/>
                  <a:pt x="49" y="103"/>
                </a:cubicBezTo>
                <a:cubicBezTo>
                  <a:pt x="49" y="102"/>
                  <a:pt x="49" y="102"/>
                  <a:pt x="49" y="102"/>
                </a:cubicBezTo>
                <a:cubicBezTo>
                  <a:pt x="47" y="92"/>
                  <a:pt x="47" y="92"/>
                  <a:pt x="47" y="92"/>
                </a:cubicBezTo>
                <a:cubicBezTo>
                  <a:pt x="47" y="90"/>
                  <a:pt x="47" y="90"/>
                  <a:pt x="47" y="90"/>
                </a:cubicBezTo>
                <a:cubicBezTo>
                  <a:pt x="47" y="89"/>
                  <a:pt x="47" y="89"/>
                  <a:pt x="47" y="89"/>
                </a:cubicBezTo>
                <a:cubicBezTo>
                  <a:pt x="46" y="88"/>
                  <a:pt x="46" y="88"/>
                  <a:pt x="46" y="88"/>
                </a:cubicBezTo>
                <a:cubicBezTo>
                  <a:pt x="43" y="87"/>
                  <a:pt x="43" y="87"/>
                  <a:pt x="43" y="87"/>
                </a:cubicBezTo>
                <a:cubicBezTo>
                  <a:pt x="42" y="86"/>
                  <a:pt x="42" y="86"/>
                  <a:pt x="42" y="86"/>
                </a:cubicBezTo>
                <a:cubicBezTo>
                  <a:pt x="32" y="61"/>
                  <a:pt x="32" y="61"/>
                  <a:pt x="32" y="61"/>
                </a:cubicBezTo>
                <a:cubicBezTo>
                  <a:pt x="32" y="61"/>
                  <a:pt x="32" y="61"/>
                  <a:pt x="32" y="61"/>
                </a:cubicBezTo>
                <a:cubicBezTo>
                  <a:pt x="34" y="58"/>
                  <a:pt x="34" y="58"/>
                  <a:pt x="34" y="58"/>
                </a:cubicBezTo>
                <a:cubicBezTo>
                  <a:pt x="38" y="53"/>
                  <a:pt x="38" y="53"/>
                  <a:pt x="38" y="53"/>
                </a:cubicBezTo>
                <a:cubicBezTo>
                  <a:pt x="41" y="52"/>
                  <a:pt x="41" y="52"/>
                  <a:pt x="41" y="52"/>
                </a:cubicBezTo>
                <a:cubicBezTo>
                  <a:pt x="52" y="45"/>
                  <a:pt x="52" y="45"/>
                  <a:pt x="52" y="45"/>
                </a:cubicBezTo>
                <a:cubicBezTo>
                  <a:pt x="54" y="45"/>
                  <a:pt x="54" y="45"/>
                  <a:pt x="54" y="45"/>
                </a:cubicBezTo>
                <a:cubicBezTo>
                  <a:pt x="55" y="45"/>
                  <a:pt x="55" y="45"/>
                  <a:pt x="55" y="45"/>
                </a:cubicBezTo>
                <a:cubicBezTo>
                  <a:pt x="56" y="45"/>
                  <a:pt x="56" y="45"/>
                  <a:pt x="56" y="45"/>
                </a:cubicBezTo>
                <a:cubicBezTo>
                  <a:pt x="71" y="57"/>
                  <a:pt x="71" y="57"/>
                  <a:pt x="71" y="57"/>
                </a:cubicBezTo>
                <a:cubicBezTo>
                  <a:pt x="92" y="75"/>
                  <a:pt x="92" y="75"/>
                  <a:pt x="92" y="75"/>
                </a:cubicBezTo>
                <a:cubicBezTo>
                  <a:pt x="93" y="76"/>
                  <a:pt x="93" y="76"/>
                  <a:pt x="93" y="76"/>
                </a:cubicBezTo>
                <a:cubicBezTo>
                  <a:pt x="96" y="80"/>
                  <a:pt x="96" y="80"/>
                  <a:pt x="96" y="80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116" y="92"/>
                  <a:pt x="116" y="92"/>
                  <a:pt x="116" y="92"/>
                </a:cubicBezTo>
                <a:cubicBezTo>
                  <a:pt x="118" y="92"/>
                  <a:pt x="118" y="92"/>
                  <a:pt x="118" y="92"/>
                </a:cubicBezTo>
                <a:cubicBezTo>
                  <a:pt x="119" y="91"/>
                  <a:pt x="119" y="91"/>
                  <a:pt x="119" y="91"/>
                </a:cubicBezTo>
                <a:cubicBezTo>
                  <a:pt x="120" y="90"/>
                  <a:pt x="120" y="90"/>
                  <a:pt x="120" y="90"/>
                </a:cubicBezTo>
                <a:cubicBezTo>
                  <a:pt x="122" y="88"/>
                  <a:pt x="122" y="88"/>
                  <a:pt x="122" y="88"/>
                </a:cubicBezTo>
                <a:cubicBezTo>
                  <a:pt x="123" y="86"/>
                  <a:pt x="123" y="86"/>
                  <a:pt x="123" y="86"/>
                </a:cubicBezTo>
                <a:cubicBezTo>
                  <a:pt x="123" y="84"/>
                  <a:pt x="123" y="84"/>
                  <a:pt x="123" y="84"/>
                </a:cubicBezTo>
                <a:cubicBezTo>
                  <a:pt x="124" y="63"/>
                  <a:pt x="124" y="63"/>
                  <a:pt x="124" y="63"/>
                </a:cubicBezTo>
                <a:cubicBezTo>
                  <a:pt x="124" y="62"/>
                  <a:pt x="124" y="62"/>
                  <a:pt x="124" y="62"/>
                </a:cubicBezTo>
                <a:cubicBezTo>
                  <a:pt x="123" y="60"/>
                  <a:pt x="123" y="60"/>
                  <a:pt x="123" y="60"/>
                </a:cubicBezTo>
                <a:cubicBezTo>
                  <a:pt x="123" y="59"/>
                  <a:pt x="123" y="59"/>
                  <a:pt x="123" y="59"/>
                </a:cubicBezTo>
                <a:cubicBezTo>
                  <a:pt x="116" y="54"/>
                  <a:pt x="116" y="54"/>
                  <a:pt x="116" y="54"/>
                </a:cubicBezTo>
                <a:cubicBezTo>
                  <a:pt x="114" y="53"/>
                  <a:pt x="114" y="53"/>
                  <a:pt x="114" y="53"/>
                </a:cubicBezTo>
                <a:cubicBezTo>
                  <a:pt x="113" y="52"/>
                  <a:pt x="113" y="52"/>
                  <a:pt x="113" y="52"/>
                </a:cubicBezTo>
                <a:cubicBezTo>
                  <a:pt x="113" y="52"/>
                  <a:pt x="113" y="52"/>
                  <a:pt x="113" y="52"/>
                </a:cubicBezTo>
                <a:cubicBezTo>
                  <a:pt x="111" y="44"/>
                  <a:pt x="111" y="44"/>
                  <a:pt x="111" y="44"/>
                </a:cubicBezTo>
                <a:cubicBezTo>
                  <a:pt x="110" y="44"/>
                  <a:pt x="110" y="44"/>
                  <a:pt x="110" y="44"/>
                </a:cubicBezTo>
                <a:cubicBezTo>
                  <a:pt x="111" y="42"/>
                  <a:pt x="111" y="42"/>
                  <a:pt x="111" y="42"/>
                </a:cubicBezTo>
                <a:cubicBezTo>
                  <a:pt x="111" y="41"/>
                  <a:pt x="111" y="41"/>
                  <a:pt x="111" y="41"/>
                </a:cubicBezTo>
                <a:cubicBezTo>
                  <a:pt x="114" y="38"/>
                  <a:pt x="114" y="38"/>
                  <a:pt x="114" y="38"/>
                </a:cubicBezTo>
                <a:cubicBezTo>
                  <a:pt x="114" y="37"/>
                  <a:pt x="114" y="37"/>
                  <a:pt x="114" y="36"/>
                </a:cubicBezTo>
                <a:lnTo>
                  <a:pt x="114" y="3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Freeform 46">
            <a:extLst>
              <a:ext uri="{FF2B5EF4-FFF2-40B4-BE49-F238E27FC236}">
                <a16:creationId xmlns:a16="http://schemas.microsoft.com/office/drawing/2014/main" id="{65B2AE70-A49C-409C-B4B0-97CF1E6AC9A2}"/>
              </a:ext>
            </a:extLst>
          </p:cNvPr>
          <p:cNvSpPr>
            <a:spLocks/>
          </p:cNvSpPr>
          <p:nvPr/>
        </p:nvSpPr>
        <p:spPr bwMode="auto">
          <a:xfrm>
            <a:off x="3760667" y="3507907"/>
            <a:ext cx="233892" cy="276225"/>
          </a:xfrm>
          <a:custGeom>
            <a:avLst/>
            <a:gdLst>
              <a:gd name="T0" fmla="*/ 76 w 97"/>
              <a:gd name="T1" fmla="*/ 102 h 124"/>
              <a:gd name="T2" fmla="*/ 75 w 97"/>
              <a:gd name="T3" fmla="*/ 92 h 124"/>
              <a:gd name="T4" fmla="*/ 75 w 97"/>
              <a:gd name="T5" fmla="*/ 85 h 124"/>
              <a:gd name="T6" fmla="*/ 74 w 97"/>
              <a:gd name="T7" fmla="*/ 77 h 124"/>
              <a:gd name="T8" fmla="*/ 74 w 97"/>
              <a:gd name="T9" fmla="*/ 72 h 124"/>
              <a:gd name="T10" fmla="*/ 73 w 97"/>
              <a:gd name="T11" fmla="*/ 63 h 124"/>
              <a:gd name="T12" fmla="*/ 73 w 97"/>
              <a:gd name="T13" fmla="*/ 47 h 124"/>
              <a:gd name="T14" fmla="*/ 76 w 97"/>
              <a:gd name="T15" fmla="*/ 40 h 124"/>
              <a:gd name="T16" fmla="*/ 81 w 97"/>
              <a:gd name="T17" fmla="*/ 40 h 124"/>
              <a:gd name="T18" fmla="*/ 89 w 97"/>
              <a:gd name="T19" fmla="*/ 42 h 124"/>
              <a:gd name="T20" fmla="*/ 97 w 97"/>
              <a:gd name="T21" fmla="*/ 36 h 124"/>
              <a:gd name="T22" fmla="*/ 96 w 97"/>
              <a:gd name="T23" fmla="*/ 35 h 124"/>
              <a:gd name="T24" fmla="*/ 92 w 97"/>
              <a:gd name="T25" fmla="*/ 30 h 124"/>
              <a:gd name="T26" fmla="*/ 89 w 97"/>
              <a:gd name="T27" fmla="*/ 27 h 124"/>
              <a:gd name="T28" fmla="*/ 88 w 97"/>
              <a:gd name="T29" fmla="*/ 12 h 124"/>
              <a:gd name="T30" fmla="*/ 87 w 97"/>
              <a:gd name="T31" fmla="*/ 8 h 124"/>
              <a:gd name="T32" fmla="*/ 84 w 97"/>
              <a:gd name="T33" fmla="*/ 0 h 124"/>
              <a:gd name="T34" fmla="*/ 82 w 97"/>
              <a:gd name="T35" fmla="*/ 2 h 124"/>
              <a:gd name="T36" fmla="*/ 79 w 97"/>
              <a:gd name="T37" fmla="*/ 6 h 124"/>
              <a:gd name="T38" fmla="*/ 77 w 97"/>
              <a:gd name="T39" fmla="*/ 12 h 124"/>
              <a:gd name="T40" fmla="*/ 77 w 97"/>
              <a:gd name="T41" fmla="*/ 15 h 124"/>
              <a:gd name="T42" fmla="*/ 75 w 97"/>
              <a:gd name="T43" fmla="*/ 21 h 124"/>
              <a:gd name="T44" fmla="*/ 62 w 97"/>
              <a:gd name="T45" fmla="*/ 19 h 124"/>
              <a:gd name="T46" fmla="*/ 45 w 97"/>
              <a:gd name="T47" fmla="*/ 15 h 124"/>
              <a:gd name="T48" fmla="*/ 42 w 97"/>
              <a:gd name="T49" fmla="*/ 20 h 124"/>
              <a:gd name="T50" fmla="*/ 40 w 97"/>
              <a:gd name="T51" fmla="*/ 25 h 124"/>
              <a:gd name="T52" fmla="*/ 35 w 97"/>
              <a:gd name="T53" fmla="*/ 29 h 124"/>
              <a:gd name="T54" fmla="*/ 32 w 97"/>
              <a:gd name="T55" fmla="*/ 34 h 124"/>
              <a:gd name="T56" fmla="*/ 22 w 97"/>
              <a:gd name="T57" fmla="*/ 36 h 124"/>
              <a:gd name="T58" fmla="*/ 19 w 97"/>
              <a:gd name="T59" fmla="*/ 33 h 124"/>
              <a:gd name="T60" fmla="*/ 16 w 97"/>
              <a:gd name="T61" fmla="*/ 41 h 124"/>
              <a:gd name="T62" fmla="*/ 14 w 97"/>
              <a:gd name="T63" fmla="*/ 47 h 124"/>
              <a:gd name="T64" fmla="*/ 7 w 97"/>
              <a:gd name="T65" fmla="*/ 54 h 124"/>
              <a:gd name="T66" fmla="*/ 0 w 97"/>
              <a:gd name="T67" fmla="*/ 54 h 124"/>
              <a:gd name="T68" fmla="*/ 2 w 97"/>
              <a:gd name="T69" fmla="*/ 60 h 124"/>
              <a:gd name="T70" fmla="*/ 2 w 97"/>
              <a:gd name="T71" fmla="*/ 65 h 124"/>
              <a:gd name="T72" fmla="*/ 16 w 97"/>
              <a:gd name="T73" fmla="*/ 88 h 124"/>
              <a:gd name="T74" fmla="*/ 23 w 97"/>
              <a:gd name="T75" fmla="*/ 85 h 124"/>
              <a:gd name="T76" fmla="*/ 33 w 97"/>
              <a:gd name="T77" fmla="*/ 94 h 124"/>
              <a:gd name="T78" fmla="*/ 33 w 97"/>
              <a:gd name="T79" fmla="*/ 105 h 124"/>
              <a:gd name="T80" fmla="*/ 30 w 97"/>
              <a:gd name="T81" fmla="*/ 114 h 124"/>
              <a:gd name="T82" fmla="*/ 35 w 97"/>
              <a:gd name="T83" fmla="*/ 124 h 124"/>
              <a:gd name="T84" fmla="*/ 70 w 97"/>
              <a:gd name="T85" fmla="*/ 118 h 124"/>
              <a:gd name="T86" fmla="*/ 73 w 97"/>
              <a:gd name="T87" fmla="*/ 113 h 124"/>
              <a:gd name="T88" fmla="*/ 78 w 97"/>
              <a:gd name="T89" fmla="*/ 108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97" h="124">
                <a:moveTo>
                  <a:pt x="78" y="108"/>
                </a:moveTo>
                <a:cubicBezTo>
                  <a:pt x="78" y="108"/>
                  <a:pt x="77" y="105"/>
                  <a:pt x="76" y="103"/>
                </a:cubicBezTo>
                <a:cubicBezTo>
                  <a:pt x="76" y="102"/>
                  <a:pt x="76" y="102"/>
                  <a:pt x="76" y="102"/>
                </a:cubicBezTo>
                <a:cubicBezTo>
                  <a:pt x="75" y="101"/>
                  <a:pt x="74" y="100"/>
                  <a:pt x="75" y="98"/>
                </a:cubicBezTo>
                <a:cubicBezTo>
                  <a:pt x="75" y="97"/>
                  <a:pt x="74" y="96"/>
                  <a:pt x="75" y="94"/>
                </a:cubicBezTo>
                <a:cubicBezTo>
                  <a:pt x="75" y="93"/>
                  <a:pt x="75" y="93"/>
                  <a:pt x="75" y="92"/>
                </a:cubicBezTo>
                <a:cubicBezTo>
                  <a:pt x="75" y="92"/>
                  <a:pt x="74" y="91"/>
                  <a:pt x="75" y="89"/>
                </a:cubicBezTo>
                <a:cubicBezTo>
                  <a:pt x="75" y="88"/>
                  <a:pt x="75" y="88"/>
                  <a:pt x="75" y="88"/>
                </a:cubicBezTo>
                <a:cubicBezTo>
                  <a:pt x="75" y="87"/>
                  <a:pt x="74" y="86"/>
                  <a:pt x="75" y="85"/>
                </a:cubicBezTo>
                <a:cubicBezTo>
                  <a:pt x="75" y="84"/>
                  <a:pt x="75" y="83"/>
                  <a:pt x="75" y="83"/>
                </a:cubicBezTo>
                <a:cubicBezTo>
                  <a:pt x="74" y="82"/>
                  <a:pt x="74" y="81"/>
                  <a:pt x="74" y="80"/>
                </a:cubicBezTo>
                <a:cubicBezTo>
                  <a:pt x="73" y="79"/>
                  <a:pt x="74" y="78"/>
                  <a:pt x="74" y="77"/>
                </a:cubicBezTo>
                <a:cubicBezTo>
                  <a:pt x="74" y="77"/>
                  <a:pt x="74" y="77"/>
                  <a:pt x="74" y="77"/>
                </a:cubicBezTo>
                <a:cubicBezTo>
                  <a:pt x="73" y="76"/>
                  <a:pt x="73" y="75"/>
                  <a:pt x="74" y="73"/>
                </a:cubicBezTo>
                <a:cubicBezTo>
                  <a:pt x="74" y="73"/>
                  <a:pt x="74" y="74"/>
                  <a:pt x="74" y="72"/>
                </a:cubicBezTo>
                <a:cubicBezTo>
                  <a:pt x="73" y="68"/>
                  <a:pt x="73" y="68"/>
                  <a:pt x="73" y="68"/>
                </a:cubicBezTo>
                <a:cubicBezTo>
                  <a:pt x="73" y="68"/>
                  <a:pt x="73" y="68"/>
                  <a:pt x="73" y="68"/>
                </a:cubicBezTo>
                <a:cubicBezTo>
                  <a:pt x="73" y="63"/>
                  <a:pt x="73" y="63"/>
                  <a:pt x="73" y="63"/>
                </a:cubicBezTo>
                <a:cubicBezTo>
                  <a:pt x="73" y="63"/>
                  <a:pt x="73" y="63"/>
                  <a:pt x="73" y="63"/>
                </a:cubicBezTo>
                <a:cubicBezTo>
                  <a:pt x="73" y="62"/>
                  <a:pt x="73" y="62"/>
                  <a:pt x="73" y="62"/>
                </a:cubicBezTo>
                <a:cubicBezTo>
                  <a:pt x="73" y="47"/>
                  <a:pt x="73" y="47"/>
                  <a:pt x="73" y="47"/>
                </a:cubicBezTo>
                <a:cubicBezTo>
                  <a:pt x="73" y="45"/>
                  <a:pt x="73" y="45"/>
                  <a:pt x="73" y="45"/>
                </a:cubicBezTo>
                <a:cubicBezTo>
                  <a:pt x="73" y="45"/>
                  <a:pt x="73" y="45"/>
                  <a:pt x="73" y="44"/>
                </a:cubicBezTo>
                <a:cubicBezTo>
                  <a:pt x="74" y="43"/>
                  <a:pt x="75" y="41"/>
                  <a:pt x="76" y="40"/>
                </a:cubicBezTo>
                <a:cubicBezTo>
                  <a:pt x="76" y="40"/>
                  <a:pt x="76" y="40"/>
                  <a:pt x="76" y="40"/>
                </a:cubicBezTo>
                <a:cubicBezTo>
                  <a:pt x="76" y="40"/>
                  <a:pt x="77" y="40"/>
                  <a:pt x="78" y="40"/>
                </a:cubicBezTo>
                <a:cubicBezTo>
                  <a:pt x="79" y="40"/>
                  <a:pt x="80" y="40"/>
                  <a:pt x="81" y="40"/>
                </a:cubicBezTo>
                <a:cubicBezTo>
                  <a:pt x="82" y="40"/>
                  <a:pt x="82" y="40"/>
                  <a:pt x="83" y="41"/>
                </a:cubicBezTo>
                <a:cubicBezTo>
                  <a:pt x="84" y="42"/>
                  <a:pt x="84" y="42"/>
                  <a:pt x="84" y="42"/>
                </a:cubicBezTo>
                <a:cubicBezTo>
                  <a:pt x="89" y="42"/>
                  <a:pt x="89" y="42"/>
                  <a:pt x="89" y="42"/>
                </a:cubicBezTo>
                <a:cubicBezTo>
                  <a:pt x="90" y="42"/>
                  <a:pt x="92" y="42"/>
                  <a:pt x="92" y="41"/>
                </a:cubicBezTo>
                <a:cubicBezTo>
                  <a:pt x="95" y="39"/>
                  <a:pt x="95" y="39"/>
                  <a:pt x="95" y="39"/>
                </a:cubicBezTo>
                <a:cubicBezTo>
                  <a:pt x="97" y="36"/>
                  <a:pt x="97" y="36"/>
                  <a:pt x="97" y="36"/>
                </a:cubicBezTo>
                <a:cubicBezTo>
                  <a:pt x="97" y="36"/>
                  <a:pt x="97" y="36"/>
                  <a:pt x="97" y="36"/>
                </a:cubicBezTo>
                <a:cubicBezTo>
                  <a:pt x="97" y="36"/>
                  <a:pt x="97" y="36"/>
                  <a:pt x="97" y="36"/>
                </a:cubicBezTo>
                <a:cubicBezTo>
                  <a:pt x="97" y="36"/>
                  <a:pt x="96" y="36"/>
                  <a:pt x="96" y="35"/>
                </a:cubicBezTo>
                <a:cubicBezTo>
                  <a:pt x="94" y="34"/>
                  <a:pt x="94" y="34"/>
                  <a:pt x="94" y="34"/>
                </a:cubicBezTo>
                <a:cubicBezTo>
                  <a:pt x="93" y="33"/>
                  <a:pt x="93" y="33"/>
                  <a:pt x="93" y="33"/>
                </a:cubicBezTo>
                <a:cubicBezTo>
                  <a:pt x="92" y="30"/>
                  <a:pt x="92" y="30"/>
                  <a:pt x="92" y="30"/>
                </a:cubicBezTo>
                <a:cubicBezTo>
                  <a:pt x="91" y="30"/>
                  <a:pt x="91" y="30"/>
                  <a:pt x="91" y="29"/>
                </a:cubicBezTo>
                <a:cubicBezTo>
                  <a:pt x="91" y="29"/>
                  <a:pt x="91" y="29"/>
                  <a:pt x="91" y="29"/>
                </a:cubicBezTo>
                <a:cubicBezTo>
                  <a:pt x="90" y="29"/>
                  <a:pt x="89" y="28"/>
                  <a:pt x="89" y="27"/>
                </a:cubicBezTo>
                <a:cubicBezTo>
                  <a:pt x="89" y="15"/>
                  <a:pt x="89" y="15"/>
                  <a:pt x="89" y="15"/>
                </a:cubicBezTo>
                <a:cubicBezTo>
                  <a:pt x="88" y="13"/>
                  <a:pt x="88" y="13"/>
                  <a:pt x="88" y="13"/>
                </a:cubicBezTo>
                <a:cubicBezTo>
                  <a:pt x="88" y="12"/>
                  <a:pt x="88" y="12"/>
                  <a:pt x="88" y="12"/>
                </a:cubicBezTo>
                <a:cubicBezTo>
                  <a:pt x="88" y="10"/>
                  <a:pt x="88" y="10"/>
                  <a:pt x="88" y="10"/>
                </a:cubicBezTo>
                <a:cubicBezTo>
                  <a:pt x="87" y="8"/>
                  <a:pt x="87" y="8"/>
                  <a:pt x="87" y="8"/>
                </a:cubicBezTo>
                <a:cubicBezTo>
                  <a:pt x="87" y="8"/>
                  <a:pt x="87" y="8"/>
                  <a:pt x="87" y="8"/>
                </a:cubicBezTo>
                <a:cubicBezTo>
                  <a:pt x="86" y="8"/>
                  <a:pt x="85" y="7"/>
                  <a:pt x="85" y="6"/>
                </a:cubicBezTo>
                <a:cubicBezTo>
                  <a:pt x="85" y="2"/>
                  <a:pt x="85" y="2"/>
                  <a:pt x="85" y="2"/>
                </a:cubicBezTo>
                <a:cubicBezTo>
                  <a:pt x="85" y="2"/>
                  <a:pt x="85" y="1"/>
                  <a:pt x="84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3" y="1"/>
                  <a:pt x="83" y="1"/>
                  <a:pt x="82" y="2"/>
                </a:cubicBezTo>
                <a:cubicBezTo>
                  <a:pt x="82" y="2"/>
                  <a:pt x="82" y="2"/>
                  <a:pt x="82" y="2"/>
                </a:cubicBezTo>
                <a:cubicBezTo>
                  <a:pt x="83" y="3"/>
                  <a:pt x="83" y="3"/>
                  <a:pt x="83" y="4"/>
                </a:cubicBezTo>
                <a:cubicBezTo>
                  <a:pt x="82" y="4"/>
                  <a:pt x="82" y="5"/>
                  <a:pt x="81" y="5"/>
                </a:cubicBezTo>
                <a:cubicBezTo>
                  <a:pt x="79" y="6"/>
                  <a:pt x="79" y="6"/>
                  <a:pt x="79" y="6"/>
                </a:cubicBezTo>
                <a:cubicBezTo>
                  <a:pt x="79" y="6"/>
                  <a:pt x="79" y="6"/>
                  <a:pt x="80" y="6"/>
                </a:cubicBezTo>
                <a:cubicBezTo>
                  <a:pt x="81" y="8"/>
                  <a:pt x="79" y="10"/>
                  <a:pt x="79" y="11"/>
                </a:cubicBezTo>
                <a:cubicBezTo>
                  <a:pt x="78" y="11"/>
                  <a:pt x="78" y="12"/>
                  <a:pt x="77" y="12"/>
                </a:cubicBezTo>
                <a:cubicBezTo>
                  <a:pt x="76" y="12"/>
                  <a:pt x="76" y="12"/>
                  <a:pt x="76" y="12"/>
                </a:cubicBezTo>
                <a:cubicBezTo>
                  <a:pt x="76" y="13"/>
                  <a:pt x="76" y="13"/>
                  <a:pt x="76" y="13"/>
                </a:cubicBezTo>
                <a:cubicBezTo>
                  <a:pt x="77" y="15"/>
                  <a:pt x="77" y="15"/>
                  <a:pt x="77" y="15"/>
                </a:cubicBezTo>
                <a:cubicBezTo>
                  <a:pt x="77" y="16"/>
                  <a:pt x="77" y="16"/>
                  <a:pt x="77" y="16"/>
                </a:cubicBezTo>
                <a:cubicBezTo>
                  <a:pt x="77" y="19"/>
                  <a:pt x="77" y="19"/>
                  <a:pt x="77" y="19"/>
                </a:cubicBezTo>
                <a:cubicBezTo>
                  <a:pt x="77" y="20"/>
                  <a:pt x="76" y="21"/>
                  <a:pt x="75" y="21"/>
                </a:cubicBezTo>
                <a:cubicBezTo>
                  <a:pt x="66" y="21"/>
                  <a:pt x="66" y="21"/>
                  <a:pt x="66" y="21"/>
                </a:cubicBezTo>
                <a:cubicBezTo>
                  <a:pt x="65" y="21"/>
                  <a:pt x="64" y="20"/>
                  <a:pt x="64" y="19"/>
                </a:cubicBezTo>
                <a:cubicBezTo>
                  <a:pt x="62" y="19"/>
                  <a:pt x="62" y="19"/>
                  <a:pt x="62" y="19"/>
                </a:cubicBezTo>
                <a:cubicBezTo>
                  <a:pt x="61" y="19"/>
                  <a:pt x="60" y="18"/>
                  <a:pt x="60" y="17"/>
                </a:cubicBezTo>
                <a:cubicBezTo>
                  <a:pt x="60" y="15"/>
                  <a:pt x="60" y="15"/>
                  <a:pt x="60" y="15"/>
                </a:cubicBezTo>
                <a:cubicBezTo>
                  <a:pt x="45" y="15"/>
                  <a:pt x="45" y="15"/>
                  <a:pt x="45" y="15"/>
                </a:cubicBezTo>
                <a:cubicBezTo>
                  <a:pt x="44" y="16"/>
                  <a:pt x="44" y="16"/>
                  <a:pt x="44" y="16"/>
                </a:cubicBezTo>
                <a:cubicBezTo>
                  <a:pt x="44" y="18"/>
                  <a:pt x="44" y="18"/>
                  <a:pt x="44" y="18"/>
                </a:cubicBezTo>
                <a:cubicBezTo>
                  <a:pt x="44" y="19"/>
                  <a:pt x="43" y="20"/>
                  <a:pt x="42" y="20"/>
                </a:cubicBezTo>
                <a:cubicBezTo>
                  <a:pt x="42" y="20"/>
                  <a:pt x="42" y="20"/>
                  <a:pt x="42" y="20"/>
                </a:cubicBezTo>
                <a:cubicBezTo>
                  <a:pt x="42" y="21"/>
                  <a:pt x="43" y="21"/>
                  <a:pt x="43" y="22"/>
                </a:cubicBezTo>
                <a:cubicBezTo>
                  <a:pt x="43" y="23"/>
                  <a:pt x="42" y="24"/>
                  <a:pt x="40" y="25"/>
                </a:cubicBezTo>
                <a:cubicBezTo>
                  <a:pt x="40" y="25"/>
                  <a:pt x="40" y="25"/>
                  <a:pt x="40" y="24"/>
                </a:cubicBezTo>
                <a:cubicBezTo>
                  <a:pt x="40" y="25"/>
                  <a:pt x="39" y="26"/>
                  <a:pt x="38" y="26"/>
                </a:cubicBezTo>
                <a:cubicBezTo>
                  <a:pt x="38" y="26"/>
                  <a:pt x="36" y="27"/>
                  <a:pt x="35" y="29"/>
                </a:cubicBezTo>
                <a:cubicBezTo>
                  <a:pt x="34" y="32"/>
                  <a:pt x="33" y="32"/>
                  <a:pt x="32" y="32"/>
                </a:cubicBezTo>
                <a:cubicBezTo>
                  <a:pt x="32" y="32"/>
                  <a:pt x="32" y="32"/>
                  <a:pt x="32" y="32"/>
                </a:cubicBezTo>
                <a:cubicBezTo>
                  <a:pt x="32" y="34"/>
                  <a:pt x="32" y="34"/>
                  <a:pt x="32" y="34"/>
                </a:cubicBezTo>
                <a:cubicBezTo>
                  <a:pt x="32" y="36"/>
                  <a:pt x="31" y="36"/>
                  <a:pt x="30" y="37"/>
                </a:cubicBezTo>
                <a:cubicBezTo>
                  <a:pt x="29" y="37"/>
                  <a:pt x="28" y="36"/>
                  <a:pt x="27" y="36"/>
                </a:cubicBezTo>
                <a:cubicBezTo>
                  <a:pt x="22" y="36"/>
                  <a:pt x="22" y="36"/>
                  <a:pt x="22" y="36"/>
                </a:cubicBezTo>
                <a:cubicBezTo>
                  <a:pt x="21" y="36"/>
                  <a:pt x="20" y="35"/>
                  <a:pt x="20" y="34"/>
                </a:cubicBezTo>
                <a:cubicBezTo>
                  <a:pt x="20" y="33"/>
                  <a:pt x="20" y="33"/>
                  <a:pt x="20" y="33"/>
                </a:cubicBezTo>
                <a:cubicBezTo>
                  <a:pt x="19" y="33"/>
                  <a:pt x="19" y="33"/>
                  <a:pt x="19" y="33"/>
                </a:cubicBezTo>
                <a:cubicBezTo>
                  <a:pt x="18" y="34"/>
                  <a:pt x="17" y="35"/>
                  <a:pt x="16" y="35"/>
                </a:cubicBezTo>
                <a:cubicBezTo>
                  <a:pt x="16" y="36"/>
                  <a:pt x="16" y="37"/>
                  <a:pt x="16" y="38"/>
                </a:cubicBezTo>
                <a:cubicBezTo>
                  <a:pt x="16" y="39"/>
                  <a:pt x="16" y="41"/>
                  <a:pt x="16" y="41"/>
                </a:cubicBezTo>
                <a:cubicBezTo>
                  <a:pt x="16" y="42"/>
                  <a:pt x="16" y="42"/>
                  <a:pt x="16" y="42"/>
                </a:cubicBezTo>
                <a:cubicBezTo>
                  <a:pt x="14" y="45"/>
                  <a:pt x="14" y="45"/>
                  <a:pt x="14" y="45"/>
                </a:cubicBezTo>
                <a:cubicBezTo>
                  <a:pt x="14" y="47"/>
                  <a:pt x="14" y="47"/>
                  <a:pt x="14" y="47"/>
                </a:cubicBezTo>
                <a:cubicBezTo>
                  <a:pt x="14" y="47"/>
                  <a:pt x="14" y="48"/>
                  <a:pt x="13" y="48"/>
                </a:cubicBezTo>
                <a:cubicBezTo>
                  <a:pt x="12" y="49"/>
                  <a:pt x="11" y="51"/>
                  <a:pt x="11" y="51"/>
                </a:cubicBezTo>
                <a:cubicBezTo>
                  <a:pt x="11" y="53"/>
                  <a:pt x="8" y="53"/>
                  <a:pt x="7" y="54"/>
                </a:cubicBezTo>
                <a:cubicBezTo>
                  <a:pt x="6" y="54"/>
                  <a:pt x="6" y="54"/>
                  <a:pt x="6" y="54"/>
                </a:cubicBezTo>
                <a:cubicBezTo>
                  <a:pt x="5" y="54"/>
                  <a:pt x="4" y="54"/>
                  <a:pt x="3" y="54"/>
                </a:cubicBezTo>
                <a:cubicBezTo>
                  <a:pt x="0" y="54"/>
                  <a:pt x="0" y="54"/>
                  <a:pt x="0" y="54"/>
                </a:cubicBezTo>
                <a:cubicBezTo>
                  <a:pt x="0" y="54"/>
                  <a:pt x="0" y="54"/>
                  <a:pt x="0" y="54"/>
                </a:cubicBezTo>
                <a:cubicBezTo>
                  <a:pt x="0" y="54"/>
                  <a:pt x="0" y="54"/>
                  <a:pt x="0" y="54"/>
                </a:cubicBezTo>
                <a:cubicBezTo>
                  <a:pt x="2" y="60"/>
                  <a:pt x="2" y="60"/>
                  <a:pt x="2" y="60"/>
                </a:cubicBezTo>
                <a:cubicBezTo>
                  <a:pt x="2" y="62"/>
                  <a:pt x="2" y="62"/>
                  <a:pt x="2" y="62"/>
                </a:cubicBezTo>
                <a:cubicBezTo>
                  <a:pt x="1" y="64"/>
                  <a:pt x="1" y="64"/>
                  <a:pt x="1" y="64"/>
                </a:cubicBezTo>
                <a:cubicBezTo>
                  <a:pt x="2" y="65"/>
                  <a:pt x="2" y="65"/>
                  <a:pt x="2" y="65"/>
                </a:cubicBezTo>
                <a:cubicBezTo>
                  <a:pt x="6" y="78"/>
                  <a:pt x="6" y="78"/>
                  <a:pt x="6" y="78"/>
                </a:cubicBezTo>
                <a:cubicBezTo>
                  <a:pt x="9" y="82"/>
                  <a:pt x="9" y="82"/>
                  <a:pt x="9" y="82"/>
                </a:cubicBezTo>
                <a:cubicBezTo>
                  <a:pt x="16" y="88"/>
                  <a:pt x="16" y="88"/>
                  <a:pt x="16" y="88"/>
                </a:cubicBezTo>
                <a:cubicBezTo>
                  <a:pt x="18" y="86"/>
                  <a:pt x="18" y="86"/>
                  <a:pt x="18" y="86"/>
                </a:cubicBezTo>
                <a:cubicBezTo>
                  <a:pt x="19" y="85"/>
                  <a:pt x="19" y="85"/>
                  <a:pt x="19" y="85"/>
                </a:cubicBezTo>
                <a:cubicBezTo>
                  <a:pt x="23" y="85"/>
                  <a:pt x="23" y="85"/>
                  <a:pt x="23" y="85"/>
                </a:cubicBezTo>
                <a:cubicBezTo>
                  <a:pt x="26" y="87"/>
                  <a:pt x="26" y="87"/>
                  <a:pt x="26" y="87"/>
                </a:cubicBezTo>
                <a:cubicBezTo>
                  <a:pt x="26" y="87"/>
                  <a:pt x="31" y="91"/>
                  <a:pt x="32" y="93"/>
                </a:cubicBezTo>
                <a:cubicBezTo>
                  <a:pt x="33" y="94"/>
                  <a:pt x="33" y="94"/>
                  <a:pt x="33" y="94"/>
                </a:cubicBezTo>
                <a:cubicBezTo>
                  <a:pt x="34" y="99"/>
                  <a:pt x="34" y="99"/>
                  <a:pt x="34" y="99"/>
                </a:cubicBezTo>
                <a:cubicBezTo>
                  <a:pt x="34" y="100"/>
                  <a:pt x="34" y="100"/>
                  <a:pt x="34" y="100"/>
                </a:cubicBezTo>
                <a:cubicBezTo>
                  <a:pt x="33" y="105"/>
                  <a:pt x="33" y="105"/>
                  <a:pt x="33" y="105"/>
                </a:cubicBezTo>
                <a:cubicBezTo>
                  <a:pt x="30" y="111"/>
                  <a:pt x="30" y="111"/>
                  <a:pt x="30" y="111"/>
                </a:cubicBezTo>
                <a:cubicBezTo>
                  <a:pt x="30" y="112"/>
                  <a:pt x="30" y="112"/>
                  <a:pt x="30" y="112"/>
                </a:cubicBezTo>
                <a:cubicBezTo>
                  <a:pt x="30" y="114"/>
                  <a:pt x="30" y="114"/>
                  <a:pt x="30" y="114"/>
                </a:cubicBezTo>
                <a:cubicBezTo>
                  <a:pt x="30" y="115"/>
                  <a:pt x="30" y="115"/>
                  <a:pt x="30" y="115"/>
                </a:cubicBezTo>
                <a:cubicBezTo>
                  <a:pt x="31" y="116"/>
                  <a:pt x="31" y="116"/>
                  <a:pt x="31" y="116"/>
                </a:cubicBezTo>
                <a:cubicBezTo>
                  <a:pt x="35" y="124"/>
                  <a:pt x="35" y="124"/>
                  <a:pt x="35" y="124"/>
                </a:cubicBezTo>
                <a:cubicBezTo>
                  <a:pt x="38" y="124"/>
                  <a:pt x="38" y="124"/>
                  <a:pt x="38" y="124"/>
                </a:cubicBezTo>
                <a:cubicBezTo>
                  <a:pt x="65" y="121"/>
                  <a:pt x="65" y="121"/>
                  <a:pt x="65" y="121"/>
                </a:cubicBezTo>
                <a:cubicBezTo>
                  <a:pt x="70" y="118"/>
                  <a:pt x="70" y="118"/>
                  <a:pt x="70" y="118"/>
                </a:cubicBezTo>
                <a:cubicBezTo>
                  <a:pt x="70" y="116"/>
                  <a:pt x="70" y="116"/>
                  <a:pt x="70" y="116"/>
                </a:cubicBezTo>
                <a:cubicBezTo>
                  <a:pt x="72" y="113"/>
                  <a:pt x="72" y="113"/>
                  <a:pt x="72" y="113"/>
                </a:cubicBezTo>
                <a:cubicBezTo>
                  <a:pt x="73" y="113"/>
                  <a:pt x="73" y="113"/>
                  <a:pt x="73" y="113"/>
                </a:cubicBezTo>
                <a:cubicBezTo>
                  <a:pt x="81" y="111"/>
                  <a:pt x="81" y="111"/>
                  <a:pt x="81" y="111"/>
                </a:cubicBezTo>
                <a:cubicBezTo>
                  <a:pt x="78" y="108"/>
                  <a:pt x="78" y="108"/>
                  <a:pt x="78" y="108"/>
                </a:cubicBezTo>
                <a:cubicBezTo>
                  <a:pt x="78" y="108"/>
                  <a:pt x="78" y="108"/>
                  <a:pt x="78" y="10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Freeform 47">
            <a:extLst>
              <a:ext uri="{FF2B5EF4-FFF2-40B4-BE49-F238E27FC236}">
                <a16:creationId xmlns:a16="http://schemas.microsoft.com/office/drawing/2014/main" id="{9768D558-B2BA-4073-83B0-1CBF4FBAFFE6}"/>
              </a:ext>
            </a:extLst>
          </p:cNvPr>
          <p:cNvSpPr>
            <a:spLocks/>
          </p:cNvSpPr>
          <p:nvPr/>
        </p:nvSpPr>
        <p:spPr bwMode="auto">
          <a:xfrm>
            <a:off x="3392633" y="3293591"/>
            <a:ext cx="490141" cy="341313"/>
          </a:xfrm>
          <a:custGeom>
            <a:avLst/>
            <a:gdLst>
              <a:gd name="T0" fmla="*/ 158 w 203"/>
              <a:gd name="T1" fmla="*/ 146 h 153"/>
              <a:gd name="T2" fmla="*/ 162 w 203"/>
              <a:gd name="T3" fmla="*/ 140 h 153"/>
              <a:gd name="T4" fmla="*/ 164 w 203"/>
              <a:gd name="T5" fmla="*/ 133 h 153"/>
              <a:gd name="T6" fmla="*/ 165 w 203"/>
              <a:gd name="T7" fmla="*/ 128 h 153"/>
              <a:gd name="T8" fmla="*/ 174 w 203"/>
              <a:gd name="T9" fmla="*/ 125 h 153"/>
              <a:gd name="T10" fmla="*/ 180 w 203"/>
              <a:gd name="T11" fmla="*/ 128 h 153"/>
              <a:gd name="T12" fmla="*/ 184 w 203"/>
              <a:gd name="T13" fmla="*/ 124 h 153"/>
              <a:gd name="T14" fmla="*/ 190 w 203"/>
              <a:gd name="T15" fmla="*/ 115 h 153"/>
              <a:gd name="T16" fmla="*/ 192 w 203"/>
              <a:gd name="T17" fmla="*/ 112 h 153"/>
              <a:gd name="T18" fmla="*/ 188 w 203"/>
              <a:gd name="T19" fmla="*/ 100 h 153"/>
              <a:gd name="T20" fmla="*/ 192 w 203"/>
              <a:gd name="T21" fmla="*/ 94 h 153"/>
              <a:gd name="T22" fmla="*/ 194 w 203"/>
              <a:gd name="T23" fmla="*/ 93 h 153"/>
              <a:gd name="T24" fmla="*/ 200 w 203"/>
              <a:gd name="T25" fmla="*/ 77 h 153"/>
              <a:gd name="T26" fmla="*/ 202 w 203"/>
              <a:gd name="T27" fmla="*/ 69 h 153"/>
              <a:gd name="T28" fmla="*/ 197 w 203"/>
              <a:gd name="T29" fmla="*/ 65 h 153"/>
              <a:gd name="T30" fmla="*/ 178 w 203"/>
              <a:gd name="T31" fmla="*/ 64 h 153"/>
              <a:gd name="T32" fmla="*/ 174 w 203"/>
              <a:gd name="T33" fmla="*/ 62 h 153"/>
              <a:gd name="T34" fmla="*/ 169 w 203"/>
              <a:gd name="T35" fmla="*/ 57 h 153"/>
              <a:gd name="T36" fmla="*/ 159 w 203"/>
              <a:gd name="T37" fmla="*/ 53 h 153"/>
              <a:gd name="T38" fmla="*/ 157 w 203"/>
              <a:gd name="T39" fmla="*/ 54 h 153"/>
              <a:gd name="T40" fmla="*/ 146 w 203"/>
              <a:gd name="T41" fmla="*/ 55 h 153"/>
              <a:gd name="T42" fmla="*/ 140 w 203"/>
              <a:gd name="T43" fmla="*/ 47 h 153"/>
              <a:gd name="T44" fmla="*/ 140 w 203"/>
              <a:gd name="T45" fmla="*/ 43 h 153"/>
              <a:gd name="T46" fmla="*/ 141 w 203"/>
              <a:gd name="T47" fmla="*/ 36 h 153"/>
              <a:gd name="T48" fmla="*/ 141 w 203"/>
              <a:gd name="T49" fmla="*/ 35 h 153"/>
              <a:gd name="T50" fmla="*/ 134 w 203"/>
              <a:gd name="T51" fmla="*/ 35 h 153"/>
              <a:gd name="T52" fmla="*/ 123 w 203"/>
              <a:gd name="T53" fmla="*/ 37 h 153"/>
              <a:gd name="T54" fmla="*/ 120 w 203"/>
              <a:gd name="T55" fmla="*/ 36 h 153"/>
              <a:gd name="T56" fmla="*/ 115 w 203"/>
              <a:gd name="T57" fmla="*/ 33 h 153"/>
              <a:gd name="T58" fmla="*/ 111 w 203"/>
              <a:gd name="T59" fmla="*/ 29 h 153"/>
              <a:gd name="T60" fmla="*/ 108 w 203"/>
              <a:gd name="T61" fmla="*/ 26 h 153"/>
              <a:gd name="T62" fmla="*/ 103 w 203"/>
              <a:gd name="T63" fmla="*/ 19 h 153"/>
              <a:gd name="T64" fmla="*/ 99 w 203"/>
              <a:gd name="T65" fmla="*/ 16 h 153"/>
              <a:gd name="T66" fmla="*/ 95 w 203"/>
              <a:gd name="T67" fmla="*/ 11 h 153"/>
              <a:gd name="T68" fmla="*/ 97 w 203"/>
              <a:gd name="T69" fmla="*/ 8 h 153"/>
              <a:gd name="T70" fmla="*/ 83 w 203"/>
              <a:gd name="T71" fmla="*/ 7 h 153"/>
              <a:gd name="T72" fmla="*/ 74 w 203"/>
              <a:gd name="T73" fmla="*/ 0 h 153"/>
              <a:gd name="T74" fmla="*/ 56 w 203"/>
              <a:gd name="T75" fmla="*/ 40 h 153"/>
              <a:gd name="T76" fmla="*/ 18 w 203"/>
              <a:gd name="T77" fmla="*/ 51 h 153"/>
              <a:gd name="T78" fmla="*/ 10 w 203"/>
              <a:gd name="T79" fmla="*/ 43 h 153"/>
              <a:gd name="T80" fmla="*/ 1 w 203"/>
              <a:gd name="T81" fmla="*/ 53 h 153"/>
              <a:gd name="T82" fmla="*/ 16 w 203"/>
              <a:gd name="T83" fmla="*/ 66 h 153"/>
              <a:gd name="T84" fmla="*/ 39 w 203"/>
              <a:gd name="T85" fmla="*/ 74 h 153"/>
              <a:gd name="T86" fmla="*/ 44 w 203"/>
              <a:gd name="T87" fmla="*/ 81 h 153"/>
              <a:gd name="T88" fmla="*/ 51 w 203"/>
              <a:gd name="T89" fmla="*/ 83 h 153"/>
              <a:gd name="T90" fmla="*/ 61 w 203"/>
              <a:gd name="T91" fmla="*/ 84 h 153"/>
              <a:gd name="T92" fmla="*/ 60 w 203"/>
              <a:gd name="T93" fmla="*/ 92 h 153"/>
              <a:gd name="T94" fmla="*/ 56 w 203"/>
              <a:gd name="T95" fmla="*/ 97 h 153"/>
              <a:gd name="T96" fmla="*/ 54 w 203"/>
              <a:gd name="T97" fmla="*/ 110 h 153"/>
              <a:gd name="T98" fmla="*/ 67 w 203"/>
              <a:gd name="T99" fmla="*/ 119 h 153"/>
              <a:gd name="T100" fmla="*/ 73 w 203"/>
              <a:gd name="T101" fmla="*/ 116 h 153"/>
              <a:gd name="T102" fmla="*/ 78 w 203"/>
              <a:gd name="T103" fmla="*/ 118 h 153"/>
              <a:gd name="T104" fmla="*/ 81 w 203"/>
              <a:gd name="T105" fmla="*/ 122 h 153"/>
              <a:gd name="T106" fmla="*/ 82 w 203"/>
              <a:gd name="T107" fmla="*/ 125 h 153"/>
              <a:gd name="T108" fmla="*/ 83 w 203"/>
              <a:gd name="T109" fmla="*/ 132 h 153"/>
              <a:gd name="T110" fmla="*/ 89 w 203"/>
              <a:gd name="T111" fmla="*/ 135 h 153"/>
              <a:gd name="T112" fmla="*/ 93 w 203"/>
              <a:gd name="T113" fmla="*/ 144 h 153"/>
              <a:gd name="T114" fmla="*/ 103 w 203"/>
              <a:gd name="T115" fmla="*/ 146 h 153"/>
              <a:gd name="T116" fmla="*/ 104 w 203"/>
              <a:gd name="T117" fmla="*/ 151 h 153"/>
              <a:gd name="T118" fmla="*/ 125 w 203"/>
              <a:gd name="T119" fmla="*/ 125 h 153"/>
              <a:gd name="T120" fmla="*/ 145 w 203"/>
              <a:gd name="T121" fmla="*/ 138 h 153"/>
              <a:gd name="T122" fmla="*/ 152 w 203"/>
              <a:gd name="T123" fmla="*/ 146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03" h="153">
                <a:moveTo>
                  <a:pt x="156" y="146"/>
                </a:moveTo>
                <a:cubicBezTo>
                  <a:pt x="156" y="146"/>
                  <a:pt x="156" y="146"/>
                  <a:pt x="157" y="146"/>
                </a:cubicBezTo>
                <a:cubicBezTo>
                  <a:pt x="158" y="146"/>
                  <a:pt x="158" y="146"/>
                  <a:pt x="158" y="146"/>
                </a:cubicBezTo>
                <a:cubicBezTo>
                  <a:pt x="159" y="146"/>
                  <a:pt x="159" y="145"/>
                  <a:pt x="160" y="145"/>
                </a:cubicBezTo>
                <a:cubicBezTo>
                  <a:pt x="160" y="144"/>
                  <a:pt x="161" y="143"/>
                  <a:pt x="162" y="142"/>
                </a:cubicBezTo>
                <a:cubicBezTo>
                  <a:pt x="162" y="140"/>
                  <a:pt x="162" y="140"/>
                  <a:pt x="162" y="140"/>
                </a:cubicBezTo>
                <a:cubicBezTo>
                  <a:pt x="162" y="139"/>
                  <a:pt x="162" y="139"/>
                  <a:pt x="162" y="139"/>
                </a:cubicBezTo>
                <a:cubicBezTo>
                  <a:pt x="164" y="137"/>
                  <a:pt x="164" y="137"/>
                  <a:pt x="164" y="137"/>
                </a:cubicBezTo>
                <a:cubicBezTo>
                  <a:pt x="164" y="136"/>
                  <a:pt x="164" y="135"/>
                  <a:pt x="164" y="133"/>
                </a:cubicBezTo>
                <a:cubicBezTo>
                  <a:pt x="164" y="133"/>
                  <a:pt x="164" y="133"/>
                  <a:pt x="164" y="132"/>
                </a:cubicBezTo>
                <a:cubicBezTo>
                  <a:pt x="163" y="132"/>
                  <a:pt x="163" y="131"/>
                  <a:pt x="163" y="129"/>
                </a:cubicBezTo>
                <a:cubicBezTo>
                  <a:pt x="164" y="129"/>
                  <a:pt x="164" y="128"/>
                  <a:pt x="165" y="128"/>
                </a:cubicBezTo>
                <a:cubicBezTo>
                  <a:pt x="166" y="128"/>
                  <a:pt x="168" y="127"/>
                  <a:pt x="168" y="126"/>
                </a:cubicBezTo>
                <a:cubicBezTo>
                  <a:pt x="169" y="126"/>
                  <a:pt x="169" y="125"/>
                  <a:pt x="170" y="125"/>
                </a:cubicBezTo>
                <a:cubicBezTo>
                  <a:pt x="174" y="125"/>
                  <a:pt x="174" y="125"/>
                  <a:pt x="174" y="125"/>
                </a:cubicBezTo>
                <a:cubicBezTo>
                  <a:pt x="175" y="125"/>
                  <a:pt x="176" y="126"/>
                  <a:pt x="176" y="127"/>
                </a:cubicBezTo>
                <a:cubicBezTo>
                  <a:pt x="176" y="128"/>
                  <a:pt x="176" y="128"/>
                  <a:pt x="176" y="128"/>
                </a:cubicBezTo>
                <a:cubicBezTo>
                  <a:pt x="180" y="128"/>
                  <a:pt x="180" y="128"/>
                  <a:pt x="180" y="128"/>
                </a:cubicBezTo>
                <a:cubicBezTo>
                  <a:pt x="180" y="125"/>
                  <a:pt x="180" y="125"/>
                  <a:pt x="180" y="125"/>
                </a:cubicBezTo>
                <a:cubicBezTo>
                  <a:pt x="180" y="124"/>
                  <a:pt x="180" y="123"/>
                  <a:pt x="181" y="123"/>
                </a:cubicBezTo>
                <a:cubicBezTo>
                  <a:pt x="182" y="122"/>
                  <a:pt x="183" y="123"/>
                  <a:pt x="184" y="124"/>
                </a:cubicBezTo>
                <a:cubicBezTo>
                  <a:pt x="184" y="124"/>
                  <a:pt x="184" y="124"/>
                  <a:pt x="184" y="124"/>
                </a:cubicBezTo>
                <a:cubicBezTo>
                  <a:pt x="185" y="121"/>
                  <a:pt x="187" y="119"/>
                  <a:pt x="188" y="119"/>
                </a:cubicBezTo>
                <a:cubicBezTo>
                  <a:pt x="189" y="115"/>
                  <a:pt x="190" y="115"/>
                  <a:pt x="190" y="115"/>
                </a:cubicBezTo>
                <a:cubicBezTo>
                  <a:pt x="191" y="114"/>
                  <a:pt x="191" y="114"/>
                  <a:pt x="192" y="115"/>
                </a:cubicBezTo>
                <a:cubicBezTo>
                  <a:pt x="192" y="114"/>
                  <a:pt x="192" y="114"/>
                  <a:pt x="192" y="114"/>
                </a:cubicBezTo>
                <a:cubicBezTo>
                  <a:pt x="192" y="112"/>
                  <a:pt x="192" y="112"/>
                  <a:pt x="192" y="112"/>
                </a:cubicBezTo>
                <a:cubicBezTo>
                  <a:pt x="192" y="111"/>
                  <a:pt x="192" y="111"/>
                  <a:pt x="192" y="110"/>
                </a:cubicBezTo>
                <a:cubicBezTo>
                  <a:pt x="190" y="108"/>
                  <a:pt x="188" y="106"/>
                  <a:pt x="188" y="106"/>
                </a:cubicBezTo>
                <a:cubicBezTo>
                  <a:pt x="187" y="105"/>
                  <a:pt x="186" y="102"/>
                  <a:pt x="188" y="100"/>
                </a:cubicBezTo>
                <a:cubicBezTo>
                  <a:pt x="188" y="100"/>
                  <a:pt x="188" y="100"/>
                  <a:pt x="188" y="100"/>
                </a:cubicBezTo>
                <a:cubicBezTo>
                  <a:pt x="188" y="100"/>
                  <a:pt x="188" y="100"/>
                  <a:pt x="188" y="100"/>
                </a:cubicBezTo>
                <a:cubicBezTo>
                  <a:pt x="190" y="97"/>
                  <a:pt x="192" y="95"/>
                  <a:pt x="192" y="94"/>
                </a:cubicBezTo>
                <a:cubicBezTo>
                  <a:pt x="192" y="94"/>
                  <a:pt x="192" y="94"/>
                  <a:pt x="192" y="94"/>
                </a:cubicBezTo>
                <a:cubicBezTo>
                  <a:pt x="192" y="94"/>
                  <a:pt x="192" y="94"/>
                  <a:pt x="192" y="94"/>
                </a:cubicBezTo>
                <a:cubicBezTo>
                  <a:pt x="194" y="93"/>
                  <a:pt x="194" y="93"/>
                  <a:pt x="194" y="93"/>
                </a:cubicBezTo>
                <a:cubicBezTo>
                  <a:pt x="198" y="90"/>
                  <a:pt x="198" y="90"/>
                  <a:pt x="198" y="90"/>
                </a:cubicBezTo>
                <a:cubicBezTo>
                  <a:pt x="200" y="85"/>
                  <a:pt x="200" y="85"/>
                  <a:pt x="200" y="85"/>
                </a:cubicBezTo>
                <a:cubicBezTo>
                  <a:pt x="200" y="77"/>
                  <a:pt x="200" y="77"/>
                  <a:pt x="200" y="77"/>
                </a:cubicBezTo>
                <a:cubicBezTo>
                  <a:pt x="200" y="76"/>
                  <a:pt x="200" y="76"/>
                  <a:pt x="200" y="76"/>
                </a:cubicBezTo>
                <a:cubicBezTo>
                  <a:pt x="202" y="72"/>
                  <a:pt x="202" y="72"/>
                  <a:pt x="202" y="72"/>
                </a:cubicBezTo>
                <a:cubicBezTo>
                  <a:pt x="202" y="69"/>
                  <a:pt x="202" y="69"/>
                  <a:pt x="202" y="69"/>
                </a:cubicBezTo>
                <a:cubicBezTo>
                  <a:pt x="203" y="65"/>
                  <a:pt x="203" y="65"/>
                  <a:pt x="203" y="65"/>
                </a:cubicBezTo>
                <a:cubicBezTo>
                  <a:pt x="202" y="64"/>
                  <a:pt x="202" y="64"/>
                  <a:pt x="202" y="64"/>
                </a:cubicBezTo>
                <a:cubicBezTo>
                  <a:pt x="201" y="64"/>
                  <a:pt x="199" y="65"/>
                  <a:pt x="197" y="65"/>
                </a:cubicBezTo>
                <a:cubicBezTo>
                  <a:pt x="196" y="66"/>
                  <a:pt x="196" y="66"/>
                  <a:pt x="195" y="66"/>
                </a:cubicBezTo>
                <a:cubicBezTo>
                  <a:pt x="180" y="66"/>
                  <a:pt x="180" y="66"/>
                  <a:pt x="180" y="66"/>
                </a:cubicBezTo>
                <a:cubicBezTo>
                  <a:pt x="179" y="66"/>
                  <a:pt x="178" y="65"/>
                  <a:pt x="178" y="64"/>
                </a:cubicBezTo>
                <a:cubicBezTo>
                  <a:pt x="178" y="63"/>
                  <a:pt x="178" y="63"/>
                  <a:pt x="178" y="63"/>
                </a:cubicBezTo>
                <a:cubicBezTo>
                  <a:pt x="175" y="63"/>
                  <a:pt x="175" y="63"/>
                  <a:pt x="175" y="63"/>
                </a:cubicBezTo>
                <a:cubicBezTo>
                  <a:pt x="175" y="63"/>
                  <a:pt x="174" y="63"/>
                  <a:pt x="174" y="62"/>
                </a:cubicBezTo>
                <a:cubicBezTo>
                  <a:pt x="172" y="61"/>
                  <a:pt x="172" y="61"/>
                  <a:pt x="172" y="61"/>
                </a:cubicBezTo>
                <a:cubicBezTo>
                  <a:pt x="170" y="58"/>
                  <a:pt x="170" y="58"/>
                  <a:pt x="170" y="58"/>
                </a:cubicBezTo>
                <a:cubicBezTo>
                  <a:pt x="169" y="58"/>
                  <a:pt x="169" y="57"/>
                  <a:pt x="169" y="57"/>
                </a:cubicBezTo>
                <a:cubicBezTo>
                  <a:pt x="169" y="55"/>
                  <a:pt x="169" y="55"/>
                  <a:pt x="169" y="55"/>
                </a:cubicBezTo>
                <a:cubicBezTo>
                  <a:pt x="161" y="55"/>
                  <a:pt x="161" y="55"/>
                  <a:pt x="161" y="55"/>
                </a:cubicBezTo>
                <a:cubicBezTo>
                  <a:pt x="160" y="55"/>
                  <a:pt x="159" y="54"/>
                  <a:pt x="159" y="53"/>
                </a:cubicBezTo>
                <a:cubicBezTo>
                  <a:pt x="159" y="53"/>
                  <a:pt x="159" y="53"/>
                  <a:pt x="159" y="53"/>
                </a:cubicBezTo>
                <a:cubicBezTo>
                  <a:pt x="158" y="53"/>
                  <a:pt x="158" y="53"/>
                  <a:pt x="158" y="53"/>
                </a:cubicBezTo>
                <a:cubicBezTo>
                  <a:pt x="157" y="54"/>
                  <a:pt x="157" y="54"/>
                  <a:pt x="157" y="54"/>
                </a:cubicBezTo>
                <a:cubicBezTo>
                  <a:pt x="157" y="55"/>
                  <a:pt x="156" y="55"/>
                  <a:pt x="156" y="55"/>
                </a:cubicBezTo>
                <a:cubicBezTo>
                  <a:pt x="148" y="55"/>
                  <a:pt x="148" y="55"/>
                  <a:pt x="148" y="55"/>
                </a:cubicBezTo>
                <a:cubicBezTo>
                  <a:pt x="147" y="55"/>
                  <a:pt x="147" y="55"/>
                  <a:pt x="146" y="55"/>
                </a:cubicBezTo>
                <a:cubicBezTo>
                  <a:pt x="144" y="52"/>
                  <a:pt x="144" y="52"/>
                  <a:pt x="144" y="52"/>
                </a:cubicBezTo>
                <a:cubicBezTo>
                  <a:pt x="144" y="52"/>
                  <a:pt x="144" y="52"/>
                  <a:pt x="144" y="52"/>
                </a:cubicBezTo>
                <a:cubicBezTo>
                  <a:pt x="140" y="47"/>
                  <a:pt x="140" y="47"/>
                  <a:pt x="140" y="47"/>
                </a:cubicBezTo>
                <a:cubicBezTo>
                  <a:pt x="141" y="47"/>
                  <a:pt x="141" y="47"/>
                  <a:pt x="141" y="47"/>
                </a:cubicBezTo>
                <a:cubicBezTo>
                  <a:pt x="141" y="44"/>
                  <a:pt x="141" y="44"/>
                  <a:pt x="141" y="44"/>
                </a:cubicBezTo>
                <a:cubicBezTo>
                  <a:pt x="140" y="43"/>
                  <a:pt x="140" y="43"/>
                  <a:pt x="140" y="43"/>
                </a:cubicBezTo>
                <a:cubicBezTo>
                  <a:pt x="139" y="43"/>
                  <a:pt x="139" y="42"/>
                  <a:pt x="139" y="42"/>
                </a:cubicBezTo>
                <a:cubicBezTo>
                  <a:pt x="139" y="38"/>
                  <a:pt x="139" y="38"/>
                  <a:pt x="139" y="38"/>
                </a:cubicBezTo>
                <a:cubicBezTo>
                  <a:pt x="139" y="37"/>
                  <a:pt x="140" y="36"/>
                  <a:pt x="141" y="36"/>
                </a:cubicBezTo>
                <a:cubicBezTo>
                  <a:pt x="141" y="36"/>
                  <a:pt x="141" y="36"/>
                  <a:pt x="141" y="36"/>
                </a:cubicBezTo>
                <a:cubicBezTo>
                  <a:pt x="141" y="36"/>
                  <a:pt x="141" y="36"/>
                  <a:pt x="141" y="35"/>
                </a:cubicBezTo>
                <a:cubicBezTo>
                  <a:pt x="141" y="35"/>
                  <a:pt x="141" y="35"/>
                  <a:pt x="141" y="35"/>
                </a:cubicBezTo>
                <a:cubicBezTo>
                  <a:pt x="140" y="35"/>
                  <a:pt x="140" y="35"/>
                  <a:pt x="140" y="35"/>
                </a:cubicBezTo>
                <a:cubicBezTo>
                  <a:pt x="136" y="35"/>
                  <a:pt x="136" y="35"/>
                  <a:pt x="136" y="35"/>
                </a:cubicBezTo>
                <a:cubicBezTo>
                  <a:pt x="134" y="35"/>
                  <a:pt x="134" y="35"/>
                  <a:pt x="134" y="35"/>
                </a:cubicBezTo>
                <a:cubicBezTo>
                  <a:pt x="133" y="37"/>
                  <a:pt x="133" y="37"/>
                  <a:pt x="133" y="37"/>
                </a:cubicBezTo>
                <a:cubicBezTo>
                  <a:pt x="133" y="37"/>
                  <a:pt x="132" y="37"/>
                  <a:pt x="131" y="37"/>
                </a:cubicBezTo>
                <a:cubicBezTo>
                  <a:pt x="123" y="37"/>
                  <a:pt x="123" y="37"/>
                  <a:pt x="123" y="37"/>
                </a:cubicBezTo>
                <a:cubicBezTo>
                  <a:pt x="122" y="37"/>
                  <a:pt x="122" y="37"/>
                  <a:pt x="122" y="37"/>
                </a:cubicBezTo>
                <a:cubicBezTo>
                  <a:pt x="121" y="36"/>
                  <a:pt x="121" y="36"/>
                  <a:pt x="121" y="36"/>
                </a:cubicBezTo>
                <a:cubicBezTo>
                  <a:pt x="120" y="36"/>
                  <a:pt x="120" y="36"/>
                  <a:pt x="120" y="36"/>
                </a:cubicBezTo>
                <a:cubicBezTo>
                  <a:pt x="117" y="36"/>
                  <a:pt x="117" y="36"/>
                  <a:pt x="117" y="36"/>
                </a:cubicBezTo>
                <a:cubicBezTo>
                  <a:pt x="116" y="36"/>
                  <a:pt x="115" y="35"/>
                  <a:pt x="115" y="34"/>
                </a:cubicBezTo>
                <a:cubicBezTo>
                  <a:pt x="115" y="33"/>
                  <a:pt x="115" y="33"/>
                  <a:pt x="115" y="33"/>
                </a:cubicBezTo>
                <a:cubicBezTo>
                  <a:pt x="115" y="33"/>
                  <a:pt x="115" y="33"/>
                  <a:pt x="115" y="33"/>
                </a:cubicBezTo>
                <a:cubicBezTo>
                  <a:pt x="114" y="33"/>
                  <a:pt x="113" y="33"/>
                  <a:pt x="113" y="32"/>
                </a:cubicBezTo>
                <a:cubicBezTo>
                  <a:pt x="111" y="29"/>
                  <a:pt x="111" y="29"/>
                  <a:pt x="111" y="29"/>
                </a:cubicBezTo>
                <a:cubicBezTo>
                  <a:pt x="110" y="29"/>
                  <a:pt x="110" y="29"/>
                  <a:pt x="110" y="29"/>
                </a:cubicBezTo>
                <a:cubicBezTo>
                  <a:pt x="109" y="29"/>
                  <a:pt x="108" y="28"/>
                  <a:pt x="108" y="27"/>
                </a:cubicBezTo>
                <a:cubicBezTo>
                  <a:pt x="108" y="26"/>
                  <a:pt x="108" y="26"/>
                  <a:pt x="108" y="26"/>
                </a:cubicBezTo>
                <a:cubicBezTo>
                  <a:pt x="105" y="26"/>
                  <a:pt x="105" y="26"/>
                  <a:pt x="105" y="26"/>
                </a:cubicBezTo>
                <a:cubicBezTo>
                  <a:pt x="104" y="26"/>
                  <a:pt x="103" y="25"/>
                  <a:pt x="103" y="24"/>
                </a:cubicBezTo>
                <a:cubicBezTo>
                  <a:pt x="103" y="19"/>
                  <a:pt x="103" y="19"/>
                  <a:pt x="103" y="19"/>
                </a:cubicBezTo>
                <a:cubicBezTo>
                  <a:pt x="101" y="16"/>
                  <a:pt x="101" y="16"/>
                  <a:pt x="101" y="16"/>
                </a:cubicBezTo>
                <a:cubicBezTo>
                  <a:pt x="100" y="16"/>
                  <a:pt x="100" y="16"/>
                  <a:pt x="100" y="16"/>
                </a:cubicBezTo>
                <a:cubicBezTo>
                  <a:pt x="99" y="16"/>
                  <a:pt x="99" y="16"/>
                  <a:pt x="99" y="16"/>
                </a:cubicBezTo>
                <a:cubicBezTo>
                  <a:pt x="97" y="16"/>
                  <a:pt x="97" y="16"/>
                  <a:pt x="97" y="16"/>
                </a:cubicBezTo>
                <a:cubicBezTo>
                  <a:pt x="96" y="16"/>
                  <a:pt x="95" y="15"/>
                  <a:pt x="95" y="14"/>
                </a:cubicBezTo>
                <a:cubicBezTo>
                  <a:pt x="95" y="11"/>
                  <a:pt x="95" y="11"/>
                  <a:pt x="95" y="11"/>
                </a:cubicBezTo>
                <a:cubicBezTo>
                  <a:pt x="95" y="10"/>
                  <a:pt x="96" y="9"/>
                  <a:pt x="97" y="9"/>
                </a:cubicBezTo>
                <a:cubicBezTo>
                  <a:pt x="97" y="8"/>
                  <a:pt x="97" y="8"/>
                  <a:pt x="97" y="8"/>
                </a:cubicBezTo>
                <a:cubicBezTo>
                  <a:pt x="97" y="8"/>
                  <a:pt x="97" y="8"/>
                  <a:pt x="97" y="8"/>
                </a:cubicBezTo>
                <a:cubicBezTo>
                  <a:pt x="96" y="9"/>
                  <a:pt x="95" y="9"/>
                  <a:pt x="95" y="9"/>
                </a:cubicBezTo>
                <a:cubicBezTo>
                  <a:pt x="94" y="8"/>
                  <a:pt x="94" y="8"/>
                  <a:pt x="94" y="7"/>
                </a:cubicBezTo>
                <a:cubicBezTo>
                  <a:pt x="83" y="7"/>
                  <a:pt x="83" y="7"/>
                  <a:pt x="83" y="7"/>
                </a:cubicBezTo>
                <a:cubicBezTo>
                  <a:pt x="81" y="7"/>
                  <a:pt x="81" y="6"/>
                  <a:pt x="81" y="5"/>
                </a:cubicBezTo>
                <a:cubicBezTo>
                  <a:pt x="81" y="0"/>
                  <a:pt x="81" y="0"/>
                  <a:pt x="81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2" y="7"/>
                  <a:pt x="72" y="7"/>
                  <a:pt x="72" y="7"/>
                </a:cubicBezTo>
                <a:cubicBezTo>
                  <a:pt x="69" y="14"/>
                  <a:pt x="69" y="14"/>
                  <a:pt x="69" y="14"/>
                </a:cubicBezTo>
                <a:cubicBezTo>
                  <a:pt x="56" y="40"/>
                  <a:pt x="56" y="40"/>
                  <a:pt x="56" y="40"/>
                </a:cubicBezTo>
                <a:cubicBezTo>
                  <a:pt x="24" y="53"/>
                  <a:pt x="24" y="53"/>
                  <a:pt x="24" y="53"/>
                </a:cubicBezTo>
                <a:cubicBezTo>
                  <a:pt x="22" y="52"/>
                  <a:pt x="22" y="52"/>
                  <a:pt x="22" y="52"/>
                </a:cubicBezTo>
                <a:cubicBezTo>
                  <a:pt x="18" y="51"/>
                  <a:pt x="18" y="51"/>
                  <a:pt x="18" y="51"/>
                </a:cubicBezTo>
                <a:cubicBezTo>
                  <a:pt x="17" y="50"/>
                  <a:pt x="17" y="50"/>
                  <a:pt x="17" y="50"/>
                </a:cubicBezTo>
                <a:cubicBezTo>
                  <a:pt x="16" y="48"/>
                  <a:pt x="16" y="48"/>
                  <a:pt x="16" y="48"/>
                </a:cubicBezTo>
                <a:cubicBezTo>
                  <a:pt x="10" y="43"/>
                  <a:pt x="10" y="43"/>
                  <a:pt x="10" y="43"/>
                </a:cubicBezTo>
                <a:cubicBezTo>
                  <a:pt x="8" y="43"/>
                  <a:pt x="8" y="43"/>
                  <a:pt x="8" y="43"/>
                </a:cubicBezTo>
                <a:cubicBezTo>
                  <a:pt x="8" y="44"/>
                  <a:pt x="8" y="44"/>
                  <a:pt x="8" y="44"/>
                </a:cubicBezTo>
                <a:cubicBezTo>
                  <a:pt x="1" y="53"/>
                  <a:pt x="1" y="53"/>
                  <a:pt x="1" y="53"/>
                </a:cubicBezTo>
                <a:cubicBezTo>
                  <a:pt x="0" y="57"/>
                  <a:pt x="0" y="57"/>
                  <a:pt x="0" y="57"/>
                </a:cubicBezTo>
                <a:cubicBezTo>
                  <a:pt x="7" y="65"/>
                  <a:pt x="7" y="65"/>
                  <a:pt x="7" y="65"/>
                </a:cubicBezTo>
                <a:cubicBezTo>
                  <a:pt x="16" y="66"/>
                  <a:pt x="16" y="66"/>
                  <a:pt x="16" y="66"/>
                </a:cubicBezTo>
                <a:cubicBezTo>
                  <a:pt x="30" y="68"/>
                  <a:pt x="30" y="68"/>
                  <a:pt x="30" y="68"/>
                </a:cubicBezTo>
                <a:cubicBezTo>
                  <a:pt x="31" y="72"/>
                  <a:pt x="31" y="72"/>
                  <a:pt x="31" y="72"/>
                </a:cubicBezTo>
                <a:cubicBezTo>
                  <a:pt x="39" y="74"/>
                  <a:pt x="39" y="74"/>
                  <a:pt x="39" y="74"/>
                </a:cubicBezTo>
                <a:cubicBezTo>
                  <a:pt x="42" y="74"/>
                  <a:pt x="42" y="74"/>
                  <a:pt x="42" y="74"/>
                </a:cubicBezTo>
                <a:cubicBezTo>
                  <a:pt x="43" y="74"/>
                  <a:pt x="44" y="75"/>
                  <a:pt x="44" y="76"/>
                </a:cubicBezTo>
                <a:cubicBezTo>
                  <a:pt x="44" y="81"/>
                  <a:pt x="44" y="81"/>
                  <a:pt x="44" y="81"/>
                </a:cubicBezTo>
                <a:cubicBezTo>
                  <a:pt x="47" y="81"/>
                  <a:pt x="47" y="81"/>
                  <a:pt x="47" y="81"/>
                </a:cubicBezTo>
                <a:cubicBezTo>
                  <a:pt x="48" y="81"/>
                  <a:pt x="48" y="81"/>
                  <a:pt x="48" y="81"/>
                </a:cubicBezTo>
                <a:cubicBezTo>
                  <a:pt x="51" y="83"/>
                  <a:pt x="51" y="83"/>
                  <a:pt x="51" y="83"/>
                </a:cubicBezTo>
                <a:cubicBezTo>
                  <a:pt x="55" y="83"/>
                  <a:pt x="55" y="83"/>
                  <a:pt x="55" y="83"/>
                </a:cubicBezTo>
                <a:cubicBezTo>
                  <a:pt x="55" y="82"/>
                  <a:pt x="57" y="81"/>
                  <a:pt x="58" y="81"/>
                </a:cubicBezTo>
                <a:cubicBezTo>
                  <a:pt x="59" y="82"/>
                  <a:pt x="60" y="82"/>
                  <a:pt x="61" y="84"/>
                </a:cubicBezTo>
                <a:cubicBezTo>
                  <a:pt x="62" y="87"/>
                  <a:pt x="62" y="87"/>
                  <a:pt x="62" y="87"/>
                </a:cubicBezTo>
                <a:cubicBezTo>
                  <a:pt x="63" y="88"/>
                  <a:pt x="62" y="88"/>
                  <a:pt x="62" y="89"/>
                </a:cubicBezTo>
                <a:cubicBezTo>
                  <a:pt x="60" y="92"/>
                  <a:pt x="60" y="92"/>
                  <a:pt x="60" y="92"/>
                </a:cubicBezTo>
                <a:cubicBezTo>
                  <a:pt x="60" y="93"/>
                  <a:pt x="60" y="93"/>
                  <a:pt x="60" y="93"/>
                </a:cubicBezTo>
                <a:cubicBezTo>
                  <a:pt x="57" y="95"/>
                  <a:pt x="57" y="95"/>
                  <a:pt x="57" y="95"/>
                </a:cubicBezTo>
                <a:cubicBezTo>
                  <a:pt x="56" y="97"/>
                  <a:pt x="56" y="97"/>
                  <a:pt x="56" y="97"/>
                </a:cubicBezTo>
                <a:cubicBezTo>
                  <a:pt x="55" y="100"/>
                  <a:pt x="55" y="100"/>
                  <a:pt x="55" y="100"/>
                </a:cubicBezTo>
                <a:cubicBezTo>
                  <a:pt x="55" y="103"/>
                  <a:pt x="54" y="106"/>
                  <a:pt x="54" y="107"/>
                </a:cubicBezTo>
                <a:cubicBezTo>
                  <a:pt x="54" y="110"/>
                  <a:pt x="54" y="110"/>
                  <a:pt x="54" y="110"/>
                </a:cubicBezTo>
                <a:cubicBezTo>
                  <a:pt x="55" y="112"/>
                  <a:pt x="55" y="112"/>
                  <a:pt x="55" y="112"/>
                </a:cubicBezTo>
                <a:cubicBezTo>
                  <a:pt x="56" y="119"/>
                  <a:pt x="56" y="119"/>
                  <a:pt x="56" y="119"/>
                </a:cubicBezTo>
                <a:cubicBezTo>
                  <a:pt x="67" y="119"/>
                  <a:pt x="67" y="119"/>
                  <a:pt x="67" y="119"/>
                </a:cubicBezTo>
                <a:cubicBezTo>
                  <a:pt x="68" y="118"/>
                  <a:pt x="68" y="118"/>
                  <a:pt x="68" y="118"/>
                </a:cubicBezTo>
                <a:cubicBezTo>
                  <a:pt x="69" y="118"/>
                  <a:pt x="69" y="117"/>
                  <a:pt x="69" y="117"/>
                </a:cubicBezTo>
                <a:cubicBezTo>
                  <a:pt x="73" y="116"/>
                  <a:pt x="73" y="116"/>
                  <a:pt x="73" y="116"/>
                </a:cubicBezTo>
                <a:cubicBezTo>
                  <a:pt x="73" y="116"/>
                  <a:pt x="73" y="116"/>
                  <a:pt x="73" y="116"/>
                </a:cubicBezTo>
                <a:cubicBezTo>
                  <a:pt x="76" y="116"/>
                  <a:pt x="76" y="116"/>
                  <a:pt x="76" y="116"/>
                </a:cubicBezTo>
                <a:cubicBezTo>
                  <a:pt x="78" y="118"/>
                  <a:pt x="78" y="118"/>
                  <a:pt x="78" y="118"/>
                </a:cubicBezTo>
                <a:cubicBezTo>
                  <a:pt x="79" y="120"/>
                  <a:pt x="79" y="120"/>
                  <a:pt x="79" y="120"/>
                </a:cubicBezTo>
                <a:cubicBezTo>
                  <a:pt x="81" y="122"/>
                  <a:pt x="81" y="122"/>
                  <a:pt x="81" y="122"/>
                </a:cubicBezTo>
                <a:cubicBezTo>
                  <a:pt x="81" y="122"/>
                  <a:pt x="81" y="122"/>
                  <a:pt x="81" y="122"/>
                </a:cubicBezTo>
                <a:cubicBezTo>
                  <a:pt x="81" y="123"/>
                  <a:pt x="81" y="123"/>
                  <a:pt x="81" y="123"/>
                </a:cubicBezTo>
                <a:cubicBezTo>
                  <a:pt x="82" y="123"/>
                  <a:pt x="82" y="124"/>
                  <a:pt x="82" y="125"/>
                </a:cubicBezTo>
                <a:cubicBezTo>
                  <a:pt x="82" y="125"/>
                  <a:pt x="82" y="125"/>
                  <a:pt x="82" y="125"/>
                </a:cubicBezTo>
                <a:cubicBezTo>
                  <a:pt x="82" y="127"/>
                  <a:pt x="82" y="129"/>
                  <a:pt x="82" y="130"/>
                </a:cubicBezTo>
                <a:cubicBezTo>
                  <a:pt x="82" y="131"/>
                  <a:pt x="82" y="131"/>
                  <a:pt x="82" y="131"/>
                </a:cubicBezTo>
                <a:cubicBezTo>
                  <a:pt x="82" y="131"/>
                  <a:pt x="83" y="131"/>
                  <a:pt x="83" y="132"/>
                </a:cubicBezTo>
                <a:cubicBezTo>
                  <a:pt x="84" y="132"/>
                  <a:pt x="84" y="132"/>
                  <a:pt x="84" y="132"/>
                </a:cubicBezTo>
                <a:cubicBezTo>
                  <a:pt x="87" y="132"/>
                  <a:pt x="87" y="134"/>
                  <a:pt x="87" y="135"/>
                </a:cubicBezTo>
                <a:cubicBezTo>
                  <a:pt x="89" y="135"/>
                  <a:pt x="89" y="135"/>
                  <a:pt x="89" y="135"/>
                </a:cubicBezTo>
                <a:cubicBezTo>
                  <a:pt x="90" y="135"/>
                  <a:pt x="91" y="136"/>
                  <a:pt x="91" y="137"/>
                </a:cubicBezTo>
                <a:cubicBezTo>
                  <a:pt x="91" y="143"/>
                  <a:pt x="91" y="143"/>
                  <a:pt x="91" y="143"/>
                </a:cubicBezTo>
                <a:cubicBezTo>
                  <a:pt x="93" y="144"/>
                  <a:pt x="93" y="144"/>
                  <a:pt x="93" y="144"/>
                </a:cubicBezTo>
                <a:cubicBezTo>
                  <a:pt x="101" y="144"/>
                  <a:pt x="101" y="144"/>
                  <a:pt x="101" y="144"/>
                </a:cubicBezTo>
                <a:cubicBezTo>
                  <a:pt x="102" y="144"/>
                  <a:pt x="102" y="144"/>
                  <a:pt x="103" y="144"/>
                </a:cubicBezTo>
                <a:cubicBezTo>
                  <a:pt x="103" y="145"/>
                  <a:pt x="103" y="145"/>
                  <a:pt x="103" y="146"/>
                </a:cubicBezTo>
                <a:cubicBezTo>
                  <a:pt x="103" y="147"/>
                  <a:pt x="103" y="149"/>
                  <a:pt x="103" y="150"/>
                </a:cubicBezTo>
                <a:cubicBezTo>
                  <a:pt x="103" y="151"/>
                  <a:pt x="103" y="151"/>
                  <a:pt x="103" y="151"/>
                </a:cubicBezTo>
                <a:cubicBezTo>
                  <a:pt x="104" y="151"/>
                  <a:pt x="104" y="151"/>
                  <a:pt x="104" y="151"/>
                </a:cubicBezTo>
                <a:cubicBezTo>
                  <a:pt x="104" y="153"/>
                  <a:pt x="104" y="153"/>
                  <a:pt x="104" y="153"/>
                </a:cubicBezTo>
                <a:cubicBezTo>
                  <a:pt x="106" y="146"/>
                  <a:pt x="106" y="146"/>
                  <a:pt x="106" y="146"/>
                </a:cubicBezTo>
                <a:cubicBezTo>
                  <a:pt x="125" y="125"/>
                  <a:pt x="125" y="125"/>
                  <a:pt x="125" y="125"/>
                </a:cubicBezTo>
                <a:cubicBezTo>
                  <a:pt x="128" y="125"/>
                  <a:pt x="128" y="125"/>
                  <a:pt x="128" y="125"/>
                </a:cubicBezTo>
                <a:cubicBezTo>
                  <a:pt x="138" y="131"/>
                  <a:pt x="138" y="131"/>
                  <a:pt x="138" y="131"/>
                </a:cubicBezTo>
                <a:cubicBezTo>
                  <a:pt x="145" y="138"/>
                  <a:pt x="145" y="138"/>
                  <a:pt x="145" y="138"/>
                </a:cubicBezTo>
                <a:cubicBezTo>
                  <a:pt x="150" y="145"/>
                  <a:pt x="150" y="145"/>
                  <a:pt x="150" y="145"/>
                </a:cubicBezTo>
                <a:cubicBezTo>
                  <a:pt x="151" y="147"/>
                  <a:pt x="151" y="147"/>
                  <a:pt x="151" y="147"/>
                </a:cubicBezTo>
                <a:cubicBezTo>
                  <a:pt x="151" y="146"/>
                  <a:pt x="152" y="146"/>
                  <a:pt x="152" y="146"/>
                </a:cubicBezTo>
                <a:lnTo>
                  <a:pt x="156" y="1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Freeform 48">
            <a:extLst>
              <a:ext uri="{FF2B5EF4-FFF2-40B4-BE49-F238E27FC236}">
                <a16:creationId xmlns:a16="http://schemas.microsoft.com/office/drawing/2014/main" id="{4B3B2875-7CB0-403D-AD70-A26E2B1F3FEC}"/>
              </a:ext>
            </a:extLst>
          </p:cNvPr>
          <p:cNvSpPr>
            <a:spLocks/>
          </p:cNvSpPr>
          <p:nvPr/>
        </p:nvSpPr>
        <p:spPr bwMode="auto">
          <a:xfrm>
            <a:off x="3303205" y="3463454"/>
            <a:ext cx="342239" cy="276225"/>
          </a:xfrm>
          <a:custGeom>
            <a:avLst/>
            <a:gdLst>
              <a:gd name="T0" fmla="*/ 137 w 142"/>
              <a:gd name="T1" fmla="*/ 82 h 124"/>
              <a:gd name="T2" fmla="*/ 137 w 142"/>
              <a:gd name="T3" fmla="*/ 76 h 124"/>
              <a:gd name="T4" fmla="*/ 136 w 142"/>
              <a:gd name="T5" fmla="*/ 72 h 124"/>
              <a:gd name="T6" fmla="*/ 128 w 142"/>
              <a:gd name="T7" fmla="*/ 71 h 124"/>
              <a:gd name="T8" fmla="*/ 124 w 142"/>
              <a:gd name="T9" fmla="*/ 68 h 124"/>
              <a:gd name="T10" fmla="*/ 122 w 142"/>
              <a:gd name="T11" fmla="*/ 63 h 124"/>
              <a:gd name="T12" fmla="*/ 120 w 142"/>
              <a:gd name="T13" fmla="*/ 60 h 124"/>
              <a:gd name="T14" fmla="*/ 117 w 142"/>
              <a:gd name="T15" fmla="*/ 59 h 124"/>
              <a:gd name="T16" fmla="*/ 115 w 142"/>
              <a:gd name="T17" fmla="*/ 54 h 124"/>
              <a:gd name="T18" fmla="*/ 115 w 142"/>
              <a:gd name="T19" fmla="*/ 48 h 124"/>
              <a:gd name="T20" fmla="*/ 112 w 142"/>
              <a:gd name="T21" fmla="*/ 44 h 124"/>
              <a:gd name="T22" fmla="*/ 108 w 142"/>
              <a:gd name="T23" fmla="*/ 45 h 124"/>
              <a:gd name="T24" fmla="*/ 104 w 142"/>
              <a:gd name="T25" fmla="*/ 47 h 124"/>
              <a:gd name="T26" fmla="*/ 90 w 142"/>
              <a:gd name="T27" fmla="*/ 46 h 124"/>
              <a:gd name="T28" fmla="*/ 87 w 142"/>
              <a:gd name="T29" fmla="*/ 35 h 124"/>
              <a:gd name="T30" fmla="*/ 87 w 142"/>
              <a:gd name="T31" fmla="*/ 31 h 124"/>
              <a:gd name="T32" fmla="*/ 88 w 142"/>
              <a:gd name="T33" fmla="*/ 24 h 124"/>
              <a:gd name="T34" fmla="*/ 90 w 142"/>
              <a:gd name="T35" fmla="*/ 19 h 124"/>
              <a:gd name="T36" fmla="*/ 91 w 142"/>
              <a:gd name="T37" fmla="*/ 16 h 124"/>
              <a:gd name="T38" fmla="*/ 95 w 142"/>
              <a:gd name="T39" fmla="*/ 12 h 124"/>
              <a:gd name="T40" fmla="*/ 94 w 142"/>
              <a:gd name="T41" fmla="*/ 10 h 124"/>
              <a:gd name="T42" fmla="*/ 87 w 142"/>
              <a:gd name="T43" fmla="*/ 11 h 124"/>
              <a:gd name="T44" fmla="*/ 84 w 142"/>
              <a:gd name="T45" fmla="*/ 9 h 124"/>
              <a:gd name="T46" fmla="*/ 77 w 142"/>
              <a:gd name="T47" fmla="*/ 7 h 124"/>
              <a:gd name="T48" fmla="*/ 76 w 142"/>
              <a:gd name="T49" fmla="*/ 2 h 124"/>
              <a:gd name="T50" fmla="*/ 71 w 142"/>
              <a:gd name="T51" fmla="*/ 0 h 124"/>
              <a:gd name="T52" fmla="*/ 67 w 142"/>
              <a:gd name="T53" fmla="*/ 0 h 124"/>
              <a:gd name="T54" fmla="*/ 44 w 142"/>
              <a:gd name="T55" fmla="*/ 18 h 124"/>
              <a:gd name="T56" fmla="*/ 28 w 142"/>
              <a:gd name="T57" fmla="*/ 18 h 124"/>
              <a:gd name="T58" fmla="*/ 1 w 142"/>
              <a:gd name="T59" fmla="*/ 39 h 124"/>
              <a:gd name="T60" fmla="*/ 17 w 142"/>
              <a:gd name="T61" fmla="*/ 58 h 124"/>
              <a:gd name="T62" fmla="*/ 33 w 142"/>
              <a:gd name="T63" fmla="*/ 77 h 124"/>
              <a:gd name="T64" fmla="*/ 41 w 142"/>
              <a:gd name="T65" fmla="*/ 96 h 124"/>
              <a:gd name="T66" fmla="*/ 56 w 142"/>
              <a:gd name="T67" fmla="*/ 98 h 124"/>
              <a:gd name="T68" fmla="*/ 65 w 142"/>
              <a:gd name="T69" fmla="*/ 100 h 124"/>
              <a:gd name="T70" fmla="*/ 73 w 142"/>
              <a:gd name="T71" fmla="*/ 108 h 124"/>
              <a:gd name="T72" fmla="*/ 74 w 142"/>
              <a:gd name="T73" fmla="*/ 112 h 124"/>
              <a:gd name="T74" fmla="*/ 76 w 142"/>
              <a:gd name="T75" fmla="*/ 115 h 124"/>
              <a:gd name="T76" fmla="*/ 92 w 142"/>
              <a:gd name="T77" fmla="*/ 121 h 124"/>
              <a:gd name="T78" fmla="*/ 118 w 142"/>
              <a:gd name="T79" fmla="*/ 124 h 124"/>
              <a:gd name="T80" fmla="*/ 125 w 142"/>
              <a:gd name="T81" fmla="*/ 120 h 124"/>
              <a:gd name="T82" fmla="*/ 142 w 142"/>
              <a:gd name="T83" fmla="*/ 91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42" h="124">
                <a:moveTo>
                  <a:pt x="139" y="84"/>
                </a:moveTo>
                <a:cubicBezTo>
                  <a:pt x="137" y="82"/>
                  <a:pt x="137" y="82"/>
                  <a:pt x="137" y="82"/>
                </a:cubicBezTo>
                <a:cubicBezTo>
                  <a:pt x="137" y="81"/>
                  <a:pt x="137" y="81"/>
                  <a:pt x="137" y="81"/>
                </a:cubicBezTo>
                <a:cubicBezTo>
                  <a:pt x="137" y="76"/>
                  <a:pt x="137" y="76"/>
                  <a:pt x="137" y="76"/>
                </a:cubicBezTo>
                <a:cubicBezTo>
                  <a:pt x="136" y="75"/>
                  <a:pt x="136" y="75"/>
                  <a:pt x="136" y="75"/>
                </a:cubicBezTo>
                <a:cubicBezTo>
                  <a:pt x="136" y="74"/>
                  <a:pt x="136" y="73"/>
                  <a:pt x="136" y="72"/>
                </a:cubicBezTo>
                <a:cubicBezTo>
                  <a:pt x="129" y="72"/>
                  <a:pt x="129" y="72"/>
                  <a:pt x="129" y="72"/>
                </a:cubicBezTo>
                <a:cubicBezTo>
                  <a:pt x="129" y="72"/>
                  <a:pt x="129" y="71"/>
                  <a:pt x="128" y="71"/>
                </a:cubicBezTo>
                <a:cubicBezTo>
                  <a:pt x="125" y="69"/>
                  <a:pt x="125" y="69"/>
                  <a:pt x="125" y="69"/>
                </a:cubicBezTo>
                <a:cubicBezTo>
                  <a:pt x="124" y="69"/>
                  <a:pt x="124" y="68"/>
                  <a:pt x="124" y="68"/>
                </a:cubicBezTo>
                <a:cubicBezTo>
                  <a:pt x="124" y="63"/>
                  <a:pt x="124" y="63"/>
                  <a:pt x="124" y="63"/>
                </a:cubicBezTo>
                <a:cubicBezTo>
                  <a:pt x="122" y="63"/>
                  <a:pt x="122" y="63"/>
                  <a:pt x="122" y="63"/>
                </a:cubicBezTo>
                <a:cubicBezTo>
                  <a:pt x="121" y="63"/>
                  <a:pt x="120" y="62"/>
                  <a:pt x="120" y="61"/>
                </a:cubicBezTo>
                <a:cubicBezTo>
                  <a:pt x="120" y="60"/>
                  <a:pt x="120" y="60"/>
                  <a:pt x="120" y="60"/>
                </a:cubicBezTo>
                <a:cubicBezTo>
                  <a:pt x="119" y="60"/>
                  <a:pt x="119" y="60"/>
                  <a:pt x="118" y="59"/>
                </a:cubicBezTo>
                <a:cubicBezTo>
                  <a:pt x="117" y="59"/>
                  <a:pt x="117" y="59"/>
                  <a:pt x="117" y="59"/>
                </a:cubicBezTo>
                <a:cubicBezTo>
                  <a:pt x="116" y="59"/>
                  <a:pt x="115" y="58"/>
                  <a:pt x="115" y="57"/>
                </a:cubicBezTo>
                <a:cubicBezTo>
                  <a:pt x="115" y="54"/>
                  <a:pt x="115" y="54"/>
                  <a:pt x="115" y="54"/>
                </a:cubicBezTo>
                <a:cubicBezTo>
                  <a:pt x="115" y="52"/>
                  <a:pt x="115" y="51"/>
                  <a:pt x="115" y="50"/>
                </a:cubicBezTo>
                <a:cubicBezTo>
                  <a:pt x="115" y="50"/>
                  <a:pt x="115" y="49"/>
                  <a:pt x="115" y="48"/>
                </a:cubicBezTo>
                <a:cubicBezTo>
                  <a:pt x="113" y="46"/>
                  <a:pt x="113" y="46"/>
                  <a:pt x="113" y="46"/>
                </a:cubicBezTo>
                <a:cubicBezTo>
                  <a:pt x="112" y="44"/>
                  <a:pt x="112" y="44"/>
                  <a:pt x="112" y="44"/>
                </a:cubicBezTo>
                <a:cubicBezTo>
                  <a:pt x="110" y="44"/>
                  <a:pt x="110" y="44"/>
                  <a:pt x="110" y="44"/>
                </a:cubicBezTo>
                <a:cubicBezTo>
                  <a:pt x="108" y="45"/>
                  <a:pt x="108" y="45"/>
                  <a:pt x="108" y="45"/>
                </a:cubicBezTo>
                <a:cubicBezTo>
                  <a:pt x="106" y="47"/>
                  <a:pt x="106" y="47"/>
                  <a:pt x="106" y="47"/>
                </a:cubicBezTo>
                <a:cubicBezTo>
                  <a:pt x="105" y="47"/>
                  <a:pt x="105" y="47"/>
                  <a:pt x="104" y="47"/>
                </a:cubicBezTo>
                <a:cubicBezTo>
                  <a:pt x="92" y="47"/>
                  <a:pt x="92" y="47"/>
                  <a:pt x="92" y="47"/>
                </a:cubicBezTo>
                <a:cubicBezTo>
                  <a:pt x="91" y="47"/>
                  <a:pt x="90" y="46"/>
                  <a:pt x="90" y="46"/>
                </a:cubicBezTo>
                <a:cubicBezTo>
                  <a:pt x="88" y="37"/>
                  <a:pt x="88" y="37"/>
                  <a:pt x="88" y="37"/>
                </a:cubicBezTo>
                <a:cubicBezTo>
                  <a:pt x="87" y="35"/>
                  <a:pt x="87" y="35"/>
                  <a:pt x="87" y="35"/>
                </a:cubicBezTo>
                <a:cubicBezTo>
                  <a:pt x="87" y="34"/>
                  <a:pt x="87" y="34"/>
                  <a:pt x="87" y="34"/>
                </a:cubicBezTo>
                <a:cubicBezTo>
                  <a:pt x="87" y="31"/>
                  <a:pt x="87" y="31"/>
                  <a:pt x="87" y="31"/>
                </a:cubicBezTo>
                <a:cubicBezTo>
                  <a:pt x="87" y="30"/>
                  <a:pt x="87" y="30"/>
                  <a:pt x="87" y="30"/>
                </a:cubicBezTo>
                <a:cubicBezTo>
                  <a:pt x="87" y="30"/>
                  <a:pt x="88" y="27"/>
                  <a:pt x="88" y="24"/>
                </a:cubicBezTo>
                <a:cubicBezTo>
                  <a:pt x="88" y="23"/>
                  <a:pt x="88" y="23"/>
                  <a:pt x="88" y="23"/>
                </a:cubicBezTo>
                <a:cubicBezTo>
                  <a:pt x="90" y="19"/>
                  <a:pt x="90" y="19"/>
                  <a:pt x="90" y="19"/>
                </a:cubicBezTo>
                <a:cubicBezTo>
                  <a:pt x="91" y="17"/>
                  <a:pt x="91" y="17"/>
                  <a:pt x="91" y="17"/>
                </a:cubicBezTo>
                <a:cubicBezTo>
                  <a:pt x="91" y="16"/>
                  <a:pt x="91" y="16"/>
                  <a:pt x="91" y="16"/>
                </a:cubicBezTo>
                <a:cubicBezTo>
                  <a:pt x="94" y="14"/>
                  <a:pt x="94" y="14"/>
                  <a:pt x="94" y="14"/>
                </a:cubicBezTo>
                <a:cubicBezTo>
                  <a:pt x="95" y="12"/>
                  <a:pt x="95" y="12"/>
                  <a:pt x="95" y="12"/>
                </a:cubicBezTo>
                <a:cubicBezTo>
                  <a:pt x="94" y="10"/>
                  <a:pt x="94" y="10"/>
                  <a:pt x="94" y="10"/>
                </a:cubicBezTo>
                <a:cubicBezTo>
                  <a:pt x="94" y="10"/>
                  <a:pt x="94" y="10"/>
                  <a:pt x="94" y="10"/>
                </a:cubicBezTo>
                <a:cubicBezTo>
                  <a:pt x="94" y="10"/>
                  <a:pt x="93" y="11"/>
                  <a:pt x="92" y="11"/>
                </a:cubicBezTo>
                <a:cubicBezTo>
                  <a:pt x="87" y="11"/>
                  <a:pt x="87" y="11"/>
                  <a:pt x="87" y="11"/>
                </a:cubicBezTo>
                <a:cubicBezTo>
                  <a:pt x="87" y="11"/>
                  <a:pt x="86" y="11"/>
                  <a:pt x="86" y="10"/>
                </a:cubicBezTo>
                <a:cubicBezTo>
                  <a:pt x="84" y="9"/>
                  <a:pt x="84" y="9"/>
                  <a:pt x="84" y="9"/>
                </a:cubicBezTo>
                <a:cubicBezTo>
                  <a:pt x="79" y="9"/>
                  <a:pt x="79" y="9"/>
                  <a:pt x="79" y="9"/>
                </a:cubicBezTo>
                <a:cubicBezTo>
                  <a:pt x="78" y="9"/>
                  <a:pt x="77" y="8"/>
                  <a:pt x="77" y="7"/>
                </a:cubicBezTo>
                <a:cubicBezTo>
                  <a:pt x="77" y="2"/>
                  <a:pt x="77" y="2"/>
                  <a:pt x="77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5" y="2"/>
                  <a:pt x="75" y="2"/>
                  <a:pt x="75" y="2"/>
                </a:cubicBezTo>
                <a:cubicBezTo>
                  <a:pt x="71" y="0"/>
                  <a:pt x="71" y="0"/>
                  <a:pt x="71" y="0"/>
                </a:cubicBezTo>
                <a:cubicBezTo>
                  <a:pt x="68" y="0"/>
                  <a:pt x="68" y="0"/>
                  <a:pt x="68" y="0"/>
                </a:cubicBezTo>
                <a:cubicBezTo>
                  <a:pt x="68" y="0"/>
                  <a:pt x="68" y="0"/>
                  <a:pt x="67" y="0"/>
                </a:cubicBezTo>
                <a:cubicBezTo>
                  <a:pt x="48" y="16"/>
                  <a:pt x="48" y="16"/>
                  <a:pt x="48" y="16"/>
                </a:cubicBezTo>
                <a:cubicBezTo>
                  <a:pt x="44" y="18"/>
                  <a:pt x="44" y="18"/>
                  <a:pt x="44" y="18"/>
                </a:cubicBezTo>
                <a:cubicBezTo>
                  <a:pt x="42" y="19"/>
                  <a:pt x="42" y="19"/>
                  <a:pt x="42" y="19"/>
                </a:cubicBezTo>
                <a:cubicBezTo>
                  <a:pt x="28" y="18"/>
                  <a:pt x="28" y="18"/>
                  <a:pt x="28" y="18"/>
                </a:cubicBezTo>
                <a:cubicBezTo>
                  <a:pt x="0" y="34"/>
                  <a:pt x="0" y="34"/>
                  <a:pt x="0" y="34"/>
                </a:cubicBezTo>
                <a:cubicBezTo>
                  <a:pt x="1" y="39"/>
                  <a:pt x="1" y="39"/>
                  <a:pt x="1" y="39"/>
                </a:cubicBezTo>
                <a:cubicBezTo>
                  <a:pt x="15" y="57"/>
                  <a:pt x="15" y="57"/>
                  <a:pt x="15" y="57"/>
                </a:cubicBezTo>
                <a:cubicBezTo>
                  <a:pt x="17" y="58"/>
                  <a:pt x="17" y="58"/>
                  <a:pt x="17" y="58"/>
                </a:cubicBezTo>
                <a:cubicBezTo>
                  <a:pt x="26" y="68"/>
                  <a:pt x="26" y="68"/>
                  <a:pt x="26" y="68"/>
                </a:cubicBezTo>
                <a:cubicBezTo>
                  <a:pt x="33" y="77"/>
                  <a:pt x="33" y="77"/>
                  <a:pt x="33" y="77"/>
                </a:cubicBezTo>
                <a:cubicBezTo>
                  <a:pt x="40" y="93"/>
                  <a:pt x="40" y="93"/>
                  <a:pt x="40" y="93"/>
                </a:cubicBezTo>
                <a:cubicBezTo>
                  <a:pt x="41" y="96"/>
                  <a:pt x="41" y="96"/>
                  <a:pt x="41" y="96"/>
                </a:cubicBezTo>
                <a:cubicBezTo>
                  <a:pt x="46" y="97"/>
                  <a:pt x="46" y="97"/>
                  <a:pt x="46" y="97"/>
                </a:cubicBezTo>
                <a:cubicBezTo>
                  <a:pt x="56" y="98"/>
                  <a:pt x="56" y="98"/>
                  <a:pt x="56" y="98"/>
                </a:cubicBezTo>
                <a:cubicBezTo>
                  <a:pt x="62" y="99"/>
                  <a:pt x="62" y="99"/>
                  <a:pt x="62" y="99"/>
                </a:cubicBezTo>
                <a:cubicBezTo>
                  <a:pt x="65" y="100"/>
                  <a:pt x="65" y="100"/>
                  <a:pt x="65" y="100"/>
                </a:cubicBezTo>
                <a:cubicBezTo>
                  <a:pt x="71" y="104"/>
                  <a:pt x="71" y="104"/>
                  <a:pt x="71" y="104"/>
                </a:cubicBezTo>
                <a:cubicBezTo>
                  <a:pt x="73" y="108"/>
                  <a:pt x="73" y="108"/>
                  <a:pt x="73" y="108"/>
                </a:cubicBezTo>
                <a:cubicBezTo>
                  <a:pt x="74" y="111"/>
                  <a:pt x="74" y="111"/>
                  <a:pt x="74" y="111"/>
                </a:cubicBezTo>
                <a:cubicBezTo>
                  <a:pt x="74" y="112"/>
                  <a:pt x="74" y="112"/>
                  <a:pt x="74" y="112"/>
                </a:cubicBezTo>
                <a:cubicBezTo>
                  <a:pt x="75" y="113"/>
                  <a:pt x="75" y="113"/>
                  <a:pt x="75" y="113"/>
                </a:cubicBezTo>
                <a:cubicBezTo>
                  <a:pt x="76" y="115"/>
                  <a:pt x="76" y="115"/>
                  <a:pt x="76" y="115"/>
                </a:cubicBezTo>
                <a:cubicBezTo>
                  <a:pt x="82" y="119"/>
                  <a:pt x="82" y="119"/>
                  <a:pt x="82" y="119"/>
                </a:cubicBezTo>
                <a:cubicBezTo>
                  <a:pt x="92" y="121"/>
                  <a:pt x="92" y="121"/>
                  <a:pt x="92" y="121"/>
                </a:cubicBezTo>
                <a:cubicBezTo>
                  <a:pt x="116" y="124"/>
                  <a:pt x="116" y="124"/>
                  <a:pt x="116" y="124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2" y="123"/>
                  <a:pt x="122" y="123"/>
                  <a:pt x="122" y="123"/>
                </a:cubicBezTo>
                <a:cubicBezTo>
                  <a:pt x="125" y="120"/>
                  <a:pt x="125" y="120"/>
                  <a:pt x="125" y="120"/>
                </a:cubicBezTo>
                <a:cubicBezTo>
                  <a:pt x="142" y="97"/>
                  <a:pt x="142" y="97"/>
                  <a:pt x="142" y="97"/>
                </a:cubicBezTo>
                <a:cubicBezTo>
                  <a:pt x="142" y="91"/>
                  <a:pt x="142" y="91"/>
                  <a:pt x="142" y="91"/>
                </a:cubicBezTo>
                <a:lnTo>
                  <a:pt x="139" y="8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Freeform 49">
            <a:extLst>
              <a:ext uri="{FF2B5EF4-FFF2-40B4-BE49-F238E27FC236}">
                <a16:creationId xmlns:a16="http://schemas.microsoft.com/office/drawing/2014/main" id="{222E8574-A1BE-493D-8120-682F9D492BD0}"/>
              </a:ext>
            </a:extLst>
          </p:cNvPr>
          <p:cNvSpPr>
            <a:spLocks/>
          </p:cNvSpPr>
          <p:nvPr/>
        </p:nvSpPr>
        <p:spPr bwMode="auto">
          <a:xfrm>
            <a:off x="3886213" y="3122141"/>
            <a:ext cx="0" cy="1588"/>
          </a:xfrm>
          <a:custGeom>
            <a:avLst/>
            <a:gdLst>
              <a:gd name="T0" fmla="*/ 1 h 1"/>
              <a:gd name="T1" fmla="*/ 0 h 1"/>
              <a:gd name="T2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0"/>
                  <a:pt x="0" y="0"/>
                  <a:pt x="0" y="0"/>
                </a:cubicBezTo>
                <a:lnTo>
                  <a:pt x="0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Freeform 50">
            <a:extLst>
              <a:ext uri="{FF2B5EF4-FFF2-40B4-BE49-F238E27FC236}">
                <a16:creationId xmlns:a16="http://schemas.microsoft.com/office/drawing/2014/main" id="{F41243F9-6650-4A34-8994-A19D46C70122}"/>
              </a:ext>
            </a:extLst>
          </p:cNvPr>
          <p:cNvSpPr>
            <a:spLocks/>
          </p:cNvSpPr>
          <p:nvPr/>
        </p:nvSpPr>
        <p:spPr bwMode="auto">
          <a:xfrm>
            <a:off x="2324643" y="4812829"/>
            <a:ext cx="30956" cy="20638"/>
          </a:xfrm>
          <a:custGeom>
            <a:avLst/>
            <a:gdLst>
              <a:gd name="T0" fmla="*/ 16 w 18"/>
              <a:gd name="T1" fmla="*/ 0 h 13"/>
              <a:gd name="T2" fmla="*/ 15 w 18"/>
              <a:gd name="T3" fmla="*/ 0 h 13"/>
              <a:gd name="T4" fmla="*/ 1 w 18"/>
              <a:gd name="T5" fmla="*/ 9 h 13"/>
              <a:gd name="T6" fmla="*/ 0 w 18"/>
              <a:gd name="T7" fmla="*/ 12 h 13"/>
              <a:gd name="T8" fmla="*/ 0 w 18"/>
              <a:gd name="T9" fmla="*/ 12 h 13"/>
              <a:gd name="T10" fmla="*/ 1 w 18"/>
              <a:gd name="T11" fmla="*/ 13 h 13"/>
              <a:gd name="T12" fmla="*/ 2 w 18"/>
              <a:gd name="T13" fmla="*/ 13 h 13"/>
              <a:gd name="T14" fmla="*/ 15 w 18"/>
              <a:gd name="T15" fmla="*/ 9 h 13"/>
              <a:gd name="T16" fmla="*/ 15 w 18"/>
              <a:gd name="T17" fmla="*/ 7 h 13"/>
              <a:gd name="T18" fmla="*/ 16 w 18"/>
              <a:gd name="T19" fmla="*/ 6 h 13"/>
              <a:gd name="T20" fmla="*/ 18 w 18"/>
              <a:gd name="T21" fmla="*/ 5 h 13"/>
              <a:gd name="T22" fmla="*/ 18 w 18"/>
              <a:gd name="T23" fmla="*/ 3 h 13"/>
              <a:gd name="T24" fmla="*/ 18 w 18"/>
              <a:gd name="T25" fmla="*/ 2 h 13"/>
              <a:gd name="T26" fmla="*/ 18 w 18"/>
              <a:gd name="T27" fmla="*/ 0 h 13"/>
              <a:gd name="T28" fmla="*/ 16 w 18"/>
              <a:gd name="T29" fmla="*/ 0 h 13"/>
              <a:gd name="T30" fmla="*/ 16 w 18"/>
              <a:gd name="T31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8" h="13">
                <a:moveTo>
                  <a:pt x="16" y="0"/>
                </a:moveTo>
                <a:lnTo>
                  <a:pt x="15" y="0"/>
                </a:lnTo>
                <a:lnTo>
                  <a:pt x="1" y="9"/>
                </a:lnTo>
                <a:lnTo>
                  <a:pt x="0" y="12"/>
                </a:lnTo>
                <a:lnTo>
                  <a:pt x="0" y="12"/>
                </a:lnTo>
                <a:lnTo>
                  <a:pt x="1" y="13"/>
                </a:lnTo>
                <a:lnTo>
                  <a:pt x="2" y="13"/>
                </a:lnTo>
                <a:lnTo>
                  <a:pt x="15" y="9"/>
                </a:lnTo>
                <a:lnTo>
                  <a:pt x="15" y="7"/>
                </a:lnTo>
                <a:lnTo>
                  <a:pt x="16" y="6"/>
                </a:lnTo>
                <a:lnTo>
                  <a:pt x="18" y="5"/>
                </a:lnTo>
                <a:lnTo>
                  <a:pt x="18" y="3"/>
                </a:lnTo>
                <a:lnTo>
                  <a:pt x="18" y="2"/>
                </a:lnTo>
                <a:lnTo>
                  <a:pt x="18" y="0"/>
                </a:lnTo>
                <a:lnTo>
                  <a:pt x="16" y="0"/>
                </a:lnTo>
                <a:lnTo>
                  <a:pt x="1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Freeform 51">
            <a:extLst>
              <a:ext uri="{FF2B5EF4-FFF2-40B4-BE49-F238E27FC236}">
                <a16:creationId xmlns:a16="http://schemas.microsoft.com/office/drawing/2014/main" id="{B2059381-96CA-4F70-AB1F-9A025385900E}"/>
              </a:ext>
            </a:extLst>
          </p:cNvPr>
          <p:cNvSpPr>
            <a:spLocks/>
          </p:cNvSpPr>
          <p:nvPr/>
        </p:nvSpPr>
        <p:spPr bwMode="auto">
          <a:xfrm>
            <a:off x="3571491" y="3123732"/>
            <a:ext cx="326760" cy="307975"/>
          </a:xfrm>
          <a:custGeom>
            <a:avLst/>
            <a:gdLst>
              <a:gd name="T0" fmla="*/ 9 w 135"/>
              <a:gd name="T1" fmla="*/ 48 h 138"/>
              <a:gd name="T2" fmla="*/ 1 w 135"/>
              <a:gd name="T3" fmla="*/ 68 h 138"/>
              <a:gd name="T4" fmla="*/ 11 w 135"/>
              <a:gd name="T5" fmla="*/ 74 h 138"/>
              <a:gd name="T6" fmla="*/ 23 w 135"/>
              <a:gd name="T7" fmla="*/ 80 h 138"/>
              <a:gd name="T8" fmla="*/ 27 w 135"/>
              <a:gd name="T9" fmla="*/ 87 h 138"/>
              <a:gd name="T10" fmla="*/ 29 w 135"/>
              <a:gd name="T11" fmla="*/ 89 h 138"/>
              <a:gd name="T12" fmla="*/ 33 w 135"/>
              <a:gd name="T13" fmla="*/ 94 h 138"/>
              <a:gd name="T14" fmla="*/ 36 w 135"/>
              <a:gd name="T15" fmla="*/ 97 h 138"/>
              <a:gd name="T16" fmla="*/ 40 w 135"/>
              <a:gd name="T17" fmla="*/ 102 h 138"/>
              <a:gd name="T18" fmla="*/ 45 w 135"/>
              <a:gd name="T19" fmla="*/ 107 h 138"/>
              <a:gd name="T20" fmla="*/ 49 w 135"/>
              <a:gd name="T21" fmla="*/ 108 h 138"/>
              <a:gd name="T22" fmla="*/ 59 w 135"/>
              <a:gd name="T23" fmla="*/ 107 h 138"/>
              <a:gd name="T24" fmla="*/ 66 w 135"/>
              <a:gd name="T25" fmla="*/ 107 h 138"/>
              <a:gd name="T26" fmla="*/ 71 w 135"/>
              <a:gd name="T27" fmla="*/ 110 h 138"/>
              <a:gd name="T28" fmla="*/ 71 w 135"/>
              <a:gd name="T29" fmla="*/ 114 h 138"/>
              <a:gd name="T30" fmla="*/ 69 w 135"/>
              <a:gd name="T31" fmla="*/ 116 h 138"/>
              <a:gd name="T32" fmla="*/ 71 w 135"/>
              <a:gd name="T33" fmla="*/ 119 h 138"/>
              <a:gd name="T34" fmla="*/ 72 w 135"/>
              <a:gd name="T35" fmla="*/ 124 h 138"/>
              <a:gd name="T36" fmla="*/ 75 w 135"/>
              <a:gd name="T37" fmla="*/ 127 h 138"/>
              <a:gd name="T38" fmla="*/ 83 w 135"/>
              <a:gd name="T39" fmla="*/ 125 h 138"/>
              <a:gd name="T40" fmla="*/ 89 w 135"/>
              <a:gd name="T41" fmla="*/ 127 h 138"/>
              <a:gd name="T42" fmla="*/ 99 w 135"/>
              <a:gd name="T43" fmla="*/ 132 h 138"/>
              <a:gd name="T44" fmla="*/ 108 w 135"/>
              <a:gd name="T45" fmla="*/ 137 h 138"/>
              <a:gd name="T46" fmla="*/ 121 w 135"/>
              <a:gd name="T47" fmla="*/ 137 h 138"/>
              <a:gd name="T48" fmla="*/ 130 w 135"/>
              <a:gd name="T49" fmla="*/ 137 h 138"/>
              <a:gd name="T50" fmla="*/ 133 w 135"/>
              <a:gd name="T51" fmla="*/ 131 h 138"/>
              <a:gd name="T52" fmla="*/ 135 w 135"/>
              <a:gd name="T53" fmla="*/ 125 h 138"/>
              <a:gd name="T54" fmla="*/ 133 w 135"/>
              <a:gd name="T55" fmla="*/ 123 h 138"/>
              <a:gd name="T56" fmla="*/ 131 w 135"/>
              <a:gd name="T57" fmla="*/ 113 h 138"/>
              <a:gd name="T58" fmla="*/ 130 w 135"/>
              <a:gd name="T59" fmla="*/ 102 h 138"/>
              <a:gd name="T60" fmla="*/ 134 w 135"/>
              <a:gd name="T61" fmla="*/ 99 h 138"/>
              <a:gd name="T62" fmla="*/ 135 w 135"/>
              <a:gd name="T63" fmla="*/ 91 h 138"/>
              <a:gd name="T64" fmla="*/ 133 w 135"/>
              <a:gd name="T65" fmla="*/ 86 h 138"/>
              <a:gd name="T66" fmla="*/ 130 w 135"/>
              <a:gd name="T67" fmla="*/ 78 h 138"/>
              <a:gd name="T68" fmla="*/ 128 w 135"/>
              <a:gd name="T69" fmla="*/ 75 h 138"/>
              <a:gd name="T70" fmla="*/ 124 w 135"/>
              <a:gd name="T71" fmla="*/ 62 h 138"/>
              <a:gd name="T72" fmla="*/ 119 w 135"/>
              <a:gd name="T73" fmla="*/ 56 h 138"/>
              <a:gd name="T74" fmla="*/ 121 w 135"/>
              <a:gd name="T75" fmla="*/ 49 h 138"/>
              <a:gd name="T76" fmla="*/ 119 w 135"/>
              <a:gd name="T77" fmla="*/ 42 h 138"/>
              <a:gd name="T78" fmla="*/ 118 w 135"/>
              <a:gd name="T79" fmla="*/ 38 h 138"/>
              <a:gd name="T80" fmla="*/ 126 w 135"/>
              <a:gd name="T81" fmla="*/ 21 h 138"/>
              <a:gd name="T82" fmla="*/ 129 w 135"/>
              <a:gd name="T83" fmla="*/ 18 h 138"/>
              <a:gd name="T84" fmla="*/ 131 w 135"/>
              <a:gd name="T85" fmla="*/ 18 h 138"/>
              <a:gd name="T86" fmla="*/ 132 w 135"/>
              <a:gd name="T87" fmla="*/ 8 h 138"/>
              <a:gd name="T88" fmla="*/ 128 w 135"/>
              <a:gd name="T89" fmla="*/ 0 h 138"/>
              <a:gd name="T90" fmla="*/ 88 w 135"/>
              <a:gd name="T91" fmla="*/ 13 h 138"/>
              <a:gd name="T92" fmla="*/ 67 w 135"/>
              <a:gd name="T93" fmla="*/ 17 h 138"/>
              <a:gd name="T94" fmla="*/ 57 w 135"/>
              <a:gd name="T95" fmla="*/ 39 h 138"/>
              <a:gd name="T96" fmla="*/ 48 w 135"/>
              <a:gd name="T97" fmla="*/ 45 h 138"/>
              <a:gd name="T98" fmla="*/ 38 w 135"/>
              <a:gd name="T99" fmla="*/ 41 h 138"/>
              <a:gd name="T100" fmla="*/ 29 w 135"/>
              <a:gd name="T101" fmla="*/ 41 h 138"/>
              <a:gd name="T102" fmla="*/ 23 w 135"/>
              <a:gd name="T103" fmla="*/ 42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5" h="138">
                <a:moveTo>
                  <a:pt x="22" y="43"/>
                </a:moveTo>
                <a:cubicBezTo>
                  <a:pt x="11" y="45"/>
                  <a:pt x="11" y="45"/>
                  <a:pt x="11" y="45"/>
                </a:cubicBezTo>
                <a:cubicBezTo>
                  <a:pt x="9" y="48"/>
                  <a:pt x="9" y="48"/>
                  <a:pt x="9" y="48"/>
                </a:cubicBezTo>
                <a:cubicBezTo>
                  <a:pt x="2" y="56"/>
                  <a:pt x="2" y="56"/>
                  <a:pt x="2" y="56"/>
                </a:cubicBezTo>
                <a:cubicBezTo>
                  <a:pt x="3" y="56"/>
                  <a:pt x="3" y="56"/>
                  <a:pt x="3" y="56"/>
                </a:cubicBezTo>
                <a:cubicBezTo>
                  <a:pt x="1" y="68"/>
                  <a:pt x="1" y="68"/>
                  <a:pt x="1" y="68"/>
                </a:cubicBezTo>
                <a:cubicBezTo>
                  <a:pt x="0" y="72"/>
                  <a:pt x="0" y="72"/>
                  <a:pt x="0" y="72"/>
                </a:cubicBezTo>
                <a:cubicBezTo>
                  <a:pt x="9" y="72"/>
                  <a:pt x="9" y="72"/>
                  <a:pt x="9" y="72"/>
                </a:cubicBezTo>
                <a:cubicBezTo>
                  <a:pt x="10" y="72"/>
                  <a:pt x="11" y="73"/>
                  <a:pt x="11" y="74"/>
                </a:cubicBezTo>
                <a:cubicBezTo>
                  <a:pt x="11" y="79"/>
                  <a:pt x="11" y="79"/>
                  <a:pt x="11" y="79"/>
                </a:cubicBezTo>
                <a:cubicBezTo>
                  <a:pt x="22" y="79"/>
                  <a:pt x="22" y="79"/>
                  <a:pt x="22" y="79"/>
                </a:cubicBezTo>
                <a:cubicBezTo>
                  <a:pt x="23" y="80"/>
                  <a:pt x="23" y="80"/>
                  <a:pt x="23" y="80"/>
                </a:cubicBezTo>
                <a:cubicBezTo>
                  <a:pt x="24" y="80"/>
                  <a:pt x="25" y="80"/>
                  <a:pt x="25" y="80"/>
                </a:cubicBezTo>
                <a:cubicBezTo>
                  <a:pt x="26" y="81"/>
                  <a:pt x="27" y="82"/>
                  <a:pt x="27" y="83"/>
                </a:cubicBezTo>
                <a:cubicBezTo>
                  <a:pt x="27" y="87"/>
                  <a:pt x="27" y="87"/>
                  <a:pt x="27" y="87"/>
                </a:cubicBezTo>
                <a:cubicBezTo>
                  <a:pt x="27" y="87"/>
                  <a:pt x="27" y="87"/>
                  <a:pt x="27" y="88"/>
                </a:cubicBezTo>
                <a:cubicBezTo>
                  <a:pt x="27" y="88"/>
                  <a:pt x="27" y="88"/>
                  <a:pt x="27" y="88"/>
                </a:cubicBezTo>
                <a:cubicBezTo>
                  <a:pt x="29" y="89"/>
                  <a:pt x="29" y="89"/>
                  <a:pt x="29" y="89"/>
                </a:cubicBezTo>
                <a:cubicBezTo>
                  <a:pt x="30" y="89"/>
                  <a:pt x="30" y="89"/>
                  <a:pt x="30" y="90"/>
                </a:cubicBezTo>
                <a:cubicBezTo>
                  <a:pt x="33" y="93"/>
                  <a:pt x="33" y="93"/>
                  <a:pt x="33" y="93"/>
                </a:cubicBezTo>
                <a:cubicBezTo>
                  <a:pt x="33" y="94"/>
                  <a:pt x="33" y="94"/>
                  <a:pt x="33" y="94"/>
                </a:cubicBezTo>
                <a:cubicBezTo>
                  <a:pt x="33" y="98"/>
                  <a:pt x="33" y="98"/>
                  <a:pt x="33" y="98"/>
                </a:cubicBezTo>
                <a:cubicBezTo>
                  <a:pt x="33" y="98"/>
                  <a:pt x="33" y="98"/>
                  <a:pt x="33" y="98"/>
                </a:cubicBezTo>
                <a:cubicBezTo>
                  <a:pt x="35" y="97"/>
                  <a:pt x="36" y="97"/>
                  <a:pt x="36" y="97"/>
                </a:cubicBezTo>
                <a:cubicBezTo>
                  <a:pt x="37" y="97"/>
                  <a:pt x="38" y="98"/>
                  <a:pt x="38" y="100"/>
                </a:cubicBezTo>
                <a:cubicBezTo>
                  <a:pt x="38" y="101"/>
                  <a:pt x="38" y="101"/>
                  <a:pt x="38" y="101"/>
                </a:cubicBezTo>
                <a:cubicBezTo>
                  <a:pt x="39" y="101"/>
                  <a:pt x="39" y="101"/>
                  <a:pt x="40" y="102"/>
                </a:cubicBezTo>
                <a:cubicBezTo>
                  <a:pt x="42" y="105"/>
                  <a:pt x="42" y="105"/>
                  <a:pt x="42" y="105"/>
                </a:cubicBezTo>
                <a:cubicBezTo>
                  <a:pt x="43" y="105"/>
                  <a:pt x="43" y="105"/>
                  <a:pt x="43" y="105"/>
                </a:cubicBezTo>
                <a:cubicBezTo>
                  <a:pt x="45" y="105"/>
                  <a:pt x="45" y="106"/>
                  <a:pt x="45" y="107"/>
                </a:cubicBezTo>
                <a:cubicBezTo>
                  <a:pt x="45" y="108"/>
                  <a:pt x="45" y="108"/>
                  <a:pt x="45" y="108"/>
                </a:cubicBezTo>
                <a:cubicBezTo>
                  <a:pt x="46" y="107"/>
                  <a:pt x="46" y="107"/>
                  <a:pt x="46" y="107"/>
                </a:cubicBezTo>
                <a:cubicBezTo>
                  <a:pt x="47" y="107"/>
                  <a:pt x="48" y="107"/>
                  <a:pt x="49" y="108"/>
                </a:cubicBezTo>
                <a:cubicBezTo>
                  <a:pt x="50" y="109"/>
                  <a:pt x="50" y="109"/>
                  <a:pt x="50" y="109"/>
                </a:cubicBezTo>
                <a:cubicBezTo>
                  <a:pt x="56" y="109"/>
                  <a:pt x="56" y="109"/>
                  <a:pt x="56" y="109"/>
                </a:cubicBezTo>
                <a:cubicBezTo>
                  <a:pt x="59" y="107"/>
                  <a:pt x="59" y="107"/>
                  <a:pt x="59" y="107"/>
                </a:cubicBezTo>
                <a:cubicBezTo>
                  <a:pt x="62" y="107"/>
                  <a:pt x="62" y="107"/>
                  <a:pt x="62" y="107"/>
                </a:cubicBezTo>
                <a:cubicBezTo>
                  <a:pt x="66" y="107"/>
                  <a:pt x="66" y="107"/>
                  <a:pt x="66" y="107"/>
                </a:cubicBezTo>
                <a:cubicBezTo>
                  <a:pt x="66" y="107"/>
                  <a:pt x="66" y="107"/>
                  <a:pt x="66" y="107"/>
                </a:cubicBezTo>
                <a:cubicBezTo>
                  <a:pt x="68" y="107"/>
                  <a:pt x="68" y="107"/>
                  <a:pt x="68" y="107"/>
                </a:cubicBezTo>
                <a:cubicBezTo>
                  <a:pt x="68" y="106"/>
                  <a:pt x="68" y="106"/>
                  <a:pt x="68" y="106"/>
                </a:cubicBezTo>
                <a:cubicBezTo>
                  <a:pt x="69" y="107"/>
                  <a:pt x="70" y="108"/>
                  <a:pt x="71" y="110"/>
                </a:cubicBezTo>
                <a:cubicBezTo>
                  <a:pt x="71" y="110"/>
                  <a:pt x="71" y="110"/>
                  <a:pt x="71" y="110"/>
                </a:cubicBezTo>
                <a:cubicBezTo>
                  <a:pt x="71" y="111"/>
                  <a:pt x="71" y="111"/>
                  <a:pt x="71" y="111"/>
                </a:cubicBezTo>
                <a:cubicBezTo>
                  <a:pt x="71" y="114"/>
                  <a:pt x="71" y="114"/>
                  <a:pt x="71" y="114"/>
                </a:cubicBezTo>
                <a:cubicBezTo>
                  <a:pt x="72" y="114"/>
                  <a:pt x="71" y="115"/>
                  <a:pt x="71" y="115"/>
                </a:cubicBezTo>
                <a:cubicBezTo>
                  <a:pt x="71" y="116"/>
                  <a:pt x="70" y="116"/>
                  <a:pt x="69" y="116"/>
                </a:cubicBezTo>
                <a:cubicBezTo>
                  <a:pt x="69" y="116"/>
                  <a:pt x="69" y="116"/>
                  <a:pt x="69" y="116"/>
                </a:cubicBezTo>
                <a:cubicBezTo>
                  <a:pt x="69" y="117"/>
                  <a:pt x="69" y="117"/>
                  <a:pt x="69" y="117"/>
                </a:cubicBezTo>
                <a:cubicBezTo>
                  <a:pt x="71" y="118"/>
                  <a:pt x="71" y="118"/>
                  <a:pt x="71" y="118"/>
                </a:cubicBezTo>
                <a:cubicBezTo>
                  <a:pt x="71" y="119"/>
                  <a:pt x="71" y="119"/>
                  <a:pt x="71" y="119"/>
                </a:cubicBezTo>
                <a:cubicBezTo>
                  <a:pt x="71" y="120"/>
                  <a:pt x="71" y="120"/>
                  <a:pt x="71" y="120"/>
                </a:cubicBezTo>
                <a:cubicBezTo>
                  <a:pt x="72" y="120"/>
                  <a:pt x="73" y="120"/>
                  <a:pt x="73" y="121"/>
                </a:cubicBezTo>
                <a:cubicBezTo>
                  <a:pt x="74" y="122"/>
                  <a:pt x="73" y="124"/>
                  <a:pt x="72" y="124"/>
                </a:cubicBezTo>
                <a:cubicBezTo>
                  <a:pt x="73" y="124"/>
                  <a:pt x="73" y="124"/>
                  <a:pt x="73" y="124"/>
                </a:cubicBezTo>
                <a:cubicBezTo>
                  <a:pt x="73" y="125"/>
                  <a:pt x="73" y="125"/>
                  <a:pt x="73" y="125"/>
                </a:cubicBezTo>
                <a:cubicBezTo>
                  <a:pt x="75" y="127"/>
                  <a:pt x="75" y="127"/>
                  <a:pt x="75" y="127"/>
                </a:cubicBezTo>
                <a:cubicBezTo>
                  <a:pt x="81" y="127"/>
                  <a:pt x="81" y="127"/>
                  <a:pt x="81" y="127"/>
                </a:cubicBezTo>
                <a:cubicBezTo>
                  <a:pt x="82" y="126"/>
                  <a:pt x="82" y="126"/>
                  <a:pt x="82" y="126"/>
                </a:cubicBezTo>
                <a:cubicBezTo>
                  <a:pt x="82" y="125"/>
                  <a:pt x="83" y="125"/>
                  <a:pt x="83" y="125"/>
                </a:cubicBezTo>
                <a:cubicBezTo>
                  <a:pt x="87" y="125"/>
                  <a:pt x="87" y="125"/>
                  <a:pt x="87" y="125"/>
                </a:cubicBezTo>
                <a:cubicBezTo>
                  <a:pt x="88" y="125"/>
                  <a:pt x="89" y="126"/>
                  <a:pt x="89" y="127"/>
                </a:cubicBezTo>
                <a:cubicBezTo>
                  <a:pt x="89" y="127"/>
                  <a:pt x="89" y="127"/>
                  <a:pt x="89" y="127"/>
                </a:cubicBezTo>
                <a:cubicBezTo>
                  <a:pt x="97" y="127"/>
                  <a:pt x="97" y="127"/>
                  <a:pt x="97" y="127"/>
                </a:cubicBezTo>
                <a:cubicBezTo>
                  <a:pt x="98" y="127"/>
                  <a:pt x="99" y="128"/>
                  <a:pt x="99" y="129"/>
                </a:cubicBezTo>
                <a:cubicBezTo>
                  <a:pt x="99" y="132"/>
                  <a:pt x="99" y="132"/>
                  <a:pt x="99" y="132"/>
                </a:cubicBezTo>
                <a:cubicBezTo>
                  <a:pt x="102" y="135"/>
                  <a:pt x="102" y="135"/>
                  <a:pt x="102" y="135"/>
                </a:cubicBezTo>
                <a:cubicBezTo>
                  <a:pt x="106" y="135"/>
                  <a:pt x="106" y="135"/>
                  <a:pt x="106" y="135"/>
                </a:cubicBezTo>
                <a:cubicBezTo>
                  <a:pt x="107" y="135"/>
                  <a:pt x="108" y="136"/>
                  <a:pt x="108" y="137"/>
                </a:cubicBezTo>
                <a:cubicBezTo>
                  <a:pt x="109" y="138"/>
                  <a:pt x="109" y="138"/>
                  <a:pt x="109" y="138"/>
                </a:cubicBezTo>
                <a:cubicBezTo>
                  <a:pt x="118" y="138"/>
                  <a:pt x="118" y="138"/>
                  <a:pt x="118" y="138"/>
                </a:cubicBezTo>
                <a:cubicBezTo>
                  <a:pt x="118" y="137"/>
                  <a:pt x="120" y="137"/>
                  <a:pt x="121" y="137"/>
                </a:cubicBezTo>
                <a:cubicBezTo>
                  <a:pt x="124" y="137"/>
                  <a:pt x="128" y="136"/>
                  <a:pt x="128" y="136"/>
                </a:cubicBezTo>
                <a:cubicBezTo>
                  <a:pt x="128" y="136"/>
                  <a:pt x="128" y="136"/>
                  <a:pt x="129" y="136"/>
                </a:cubicBezTo>
                <a:cubicBezTo>
                  <a:pt x="130" y="137"/>
                  <a:pt x="130" y="137"/>
                  <a:pt x="130" y="137"/>
                </a:cubicBezTo>
                <a:cubicBezTo>
                  <a:pt x="130" y="134"/>
                  <a:pt x="130" y="134"/>
                  <a:pt x="130" y="134"/>
                </a:cubicBezTo>
                <a:cubicBezTo>
                  <a:pt x="130" y="133"/>
                  <a:pt x="130" y="133"/>
                  <a:pt x="130" y="133"/>
                </a:cubicBezTo>
                <a:cubicBezTo>
                  <a:pt x="133" y="131"/>
                  <a:pt x="133" y="131"/>
                  <a:pt x="133" y="131"/>
                </a:cubicBezTo>
                <a:cubicBezTo>
                  <a:pt x="133" y="129"/>
                  <a:pt x="133" y="129"/>
                  <a:pt x="133" y="129"/>
                </a:cubicBezTo>
                <a:cubicBezTo>
                  <a:pt x="133" y="128"/>
                  <a:pt x="133" y="127"/>
                  <a:pt x="133" y="127"/>
                </a:cubicBezTo>
                <a:cubicBezTo>
                  <a:pt x="135" y="125"/>
                  <a:pt x="135" y="125"/>
                  <a:pt x="135" y="125"/>
                </a:cubicBezTo>
                <a:cubicBezTo>
                  <a:pt x="135" y="125"/>
                  <a:pt x="135" y="125"/>
                  <a:pt x="135" y="125"/>
                </a:cubicBezTo>
                <a:cubicBezTo>
                  <a:pt x="134" y="125"/>
                  <a:pt x="134" y="125"/>
                  <a:pt x="134" y="125"/>
                </a:cubicBezTo>
                <a:cubicBezTo>
                  <a:pt x="133" y="125"/>
                  <a:pt x="132" y="124"/>
                  <a:pt x="133" y="123"/>
                </a:cubicBezTo>
                <a:cubicBezTo>
                  <a:pt x="133" y="123"/>
                  <a:pt x="133" y="122"/>
                  <a:pt x="133" y="121"/>
                </a:cubicBezTo>
                <a:cubicBezTo>
                  <a:pt x="133" y="114"/>
                  <a:pt x="133" y="114"/>
                  <a:pt x="133" y="114"/>
                </a:cubicBezTo>
                <a:cubicBezTo>
                  <a:pt x="132" y="114"/>
                  <a:pt x="131" y="113"/>
                  <a:pt x="131" y="113"/>
                </a:cubicBezTo>
                <a:cubicBezTo>
                  <a:pt x="130" y="112"/>
                  <a:pt x="130" y="111"/>
                  <a:pt x="130" y="109"/>
                </a:cubicBezTo>
                <a:cubicBezTo>
                  <a:pt x="130" y="107"/>
                  <a:pt x="130" y="104"/>
                  <a:pt x="130" y="103"/>
                </a:cubicBezTo>
                <a:cubicBezTo>
                  <a:pt x="130" y="102"/>
                  <a:pt x="130" y="102"/>
                  <a:pt x="130" y="102"/>
                </a:cubicBezTo>
                <a:cubicBezTo>
                  <a:pt x="132" y="99"/>
                  <a:pt x="132" y="99"/>
                  <a:pt x="132" y="99"/>
                </a:cubicBezTo>
                <a:cubicBezTo>
                  <a:pt x="133" y="98"/>
                  <a:pt x="133" y="98"/>
                  <a:pt x="133" y="98"/>
                </a:cubicBezTo>
                <a:cubicBezTo>
                  <a:pt x="134" y="98"/>
                  <a:pt x="134" y="98"/>
                  <a:pt x="134" y="99"/>
                </a:cubicBezTo>
                <a:cubicBezTo>
                  <a:pt x="134" y="97"/>
                  <a:pt x="134" y="97"/>
                  <a:pt x="134" y="97"/>
                </a:cubicBezTo>
                <a:cubicBezTo>
                  <a:pt x="134" y="96"/>
                  <a:pt x="134" y="94"/>
                  <a:pt x="135" y="92"/>
                </a:cubicBezTo>
                <a:cubicBezTo>
                  <a:pt x="135" y="91"/>
                  <a:pt x="135" y="91"/>
                  <a:pt x="135" y="91"/>
                </a:cubicBezTo>
                <a:cubicBezTo>
                  <a:pt x="133" y="89"/>
                  <a:pt x="133" y="89"/>
                  <a:pt x="133" y="89"/>
                </a:cubicBezTo>
                <a:cubicBezTo>
                  <a:pt x="133" y="89"/>
                  <a:pt x="132" y="88"/>
                  <a:pt x="133" y="87"/>
                </a:cubicBezTo>
                <a:cubicBezTo>
                  <a:pt x="133" y="86"/>
                  <a:pt x="133" y="86"/>
                  <a:pt x="133" y="86"/>
                </a:cubicBezTo>
                <a:cubicBezTo>
                  <a:pt x="132" y="85"/>
                  <a:pt x="132" y="84"/>
                  <a:pt x="132" y="83"/>
                </a:cubicBezTo>
                <a:cubicBezTo>
                  <a:pt x="132" y="83"/>
                  <a:pt x="132" y="83"/>
                  <a:pt x="132" y="83"/>
                </a:cubicBezTo>
                <a:cubicBezTo>
                  <a:pt x="130" y="82"/>
                  <a:pt x="130" y="80"/>
                  <a:pt x="130" y="78"/>
                </a:cubicBezTo>
                <a:cubicBezTo>
                  <a:pt x="130" y="77"/>
                  <a:pt x="130" y="77"/>
                  <a:pt x="130" y="76"/>
                </a:cubicBezTo>
                <a:cubicBezTo>
                  <a:pt x="129" y="76"/>
                  <a:pt x="129" y="76"/>
                  <a:pt x="129" y="76"/>
                </a:cubicBezTo>
                <a:cubicBezTo>
                  <a:pt x="128" y="76"/>
                  <a:pt x="128" y="75"/>
                  <a:pt x="128" y="75"/>
                </a:cubicBezTo>
                <a:cubicBezTo>
                  <a:pt x="125" y="66"/>
                  <a:pt x="125" y="66"/>
                  <a:pt x="125" y="66"/>
                </a:cubicBezTo>
                <a:cubicBezTo>
                  <a:pt x="125" y="66"/>
                  <a:pt x="125" y="66"/>
                  <a:pt x="126" y="66"/>
                </a:cubicBezTo>
                <a:cubicBezTo>
                  <a:pt x="124" y="62"/>
                  <a:pt x="124" y="62"/>
                  <a:pt x="124" y="62"/>
                </a:cubicBezTo>
                <a:cubicBezTo>
                  <a:pt x="122" y="59"/>
                  <a:pt x="122" y="59"/>
                  <a:pt x="122" y="59"/>
                </a:cubicBezTo>
                <a:cubicBezTo>
                  <a:pt x="120" y="58"/>
                  <a:pt x="120" y="58"/>
                  <a:pt x="120" y="58"/>
                </a:cubicBezTo>
                <a:cubicBezTo>
                  <a:pt x="119" y="57"/>
                  <a:pt x="119" y="57"/>
                  <a:pt x="119" y="56"/>
                </a:cubicBezTo>
                <a:cubicBezTo>
                  <a:pt x="119" y="54"/>
                  <a:pt x="119" y="54"/>
                  <a:pt x="119" y="54"/>
                </a:cubicBezTo>
                <a:cubicBezTo>
                  <a:pt x="119" y="53"/>
                  <a:pt x="119" y="53"/>
                  <a:pt x="119" y="53"/>
                </a:cubicBezTo>
                <a:cubicBezTo>
                  <a:pt x="120" y="52"/>
                  <a:pt x="121" y="50"/>
                  <a:pt x="121" y="49"/>
                </a:cubicBezTo>
                <a:cubicBezTo>
                  <a:pt x="121" y="49"/>
                  <a:pt x="121" y="48"/>
                  <a:pt x="121" y="47"/>
                </a:cubicBezTo>
                <a:cubicBezTo>
                  <a:pt x="121" y="45"/>
                  <a:pt x="121" y="45"/>
                  <a:pt x="121" y="45"/>
                </a:cubicBezTo>
                <a:cubicBezTo>
                  <a:pt x="119" y="42"/>
                  <a:pt x="119" y="42"/>
                  <a:pt x="119" y="42"/>
                </a:cubicBezTo>
                <a:cubicBezTo>
                  <a:pt x="119" y="41"/>
                  <a:pt x="119" y="41"/>
                  <a:pt x="119" y="41"/>
                </a:cubicBezTo>
                <a:cubicBezTo>
                  <a:pt x="119" y="38"/>
                  <a:pt x="119" y="38"/>
                  <a:pt x="119" y="38"/>
                </a:cubicBezTo>
                <a:cubicBezTo>
                  <a:pt x="119" y="38"/>
                  <a:pt x="119" y="38"/>
                  <a:pt x="118" y="38"/>
                </a:cubicBezTo>
                <a:cubicBezTo>
                  <a:pt x="117" y="36"/>
                  <a:pt x="118" y="34"/>
                  <a:pt x="119" y="33"/>
                </a:cubicBezTo>
                <a:cubicBezTo>
                  <a:pt x="124" y="24"/>
                  <a:pt x="124" y="24"/>
                  <a:pt x="124" y="24"/>
                </a:cubicBezTo>
                <a:cubicBezTo>
                  <a:pt x="126" y="21"/>
                  <a:pt x="126" y="21"/>
                  <a:pt x="126" y="21"/>
                </a:cubicBezTo>
                <a:cubicBezTo>
                  <a:pt x="126" y="20"/>
                  <a:pt x="126" y="20"/>
                  <a:pt x="126" y="20"/>
                </a:cubicBezTo>
                <a:cubicBezTo>
                  <a:pt x="126" y="20"/>
                  <a:pt x="126" y="19"/>
                  <a:pt x="127" y="19"/>
                </a:cubicBezTo>
                <a:cubicBezTo>
                  <a:pt x="127" y="18"/>
                  <a:pt x="128" y="18"/>
                  <a:pt x="129" y="18"/>
                </a:cubicBezTo>
                <a:cubicBezTo>
                  <a:pt x="129" y="18"/>
                  <a:pt x="129" y="18"/>
                  <a:pt x="129" y="18"/>
                </a:cubicBezTo>
                <a:cubicBezTo>
                  <a:pt x="129" y="18"/>
                  <a:pt x="129" y="19"/>
                  <a:pt x="131" y="18"/>
                </a:cubicBezTo>
                <a:cubicBezTo>
                  <a:pt x="131" y="18"/>
                  <a:pt x="131" y="18"/>
                  <a:pt x="131" y="18"/>
                </a:cubicBezTo>
                <a:cubicBezTo>
                  <a:pt x="131" y="13"/>
                  <a:pt x="131" y="13"/>
                  <a:pt x="131" y="13"/>
                </a:cubicBezTo>
                <a:cubicBezTo>
                  <a:pt x="131" y="13"/>
                  <a:pt x="131" y="13"/>
                  <a:pt x="131" y="13"/>
                </a:cubicBezTo>
                <a:cubicBezTo>
                  <a:pt x="132" y="8"/>
                  <a:pt x="132" y="8"/>
                  <a:pt x="132" y="8"/>
                </a:cubicBezTo>
                <a:cubicBezTo>
                  <a:pt x="132" y="4"/>
                  <a:pt x="132" y="4"/>
                  <a:pt x="132" y="4"/>
                </a:cubicBezTo>
                <a:cubicBezTo>
                  <a:pt x="128" y="0"/>
                  <a:pt x="128" y="0"/>
                  <a:pt x="128" y="0"/>
                </a:cubicBezTo>
                <a:cubicBezTo>
                  <a:pt x="128" y="0"/>
                  <a:pt x="128" y="0"/>
                  <a:pt x="128" y="0"/>
                </a:cubicBezTo>
                <a:cubicBezTo>
                  <a:pt x="121" y="4"/>
                  <a:pt x="121" y="4"/>
                  <a:pt x="121" y="4"/>
                </a:cubicBezTo>
                <a:cubicBezTo>
                  <a:pt x="96" y="13"/>
                  <a:pt x="96" y="13"/>
                  <a:pt x="96" y="13"/>
                </a:cubicBezTo>
                <a:cubicBezTo>
                  <a:pt x="88" y="13"/>
                  <a:pt x="88" y="13"/>
                  <a:pt x="88" y="13"/>
                </a:cubicBezTo>
                <a:cubicBezTo>
                  <a:pt x="82" y="14"/>
                  <a:pt x="82" y="14"/>
                  <a:pt x="82" y="14"/>
                </a:cubicBezTo>
                <a:cubicBezTo>
                  <a:pt x="79" y="13"/>
                  <a:pt x="79" y="13"/>
                  <a:pt x="79" y="13"/>
                </a:cubicBezTo>
                <a:cubicBezTo>
                  <a:pt x="67" y="17"/>
                  <a:pt x="67" y="17"/>
                  <a:pt x="67" y="17"/>
                </a:cubicBezTo>
                <a:cubicBezTo>
                  <a:pt x="63" y="27"/>
                  <a:pt x="63" y="27"/>
                  <a:pt x="63" y="27"/>
                </a:cubicBezTo>
                <a:cubicBezTo>
                  <a:pt x="59" y="37"/>
                  <a:pt x="59" y="37"/>
                  <a:pt x="59" y="37"/>
                </a:cubicBezTo>
                <a:cubicBezTo>
                  <a:pt x="57" y="39"/>
                  <a:pt x="57" y="39"/>
                  <a:pt x="57" y="39"/>
                </a:cubicBezTo>
                <a:cubicBezTo>
                  <a:pt x="53" y="43"/>
                  <a:pt x="53" y="43"/>
                  <a:pt x="53" y="43"/>
                </a:cubicBezTo>
                <a:cubicBezTo>
                  <a:pt x="51" y="45"/>
                  <a:pt x="51" y="45"/>
                  <a:pt x="51" y="45"/>
                </a:cubicBezTo>
                <a:cubicBezTo>
                  <a:pt x="48" y="45"/>
                  <a:pt x="48" y="45"/>
                  <a:pt x="48" y="45"/>
                </a:cubicBezTo>
                <a:cubicBezTo>
                  <a:pt x="44" y="45"/>
                  <a:pt x="44" y="45"/>
                  <a:pt x="44" y="45"/>
                </a:cubicBezTo>
                <a:cubicBezTo>
                  <a:pt x="41" y="43"/>
                  <a:pt x="41" y="43"/>
                  <a:pt x="41" y="43"/>
                </a:cubicBezTo>
                <a:cubicBezTo>
                  <a:pt x="38" y="41"/>
                  <a:pt x="38" y="41"/>
                  <a:pt x="38" y="41"/>
                </a:cubicBezTo>
                <a:cubicBezTo>
                  <a:pt x="36" y="40"/>
                  <a:pt x="36" y="40"/>
                  <a:pt x="36" y="40"/>
                </a:cubicBezTo>
                <a:cubicBezTo>
                  <a:pt x="34" y="40"/>
                  <a:pt x="34" y="40"/>
                  <a:pt x="34" y="40"/>
                </a:cubicBezTo>
                <a:cubicBezTo>
                  <a:pt x="29" y="41"/>
                  <a:pt x="29" y="41"/>
                  <a:pt x="29" y="41"/>
                </a:cubicBezTo>
                <a:cubicBezTo>
                  <a:pt x="25" y="42"/>
                  <a:pt x="25" y="42"/>
                  <a:pt x="25" y="42"/>
                </a:cubicBezTo>
                <a:cubicBezTo>
                  <a:pt x="25" y="42"/>
                  <a:pt x="25" y="42"/>
                  <a:pt x="25" y="42"/>
                </a:cubicBezTo>
                <a:cubicBezTo>
                  <a:pt x="23" y="42"/>
                  <a:pt x="23" y="42"/>
                  <a:pt x="23" y="42"/>
                </a:cubicBezTo>
                <a:lnTo>
                  <a:pt x="22" y="4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Freeform 52">
            <a:extLst>
              <a:ext uri="{FF2B5EF4-FFF2-40B4-BE49-F238E27FC236}">
                <a16:creationId xmlns:a16="http://schemas.microsoft.com/office/drawing/2014/main" id="{6AC1CF46-E5D5-4389-A768-7612DE216AED}"/>
              </a:ext>
            </a:extLst>
          </p:cNvPr>
          <p:cNvSpPr>
            <a:spLocks/>
          </p:cNvSpPr>
          <p:nvPr/>
        </p:nvSpPr>
        <p:spPr bwMode="auto">
          <a:xfrm>
            <a:off x="3853536" y="3409482"/>
            <a:ext cx="130704" cy="136525"/>
          </a:xfrm>
          <a:custGeom>
            <a:avLst/>
            <a:gdLst>
              <a:gd name="T0" fmla="*/ 5 w 54"/>
              <a:gd name="T1" fmla="*/ 44 h 61"/>
              <a:gd name="T2" fmla="*/ 3 w 54"/>
              <a:gd name="T3" fmla="*/ 48 h 61"/>
              <a:gd name="T4" fmla="*/ 4 w 54"/>
              <a:gd name="T5" fmla="*/ 55 h 61"/>
              <a:gd name="T6" fmla="*/ 23 w 54"/>
              <a:gd name="T7" fmla="*/ 55 h 61"/>
              <a:gd name="T8" fmla="*/ 25 w 54"/>
              <a:gd name="T9" fmla="*/ 59 h 61"/>
              <a:gd name="T10" fmla="*/ 29 w 54"/>
              <a:gd name="T11" fmla="*/ 61 h 61"/>
              <a:gd name="T12" fmla="*/ 34 w 54"/>
              <a:gd name="T13" fmla="*/ 60 h 61"/>
              <a:gd name="T14" fmla="*/ 33 w 54"/>
              <a:gd name="T15" fmla="*/ 56 h 61"/>
              <a:gd name="T16" fmla="*/ 34 w 54"/>
              <a:gd name="T17" fmla="*/ 53 h 61"/>
              <a:gd name="T18" fmla="*/ 35 w 54"/>
              <a:gd name="T19" fmla="*/ 48 h 61"/>
              <a:gd name="T20" fmla="*/ 38 w 54"/>
              <a:gd name="T21" fmla="*/ 46 h 61"/>
              <a:gd name="T22" fmla="*/ 39 w 54"/>
              <a:gd name="T23" fmla="*/ 46 h 61"/>
              <a:gd name="T24" fmla="*/ 43 w 54"/>
              <a:gd name="T25" fmla="*/ 41 h 61"/>
              <a:gd name="T26" fmla="*/ 44 w 54"/>
              <a:gd name="T27" fmla="*/ 40 h 61"/>
              <a:gd name="T28" fmla="*/ 42 w 54"/>
              <a:gd name="T29" fmla="*/ 32 h 61"/>
              <a:gd name="T30" fmla="*/ 42 w 54"/>
              <a:gd name="T31" fmla="*/ 27 h 61"/>
              <a:gd name="T32" fmla="*/ 47 w 54"/>
              <a:gd name="T33" fmla="*/ 20 h 61"/>
              <a:gd name="T34" fmla="*/ 53 w 54"/>
              <a:gd name="T35" fmla="*/ 16 h 61"/>
              <a:gd name="T36" fmla="*/ 54 w 54"/>
              <a:gd name="T37" fmla="*/ 15 h 61"/>
              <a:gd name="T38" fmla="*/ 52 w 54"/>
              <a:gd name="T39" fmla="*/ 11 h 61"/>
              <a:gd name="T40" fmla="*/ 47 w 54"/>
              <a:gd name="T41" fmla="*/ 11 h 61"/>
              <a:gd name="T42" fmla="*/ 38 w 54"/>
              <a:gd name="T43" fmla="*/ 13 h 61"/>
              <a:gd name="T44" fmla="*/ 34 w 54"/>
              <a:gd name="T45" fmla="*/ 14 h 61"/>
              <a:gd name="T46" fmla="*/ 30 w 54"/>
              <a:gd name="T47" fmla="*/ 14 h 61"/>
              <a:gd name="T48" fmla="*/ 26 w 54"/>
              <a:gd name="T49" fmla="*/ 12 h 61"/>
              <a:gd name="T50" fmla="*/ 24 w 54"/>
              <a:gd name="T51" fmla="*/ 10 h 61"/>
              <a:gd name="T52" fmla="*/ 23 w 54"/>
              <a:gd name="T53" fmla="*/ 6 h 61"/>
              <a:gd name="T54" fmla="*/ 24 w 54"/>
              <a:gd name="T55" fmla="*/ 2 h 61"/>
              <a:gd name="T56" fmla="*/ 21 w 54"/>
              <a:gd name="T57" fmla="*/ 0 h 61"/>
              <a:gd name="T58" fmla="*/ 20 w 54"/>
              <a:gd name="T59" fmla="*/ 4 h 61"/>
              <a:gd name="T60" fmla="*/ 17 w 54"/>
              <a:gd name="T61" fmla="*/ 7 h 61"/>
              <a:gd name="T62" fmla="*/ 16 w 54"/>
              <a:gd name="T63" fmla="*/ 11 h 61"/>
              <a:gd name="T64" fmla="*/ 15 w 54"/>
              <a:gd name="T65" fmla="*/ 18 h 61"/>
              <a:gd name="T66" fmla="*/ 15 w 54"/>
              <a:gd name="T67" fmla="*/ 21 h 61"/>
              <a:gd name="T68" fmla="*/ 13 w 54"/>
              <a:gd name="T69" fmla="*/ 33 h 61"/>
              <a:gd name="T70" fmla="*/ 10 w 54"/>
              <a:gd name="T71" fmla="*/ 4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4" h="61">
                <a:moveTo>
                  <a:pt x="9" y="41"/>
                </a:moveTo>
                <a:cubicBezTo>
                  <a:pt x="5" y="44"/>
                  <a:pt x="5" y="44"/>
                  <a:pt x="5" y="44"/>
                </a:cubicBezTo>
                <a:cubicBezTo>
                  <a:pt x="3" y="46"/>
                  <a:pt x="3" y="46"/>
                  <a:pt x="3" y="46"/>
                </a:cubicBezTo>
                <a:cubicBezTo>
                  <a:pt x="3" y="47"/>
                  <a:pt x="3" y="47"/>
                  <a:pt x="3" y="48"/>
                </a:cubicBezTo>
                <a:cubicBezTo>
                  <a:pt x="3" y="48"/>
                  <a:pt x="2" y="49"/>
                  <a:pt x="0" y="51"/>
                </a:cubicBezTo>
                <a:cubicBezTo>
                  <a:pt x="0" y="51"/>
                  <a:pt x="2" y="53"/>
                  <a:pt x="4" y="55"/>
                </a:cubicBezTo>
                <a:cubicBezTo>
                  <a:pt x="4" y="55"/>
                  <a:pt x="4" y="55"/>
                  <a:pt x="4" y="55"/>
                </a:cubicBezTo>
                <a:cubicBezTo>
                  <a:pt x="23" y="55"/>
                  <a:pt x="23" y="55"/>
                  <a:pt x="23" y="55"/>
                </a:cubicBezTo>
                <a:cubicBezTo>
                  <a:pt x="24" y="55"/>
                  <a:pt x="25" y="56"/>
                  <a:pt x="25" y="57"/>
                </a:cubicBezTo>
                <a:cubicBezTo>
                  <a:pt x="25" y="59"/>
                  <a:pt x="25" y="59"/>
                  <a:pt x="25" y="59"/>
                </a:cubicBezTo>
                <a:cubicBezTo>
                  <a:pt x="27" y="59"/>
                  <a:pt x="27" y="59"/>
                  <a:pt x="27" y="59"/>
                </a:cubicBezTo>
                <a:cubicBezTo>
                  <a:pt x="28" y="59"/>
                  <a:pt x="29" y="60"/>
                  <a:pt x="29" y="61"/>
                </a:cubicBezTo>
                <a:cubicBezTo>
                  <a:pt x="34" y="61"/>
                  <a:pt x="34" y="61"/>
                  <a:pt x="34" y="61"/>
                </a:cubicBezTo>
                <a:cubicBezTo>
                  <a:pt x="34" y="60"/>
                  <a:pt x="34" y="60"/>
                  <a:pt x="34" y="60"/>
                </a:cubicBezTo>
                <a:cubicBezTo>
                  <a:pt x="33" y="57"/>
                  <a:pt x="33" y="57"/>
                  <a:pt x="33" y="57"/>
                </a:cubicBezTo>
                <a:cubicBezTo>
                  <a:pt x="33" y="57"/>
                  <a:pt x="33" y="57"/>
                  <a:pt x="33" y="56"/>
                </a:cubicBezTo>
                <a:cubicBezTo>
                  <a:pt x="34" y="53"/>
                  <a:pt x="34" y="53"/>
                  <a:pt x="34" y="53"/>
                </a:cubicBezTo>
                <a:cubicBezTo>
                  <a:pt x="34" y="53"/>
                  <a:pt x="34" y="53"/>
                  <a:pt x="34" y="53"/>
                </a:cubicBezTo>
                <a:cubicBezTo>
                  <a:pt x="33" y="53"/>
                  <a:pt x="33" y="52"/>
                  <a:pt x="33" y="52"/>
                </a:cubicBezTo>
                <a:cubicBezTo>
                  <a:pt x="33" y="50"/>
                  <a:pt x="33" y="49"/>
                  <a:pt x="35" y="48"/>
                </a:cubicBezTo>
                <a:cubicBezTo>
                  <a:pt x="36" y="47"/>
                  <a:pt x="36" y="47"/>
                  <a:pt x="36" y="47"/>
                </a:cubicBezTo>
                <a:cubicBezTo>
                  <a:pt x="37" y="46"/>
                  <a:pt x="37" y="46"/>
                  <a:pt x="38" y="46"/>
                </a:cubicBezTo>
                <a:cubicBezTo>
                  <a:pt x="39" y="46"/>
                  <a:pt x="39" y="46"/>
                  <a:pt x="39" y="46"/>
                </a:cubicBezTo>
                <a:cubicBezTo>
                  <a:pt x="39" y="46"/>
                  <a:pt x="39" y="46"/>
                  <a:pt x="39" y="46"/>
                </a:cubicBezTo>
                <a:cubicBezTo>
                  <a:pt x="39" y="45"/>
                  <a:pt x="40" y="45"/>
                  <a:pt x="40" y="44"/>
                </a:cubicBezTo>
                <a:cubicBezTo>
                  <a:pt x="40" y="43"/>
                  <a:pt x="42" y="41"/>
                  <a:pt x="43" y="41"/>
                </a:cubicBezTo>
                <a:cubicBezTo>
                  <a:pt x="43" y="41"/>
                  <a:pt x="43" y="40"/>
                  <a:pt x="44" y="40"/>
                </a:cubicBezTo>
                <a:cubicBezTo>
                  <a:pt x="44" y="40"/>
                  <a:pt x="44" y="40"/>
                  <a:pt x="44" y="40"/>
                </a:cubicBezTo>
                <a:cubicBezTo>
                  <a:pt x="44" y="40"/>
                  <a:pt x="44" y="40"/>
                  <a:pt x="44" y="40"/>
                </a:cubicBezTo>
                <a:cubicBezTo>
                  <a:pt x="43" y="36"/>
                  <a:pt x="42" y="33"/>
                  <a:pt x="42" y="32"/>
                </a:cubicBezTo>
                <a:cubicBezTo>
                  <a:pt x="42" y="28"/>
                  <a:pt x="42" y="28"/>
                  <a:pt x="42" y="28"/>
                </a:cubicBezTo>
                <a:cubicBezTo>
                  <a:pt x="42" y="27"/>
                  <a:pt x="42" y="27"/>
                  <a:pt x="42" y="27"/>
                </a:cubicBezTo>
                <a:cubicBezTo>
                  <a:pt x="43" y="25"/>
                  <a:pt x="44" y="24"/>
                  <a:pt x="44" y="23"/>
                </a:cubicBezTo>
                <a:cubicBezTo>
                  <a:pt x="44" y="23"/>
                  <a:pt x="45" y="21"/>
                  <a:pt x="47" y="20"/>
                </a:cubicBezTo>
                <a:cubicBezTo>
                  <a:pt x="49" y="19"/>
                  <a:pt x="51" y="19"/>
                  <a:pt x="52" y="18"/>
                </a:cubicBezTo>
                <a:cubicBezTo>
                  <a:pt x="52" y="18"/>
                  <a:pt x="53" y="17"/>
                  <a:pt x="53" y="16"/>
                </a:cubicBezTo>
                <a:cubicBezTo>
                  <a:pt x="53" y="16"/>
                  <a:pt x="53" y="16"/>
                  <a:pt x="54" y="15"/>
                </a:cubicBezTo>
                <a:cubicBezTo>
                  <a:pt x="54" y="15"/>
                  <a:pt x="54" y="15"/>
                  <a:pt x="54" y="15"/>
                </a:cubicBezTo>
                <a:cubicBezTo>
                  <a:pt x="53" y="12"/>
                  <a:pt x="53" y="12"/>
                  <a:pt x="53" y="12"/>
                </a:cubicBezTo>
                <a:cubicBezTo>
                  <a:pt x="52" y="11"/>
                  <a:pt x="52" y="11"/>
                  <a:pt x="52" y="11"/>
                </a:cubicBezTo>
                <a:cubicBezTo>
                  <a:pt x="48" y="11"/>
                  <a:pt x="48" y="11"/>
                  <a:pt x="48" y="11"/>
                </a:cubicBezTo>
                <a:cubicBezTo>
                  <a:pt x="47" y="11"/>
                  <a:pt x="47" y="11"/>
                  <a:pt x="47" y="11"/>
                </a:cubicBezTo>
                <a:cubicBezTo>
                  <a:pt x="47" y="11"/>
                  <a:pt x="46" y="10"/>
                  <a:pt x="45" y="11"/>
                </a:cubicBezTo>
                <a:cubicBezTo>
                  <a:pt x="42" y="12"/>
                  <a:pt x="39" y="13"/>
                  <a:pt x="38" y="13"/>
                </a:cubicBezTo>
                <a:cubicBezTo>
                  <a:pt x="35" y="14"/>
                  <a:pt x="35" y="14"/>
                  <a:pt x="35" y="14"/>
                </a:cubicBezTo>
                <a:cubicBezTo>
                  <a:pt x="34" y="14"/>
                  <a:pt x="34" y="14"/>
                  <a:pt x="34" y="14"/>
                </a:cubicBezTo>
                <a:cubicBezTo>
                  <a:pt x="31" y="14"/>
                  <a:pt x="31" y="14"/>
                  <a:pt x="31" y="14"/>
                </a:cubicBezTo>
                <a:cubicBezTo>
                  <a:pt x="31" y="14"/>
                  <a:pt x="31" y="14"/>
                  <a:pt x="30" y="14"/>
                </a:cubicBezTo>
                <a:cubicBezTo>
                  <a:pt x="27" y="12"/>
                  <a:pt x="27" y="12"/>
                  <a:pt x="27" y="12"/>
                </a:cubicBezTo>
                <a:cubicBezTo>
                  <a:pt x="26" y="12"/>
                  <a:pt x="26" y="12"/>
                  <a:pt x="26" y="12"/>
                </a:cubicBezTo>
                <a:cubicBezTo>
                  <a:pt x="26" y="12"/>
                  <a:pt x="26" y="11"/>
                  <a:pt x="24" y="10"/>
                </a:cubicBezTo>
                <a:cubicBezTo>
                  <a:pt x="24" y="10"/>
                  <a:pt x="24" y="10"/>
                  <a:pt x="24" y="10"/>
                </a:cubicBezTo>
                <a:cubicBezTo>
                  <a:pt x="24" y="10"/>
                  <a:pt x="23" y="10"/>
                  <a:pt x="23" y="9"/>
                </a:cubicBezTo>
                <a:cubicBezTo>
                  <a:pt x="22" y="8"/>
                  <a:pt x="22" y="7"/>
                  <a:pt x="23" y="6"/>
                </a:cubicBezTo>
                <a:cubicBezTo>
                  <a:pt x="23" y="4"/>
                  <a:pt x="23" y="4"/>
                  <a:pt x="23" y="4"/>
                </a:cubicBezTo>
                <a:cubicBezTo>
                  <a:pt x="24" y="2"/>
                  <a:pt x="24" y="2"/>
                  <a:pt x="24" y="2"/>
                </a:cubicBezTo>
                <a:cubicBezTo>
                  <a:pt x="22" y="0"/>
                  <a:pt x="22" y="0"/>
                  <a:pt x="22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20" y="1"/>
                  <a:pt x="20" y="1"/>
                  <a:pt x="20" y="1"/>
                </a:cubicBezTo>
                <a:cubicBezTo>
                  <a:pt x="20" y="4"/>
                  <a:pt x="20" y="4"/>
                  <a:pt x="20" y="4"/>
                </a:cubicBezTo>
                <a:cubicBezTo>
                  <a:pt x="19" y="5"/>
                  <a:pt x="19" y="5"/>
                  <a:pt x="19" y="5"/>
                </a:cubicBezTo>
                <a:cubicBezTo>
                  <a:pt x="17" y="7"/>
                  <a:pt x="17" y="7"/>
                  <a:pt x="17" y="7"/>
                </a:cubicBezTo>
                <a:cubicBezTo>
                  <a:pt x="17" y="9"/>
                  <a:pt x="17" y="9"/>
                  <a:pt x="17" y="9"/>
                </a:cubicBezTo>
                <a:cubicBezTo>
                  <a:pt x="17" y="10"/>
                  <a:pt x="16" y="10"/>
                  <a:pt x="16" y="11"/>
                </a:cubicBezTo>
                <a:cubicBezTo>
                  <a:pt x="17" y="11"/>
                  <a:pt x="17" y="12"/>
                  <a:pt x="17" y="13"/>
                </a:cubicBezTo>
                <a:cubicBezTo>
                  <a:pt x="15" y="18"/>
                  <a:pt x="15" y="18"/>
                  <a:pt x="15" y="18"/>
                </a:cubicBezTo>
                <a:cubicBezTo>
                  <a:pt x="15" y="21"/>
                  <a:pt x="15" y="21"/>
                  <a:pt x="15" y="21"/>
                </a:cubicBezTo>
                <a:cubicBezTo>
                  <a:pt x="15" y="21"/>
                  <a:pt x="15" y="21"/>
                  <a:pt x="15" y="21"/>
                </a:cubicBezTo>
                <a:cubicBezTo>
                  <a:pt x="13" y="25"/>
                  <a:pt x="13" y="25"/>
                  <a:pt x="13" y="25"/>
                </a:cubicBezTo>
                <a:cubicBezTo>
                  <a:pt x="13" y="33"/>
                  <a:pt x="13" y="33"/>
                  <a:pt x="13" y="33"/>
                </a:cubicBezTo>
                <a:cubicBezTo>
                  <a:pt x="13" y="34"/>
                  <a:pt x="13" y="34"/>
                  <a:pt x="13" y="34"/>
                </a:cubicBezTo>
                <a:cubicBezTo>
                  <a:pt x="10" y="40"/>
                  <a:pt x="10" y="40"/>
                  <a:pt x="10" y="40"/>
                </a:cubicBezTo>
                <a:cubicBezTo>
                  <a:pt x="10" y="40"/>
                  <a:pt x="10" y="40"/>
                  <a:pt x="9" y="4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Freeform 53">
            <a:extLst>
              <a:ext uri="{FF2B5EF4-FFF2-40B4-BE49-F238E27FC236}">
                <a16:creationId xmlns:a16="http://schemas.microsoft.com/office/drawing/2014/main" id="{7E3F3383-C2BB-4D9E-ADAE-7CB19C8959DF}"/>
              </a:ext>
            </a:extLst>
          </p:cNvPr>
          <p:cNvSpPr>
            <a:spLocks/>
          </p:cNvSpPr>
          <p:nvPr/>
        </p:nvSpPr>
        <p:spPr bwMode="auto">
          <a:xfrm>
            <a:off x="3946406" y="3434882"/>
            <a:ext cx="321602" cy="365125"/>
          </a:xfrm>
          <a:custGeom>
            <a:avLst/>
            <a:gdLst>
              <a:gd name="T0" fmla="*/ 98 w 133"/>
              <a:gd name="T1" fmla="*/ 114 h 164"/>
              <a:gd name="T2" fmla="*/ 110 w 133"/>
              <a:gd name="T3" fmla="*/ 105 h 164"/>
              <a:gd name="T4" fmla="*/ 116 w 133"/>
              <a:gd name="T5" fmla="*/ 84 h 164"/>
              <a:gd name="T6" fmla="*/ 96 w 133"/>
              <a:gd name="T7" fmla="*/ 46 h 164"/>
              <a:gd name="T8" fmla="*/ 95 w 133"/>
              <a:gd name="T9" fmla="*/ 27 h 164"/>
              <a:gd name="T10" fmla="*/ 108 w 133"/>
              <a:gd name="T11" fmla="*/ 35 h 164"/>
              <a:gd name="T12" fmla="*/ 116 w 133"/>
              <a:gd name="T13" fmla="*/ 46 h 164"/>
              <a:gd name="T14" fmla="*/ 117 w 133"/>
              <a:gd name="T15" fmla="*/ 59 h 164"/>
              <a:gd name="T16" fmla="*/ 112 w 133"/>
              <a:gd name="T17" fmla="*/ 66 h 164"/>
              <a:gd name="T18" fmla="*/ 119 w 133"/>
              <a:gd name="T19" fmla="*/ 87 h 164"/>
              <a:gd name="T20" fmla="*/ 123 w 133"/>
              <a:gd name="T21" fmla="*/ 88 h 164"/>
              <a:gd name="T22" fmla="*/ 129 w 133"/>
              <a:gd name="T23" fmla="*/ 75 h 164"/>
              <a:gd name="T24" fmla="*/ 132 w 133"/>
              <a:gd name="T25" fmla="*/ 48 h 164"/>
              <a:gd name="T26" fmla="*/ 119 w 133"/>
              <a:gd name="T27" fmla="*/ 15 h 164"/>
              <a:gd name="T28" fmla="*/ 113 w 133"/>
              <a:gd name="T29" fmla="*/ 1 h 164"/>
              <a:gd name="T30" fmla="*/ 79 w 133"/>
              <a:gd name="T31" fmla="*/ 5 h 164"/>
              <a:gd name="T32" fmla="*/ 75 w 133"/>
              <a:gd name="T33" fmla="*/ 13 h 164"/>
              <a:gd name="T34" fmla="*/ 78 w 133"/>
              <a:gd name="T35" fmla="*/ 19 h 164"/>
              <a:gd name="T36" fmla="*/ 76 w 133"/>
              <a:gd name="T37" fmla="*/ 26 h 164"/>
              <a:gd name="T38" fmla="*/ 71 w 133"/>
              <a:gd name="T39" fmla="*/ 30 h 164"/>
              <a:gd name="T40" fmla="*/ 64 w 133"/>
              <a:gd name="T41" fmla="*/ 35 h 164"/>
              <a:gd name="T42" fmla="*/ 57 w 133"/>
              <a:gd name="T43" fmla="*/ 41 h 164"/>
              <a:gd name="T44" fmla="*/ 46 w 133"/>
              <a:gd name="T45" fmla="*/ 44 h 164"/>
              <a:gd name="T46" fmla="*/ 42 w 133"/>
              <a:gd name="T47" fmla="*/ 42 h 164"/>
              <a:gd name="T48" fmla="*/ 33 w 133"/>
              <a:gd name="T49" fmla="*/ 40 h 164"/>
              <a:gd name="T50" fmla="*/ 25 w 133"/>
              <a:gd name="T51" fmla="*/ 39 h 164"/>
              <a:gd name="T52" fmla="*/ 17 w 133"/>
              <a:gd name="T53" fmla="*/ 37 h 164"/>
              <a:gd name="T54" fmla="*/ 12 w 133"/>
              <a:gd name="T55" fmla="*/ 35 h 164"/>
              <a:gd name="T56" fmla="*/ 14 w 133"/>
              <a:gd name="T57" fmla="*/ 44 h 164"/>
              <a:gd name="T58" fmla="*/ 18 w 133"/>
              <a:gd name="T59" fmla="*/ 60 h 164"/>
              <a:gd name="T60" fmla="*/ 23 w 133"/>
              <a:gd name="T61" fmla="*/ 65 h 164"/>
              <a:gd name="T62" fmla="*/ 24 w 133"/>
              <a:gd name="T63" fmla="*/ 71 h 164"/>
              <a:gd name="T64" fmla="*/ 17 w 133"/>
              <a:gd name="T65" fmla="*/ 78 h 164"/>
              <a:gd name="T66" fmla="*/ 4 w 133"/>
              <a:gd name="T67" fmla="*/ 77 h 164"/>
              <a:gd name="T68" fmla="*/ 0 w 133"/>
              <a:gd name="T69" fmla="*/ 97 h 164"/>
              <a:gd name="T70" fmla="*/ 1 w 133"/>
              <a:gd name="T71" fmla="*/ 104 h 164"/>
              <a:gd name="T72" fmla="*/ 1 w 133"/>
              <a:gd name="T73" fmla="*/ 112 h 164"/>
              <a:gd name="T74" fmla="*/ 2 w 133"/>
              <a:gd name="T75" fmla="*/ 120 h 164"/>
              <a:gd name="T76" fmla="*/ 2 w 133"/>
              <a:gd name="T77" fmla="*/ 130 h 164"/>
              <a:gd name="T78" fmla="*/ 5 w 133"/>
              <a:gd name="T79" fmla="*/ 139 h 164"/>
              <a:gd name="T80" fmla="*/ 14 w 133"/>
              <a:gd name="T81" fmla="*/ 147 h 164"/>
              <a:gd name="T82" fmla="*/ 32 w 133"/>
              <a:gd name="T83" fmla="*/ 159 h 164"/>
              <a:gd name="T84" fmla="*/ 32 w 133"/>
              <a:gd name="T85" fmla="*/ 162 h 164"/>
              <a:gd name="T86" fmla="*/ 45 w 133"/>
              <a:gd name="T87" fmla="*/ 161 h 164"/>
              <a:gd name="T88" fmla="*/ 65 w 133"/>
              <a:gd name="T89" fmla="*/ 142 h 164"/>
              <a:gd name="T90" fmla="*/ 68 w 133"/>
              <a:gd name="T91" fmla="*/ 124 h 164"/>
              <a:gd name="T92" fmla="*/ 67 w 133"/>
              <a:gd name="T93" fmla="*/ 118 h 164"/>
              <a:gd name="T94" fmla="*/ 75 w 133"/>
              <a:gd name="T95" fmla="*/ 111 h 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33" h="164">
                <a:moveTo>
                  <a:pt x="93" y="110"/>
                </a:moveTo>
                <a:cubicBezTo>
                  <a:pt x="95" y="110"/>
                  <a:pt x="95" y="110"/>
                  <a:pt x="95" y="110"/>
                </a:cubicBezTo>
                <a:cubicBezTo>
                  <a:pt x="96" y="112"/>
                  <a:pt x="96" y="112"/>
                  <a:pt x="96" y="112"/>
                </a:cubicBezTo>
                <a:cubicBezTo>
                  <a:pt x="98" y="114"/>
                  <a:pt x="98" y="114"/>
                  <a:pt x="98" y="114"/>
                </a:cubicBezTo>
                <a:cubicBezTo>
                  <a:pt x="100" y="115"/>
                  <a:pt x="100" y="115"/>
                  <a:pt x="100" y="115"/>
                </a:cubicBezTo>
                <a:cubicBezTo>
                  <a:pt x="101" y="114"/>
                  <a:pt x="101" y="114"/>
                  <a:pt x="101" y="114"/>
                </a:cubicBezTo>
                <a:cubicBezTo>
                  <a:pt x="107" y="109"/>
                  <a:pt x="107" y="109"/>
                  <a:pt x="107" y="109"/>
                </a:cubicBezTo>
                <a:cubicBezTo>
                  <a:pt x="110" y="105"/>
                  <a:pt x="110" y="105"/>
                  <a:pt x="110" y="105"/>
                </a:cubicBezTo>
                <a:cubicBezTo>
                  <a:pt x="113" y="101"/>
                  <a:pt x="113" y="101"/>
                  <a:pt x="113" y="101"/>
                </a:cubicBezTo>
                <a:cubicBezTo>
                  <a:pt x="117" y="94"/>
                  <a:pt x="117" y="94"/>
                  <a:pt x="117" y="94"/>
                </a:cubicBezTo>
                <a:cubicBezTo>
                  <a:pt x="118" y="93"/>
                  <a:pt x="118" y="93"/>
                  <a:pt x="118" y="93"/>
                </a:cubicBezTo>
                <a:cubicBezTo>
                  <a:pt x="116" y="84"/>
                  <a:pt x="116" y="84"/>
                  <a:pt x="116" y="84"/>
                </a:cubicBezTo>
                <a:cubicBezTo>
                  <a:pt x="115" y="79"/>
                  <a:pt x="115" y="79"/>
                  <a:pt x="115" y="79"/>
                </a:cubicBezTo>
                <a:cubicBezTo>
                  <a:pt x="112" y="76"/>
                  <a:pt x="112" y="76"/>
                  <a:pt x="112" y="76"/>
                </a:cubicBezTo>
                <a:cubicBezTo>
                  <a:pt x="104" y="66"/>
                  <a:pt x="104" y="66"/>
                  <a:pt x="104" y="66"/>
                </a:cubicBezTo>
                <a:cubicBezTo>
                  <a:pt x="96" y="46"/>
                  <a:pt x="96" y="46"/>
                  <a:pt x="96" y="46"/>
                </a:cubicBezTo>
                <a:cubicBezTo>
                  <a:pt x="94" y="38"/>
                  <a:pt x="94" y="38"/>
                  <a:pt x="94" y="38"/>
                </a:cubicBezTo>
                <a:cubicBezTo>
                  <a:pt x="94" y="28"/>
                  <a:pt x="94" y="28"/>
                  <a:pt x="94" y="28"/>
                </a:cubicBezTo>
                <a:cubicBezTo>
                  <a:pt x="94" y="27"/>
                  <a:pt x="94" y="27"/>
                  <a:pt x="94" y="27"/>
                </a:cubicBezTo>
                <a:cubicBezTo>
                  <a:pt x="95" y="27"/>
                  <a:pt x="95" y="27"/>
                  <a:pt x="95" y="27"/>
                </a:cubicBezTo>
                <a:cubicBezTo>
                  <a:pt x="97" y="28"/>
                  <a:pt x="97" y="28"/>
                  <a:pt x="97" y="28"/>
                </a:cubicBezTo>
                <a:cubicBezTo>
                  <a:pt x="100" y="29"/>
                  <a:pt x="100" y="29"/>
                  <a:pt x="100" y="29"/>
                </a:cubicBezTo>
                <a:cubicBezTo>
                  <a:pt x="103" y="31"/>
                  <a:pt x="103" y="31"/>
                  <a:pt x="103" y="31"/>
                </a:cubicBezTo>
                <a:cubicBezTo>
                  <a:pt x="108" y="35"/>
                  <a:pt x="108" y="35"/>
                  <a:pt x="108" y="35"/>
                </a:cubicBezTo>
                <a:cubicBezTo>
                  <a:pt x="113" y="40"/>
                  <a:pt x="113" y="40"/>
                  <a:pt x="113" y="40"/>
                </a:cubicBezTo>
                <a:cubicBezTo>
                  <a:pt x="114" y="41"/>
                  <a:pt x="114" y="41"/>
                  <a:pt x="114" y="41"/>
                </a:cubicBezTo>
                <a:cubicBezTo>
                  <a:pt x="116" y="45"/>
                  <a:pt x="116" y="45"/>
                  <a:pt x="116" y="45"/>
                </a:cubicBezTo>
                <a:cubicBezTo>
                  <a:pt x="116" y="46"/>
                  <a:pt x="116" y="46"/>
                  <a:pt x="116" y="46"/>
                </a:cubicBezTo>
                <a:cubicBezTo>
                  <a:pt x="117" y="52"/>
                  <a:pt x="117" y="52"/>
                  <a:pt x="117" y="52"/>
                </a:cubicBezTo>
                <a:cubicBezTo>
                  <a:pt x="117" y="57"/>
                  <a:pt x="117" y="57"/>
                  <a:pt x="117" y="57"/>
                </a:cubicBezTo>
                <a:cubicBezTo>
                  <a:pt x="117" y="58"/>
                  <a:pt x="117" y="58"/>
                  <a:pt x="117" y="58"/>
                </a:cubicBezTo>
                <a:cubicBezTo>
                  <a:pt x="117" y="59"/>
                  <a:pt x="117" y="59"/>
                  <a:pt x="117" y="59"/>
                </a:cubicBezTo>
                <a:cubicBezTo>
                  <a:pt x="116" y="61"/>
                  <a:pt x="116" y="61"/>
                  <a:pt x="116" y="61"/>
                </a:cubicBezTo>
                <a:cubicBezTo>
                  <a:pt x="115" y="62"/>
                  <a:pt x="115" y="62"/>
                  <a:pt x="115" y="62"/>
                </a:cubicBezTo>
                <a:cubicBezTo>
                  <a:pt x="113" y="66"/>
                  <a:pt x="113" y="66"/>
                  <a:pt x="113" y="66"/>
                </a:cubicBezTo>
                <a:cubicBezTo>
                  <a:pt x="112" y="66"/>
                  <a:pt x="112" y="66"/>
                  <a:pt x="112" y="66"/>
                </a:cubicBezTo>
                <a:cubicBezTo>
                  <a:pt x="112" y="69"/>
                  <a:pt x="112" y="69"/>
                  <a:pt x="112" y="69"/>
                </a:cubicBezTo>
                <a:cubicBezTo>
                  <a:pt x="112" y="72"/>
                  <a:pt x="112" y="72"/>
                  <a:pt x="112" y="72"/>
                </a:cubicBezTo>
                <a:cubicBezTo>
                  <a:pt x="112" y="73"/>
                  <a:pt x="112" y="73"/>
                  <a:pt x="112" y="73"/>
                </a:cubicBezTo>
                <a:cubicBezTo>
                  <a:pt x="119" y="87"/>
                  <a:pt x="119" y="87"/>
                  <a:pt x="119" y="87"/>
                </a:cubicBezTo>
                <a:cubicBezTo>
                  <a:pt x="120" y="88"/>
                  <a:pt x="120" y="88"/>
                  <a:pt x="120" y="88"/>
                </a:cubicBezTo>
                <a:cubicBezTo>
                  <a:pt x="121" y="88"/>
                  <a:pt x="121" y="88"/>
                  <a:pt x="121" y="88"/>
                </a:cubicBezTo>
                <a:cubicBezTo>
                  <a:pt x="122" y="89"/>
                  <a:pt x="122" y="89"/>
                  <a:pt x="122" y="89"/>
                </a:cubicBezTo>
                <a:cubicBezTo>
                  <a:pt x="123" y="88"/>
                  <a:pt x="123" y="88"/>
                  <a:pt x="123" y="88"/>
                </a:cubicBezTo>
                <a:cubicBezTo>
                  <a:pt x="123" y="87"/>
                  <a:pt x="123" y="87"/>
                  <a:pt x="123" y="87"/>
                </a:cubicBezTo>
                <a:cubicBezTo>
                  <a:pt x="125" y="83"/>
                  <a:pt x="125" y="83"/>
                  <a:pt x="125" y="83"/>
                </a:cubicBezTo>
                <a:cubicBezTo>
                  <a:pt x="128" y="76"/>
                  <a:pt x="128" y="76"/>
                  <a:pt x="128" y="76"/>
                </a:cubicBezTo>
                <a:cubicBezTo>
                  <a:pt x="129" y="75"/>
                  <a:pt x="129" y="75"/>
                  <a:pt x="129" y="75"/>
                </a:cubicBezTo>
                <a:cubicBezTo>
                  <a:pt x="132" y="56"/>
                  <a:pt x="132" y="56"/>
                  <a:pt x="132" y="56"/>
                </a:cubicBezTo>
                <a:cubicBezTo>
                  <a:pt x="133" y="50"/>
                  <a:pt x="133" y="50"/>
                  <a:pt x="133" y="50"/>
                </a:cubicBezTo>
                <a:cubicBezTo>
                  <a:pt x="133" y="50"/>
                  <a:pt x="133" y="50"/>
                  <a:pt x="133" y="50"/>
                </a:cubicBezTo>
                <a:cubicBezTo>
                  <a:pt x="132" y="48"/>
                  <a:pt x="132" y="48"/>
                  <a:pt x="132" y="48"/>
                </a:cubicBezTo>
                <a:cubicBezTo>
                  <a:pt x="126" y="36"/>
                  <a:pt x="126" y="36"/>
                  <a:pt x="126" y="36"/>
                </a:cubicBezTo>
                <a:cubicBezTo>
                  <a:pt x="120" y="20"/>
                  <a:pt x="120" y="20"/>
                  <a:pt x="120" y="20"/>
                </a:cubicBezTo>
                <a:cubicBezTo>
                  <a:pt x="119" y="17"/>
                  <a:pt x="119" y="17"/>
                  <a:pt x="119" y="17"/>
                </a:cubicBezTo>
                <a:cubicBezTo>
                  <a:pt x="119" y="15"/>
                  <a:pt x="119" y="15"/>
                  <a:pt x="119" y="15"/>
                </a:cubicBezTo>
                <a:cubicBezTo>
                  <a:pt x="119" y="13"/>
                  <a:pt x="119" y="13"/>
                  <a:pt x="119" y="13"/>
                </a:cubicBezTo>
                <a:cubicBezTo>
                  <a:pt x="118" y="8"/>
                  <a:pt x="118" y="8"/>
                  <a:pt x="118" y="8"/>
                </a:cubicBezTo>
                <a:cubicBezTo>
                  <a:pt x="118" y="8"/>
                  <a:pt x="118" y="8"/>
                  <a:pt x="118" y="8"/>
                </a:cubicBezTo>
                <a:cubicBezTo>
                  <a:pt x="113" y="1"/>
                  <a:pt x="113" y="1"/>
                  <a:pt x="113" y="1"/>
                </a:cubicBezTo>
                <a:cubicBezTo>
                  <a:pt x="112" y="1"/>
                  <a:pt x="112" y="1"/>
                  <a:pt x="112" y="1"/>
                </a:cubicBezTo>
                <a:cubicBezTo>
                  <a:pt x="104" y="0"/>
                  <a:pt x="104" y="0"/>
                  <a:pt x="104" y="0"/>
                </a:cubicBezTo>
                <a:cubicBezTo>
                  <a:pt x="86" y="1"/>
                  <a:pt x="86" y="1"/>
                  <a:pt x="86" y="1"/>
                </a:cubicBezTo>
                <a:cubicBezTo>
                  <a:pt x="79" y="5"/>
                  <a:pt x="79" y="5"/>
                  <a:pt x="79" y="5"/>
                </a:cubicBezTo>
                <a:cubicBezTo>
                  <a:pt x="71" y="11"/>
                  <a:pt x="71" y="11"/>
                  <a:pt x="71" y="11"/>
                </a:cubicBezTo>
                <a:cubicBezTo>
                  <a:pt x="73" y="9"/>
                  <a:pt x="73" y="9"/>
                  <a:pt x="73" y="9"/>
                </a:cubicBezTo>
                <a:cubicBezTo>
                  <a:pt x="73" y="10"/>
                  <a:pt x="73" y="10"/>
                  <a:pt x="73" y="10"/>
                </a:cubicBezTo>
                <a:cubicBezTo>
                  <a:pt x="75" y="13"/>
                  <a:pt x="75" y="13"/>
                  <a:pt x="75" y="13"/>
                </a:cubicBezTo>
                <a:cubicBezTo>
                  <a:pt x="75" y="14"/>
                  <a:pt x="75" y="14"/>
                  <a:pt x="75" y="14"/>
                </a:cubicBezTo>
                <a:cubicBezTo>
                  <a:pt x="75" y="15"/>
                  <a:pt x="75" y="15"/>
                  <a:pt x="75" y="15"/>
                </a:cubicBezTo>
                <a:cubicBezTo>
                  <a:pt x="79" y="15"/>
                  <a:pt x="79" y="15"/>
                  <a:pt x="79" y="15"/>
                </a:cubicBezTo>
                <a:cubicBezTo>
                  <a:pt x="78" y="17"/>
                  <a:pt x="78" y="18"/>
                  <a:pt x="78" y="19"/>
                </a:cubicBezTo>
                <a:cubicBezTo>
                  <a:pt x="78" y="19"/>
                  <a:pt x="78" y="19"/>
                  <a:pt x="78" y="19"/>
                </a:cubicBezTo>
                <a:cubicBezTo>
                  <a:pt x="78" y="21"/>
                  <a:pt x="78" y="21"/>
                  <a:pt x="78" y="21"/>
                </a:cubicBezTo>
                <a:cubicBezTo>
                  <a:pt x="78" y="21"/>
                  <a:pt x="78" y="21"/>
                  <a:pt x="78" y="21"/>
                </a:cubicBezTo>
                <a:cubicBezTo>
                  <a:pt x="76" y="26"/>
                  <a:pt x="76" y="26"/>
                  <a:pt x="76" y="26"/>
                </a:cubicBezTo>
                <a:cubicBezTo>
                  <a:pt x="75" y="26"/>
                  <a:pt x="75" y="26"/>
                  <a:pt x="75" y="27"/>
                </a:cubicBezTo>
                <a:cubicBezTo>
                  <a:pt x="73" y="28"/>
                  <a:pt x="73" y="28"/>
                  <a:pt x="73" y="28"/>
                </a:cubicBezTo>
                <a:cubicBezTo>
                  <a:pt x="73" y="28"/>
                  <a:pt x="73" y="28"/>
                  <a:pt x="73" y="29"/>
                </a:cubicBezTo>
                <a:cubicBezTo>
                  <a:pt x="73" y="29"/>
                  <a:pt x="72" y="30"/>
                  <a:pt x="71" y="30"/>
                </a:cubicBezTo>
                <a:cubicBezTo>
                  <a:pt x="70" y="30"/>
                  <a:pt x="70" y="30"/>
                  <a:pt x="70" y="30"/>
                </a:cubicBezTo>
                <a:cubicBezTo>
                  <a:pt x="68" y="33"/>
                  <a:pt x="68" y="33"/>
                  <a:pt x="68" y="33"/>
                </a:cubicBezTo>
                <a:cubicBezTo>
                  <a:pt x="67" y="33"/>
                  <a:pt x="67" y="33"/>
                  <a:pt x="67" y="33"/>
                </a:cubicBezTo>
                <a:cubicBezTo>
                  <a:pt x="64" y="35"/>
                  <a:pt x="64" y="35"/>
                  <a:pt x="64" y="35"/>
                </a:cubicBezTo>
                <a:cubicBezTo>
                  <a:pt x="61" y="38"/>
                  <a:pt x="61" y="38"/>
                  <a:pt x="61" y="38"/>
                </a:cubicBezTo>
                <a:cubicBezTo>
                  <a:pt x="61" y="38"/>
                  <a:pt x="61" y="38"/>
                  <a:pt x="61" y="38"/>
                </a:cubicBezTo>
                <a:cubicBezTo>
                  <a:pt x="59" y="40"/>
                  <a:pt x="59" y="40"/>
                  <a:pt x="59" y="40"/>
                </a:cubicBezTo>
                <a:cubicBezTo>
                  <a:pt x="58" y="41"/>
                  <a:pt x="58" y="41"/>
                  <a:pt x="57" y="41"/>
                </a:cubicBezTo>
                <a:cubicBezTo>
                  <a:pt x="56" y="41"/>
                  <a:pt x="56" y="41"/>
                  <a:pt x="56" y="41"/>
                </a:cubicBezTo>
                <a:cubicBezTo>
                  <a:pt x="57" y="41"/>
                  <a:pt x="57" y="41"/>
                  <a:pt x="57" y="41"/>
                </a:cubicBezTo>
                <a:cubicBezTo>
                  <a:pt x="55" y="43"/>
                  <a:pt x="51" y="44"/>
                  <a:pt x="46" y="45"/>
                </a:cubicBezTo>
                <a:cubicBezTo>
                  <a:pt x="46" y="44"/>
                  <a:pt x="46" y="44"/>
                  <a:pt x="46" y="44"/>
                </a:cubicBezTo>
                <a:cubicBezTo>
                  <a:pt x="45" y="44"/>
                  <a:pt x="45" y="44"/>
                  <a:pt x="45" y="43"/>
                </a:cubicBezTo>
                <a:cubicBezTo>
                  <a:pt x="44" y="42"/>
                  <a:pt x="44" y="42"/>
                  <a:pt x="44" y="42"/>
                </a:cubicBezTo>
                <a:cubicBezTo>
                  <a:pt x="43" y="42"/>
                  <a:pt x="43" y="42"/>
                  <a:pt x="43" y="42"/>
                </a:cubicBezTo>
                <a:cubicBezTo>
                  <a:pt x="42" y="42"/>
                  <a:pt x="42" y="42"/>
                  <a:pt x="42" y="42"/>
                </a:cubicBezTo>
                <a:cubicBezTo>
                  <a:pt x="40" y="41"/>
                  <a:pt x="40" y="41"/>
                  <a:pt x="40" y="41"/>
                </a:cubicBezTo>
                <a:cubicBezTo>
                  <a:pt x="39" y="41"/>
                  <a:pt x="37" y="41"/>
                  <a:pt x="36" y="41"/>
                </a:cubicBezTo>
                <a:cubicBezTo>
                  <a:pt x="36" y="41"/>
                  <a:pt x="36" y="41"/>
                  <a:pt x="36" y="41"/>
                </a:cubicBezTo>
                <a:cubicBezTo>
                  <a:pt x="35" y="40"/>
                  <a:pt x="34" y="40"/>
                  <a:pt x="33" y="40"/>
                </a:cubicBezTo>
                <a:cubicBezTo>
                  <a:pt x="33" y="40"/>
                  <a:pt x="33" y="40"/>
                  <a:pt x="33" y="40"/>
                </a:cubicBezTo>
                <a:cubicBezTo>
                  <a:pt x="32" y="40"/>
                  <a:pt x="32" y="40"/>
                  <a:pt x="32" y="40"/>
                </a:cubicBezTo>
                <a:cubicBezTo>
                  <a:pt x="31" y="40"/>
                  <a:pt x="29" y="39"/>
                  <a:pt x="29" y="39"/>
                </a:cubicBezTo>
                <a:cubicBezTo>
                  <a:pt x="25" y="39"/>
                  <a:pt x="25" y="39"/>
                  <a:pt x="25" y="39"/>
                </a:cubicBezTo>
                <a:cubicBezTo>
                  <a:pt x="25" y="39"/>
                  <a:pt x="25" y="39"/>
                  <a:pt x="25" y="39"/>
                </a:cubicBezTo>
                <a:cubicBezTo>
                  <a:pt x="20" y="37"/>
                  <a:pt x="20" y="37"/>
                  <a:pt x="20" y="37"/>
                </a:cubicBezTo>
                <a:cubicBezTo>
                  <a:pt x="18" y="37"/>
                  <a:pt x="18" y="37"/>
                  <a:pt x="18" y="37"/>
                </a:cubicBezTo>
                <a:cubicBezTo>
                  <a:pt x="17" y="37"/>
                  <a:pt x="17" y="37"/>
                  <a:pt x="17" y="37"/>
                </a:cubicBezTo>
                <a:cubicBezTo>
                  <a:pt x="15" y="36"/>
                  <a:pt x="15" y="36"/>
                  <a:pt x="15" y="36"/>
                </a:cubicBezTo>
                <a:cubicBezTo>
                  <a:pt x="12" y="34"/>
                  <a:pt x="12" y="34"/>
                  <a:pt x="12" y="34"/>
                </a:cubicBezTo>
                <a:cubicBezTo>
                  <a:pt x="12" y="35"/>
                  <a:pt x="12" y="35"/>
                  <a:pt x="12" y="35"/>
                </a:cubicBezTo>
                <a:cubicBezTo>
                  <a:pt x="12" y="35"/>
                  <a:pt x="12" y="35"/>
                  <a:pt x="12" y="35"/>
                </a:cubicBezTo>
                <a:cubicBezTo>
                  <a:pt x="12" y="37"/>
                  <a:pt x="12" y="37"/>
                  <a:pt x="12" y="37"/>
                </a:cubicBezTo>
                <a:cubicBezTo>
                  <a:pt x="13" y="37"/>
                  <a:pt x="14" y="37"/>
                  <a:pt x="14" y="38"/>
                </a:cubicBezTo>
                <a:cubicBezTo>
                  <a:pt x="14" y="42"/>
                  <a:pt x="14" y="42"/>
                  <a:pt x="14" y="42"/>
                </a:cubicBezTo>
                <a:cubicBezTo>
                  <a:pt x="14" y="44"/>
                  <a:pt x="14" y="44"/>
                  <a:pt x="14" y="44"/>
                </a:cubicBezTo>
                <a:cubicBezTo>
                  <a:pt x="16" y="45"/>
                  <a:pt x="16" y="45"/>
                  <a:pt x="16" y="45"/>
                </a:cubicBezTo>
                <a:cubicBezTo>
                  <a:pt x="16" y="46"/>
                  <a:pt x="16" y="46"/>
                  <a:pt x="16" y="47"/>
                </a:cubicBezTo>
                <a:cubicBezTo>
                  <a:pt x="16" y="58"/>
                  <a:pt x="16" y="58"/>
                  <a:pt x="16" y="58"/>
                </a:cubicBezTo>
                <a:cubicBezTo>
                  <a:pt x="18" y="58"/>
                  <a:pt x="18" y="59"/>
                  <a:pt x="18" y="60"/>
                </a:cubicBezTo>
                <a:cubicBezTo>
                  <a:pt x="18" y="62"/>
                  <a:pt x="18" y="62"/>
                  <a:pt x="18" y="62"/>
                </a:cubicBezTo>
                <a:cubicBezTo>
                  <a:pt x="19" y="64"/>
                  <a:pt x="19" y="64"/>
                  <a:pt x="19" y="64"/>
                </a:cubicBezTo>
                <a:cubicBezTo>
                  <a:pt x="21" y="65"/>
                  <a:pt x="21" y="65"/>
                  <a:pt x="21" y="65"/>
                </a:cubicBezTo>
                <a:cubicBezTo>
                  <a:pt x="23" y="65"/>
                  <a:pt x="23" y="65"/>
                  <a:pt x="23" y="65"/>
                </a:cubicBezTo>
                <a:cubicBezTo>
                  <a:pt x="24" y="65"/>
                  <a:pt x="25" y="66"/>
                  <a:pt x="25" y="67"/>
                </a:cubicBezTo>
                <a:cubicBezTo>
                  <a:pt x="26" y="67"/>
                  <a:pt x="26" y="67"/>
                  <a:pt x="26" y="67"/>
                </a:cubicBezTo>
                <a:cubicBezTo>
                  <a:pt x="25" y="68"/>
                  <a:pt x="24" y="70"/>
                  <a:pt x="24" y="71"/>
                </a:cubicBezTo>
                <a:cubicBezTo>
                  <a:pt x="24" y="71"/>
                  <a:pt x="24" y="71"/>
                  <a:pt x="24" y="71"/>
                </a:cubicBezTo>
                <a:cubicBezTo>
                  <a:pt x="24" y="71"/>
                  <a:pt x="23" y="71"/>
                  <a:pt x="23" y="72"/>
                </a:cubicBezTo>
                <a:cubicBezTo>
                  <a:pt x="21" y="74"/>
                  <a:pt x="21" y="74"/>
                  <a:pt x="21" y="74"/>
                </a:cubicBezTo>
                <a:cubicBezTo>
                  <a:pt x="18" y="77"/>
                  <a:pt x="18" y="77"/>
                  <a:pt x="18" y="77"/>
                </a:cubicBezTo>
                <a:cubicBezTo>
                  <a:pt x="18" y="77"/>
                  <a:pt x="18" y="78"/>
                  <a:pt x="17" y="78"/>
                </a:cubicBezTo>
                <a:cubicBezTo>
                  <a:pt x="17" y="78"/>
                  <a:pt x="15" y="79"/>
                  <a:pt x="12" y="79"/>
                </a:cubicBezTo>
                <a:cubicBezTo>
                  <a:pt x="6" y="79"/>
                  <a:pt x="6" y="79"/>
                  <a:pt x="6" y="79"/>
                </a:cubicBezTo>
                <a:cubicBezTo>
                  <a:pt x="6" y="79"/>
                  <a:pt x="5" y="79"/>
                  <a:pt x="5" y="78"/>
                </a:cubicBezTo>
                <a:cubicBezTo>
                  <a:pt x="4" y="77"/>
                  <a:pt x="4" y="77"/>
                  <a:pt x="4" y="77"/>
                </a:cubicBezTo>
                <a:cubicBezTo>
                  <a:pt x="2" y="77"/>
                  <a:pt x="1" y="77"/>
                  <a:pt x="0" y="77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4"/>
                  <a:pt x="0" y="94"/>
                  <a:pt x="0" y="95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101"/>
                  <a:pt x="0" y="101"/>
                  <a:pt x="0" y="101"/>
                </a:cubicBezTo>
                <a:cubicBezTo>
                  <a:pt x="0" y="101"/>
                  <a:pt x="0" y="101"/>
                  <a:pt x="0" y="101"/>
                </a:cubicBezTo>
                <a:cubicBezTo>
                  <a:pt x="1" y="104"/>
                  <a:pt x="1" y="104"/>
                  <a:pt x="1" y="104"/>
                </a:cubicBezTo>
                <a:cubicBezTo>
                  <a:pt x="1" y="106"/>
                  <a:pt x="1" y="107"/>
                  <a:pt x="1" y="108"/>
                </a:cubicBezTo>
                <a:cubicBezTo>
                  <a:pt x="1" y="108"/>
                  <a:pt x="1" y="108"/>
                  <a:pt x="1" y="108"/>
                </a:cubicBezTo>
                <a:cubicBezTo>
                  <a:pt x="1" y="110"/>
                  <a:pt x="1" y="111"/>
                  <a:pt x="1" y="112"/>
                </a:cubicBezTo>
                <a:cubicBezTo>
                  <a:pt x="1" y="112"/>
                  <a:pt x="1" y="112"/>
                  <a:pt x="1" y="112"/>
                </a:cubicBezTo>
                <a:cubicBezTo>
                  <a:pt x="1" y="113"/>
                  <a:pt x="1" y="113"/>
                  <a:pt x="1" y="113"/>
                </a:cubicBezTo>
                <a:cubicBezTo>
                  <a:pt x="1" y="113"/>
                  <a:pt x="1" y="113"/>
                  <a:pt x="1" y="114"/>
                </a:cubicBezTo>
                <a:cubicBezTo>
                  <a:pt x="2" y="115"/>
                  <a:pt x="2" y="117"/>
                  <a:pt x="2" y="119"/>
                </a:cubicBezTo>
                <a:cubicBezTo>
                  <a:pt x="1" y="119"/>
                  <a:pt x="1" y="119"/>
                  <a:pt x="2" y="120"/>
                </a:cubicBezTo>
                <a:cubicBezTo>
                  <a:pt x="2" y="121"/>
                  <a:pt x="2" y="122"/>
                  <a:pt x="2" y="123"/>
                </a:cubicBezTo>
                <a:cubicBezTo>
                  <a:pt x="1" y="124"/>
                  <a:pt x="1" y="124"/>
                  <a:pt x="2" y="125"/>
                </a:cubicBezTo>
                <a:cubicBezTo>
                  <a:pt x="2" y="125"/>
                  <a:pt x="2" y="126"/>
                  <a:pt x="2" y="128"/>
                </a:cubicBezTo>
                <a:cubicBezTo>
                  <a:pt x="1" y="129"/>
                  <a:pt x="2" y="130"/>
                  <a:pt x="2" y="130"/>
                </a:cubicBezTo>
                <a:cubicBezTo>
                  <a:pt x="2" y="130"/>
                  <a:pt x="2" y="131"/>
                  <a:pt x="2" y="132"/>
                </a:cubicBezTo>
                <a:cubicBezTo>
                  <a:pt x="2" y="132"/>
                  <a:pt x="2" y="132"/>
                  <a:pt x="2" y="132"/>
                </a:cubicBezTo>
                <a:cubicBezTo>
                  <a:pt x="2" y="133"/>
                  <a:pt x="3" y="134"/>
                  <a:pt x="3" y="135"/>
                </a:cubicBezTo>
                <a:cubicBezTo>
                  <a:pt x="3" y="136"/>
                  <a:pt x="4" y="138"/>
                  <a:pt x="5" y="139"/>
                </a:cubicBezTo>
                <a:cubicBezTo>
                  <a:pt x="10" y="145"/>
                  <a:pt x="10" y="145"/>
                  <a:pt x="10" y="145"/>
                </a:cubicBezTo>
                <a:cubicBezTo>
                  <a:pt x="10" y="145"/>
                  <a:pt x="10" y="146"/>
                  <a:pt x="10" y="147"/>
                </a:cubicBezTo>
                <a:cubicBezTo>
                  <a:pt x="11" y="147"/>
                  <a:pt x="11" y="147"/>
                  <a:pt x="11" y="147"/>
                </a:cubicBezTo>
                <a:cubicBezTo>
                  <a:pt x="14" y="147"/>
                  <a:pt x="14" y="147"/>
                  <a:pt x="14" y="147"/>
                </a:cubicBezTo>
                <a:cubicBezTo>
                  <a:pt x="16" y="148"/>
                  <a:pt x="16" y="148"/>
                  <a:pt x="16" y="148"/>
                </a:cubicBezTo>
                <a:cubicBezTo>
                  <a:pt x="18" y="148"/>
                  <a:pt x="18" y="148"/>
                  <a:pt x="18" y="148"/>
                </a:cubicBezTo>
                <a:cubicBezTo>
                  <a:pt x="31" y="155"/>
                  <a:pt x="31" y="155"/>
                  <a:pt x="31" y="155"/>
                </a:cubicBezTo>
                <a:cubicBezTo>
                  <a:pt x="32" y="159"/>
                  <a:pt x="32" y="159"/>
                  <a:pt x="32" y="159"/>
                </a:cubicBezTo>
                <a:cubicBezTo>
                  <a:pt x="31" y="160"/>
                  <a:pt x="31" y="160"/>
                  <a:pt x="31" y="160"/>
                </a:cubicBezTo>
                <a:cubicBezTo>
                  <a:pt x="31" y="160"/>
                  <a:pt x="31" y="160"/>
                  <a:pt x="31" y="160"/>
                </a:cubicBezTo>
                <a:cubicBezTo>
                  <a:pt x="31" y="161"/>
                  <a:pt x="31" y="161"/>
                  <a:pt x="31" y="161"/>
                </a:cubicBezTo>
                <a:cubicBezTo>
                  <a:pt x="32" y="162"/>
                  <a:pt x="32" y="162"/>
                  <a:pt x="32" y="162"/>
                </a:cubicBezTo>
                <a:cubicBezTo>
                  <a:pt x="36" y="164"/>
                  <a:pt x="36" y="164"/>
                  <a:pt x="36" y="164"/>
                </a:cubicBezTo>
                <a:cubicBezTo>
                  <a:pt x="38" y="164"/>
                  <a:pt x="38" y="164"/>
                  <a:pt x="38" y="164"/>
                </a:cubicBezTo>
                <a:cubicBezTo>
                  <a:pt x="41" y="163"/>
                  <a:pt x="41" y="163"/>
                  <a:pt x="41" y="163"/>
                </a:cubicBezTo>
                <a:cubicBezTo>
                  <a:pt x="45" y="161"/>
                  <a:pt x="45" y="161"/>
                  <a:pt x="45" y="161"/>
                </a:cubicBezTo>
                <a:cubicBezTo>
                  <a:pt x="60" y="150"/>
                  <a:pt x="60" y="150"/>
                  <a:pt x="60" y="150"/>
                </a:cubicBezTo>
                <a:cubicBezTo>
                  <a:pt x="63" y="148"/>
                  <a:pt x="63" y="148"/>
                  <a:pt x="63" y="148"/>
                </a:cubicBezTo>
                <a:cubicBezTo>
                  <a:pt x="64" y="146"/>
                  <a:pt x="64" y="146"/>
                  <a:pt x="64" y="146"/>
                </a:cubicBezTo>
                <a:cubicBezTo>
                  <a:pt x="65" y="142"/>
                  <a:pt x="65" y="142"/>
                  <a:pt x="65" y="142"/>
                </a:cubicBezTo>
                <a:cubicBezTo>
                  <a:pt x="68" y="133"/>
                  <a:pt x="68" y="133"/>
                  <a:pt x="68" y="133"/>
                </a:cubicBezTo>
                <a:cubicBezTo>
                  <a:pt x="68" y="128"/>
                  <a:pt x="68" y="128"/>
                  <a:pt x="68" y="128"/>
                </a:cubicBezTo>
                <a:cubicBezTo>
                  <a:pt x="68" y="125"/>
                  <a:pt x="68" y="125"/>
                  <a:pt x="68" y="125"/>
                </a:cubicBezTo>
                <a:cubicBezTo>
                  <a:pt x="68" y="124"/>
                  <a:pt x="68" y="124"/>
                  <a:pt x="68" y="124"/>
                </a:cubicBezTo>
                <a:cubicBezTo>
                  <a:pt x="67" y="122"/>
                  <a:pt x="67" y="122"/>
                  <a:pt x="67" y="122"/>
                </a:cubicBezTo>
                <a:cubicBezTo>
                  <a:pt x="67" y="120"/>
                  <a:pt x="67" y="120"/>
                  <a:pt x="67" y="120"/>
                </a:cubicBezTo>
                <a:cubicBezTo>
                  <a:pt x="67" y="119"/>
                  <a:pt x="67" y="119"/>
                  <a:pt x="67" y="119"/>
                </a:cubicBezTo>
                <a:cubicBezTo>
                  <a:pt x="67" y="118"/>
                  <a:pt x="67" y="118"/>
                  <a:pt x="67" y="118"/>
                </a:cubicBezTo>
                <a:cubicBezTo>
                  <a:pt x="69" y="115"/>
                  <a:pt x="69" y="115"/>
                  <a:pt x="69" y="115"/>
                </a:cubicBezTo>
                <a:cubicBezTo>
                  <a:pt x="69" y="115"/>
                  <a:pt x="69" y="115"/>
                  <a:pt x="69" y="115"/>
                </a:cubicBezTo>
                <a:cubicBezTo>
                  <a:pt x="74" y="111"/>
                  <a:pt x="74" y="111"/>
                  <a:pt x="74" y="111"/>
                </a:cubicBezTo>
                <a:cubicBezTo>
                  <a:pt x="75" y="111"/>
                  <a:pt x="75" y="111"/>
                  <a:pt x="75" y="111"/>
                </a:cubicBezTo>
                <a:cubicBezTo>
                  <a:pt x="86" y="109"/>
                  <a:pt x="86" y="109"/>
                  <a:pt x="86" y="109"/>
                </a:cubicBezTo>
                <a:lnTo>
                  <a:pt x="93" y="1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Freeform 54">
            <a:extLst>
              <a:ext uri="{FF2B5EF4-FFF2-40B4-BE49-F238E27FC236}">
                <a16:creationId xmlns:a16="http://schemas.microsoft.com/office/drawing/2014/main" id="{A71D9D0C-4C44-4E14-A434-530B3216517B}"/>
              </a:ext>
            </a:extLst>
          </p:cNvPr>
          <p:cNvSpPr>
            <a:spLocks noEditPoints="1"/>
          </p:cNvSpPr>
          <p:nvPr/>
        </p:nvSpPr>
        <p:spPr bwMode="auto">
          <a:xfrm>
            <a:off x="3865577" y="3082457"/>
            <a:ext cx="313002" cy="441325"/>
          </a:xfrm>
          <a:custGeom>
            <a:avLst/>
            <a:gdLst>
              <a:gd name="T0" fmla="*/ 122 w 129"/>
              <a:gd name="T1" fmla="*/ 115 h 198"/>
              <a:gd name="T2" fmla="*/ 115 w 129"/>
              <a:gd name="T3" fmla="*/ 115 h 198"/>
              <a:gd name="T4" fmla="*/ 80 w 129"/>
              <a:gd name="T5" fmla="*/ 39 h 198"/>
              <a:gd name="T6" fmla="*/ 75 w 129"/>
              <a:gd name="T7" fmla="*/ 28 h 198"/>
              <a:gd name="T8" fmla="*/ 65 w 129"/>
              <a:gd name="T9" fmla="*/ 21 h 198"/>
              <a:gd name="T10" fmla="*/ 11 w 129"/>
              <a:gd name="T11" fmla="*/ 17 h 198"/>
              <a:gd name="T12" fmla="*/ 14 w 129"/>
              <a:gd name="T13" fmla="*/ 22 h 198"/>
              <a:gd name="T14" fmla="*/ 13 w 129"/>
              <a:gd name="T15" fmla="*/ 35 h 198"/>
              <a:gd name="T16" fmla="*/ 8 w 129"/>
              <a:gd name="T17" fmla="*/ 42 h 198"/>
              <a:gd name="T18" fmla="*/ 1 w 129"/>
              <a:gd name="T19" fmla="*/ 56 h 198"/>
              <a:gd name="T20" fmla="*/ 3 w 129"/>
              <a:gd name="T21" fmla="*/ 65 h 198"/>
              <a:gd name="T22" fmla="*/ 3 w 129"/>
              <a:gd name="T23" fmla="*/ 75 h 198"/>
              <a:gd name="T24" fmla="*/ 8 w 129"/>
              <a:gd name="T25" fmla="*/ 84 h 198"/>
              <a:gd name="T26" fmla="*/ 9 w 129"/>
              <a:gd name="T27" fmla="*/ 90 h 198"/>
              <a:gd name="T28" fmla="*/ 12 w 129"/>
              <a:gd name="T29" fmla="*/ 97 h 198"/>
              <a:gd name="T30" fmla="*/ 14 w 129"/>
              <a:gd name="T31" fmla="*/ 103 h 198"/>
              <a:gd name="T32" fmla="*/ 16 w 129"/>
              <a:gd name="T33" fmla="*/ 113 h 198"/>
              <a:gd name="T34" fmla="*/ 15 w 129"/>
              <a:gd name="T35" fmla="*/ 121 h 198"/>
              <a:gd name="T36" fmla="*/ 13 w 129"/>
              <a:gd name="T37" fmla="*/ 128 h 198"/>
              <a:gd name="T38" fmla="*/ 14 w 129"/>
              <a:gd name="T39" fmla="*/ 130 h 198"/>
              <a:gd name="T40" fmla="*/ 15 w 129"/>
              <a:gd name="T41" fmla="*/ 143 h 198"/>
              <a:gd name="T42" fmla="*/ 19 w 129"/>
              <a:gd name="T43" fmla="*/ 144 h 198"/>
              <a:gd name="T44" fmla="*/ 22 w 129"/>
              <a:gd name="T45" fmla="*/ 153 h 198"/>
              <a:gd name="T46" fmla="*/ 29 w 129"/>
              <a:gd name="T47" fmla="*/ 157 h 198"/>
              <a:gd name="T48" fmla="*/ 47 w 129"/>
              <a:gd name="T49" fmla="*/ 154 h 198"/>
              <a:gd name="T50" fmla="*/ 53 w 129"/>
              <a:gd name="T51" fmla="*/ 162 h 198"/>
              <a:gd name="T52" fmla="*/ 44 w 129"/>
              <a:gd name="T53" fmla="*/ 171 h 198"/>
              <a:gd name="T54" fmla="*/ 41 w 129"/>
              <a:gd name="T55" fmla="*/ 179 h 198"/>
              <a:gd name="T56" fmla="*/ 45 w 129"/>
              <a:gd name="T57" fmla="*/ 187 h 198"/>
              <a:gd name="T58" fmla="*/ 59 w 129"/>
              <a:gd name="T59" fmla="*/ 193 h 198"/>
              <a:gd name="T60" fmla="*/ 67 w 129"/>
              <a:gd name="T61" fmla="*/ 194 h 198"/>
              <a:gd name="T62" fmla="*/ 74 w 129"/>
              <a:gd name="T63" fmla="*/ 195 h 198"/>
              <a:gd name="T64" fmla="*/ 80 w 129"/>
              <a:gd name="T65" fmla="*/ 197 h 198"/>
              <a:gd name="T66" fmla="*/ 89 w 129"/>
              <a:gd name="T67" fmla="*/ 195 h 198"/>
              <a:gd name="T68" fmla="*/ 100 w 129"/>
              <a:gd name="T69" fmla="*/ 185 h 198"/>
              <a:gd name="T70" fmla="*/ 105 w 129"/>
              <a:gd name="T71" fmla="*/ 181 h 198"/>
              <a:gd name="T72" fmla="*/ 104 w 129"/>
              <a:gd name="T73" fmla="*/ 175 h 198"/>
              <a:gd name="T74" fmla="*/ 101 w 129"/>
              <a:gd name="T75" fmla="*/ 175 h 198"/>
              <a:gd name="T76" fmla="*/ 97 w 129"/>
              <a:gd name="T77" fmla="*/ 178 h 198"/>
              <a:gd name="T78" fmla="*/ 99 w 129"/>
              <a:gd name="T79" fmla="*/ 160 h 198"/>
              <a:gd name="T80" fmla="*/ 109 w 129"/>
              <a:gd name="T81" fmla="*/ 151 h 198"/>
              <a:gd name="T82" fmla="*/ 122 w 129"/>
              <a:gd name="T83" fmla="*/ 147 h 198"/>
              <a:gd name="T84" fmla="*/ 128 w 129"/>
              <a:gd name="T85" fmla="*/ 139 h 198"/>
              <a:gd name="T86" fmla="*/ 129 w 129"/>
              <a:gd name="T87" fmla="*/ 127 h 198"/>
              <a:gd name="T88" fmla="*/ 58 w 129"/>
              <a:gd name="T89" fmla="*/ 12 h 198"/>
              <a:gd name="T90" fmla="*/ 60 w 129"/>
              <a:gd name="T91" fmla="*/ 4 h 198"/>
              <a:gd name="T92" fmla="*/ 59 w 129"/>
              <a:gd name="T93" fmla="*/ 2 h 198"/>
              <a:gd name="T94" fmla="*/ 47 w 129"/>
              <a:gd name="T95" fmla="*/ 0 h 198"/>
              <a:gd name="T96" fmla="*/ 56 w 129"/>
              <a:gd name="T97" fmla="*/ 12 h 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29" h="198">
                <a:moveTo>
                  <a:pt x="129" y="126"/>
                </a:moveTo>
                <a:cubicBezTo>
                  <a:pt x="126" y="120"/>
                  <a:pt x="126" y="120"/>
                  <a:pt x="126" y="120"/>
                </a:cubicBezTo>
                <a:cubicBezTo>
                  <a:pt x="123" y="116"/>
                  <a:pt x="123" y="116"/>
                  <a:pt x="123" y="116"/>
                </a:cubicBezTo>
                <a:cubicBezTo>
                  <a:pt x="122" y="115"/>
                  <a:pt x="122" y="115"/>
                  <a:pt x="122" y="115"/>
                </a:cubicBezTo>
                <a:cubicBezTo>
                  <a:pt x="121" y="115"/>
                  <a:pt x="121" y="115"/>
                  <a:pt x="121" y="115"/>
                </a:cubicBezTo>
                <a:cubicBezTo>
                  <a:pt x="117" y="114"/>
                  <a:pt x="117" y="114"/>
                  <a:pt x="117" y="114"/>
                </a:cubicBezTo>
                <a:cubicBezTo>
                  <a:pt x="115" y="114"/>
                  <a:pt x="115" y="114"/>
                  <a:pt x="115" y="114"/>
                </a:cubicBezTo>
                <a:cubicBezTo>
                  <a:pt x="115" y="115"/>
                  <a:pt x="115" y="115"/>
                  <a:pt x="115" y="115"/>
                </a:cubicBezTo>
                <a:cubicBezTo>
                  <a:pt x="114" y="116"/>
                  <a:pt x="114" y="116"/>
                  <a:pt x="114" y="116"/>
                </a:cubicBezTo>
                <a:cubicBezTo>
                  <a:pt x="80" y="62"/>
                  <a:pt x="80" y="62"/>
                  <a:pt x="80" y="62"/>
                </a:cubicBezTo>
                <a:cubicBezTo>
                  <a:pt x="79" y="51"/>
                  <a:pt x="79" y="51"/>
                  <a:pt x="79" y="51"/>
                </a:cubicBezTo>
                <a:cubicBezTo>
                  <a:pt x="80" y="39"/>
                  <a:pt x="80" y="39"/>
                  <a:pt x="80" y="39"/>
                </a:cubicBezTo>
                <a:cubicBezTo>
                  <a:pt x="80" y="38"/>
                  <a:pt x="80" y="38"/>
                  <a:pt x="80" y="38"/>
                </a:cubicBezTo>
                <a:cubicBezTo>
                  <a:pt x="79" y="36"/>
                  <a:pt x="79" y="36"/>
                  <a:pt x="79" y="36"/>
                </a:cubicBezTo>
                <a:cubicBezTo>
                  <a:pt x="76" y="29"/>
                  <a:pt x="76" y="29"/>
                  <a:pt x="76" y="29"/>
                </a:cubicBezTo>
                <a:cubicBezTo>
                  <a:pt x="75" y="28"/>
                  <a:pt x="75" y="28"/>
                  <a:pt x="75" y="28"/>
                </a:cubicBezTo>
                <a:cubicBezTo>
                  <a:pt x="74" y="26"/>
                  <a:pt x="74" y="26"/>
                  <a:pt x="74" y="26"/>
                </a:cubicBezTo>
                <a:cubicBezTo>
                  <a:pt x="71" y="24"/>
                  <a:pt x="71" y="24"/>
                  <a:pt x="71" y="24"/>
                </a:cubicBezTo>
                <a:cubicBezTo>
                  <a:pt x="70" y="24"/>
                  <a:pt x="70" y="24"/>
                  <a:pt x="70" y="24"/>
                </a:cubicBezTo>
                <a:cubicBezTo>
                  <a:pt x="65" y="21"/>
                  <a:pt x="65" y="21"/>
                  <a:pt x="65" y="21"/>
                </a:cubicBezTo>
                <a:cubicBezTo>
                  <a:pt x="34" y="16"/>
                  <a:pt x="34" y="16"/>
                  <a:pt x="34" y="16"/>
                </a:cubicBezTo>
                <a:cubicBezTo>
                  <a:pt x="31" y="16"/>
                  <a:pt x="31" y="16"/>
                  <a:pt x="31" y="16"/>
                </a:cubicBezTo>
                <a:cubicBezTo>
                  <a:pt x="30" y="16"/>
                  <a:pt x="30" y="16"/>
                  <a:pt x="30" y="16"/>
                </a:cubicBezTo>
                <a:cubicBezTo>
                  <a:pt x="11" y="17"/>
                  <a:pt x="11" y="17"/>
                  <a:pt x="11" y="17"/>
                </a:cubicBezTo>
                <a:cubicBezTo>
                  <a:pt x="10" y="17"/>
                  <a:pt x="10" y="17"/>
                  <a:pt x="10" y="17"/>
                </a:cubicBezTo>
                <a:cubicBezTo>
                  <a:pt x="10" y="17"/>
                  <a:pt x="11" y="17"/>
                  <a:pt x="11" y="18"/>
                </a:cubicBezTo>
                <a:cubicBezTo>
                  <a:pt x="13" y="21"/>
                  <a:pt x="13" y="21"/>
                  <a:pt x="13" y="21"/>
                </a:cubicBezTo>
                <a:cubicBezTo>
                  <a:pt x="14" y="21"/>
                  <a:pt x="14" y="22"/>
                  <a:pt x="14" y="22"/>
                </a:cubicBezTo>
                <a:cubicBezTo>
                  <a:pt x="14" y="28"/>
                  <a:pt x="14" y="28"/>
                  <a:pt x="14" y="28"/>
                </a:cubicBezTo>
                <a:cubicBezTo>
                  <a:pt x="14" y="28"/>
                  <a:pt x="14" y="28"/>
                  <a:pt x="14" y="28"/>
                </a:cubicBezTo>
                <a:cubicBezTo>
                  <a:pt x="13" y="32"/>
                  <a:pt x="13" y="32"/>
                  <a:pt x="13" y="32"/>
                </a:cubicBezTo>
                <a:cubicBezTo>
                  <a:pt x="13" y="35"/>
                  <a:pt x="13" y="35"/>
                  <a:pt x="13" y="35"/>
                </a:cubicBezTo>
                <a:cubicBezTo>
                  <a:pt x="13" y="38"/>
                  <a:pt x="13" y="40"/>
                  <a:pt x="12" y="41"/>
                </a:cubicBezTo>
                <a:cubicBezTo>
                  <a:pt x="10" y="41"/>
                  <a:pt x="10" y="41"/>
                  <a:pt x="10" y="41"/>
                </a:cubicBezTo>
                <a:cubicBezTo>
                  <a:pt x="9" y="41"/>
                  <a:pt x="8" y="41"/>
                  <a:pt x="8" y="42"/>
                </a:cubicBezTo>
                <a:cubicBezTo>
                  <a:pt x="8" y="42"/>
                  <a:pt x="8" y="42"/>
                  <a:pt x="8" y="42"/>
                </a:cubicBezTo>
                <a:cubicBezTo>
                  <a:pt x="5" y="45"/>
                  <a:pt x="5" y="45"/>
                  <a:pt x="5" y="45"/>
                </a:cubicBezTo>
                <a:cubicBezTo>
                  <a:pt x="1" y="54"/>
                  <a:pt x="1" y="54"/>
                  <a:pt x="1" y="54"/>
                </a:cubicBezTo>
                <a:cubicBezTo>
                  <a:pt x="0" y="54"/>
                  <a:pt x="0" y="54"/>
                  <a:pt x="0" y="54"/>
                </a:cubicBezTo>
                <a:cubicBezTo>
                  <a:pt x="1" y="55"/>
                  <a:pt x="1" y="55"/>
                  <a:pt x="1" y="56"/>
                </a:cubicBezTo>
                <a:cubicBezTo>
                  <a:pt x="1" y="59"/>
                  <a:pt x="1" y="59"/>
                  <a:pt x="1" y="59"/>
                </a:cubicBezTo>
                <a:cubicBezTo>
                  <a:pt x="3" y="63"/>
                  <a:pt x="3" y="63"/>
                  <a:pt x="3" y="63"/>
                </a:cubicBezTo>
                <a:cubicBezTo>
                  <a:pt x="3" y="63"/>
                  <a:pt x="3" y="63"/>
                  <a:pt x="3" y="64"/>
                </a:cubicBezTo>
                <a:cubicBezTo>
                  <a:pt x="3" y="65"/>
                  <a:pt x="3" y="65"/>
                  <a:pt x="3" y="65"/>
                </a:cubicBezTo>
                <a:cubicBezTo>
                  <a:pt x="3" y="66"/>
                  <a:pt x="3" y="68"/>
                  <a:pt x="3" y="69"/>
                </a:cubicBezTo>
                <a:cubicBezTo>
                  <a:pt x="2" y="70"/>
                  <a:pt x="1" y="72"/>
                  <a:pt x="1" y="73"/>
                </a:cubicBezTo>
                <a:cubicBezTo>
                  <a:pt x="1" y="74"/>
                  <a:pt x="1" y="74"/>
                  <a:pt x="1" y="74"/>
                </a:cubicBezTo>
                <a:cubicBezTo>
                  <a:pt x="3" y="75"/>
                  <a:pt x="3" y="75"/>
                  <a:pt x="3" y="75"/>
                </a:cubicBezTo>
                <a:cubicBezTo>
                  <a:pt x="3" y="76"/>
                  <a:pt x="3" y="76"/>
                  <a:pt x="3" y="76"/>
                </a:cubicBezTo>
                <a:cubicBezTo>
                  <a:pt x="6" y="81"/>
                  <a:pt x="6" y="81"/>
                  <a:pt x="6" y="81"/>
                </a:cubicBezTo>
                <a:cubicBezTo>
                  <a:pt x="7" y="83"/>
                  <a:pt x="7" y="83"/>
                  <a:pt x="7" y="83"/>
                </a:cubicBezTo>
                <a:cubicBezTo>
                  <a:pt x="8" y="84"/>
                  <a:pt x="8" y="84"/>
                  <a:pt x="8" y="84"/>
                </a:cubicBezTo>
                <a:cubicBezTo>
                  <a:pt x="8" y="85"/>
                  <a:pt x="8" y="85"/>
                  <a:pt x="8" y="86"/>
                </a:cubicBezTo>
                <a:cubicBezTo>
                  <a:pt x="8" y="86"/>
                  <a:pt x="7" y="86"/>
                  <a:pt x="7" y="87"/>
                </a:cubicBezTo>
                <a:cubicBezTo>
                  <a:pt x="7" y="87"/>
                  <a:pt x="8" y="87"/>
                  <a:pt x="8" y="88"/>
                </a:cubicBezTo>
                <a:cubicBezTo>
                  <a:pt x="9" y="90"/>
                  <a:pt x="9" y="90"/>
                  <a:pt x="9" y="90"/>
                </a:cubicBezTo>
                <a:cubicBezTo>
                  <a:pt x="9" y="90"/>
                  <a:pt x="9" y="90"/>
                  <a:pt x="10" y="90"/>
                </a:cubicBezTo>
                <a:cubicBezTo>
                  <a:pt x="10" y="90"/>
                  <a:pt x="10" y="90"/>
                  <a:pt x="10" y="90"/>
                </a:cubicBezTo>
                <a:cubicBezTo>
                  <a:pt x="11" y="93"/>
                  <a:pt x="12" y="96"/>
                  <a:pt x="12" y="96"/>
                </a:cubicBezTo>
                <a:cubicBezTo>
                  <a:pt x="12" y="97"/>
                  <a:pt x="12" y="97"/>
                  <a:pt x="12" y="97"/>
                </a:cubicBezTo>
                <a:cubicBezTo>
                  <a:pt x="12" y="98"/>
                  <a:pt x="12" y="99"/>
                  <a:pt x="12" y="99"/>
                </a:cubicBezTo>
                <a:cubicBezTo>
                  <a:pt x="13" y="98"/>
                  <a:pt x="13" y="99"/>
                  <a:pt x="14" y="99"/>
                </a:cubicBezTo>
                <a:cubicBezTo>
                  <a:pt x="14" y="100"/>
                  <a:pt x="15" y="100"/>
                  <a:pt x="15" y="101"/>
                </a:cubicBezTo>
                <a:cubicBezTo>
                  <a:pt x="14" y="102"/>
                  <a:pt x="14" y="103"/>
                  <a:pt x="14" y="103"/>
                </a:cubicBezTo>
                <a:cubicBezTo>
                  <a:pt x="15" y="104"/>
                  <a:pt x="15" y="105"/>
                  <a:pt x="15" y="106"/>
                </a:cubicBezTo>
                <a:cubicBezTo>
                  <a:pt x="17" y="108"/>
                  <a:pt x="17" y="108"/>
                  <a:pt x="17" y="108"/>
                </a:cubicBezTo>
                <a:cubicBezTo>
                  <a:pt x="17" y="109"/>
                  <a:pt x="17" y="109"/>
                  <a:pt x="17" y="110"/>
                </a:cubicBezTo>
                <a:cubicBezTo>
                  <a:pt x="16" y="113"/>
                  <a:pt x="16" y="113"/>
                  <a:pt x="16" y="113"/>
                </a:cubicBezTo>
                <a:cubicBezTo>
                  <a:pt x="16" y="114"/>
                  <a:pt x="16" y="114"/>
                  <a:pt x="16" y="114"/>
                </a:cubicBezTo>
                <a:cubicBezTo>
                  <a:pt x="16" y="115"/>
                  <a:pt x="16" y="115"/>
                  <a:pt x="16" y="115"/>
                </a:cubicBezTo>
                <a:cubicBezTo>
                  <a:pt x="16" y="119"/>
                  <a:pt x="16" y="119"/>
                  <a:pt x="16" y="119"/>
                </a:cubicBezTo>
                <a:cubicBezTo>
                  <a:pt x="16" y="120"/>
                  <a:pt x="16" y="121"/>
                  <a:pt x="15" y="121"/>
                </a:cubicBezTo>
                <a:cubicBezTo>
                  <a:pt x="15" y="121"/>
                  <a:pt x="15" y="121"/>
                  <a:pt x="15" y="122"/>
                </a:cubicBezTo>
                <a:cubicBezTo>
                  <a:pt x="11" y="124"/>
                  <a:pt x="15" y="130"/>
                  <a:pt x="15" y="130"/>
                </a:cubicBezTo>
                <a:cubicBezTo>
                  <a:pt x="14" y="128"/>
                  <a:pt x="14" y="128"/>
                  <a:pt x="14" y="128"/>
                </a:cubicBezTo>
                <a:cubicBezTo>
                  <a:pt x="13" y="128"/>
                  <a:pt x="13" y="128"/>
                  <a:pt x="13" y="128"/>
                </a:cubicBezTo>
                <a:cubicBezTo>
                  <a:pt x="12" y="128"/>
                  <a:pt x="12" y="128"/>
                  <a:pt x="12" y="128"/>
                </a:cubicBezTo>
                <a:cubicBezTo>
                  <a:pt x="12" y="129"/>
                  <a:pt x="12" y="129"/>
                  <a:pt x="12" y="129"/>
                </a:cubicBezTo>
                <a:cubicBezTo>
                  <a:pt x="12" y="129"/>
                  <a:pt x="12" y="129"/>
                  <a:pt x="13" y="129"/>
                </a:cubicBezTo>
                <a:cubicBezTo>
                  <a:pt x="13" y="129"/>
                  <a:pt x="14" y="129"/>
                  <a:pt x="14" y="130"/>
                </a:cubicBezTo>
                <a:cubicBezTo>
                  <a:pt x="15" y="130"/>
                  <a:pt x="15" y="130"/>
                  <a:pt x="15" y="131"/>
                </a:cubicBezTo>
                <a:cubicBezTo>
                  <a:pt x="15" y="139"/>
                  <a:pt x="15" y="139"/>
                  <a:pt x="15" y="139"/>
                </a:cubicBezTo>
                <a:cubicBezTo>
                  <a:pt x="15" y="141"/>
                  <a:pt x="15" y="142"/>
                  <a:pt x="15" y="142"/>
                </a:cubicBezTo>
                <a:cubicBezTo>
                  <a:pt x="15" y="143"/>
                  <a:pt x="15" y="143"/>
                  <a:pt x="15" y="143"/>
                </a:cubicBezTo>
                <a:cubicBezTo>
                  <a:pt x="14" y="143"/>
                  <a:pt x="14" y="143"/>
                  <a:pt x="14" y="143"/>
                </a:cubicBezTo>
                <a:cubicBezTo>
                  <a:pt x="15" y="143"/>
                  <a:pt x="15" y="143"/>
                  <a:pt x="15" y="143"/>
                </a:cubicBezTo>
                <a:cubicBezTo>
                  <a:pt x="18" y="143"/>
                  <a:pt x="18" y="143"/>
                  <a:pt x="18" y="143"/>
                </a:cubicBezTo>
                <a:cubicBezTo>
                  <a:pt x="18" y="143"/>
                  <a:pt x="19" y="143"/>
                  <a:pt x="19" y="144"/>
                </a:cubicBezTo>
                <a:cubicBezTo>
                  <a:pt x="22" y="146"/>
                  <a:pt x="22" y="146"/>
                  <a:pt x="22" y="146"/>
                </a:cubicBezTo>
                <a:cubicBezTo>
                  <a:pt x="23" y="147"/>
                  <a:pt x="23" y="148"/>
                  <a:pt x="23" y="148"/>
                </a:cubicBezTo>
                <a:cubicBezTo>
                  <a:pt x="22" y="152"/>
                  <a:pt x="22" y="152"/>
                  <a:pt x="22" y="152"/>
                </a:cubicBezTo>
                <a:cubicBezTo>
                  <a:pt x="22" y="153"/>
                  <a:pt x="22" y="153"/>
                  <a:pt x="22" y="153"/>
                </a:cubicBezTo>
                <a:cubicBezTo>
                  <a:pt x="22" y="154"/>
                  <a:pt x="22" y="154"/>
                  <a:pt x="22" y="154"/>
                </a:cubicBezTo>
                <a:cubicBezTo>
                  <a:pt x="23" y="155"/>
                  <a:pt x="24" y="156"/>
                  <a:pt x="24" y="156"/>
                </a:cubicBezTo>
                <a:cubicBezTo>
                  <a:pt x="27" y="157"/>
                  <a:pt x="27" y="157"/>
                  <a:pt x="27" y="157"/>
                </a:cubicBezTo>
                <a:cubicBezTo>
                  <a:pt x="29" y="157"/>
                  <a:pt x="29" y="157"/>
                  <a:pt x="29" y="157"/>
                </a:cubicBezTo>
                <a:cubicBezTo>
                  <a:pt x="32" y="156"/>
                  <a:pt x="32" y="156"/>
                  <a:pt x="32" y="156"/>
                </a:cubicBezTo>
                <a:cubicBezTo>
                  <a:pt x="34" y="156"/>
                  <a:pt x="36" y="155"/>
                  <a:pt x="37" y="154"/>
                </a:cubicBezTo>
                <a:cubicBezTo>
                  <a:pt x="39" y="153"/>
                  <a:pt x="42" y="153"/>
                  <a:pt x="43" y="154"/>
                </a:cubicBezTo>
                <a:cubicBezTo>
                  <a:pt x="47" y="154"/>
                  <a:pt x="47" y="154"/>
                  <a:pt x="47" y="154"/>
                </a:cubicBezTo>
                <a:cubicBezTo>
                  <a:pt x="48" y="154"/>
                  <a:pt x="48" y="154"/>
                  <a:pt x="49" y="155"/>
                </a:cubicBezTo>
                <a:cubicBezTo>
                  <a:pt x="51" y="157"/>
                  <a:pt x="51" y="157"/>
                  <a:pt x="51" y="157"/>
                </a:cubicBezTo>
                <a:cubicBezTo>
                  <a:pt x="52" y="157"/>
                  <a:pt x="52" y="158"/>
                  <a:pt x="52" y="158"/>
                </a:cubicBezTo>
                <a:cubicBezTo>
                  <a:pt x="53" y="162"/>
                  <a:pt x="53" y="162"/>
                  <a:pt x="53" y="162"/>
                </a:cubicBezTo>
                <a:cubicBezTo>
                  <a:pt x="53" y="164"/>
                  <a:pt x="53" y="165"/>
                  <a:pt x="51" y="166"/>
                </a:cubicBezTo>
                <a:cubicBezTo>
                  <a:pt x="50" y="167"/>
                  <a:pt x="49" y="169"/>
                  <a:pt x="49" y="169"/>
                </a:cubicBezTo>
                <a:cubicBezTo>
                  <a:pt x="48" y="169"/>
                  <a:pt x="48" y="169"/>
                  <a:pt x="48" y="169"/>
                </a:cubicBezTo>
                <a:cubicBezTo>
                  <a:pt x="48" y="169"/>
                  <a:pt x="46" y="170"/>
                  <a:pt x="44" y="171"/>
                </a:cubicBezTo>
                <a:cubicBezTo>
                  <a:pt x="44" y="171"/>
                  <a:pt x="44" y="171"/>
                  <a:pt x="43" y="171"/>
                </a:cubicBezTo>
                <a:cubicBezTo>
                  <a:pt x="44" y="172"/>
                  <a:pt x="43" y="173"/>
                  <a:pt x="42" y="173"/>
                </a:cubicBezTo>
                <a:cubicBezTo>
                  <a:pt x="42" y="173"/>
                  <a:pt x="41" y="174"/>
                  <a:pt x="41" y="176"/>
                </a:cubicBezTo>
                <a:cubicBezTo>
                  <a:pt x="41" y="179"/>
                  <a:pt x="41" y="179"/>
                  <a:pt x="41" y="179"/>
                </a:cubicBezTo>
                <a:cubicBezTo>
                  <a:pt x="41" y="180"/>
                  <a:pt x="42" y="183"/>
                  <a:pt x="43" y="185"/>
                </a:cubicBezTo>
                <a:cubicBezTo>
                  <a:pt x="43" y="185"/>
                  <a:pt x="43" y="186"/>
                  <a:pt x="43" y="187"/>
                </a:cubicBezTo>
                <a:cubicBezTo>
                  <a:pt x="43" y="187"/>
                  <a:pt x="43" y="187"/>
                  <a:pt x="43" y="187"/>
                </a:cubicBezTo>
                <a:cubicBezTo>
                  <a:pt x="44" y="187"/>
                  <a:pt x="44" y="187"/>
                  <a:pt x="45" y="187"/>
                </a:cubicBezTo>
                <a:cubicBezTo>
                  <a:pt x="51" y="191"/>
                  <a:pt x="51" y="191"/>
                  <a:pt x="51" y="191"/>
                </a:cubicBezTo>
                <a:cubicBezTo>
                  <a:pt x="54" y="191"/>
                  <a:pt x="54" y="191"/>
                  <a:pt x="54" y="191"/>
                </a:cubicBezTo>
                <a:cubicBezTo>
                  <a:pt x="54" y="191"/>
                  <a:pt x="54" y="191"/>
                  <a:pt x="54" y="191"/>
                </a:cubicBezTo>
                <a:cubicBezTo>
                  <a:pt x="59" y="193"/>
                  <a:pt x="59" y="193"/>
                  <a:pt x="59" y="193"/>
                </a:cubicBezTo>
                <a:cubicBezTo>
                  <a:pt x="62" y="193"/>
                  <a:pt x="62" y="193"/>
                  <a:pt x="62" y="193"/>
                </a:cubicBezTo>
                <a:cubicBezTo>
                  <a:pt x="63" y="193"/>
                  <a:pt x="63" y="193"/>
                  <a:pt x="63" y="193"/>
                </a:cubicBezTo>
                <a:cubicBezTo>
                  <a:pt x="64" y="194"/>
                  <a:pt x="64" y="194"/>
                  <a:pt x="65" y="194"/>
                </a:cubicBezTo>
                <a:cubicBezTo>
                  <a:pt x="65" y="194"/>
                  <a:pt x="66" y="194"/>
                  <a:pt x="67" y="194"/>
                </a:cubicBezTo>
                <a:cubicBezTo>
                  <a:pt x="68" y="194"/>
                  <a:pt x="69" y="194"/>
                  <a:pt x="70" y="195"/>
                </a:cubicBezTo>
                <a:cubicBezTo>
                  <a:pt x="70" y="195"/>
                  <a:pt x="70" y="195"/>
                  <a:pt x="70" y="195"/>
                </a:cubicBezTo>
                <a:cubicBezTo>
                  <a:pt x="71" y="195"/>
                  <a:pt x="72" y="195"/>
                  <a:pt x="73" y="195"/>
                </a:cubicBezTo>
                <a:cubicBezTo>
                  <a:pt x="73" y="195"/>
                  <a:pt x="73" y="195"/>
                  <a:pt x="74" y="195"/>
                </a:cubicBezTo>
                <a:cubicBezTo>
                  <a:pt x="76" y="196"/>
                  <a:pt x="76" y="196"/>
                  <a:pt x="76" y="196"/>
                </a:cubicBezTo>
                <a:cubicBezTo>
                  <a:pt x="78" y="196"/>
                  <a:pt x="78" y="196"/>
                  <a:pt x="78" y="196"/>
                </a:cubicBezTo>
                <a:cubicBezTo>
                  <a:pt x="78" y="196"/>
                  <a:pt x="79" y="196"/>
                  <a:pt x="79" y="197"/>
                </a:cubicBezTo>
                <a:cubicBezTo>
                  <a:pt x="80" y="197"/>
                  <a:pt x="80" y="197"/>
                  <a:pt x="80" y="197"/>
                </a:cubicBezTo>
                <a:cubicBezTo>
                  <a:pt x="80" y="198"/>
                  <a:pt x="81" y="198"/>
                  <a:pt x="82" y="198"/>
                </a:cubicBezTo>
                <a:cubicBezTo>
                  <a:pt x="84" y="197"/>
                  <a:pt x="84" y="197"/>
                  <a:pt x="84" y="197"/>
                </a:cubicBezTo>
                <a:cubicBezTo>
                  <a:pt x="88" y="195"/>
                  <a:pt x="88" y="195"/>
                  <a:pt x="88" y="195"/>
                </a:cubicBezTo>
                <a:cubicBezTo>
                  <a:pt x="88" y="195"/>
                  <a:pt x="88" y="195"/>
                  <a:pt x="89" y="195"/>
                </a:cubicBezTo>
                <a:cubicBezTo>
                  <a:pt x="90" y="195"/>
                  <a:pt x="90" y="195"/>
                  <a:pt x="90" y="195"/>
                </a:cubicBezTo>
                <a:cubicBezTo>
                  <a:pt x="95" y="190"/>
                  <a:pt x="95" y="190"/>
                  <a:pt x="95" y="190"/>
                </a:cubicBezTo>
                <a:cubicBezTo>
                  <a:pt x="98" y="188"/>
                  <a:pt x="98" y="188"/>
                  <a:pt x="98" y="188"/>
                </a:cubicBezTo>
                <a:cubicBezTo>
                  <a:pt x="100" y="185"/>
                  <a:pt x="100" y="185"/>
                  <a:pt x="100" y="185"/>
                </a:cubicBezTo>
                <a:cubicBezTo>
                  <a:pt x="100" y="185"/>
                  <a:pt x="101" y="184"/>
                  <a:pt x="102" y="184"/>
                </a:cubicBezTo>
                <a:cubicBezTo>
                  <a:pt x="102" y="184"/>
                  <a:pt x="102" y="184"/>
                  <a:pt x="102" y="184"/>
                </a:cubicBezTo>
                <a:cubicBezTo>
                  <a:pt x="102" y="183"/>
                  <a:pt x="103" y="183"/>
                  <a:pt x="104" y="182"/>
                </a:cubicBezTo>
                <a:cubicBezTo>
                  <a:pt x="105" y="181"/>
                  <a:pt x="105" y="181"/>
                  <a:pt x="105" y="181"/>
                </a:cubicBezTo>
                <a:cubicBezTo>
                  <a:pt x="107" y="178"/>
                  <a:pt x="107" y="178"/>
                  <a:pt x="107" y="178"/>
                </a:cubicBezTo>
                <a:cubicBezTo>
                  <a:pt x="107" y="177"/>
                  <a:pt x="107" y="177"/>
                  <a:pt x="107" y="177"/>
                </a:cubicBezTo>
                <a:cubicBezTo>
                  <a:pt x="106" y="177"/>
                  <a:pt x="106" y="177"/>
                  <a:pt x="106" y="177"/>
                </a:cubicBezTo>
                <a:cubicBezTo>
                  <a:pt x="105" y="177"/>
                  <a:pt x="104" y="177"/>
                  <a:pt x="104" y="175"/>
                </a:cubicBezTo>
                <a:cubicBezTo>
                  <a:pt x="104" y="173"/>
                  <a:pt x="104" y="173"/>
                  <a:pt x="104" y="173"/>
                </a:cubicBezTo>
                <a:cubicBezTo>
                  <a:pt x="103" y="171"/>
                  <a:pt x="103" y="171"/>
                  <a:pt x="103" y="171"/>
                </a:cubicBezTo>
                <a:cubicBezTo>
                  <a:pt x="101" y="173"/>
                  <a:pt x="101" y="173"/>
                  <a:pt x="101" y="173"/>
                </a:cubicBezTo>
                <a:cubicBezTo>
                  <a:pt x="101" y="175"/>
                  <a:pt x="101" y="175"/>
                  <a:pt x="101" y="175"/>
                </a:cubicBezTo>
                <a:cubicBezTo>
                  <a:pt x="100" y="177"/>
                  <a:pt x="100" y="177"/>
                  <a:pt x="100" y="177"/>
                </a:cubicBezTo>
                <a:cubicBezTo>
                  <a:pt x="100" y="177"/>
                  <a:pt x="100" y="177"/>
                  <a:pt x="100" y="177"/>
                </a:cubicBezTo>
                <a:cubicBezTo>
                  <a:pt x="98" y="178"/>
                  <a:pt x="98" y="178"/>
                  <a:pt x="98" y="178"/>
                </a:cubicBezTo>
                <a:cubicBezTo>
                  <a:pt x="97" y="178"/>
                  <a:pt x="97" y="178"/>
                  <a:pt x="97" y="178"/>
                </a:cubicBezTo>
                <a:cubicBezTo>
                  <a:pt x="96" y="177"/>
                  <a:pt x="96" y="177"/>
                  <a:pt x="96" y="177"/>
                </a:cubicBezTo>
                <a:cubicBezTo>
                  <a:pt x="94" y="171"/>
                  <a:pt x="94" y="171"/>
                  <a:pt x="94" y="171"/>
                </a:cubicBezTo>
                <a:cubicBezTo>
                  <a:pt x="94" y="169"/>
                  <a:pt x="94" y="169"/>
                  <a:pt x="94" y="169"/>
                </a:cubicBezTo>
                <a:cubicBezTo>
                  <a:pt x="99" y="160"/>
                  <a:pt x="99" y="160"/>
                  <a:pt x="99" y="160"/>
                </a:cubicBezTo>
                <a:cubicBezTo>
                  <a:pt x="102" y="157"/>
                  <a:pt x="102" y="157"/>
                  <a:pt x="102" y="157"/>
                </a:cubicBezTo>
                <a:cubicBezTo>
                  <a:pt x="103" y="156"/>
                  <a:pt x="103" y="156"/>
                  <a:pt x="103" y="156"/>
                </a:cubicBezTo>
                <a:cubicBezTo>
                  <a:pt x="103" y="155"/>
                  <a:pt x="103" y="155"/>
                  <a:pt x="103" y="155"/>
                </a:cubicBezTo>
                <a:cubicBezTo>
                  <a:pt x="109" y="151"/>
                  <a:pt x="109" y="151"/>
                  <a:pt x="109" y="151"/>
                </a:cubicBezTo>
                <a:cubicBezTo>
                  <a:pt x="110" y="151"/>
                  <a:pt x="110" y="151"/>
                  <a:pt x="110" y="151"/>
                </a:cubicBezTo>
                <a:cubicBezTo>
                  <a:pt x="115" y="148"/>
                  <a:pt x="115" y="148"/>
                  <a:pt x="115" y="148"/>
                </a:cubicBezTo>
                <a:cubicBezTo>
                  <a:pt x="121" y="148"/>
                  <a:pt x="121" y="148"/>
                  <a:pt x="121" y="148"/>
                </a:cubicBezTo>
                <a:cubicBezTo>
                  <a:pt x="122" y="147"/>
                  <a:pt x="122" y="147"/>
                  <a:pt x="122" y="147"/>
                </a:cubicBezTo>
                <a:cubicBezTo>
                  <a:pt x="126" y="143"/>
                  <a:pt x="126" y="143"/>
                  <a:pt x="126" y="143"/>
                </a:cubicBezTo>
                <a:cubicBezTo>
                  <a:pt x="127" y="142"/>
                  <a:pt x="127" y="142"/>
                  <a:pt x="127" y="142"/>
                </a:cubicBezTo>
                <a:cubicBezTo>
                  <a:pt x="128" y="140"/>
                  <a:pt x="128" y="140"/>
                  <a:pt x="128" y="140"/>
                </a:cubicBezTo>
                <a:cubicBezTo>
                  <a:pt x="128" y="139"/>
                  <a:pt x="128" y="139"/>
                  <a:pt x="128" y="139"/>
                </a:cubicBezTo>
                <a:cubicBezTo>
                  <a:pt x="129" y="139"/>
                  <a:pt x="129" y="139"/>
                  <a:pt x="129" y="139"/>
                </a:cubicBezTo>
                <a:cubicBezTo>
                  <a:pt x="129" y="137"/>
                  <a:pt x="129" y="137"/>
                  <a:pt x="129" y="137"/>
                </a:cubicBezTo>
                <a:cubicBezTo>
                  <a:pt x="129" y="134"/>
                  <a:pt x="129" y="134"/>
                  <a:pt x="129" y="134"/>
                </a:cubicBezTo>
                <a:cubicBezTo>
                  <a:pt x="129" y="127"/>
                  <a:pt x="129" y="127"/>
                  <a:pt x="129" y="127"/>
                </a:cubicBezTo>
                <a:lnTo>
                  <a:pt x="129" y="126"/>
                </a:lnTo>
                <a:close/>
                <a:moveTo>
                  <a:pt x="56" y="12"/>
                </a:moveTo>
                <a:cubicBezTo>
                  <a:pt x="57" y="12"/>
                  <a:pt x="57" y="12"/>
                  <a:pt x="57" y="12"/>
                </a:cubicBezTo>
                <a:cubicBezTo>
                  <a:pt x="58" y="12"/>
                  <a:pt x="58" y="12"/>
                  <a:pt x="58" y="12"/>
                </a:cubicBezTo>
                <a:cubicBezTo>
                  <a:pt x="59" y="12"/>
                  <a:pt x="59" y="12"/>
                  <a:pt x="59" y="12"/>
                </a:cubicBezTo>
                <a:cubicBezTo>
                  <a:pt x="59" y="10"/>
                  <a:pt x="59" y="10"/>
                  <a:pt x="59" y="10"/>
                </a:cubicBezTo>
                <a:cubicBezTo>
                  <a:pt x="60" y="5"/>
                  <a:pt x="60" y="5"/>
                  <a:pt x="60" y="5"/>
                </a:cubicBezTo>
                <a:cubicBezTo>
                  <a:pt x="60" y="4"/>
                  <a:pt x="60" y="4"/>
                  <a:pt x="60" y="4"/>
                </a:cubicBezTo>
                <a:cubicBezTo>
                  <a:pt x="60" y="4"/>
                  <a:pt x="60" y="4"/>
                  <a:pt x="60" y="4"/>
                </a:cubicBezTo>
                <a:cubicBezTo>
                  <a:pt x="60" y="3"/>
                  <a:pt x="60" y="3"/>
                  <a:pt x="60" y="3"/>
                </a:cubicBezTo>
                <a:cubicBezTo>
                  <a:pt x="60" y="3"/>
                  <a:pt x="60" y="3"/>
                  <a:pt x="60" y="3"/>
                </a:cubicBezTo>
                <a:cubicBezTo>
                  <a:pt x="59" y="2"/>
                  <a:pt x="59" y="2"/>
                  <a:pt x="59" y="2"/>
                </a:cubicBezTo>
                <a:cubicBezTo>
                  <a:pt x="56" y="0"/>
                  <a:pt x="56" y="0"/>
                  <a:pt x="56" y="0"/>
                </a:cubicBezTo>
                <a:cubicBezTo>
                  <a:pt x="49" y="0"/>
                  <a:pt x="49" y="0"/>
                  <a:pt x="49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45" y="2"/>
                  <a:pt x="45" y="2"/>
                  <a:pt x="45" y="2"/>
                </a:cubicBezTo>
                <a:cubicBezTo>
                  <a:pt x="45" y="3"/>
                  <a:pt x="45" y="3"/>
                  <a:pt x="45" y="3"/>
                </a:cubicBezTo>
                <a:cubicBezTo>
                  <a:pt x="45" y="4"/>
                  <a:pt x="45" y="4"/>
                  <a:pt x="45" y="4"/>
                </a:cubicBezTo>
                <a:lnTo>
                  <a:pt x="56" y="12"/>
                </a:lnTo>
                <a:close/>
              </a:path>
            </a:pathLst>
          </a:custGeom>
          <a:solidFill>
            <a:srgbClr val="FFC000"/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Freeform 55">
            <a:extLst>
              <a:ext uri="{FF2B5EF4-FFF2-40B4-BE49-F238E27FC236}">
                <a16:creationId xmlns:a16="http://schemas.microsoft.com/office/drawing/2014/main" id="{77C31829-1DEF-41A8-B866-7A99A2C169ED}"/>
              </a:ext>
            </a:extLst>
          </p:cNvPr>
          <p:cNvSpPr>
            <a:spLocks noEditPoints="1"/>
          </p:cNvSpPr>
          <p:nvPr/>
        </p:nvSpPr>
        <p:spPr bwMode="auto">
          <a:xfrm>
            <a:off x="2367637" y="3033244"/>
            <a:ext cx="1681956" cy="2168525"/>
          </a:xfrm>
          <a:custGeom>
            <a:avLst/>
            <a:gdLst>
              <a:gd name="T0" fmla="*/ 333 w 696"/>
              <a:gd name="T1" fmla="*/ 93 h 972"/>
              <a:gd name="T2" fmla="*/ 78 w 696"/>
              <a:gd name="T3" fmla="*/ 930 h 972"/>
              <a:gd name="T4" fmla="*/ 66 w 696"/>
              <a:gd name="T5" fmla="*/ 423 h 972"/>
              <a:gd name="T6" fmla="*/ 15 w 696"/>
              <a:gd name="T7" fmla="*/ 854 h 972"/>
              <a:gd name="T8" fmla="*/ 95 w 696"/>
              <a:gd name="T9" fmla="*/ 378 h 972"/>
              <a:gd name="T10" fmla="*/ 108 w 696"/>
              <a:gd name="T11" fmla="*/ 357 h 972"/>
              <a:gd name="T12" fmla="*/ 67 w 696"/>
              <a:gd name="T13" fmla="*/ 329 h 972"/>
              <a:gd name="T14" fmla="*/ 688 w 696"/>
              <a:gd name="T15" fmla="*/ 467 h 972"/>
              <a:gd name="T16" fmla="*/ 652 w 696"/>
              <a:gd name="T17" fmla="*/ 384 h 972"/>
              <a:gd name="T18" fmla="*/ 679 w 696"/>
              <a:gd name="T19" fmla="*/ 355 h 972"/>
              <a:gd name="T20" fmla="*/ 650 w 696"/>
              <a:gd name="T21" fmla="*/ 330 h 972"/>
              <a:gd name="T22" fmla="*/ 603 w 696"/>
              <a:gd name="T23" fmla="*/ 306 h 972"/>
              <a:gd name="T24" fmla="*/ 530 w 696"/>
              <a:gd name="T25" fmla="*/ 276 h 972"/>
              <a:gd name="T26" fmla="*/ 448 w 696"/>
              <a:gd name="T27" fmla="*/ 296 h 972"/>
              <a:gd name="T28" fmla="*/ 451 w 696"/>
              <a:gd name="T29" fmla="*/ 189 h 972"/>
              <a:gd name="T30" fmla="*/ 492 w 696"/>
              <a:gd name="T31" fmla="*/ 123 h 972"/>
              <a:gd name="T32" fmla="*/ 540 w 696"/>
              <a:gd name="T33" fmla="*/ 57 h 972"/>
              <a:gd name="T34" fmla="*/ 485 w 696"/>
              <a:gd name="T35" fmla="*/ 24 h 972"/>
              <a:gd name="T36" fmla="*/ 468 w 696"/>
              <a:gd name="T37" fmla="*/ 80 h 972"/>
              <a:gd name="T38" fmla="*/ 448 w 696"/>
              <a:gd name="T39" fmla="*/ 44 h 972"/>
              <a:gd name="T40" fmla="*/ 459 w 696"/>
              <a:gd name="T41" fmla="*/ 69 h 972"/>
              <a:gd name="T42" fmla="*/ 442 w 696"/>
              <a:gd name="T43" fmla="*/ 42 h 972"/>
              <a:gd name="T44" fmla="*/ 378 w 696"/>
              <a:gd name="T45" fmla="*/ 52 h 972"/>
              <a:gd name="T46" fmla="*/ 369 w 696"/>
              <a:gd name="T47" fmla="*/ 120 h 972"/>
              <a:gd name="T48" fmla="*/ 324 w 696"/>
              <a:gd name="T49" fmla="*/ 145 h 972"/>
              <a:gd name="T50" fmla="*/ 387 w 696"/>
              <a:gd name="T51" fmla="*/ 191 h 972"/>
              <a:gd name="T52" fmla="*/ 330 w 696"/>
              <a:gd name="T53" fmla="*/ 288 h 972"/>
              <a:gd name="T54" fmla="*/ 239 w 696"/>
              <a:gd name="T55" fmla="*/ 291 h 972"/>
              <a:gd name="T56" fmla="*/ 134 w 696"/>
              <a:gd name="T57" fmla="*/ 247 h 972"/>
              <a:gd name="T58" fmla="*/ 115 w 696"/>
              <a:gd name="T59" fmla="*/ 267 h 972"/>
              <a:gd name="T60" fmla="*/ 95 w 696"/>
              <a:gd name="T61" fmla="*/ 266 h 972"/>
              <a:gd name="T62" fmla="*/ 108 w 696"/>
              <a:gd name="T63" fmla="*/ 271 h 972"/>
              <a:gd name="T64" fmla="*/ 131 w 696"/>
              <a:gd name="T65" fmla="*/ 361 h 972"/>
              <a:gd name="T66" fmla="*/ 117 w 696"/>
              <a:gd name="T67" fmla="*/ 389 h 972"/>
              <a:gd name="T68" fmla="*/ 106 w 696"/>
              <a:gd name="T69" fmla="*/ 483 h 972"/>
              <a:gd name="T70" fmla="*/ 109 w 696"/>
              <a:gd name="T71" fmla="*/ 498 h 972"/>
              <a:gd name="T72" fmla="*/ 158 w 696"/>
              <a:gd name="T73" fmla="*/ 494 h 972"/>
              <a:gd name="T74" fmla="*/ 235 w 696"/>
              <a:gd name="T75" fmla="*/ 523 h 972"/>
              <a:gd name="T76" fmla="*/ 200 w 696"/>
              <a:gd name="T77" fmla="*/ 550 h 972"/>
              <a:gd name="T78" fmla="*/ 112 w 696"/>
              <a:gd name="T79" fmla="*/ 681 h 972"/>
              <a:gd name="T80" fmla="*/ 149 w 696"/>
              <a:gd name="T81" fmla="*/ 676 h 972"/>
              <a:gd name="T82" fmla="*/ 238 w 696"/>
              <a:gd name="T83" fmla="*/ 681 h 972"/>
              <a:gd name="T84" fmla="*/ 117 w 696"/>
              <a:gd name="T85" fmla="*/ 720 h 972"/>
              <a:gd name="T86" fmla="*/ 52 w 696"/>
              <a:gd name="T87" fmla="*/ 758 h 972"/>
              <a:gd name="T88" fmla="*/ 4 w 696"/>
              <a:gd name="T89" fmla="*/ 802 h 972"/>
              <a:gd name="T90" fmla="*/ 79 w 696"/>
              <a:gd name="T91" fmla="*/ 812 h 972"/>
              <a:gd name="T92" fmla="*/ 8 w 696"/>
              <a:gd name="T93" fmla="*/ 865 h 972"/>
              <a:gd name="T94" fmla="*/ 69 w 696"/>
              <a:gd name="T95" fmla="*/ 905 h 972"/>
              <a:gd name="T96" fmla="*/ 137 w 696"/>
              <a:gd name="T97" fmla="*/ 906 h 972"/>
              <a:gd name="T98" fmla="*/ 88 w 696"/>
              <a:gd name="T99" fmla="*/ 947 h 972"/>
              <a:gd name="T100" fmla="*/ 118 w 696"/>
              <a:gd name="T101" fmla="*/ 948 h 972"/>
              <a:gd name="T102" fmla="*/ 155 w 696"/>
              <a:gd name="T103" fmla="*/ 963 h 972"/>
              <a:gd name="T104" fmla="*/ 241 w 696"/>
              <a:gd name="T105" fmla="*/ 949 h 972"/>
              <a:gd name="T106" fmla="*/ 379 w 696"/>
              <a:gd name="T107" fmla="*/ 890 h 972"/>
              <a:gd name="T108" fmla="*/ 446 w 696"/>
              <a:gd name="T109" fmla="*/ 826 h 972"/>
              <a:gd name="T110" fmla="*/ 627 w 696"/>
              <a:gd name="T111" fmla="*/ 776 h 972"/>
              <a:gd name="T112" fmla="*/ 663 w 696"/>
              <a:gd name="T113" fmla="*/ 688 h 972"/>
              <a:gd name="T114" fmla="*/ 157 w 696"/>
              <a:gd name="T115" fmla="*/ 561 h 972"/>
              <a:gd name="T116" fmla="*/ 148 w 696"/>
              <a:gd name="T117" fmla="*/ 518 h 972"/>
              <a:gd name="T118" fmla="*/ 139 w 696"/>
              <a:gd name="T119" fmla="*/ 548 h 972"/>
              <a:gd name="T120" fmla="*/ 162 w 696"/>
              <a:gd name="T121" fmla="*/ 574 h 9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96" h="972">
                <a:moveTo>
                  <a:pt x="334" y="95"/>
                </a:moveTo>
                <a:cubicBezTo>
                  <a:pt x="339" y="97"/>
                  <a:pt x="339" y="97"/>
                  <a:pt x="339" y="97"/>
                </a:cubicBezTo>
                <a:cubicBezTo>
                  <a:pt x="340" y="97"/>
                  <a:pt x="340" y="97"/>
                  <a:pt x="340" y="97"/>
                </a:cubicBezTo>
                <a:cubicBezTo>
                  <a:pt x="343" y="96"/>
                  <a:pt x="343" y="96"/>
                  <a:pt x="343" y="96"/>
                </a:cubicBezTo>
                <a:cubicBezTo>
                  <a:pt x="344" y="95"/>
                  <a:pt x="344" y="95"/>
                  <a:pt x="344" y="95"/>
                </a:cubicBezTo>
                <a:cubicBezTo>
                  <a:pt x="344" y="95"/>
                  <a:pt x="344" y="95"/>
                  <a:pt x="344" y="95"/>
                </a:cubicBezTo>
                <a:cubicBezTo>
                  <a:pt x="343" y="89"/>
                  <a:pt x="343" y="89"/>
                  <a:pt x="343" y="89"/>
                </a:cubicBezTo>
                <a:cubicBezTo>
                  <a:pt x="343" y="89"/>
                  <a:pt x="343" y="89"/>
                  <a:pt x="343" y="89"/>
                </a:cubicBezTo>
                <a:cubicBezTo>
                  <a:pt x="344" y="88"/>
                  <a:pt x="344" y="88"/>
                  <a:pt x="344" y="88"/>
                </a:cubicBezTo>
                <a:cubicBezTo>
                  <a:pt x="343" y="88"/>
                  <a:pt x="343" y="88"/>
                  <a:pt x="343" y="88"/>
                </a:cubicBezTo>
                <a:cubicBezTo>
                  <a:pt x="338" y="83"/>
                  <a:pt x="338" y="83"/>
                  <a:pt x="338" y="83"/>
                </a:cubicBezTo>
                <a:cubicBezTo>
                  <a:pt x="337" y="83"/>
                  <a:pt x="337" y="83"/>
                  <a:pt x="337" y="83"/>
                </a:cubicBezTo>
                <a:cubicBezTo>
                  <a:pt x="336" y="83"/>
                  <a:pt x="336" y="83"/>
                  <a:pt x="336" y="83"/>
                </a:cubicBezTo>
                <a:cubicBezTo>
                  <a:pt x="335" y="83"/>
                  <a:pt x="335" y="83"/>
                  <a:pt x="335" y="83"/>
                </a:cubicBezTo>
                <a:cubicBezTo>
                  <a:pt x="335" y="85"/>
                  <a:pt x="335" y="85"/>
                  <a:pt x="335" y="85"/>
                </a:cubicBezTo>
                <a:cubicBezTo>
                  <a:pt x="333" y="92"/>
                  <a:pt x="333" y="92"/>
                  <a:pt x="333" y="92"/>
                </a:cubicBezTo>
                <a:cubicBezTo>
                  <a:pt x="333" y="93"/>
                  <a:pt x="333" y="93"/>
                  <a:pt x="333" y="93"/>
                </a:cubicBezTo>
                <a:cubicBezTo>
                  <a:pt x="333" y="95"/>
                  <a:pt x="333" y="95"/>
                  <a:pt x="333" y="95"/>
                </a:cubicBezTo>
                <a:lnTo>
                  <a:pt x="334" y="95"/>
                </a:lnTo>
                <a:close/>
                <a:moveTo>
                  <a:pt x="94" y="928"/>
                </a:moveTo>
                <a:cubicBezTo>
                  <a:pt x="95" y="928"/>
                  <a:pt x="95" y="928"/>
                  <a:pt x="95" y="928"/>
                </a:cubicBezTo>
                <a:cubicBezTo>
                  <a:pt x="97" y="925"/>
                  <a:pt x="97" y="925"/>
                  <a:pt x="97" y="925"/>
                </a:cubicBezTo>
                <a:cubicBezTo>
                  <a:pt x="99" y="924"/>
                  <a:pt x="99" y="924"/>
                  <a:pt x="99" y="924"/>
                </a:cubicBezTo>
                <a:cubicBezTo>
                  <a:pt x="100" y="923"/>
                  <a:pt x="100" y="923"/>
                  <a:pt x="100" y="923"/>
                </a:cubicBezTo>
                <a:cubicBezTo>
                  <a:pt x="99" y="923"/>
                  <a:pt x="99" y="923"/>
                  <a:pt x="99" y="923"/>
                </a:cubicBezTo>
                <a:cubicBezTo>
                  <a:pt x="98" y="923"/>
                  <a:pt x="98" y="923"/>
                  <a:pt x="98" y="923"/>
                </a:cubicBezTo>
                <a:cubicBezTo>
                  <a:pt x="85" y="924"/>
                  <a:pt x="85" y="924"/>
                  <a:pt x="85" y="924"/>
                </a:cubicBezTo>
                <a:cubicBezTo>
                  <a:pt x="81" y="924"/>
                  <a:pt x="81" y="924"/>
                  <a:pt x="81" y="924"/>
                </a:cubicBezTo>
                <a:cubicBezTo>
                  <a:pt x="79" y="924"/>
                  <a:pt x="79" y="924"/>
                  <a:pt x="79" y="924"/>
                </a:cubicBezTo>
                <a:cubicBezTo>
                  <a:pt x="78" y="925"/>
                  <a:pt x="78" y="925"/>
                  <a:pt x="78" y="925"/>
                </a:cubicBezTo>
                <a:cubicBezTo>
                  <a:pt x="78" y="926"/>
                  <a:pt x="78" y="926"/>
                  <a:pt x="78" y="926"/>
                </a:cubicBezTo>
                <a:cubicBezTo>
                  <a:pt x="77" y="928"/>
                  <a:pt x="77" y="928"/>
                  <a:pt x="77" y="928"/>
                </a:cubicBezTo>
                <a:cubicBezTo>
                  <a:pt x="78" y="929"/>
                  <a:pt x="78" y="929"/>
                  <a:pt x="78" y="929"/>
                </a:cubicBezTo>
                <a:cubicBezTo>
                  <a:pt x="78" y="930"/>
                  <a:pt x="78" y="930"/>
                  <a:pt x="78" y="930"/>
                </a:cubicBezTo>
                <a:cubicBezTo>
                  <a:pt x="83" y="930"/>
                  <a:pt x="83" y="930"/>
                  <a:pt x="83" y="930"/>
                </a:cubicBezTo>
                <a:cubicBezTo>
                  <a:pt x="90" y="929"/>
                  <a:pt x="90" y="929"/>
                  <a:pt x="90" y="929"/>
                </a:cubicBezTo>
                <a:lnTo>
                  <a:pt x="94" y="928"/>
                </a:lnTo>
                <a:close/>
                <a:moveTo>
                  <a:pt x="35" y="928"/>
                </a:moveTo>
                <a:cubicBezTo>
                  <a:pt x="33" y="928"/>
                  <a:pt x="33" y="928"/>
                  <a:pt x="33" y="928"/>
                </a:cubicBezTo>
                <a:cubicBezTo>
                  <a:pt x="29" y="930"/>
                  <a:pt x="29" y="930"/>
                  <a:pt x="29" y="930"/>
                </a:cubicBezTo>
                <a:cubicBezTo>
                  <a:pt x="27" y="934"/>
                  <a:pt x="27" y="934"/>
                  <a:pt x="27" y="934"/>
                </a:cubicBezTo>
                <a:cubicBezTo>
                  <a:pt x="27" y="934"/>
                  <a:pt x="27" y="934"/>
                  <a:pt x="27" y="934"/>
                </a:cubicBezTo>
                <a:cubicBezTo>
                  <a:pt x="30" y="934"/>
                  <a:pt x="30" y="934"/>
                  <a:pt x="30" y="934"/>
                </a:cubicBezTo>
                <a:cubicBezTo>
                  <a:pt x="31" y="934"/>
                  <a:pt x="31" y="934"/>
                  <a:pt x="31" y="934"/>
                </a:cubicBezTo>
                <a:cubicBezTo>
                  <a:pt x="37" y="931"/>
                  <a:pt x="37" y="931"/>
                  <a:pt x="37" y="931"/>
                </a:cubicBezTo>
                <a:cubicBezTo>
                  <a:pt x="39" y="929"/>
                  <a:pt x="39" y="929"/>
                  <a:pt x="39" y="929"/>
                </a:cubicBezTo>
                <a:cubicBezTo>
                  <a:pt x="39" y="929"/>
                  <a:pt x="39" y="929"/>
                  <a:pt x="39" y="929"/>
                </a:cubicBezTo>
                <a:cubicBezTo>
                  <a:pt x="40" y="928"/>
                  <a:pt x="40" y="928"/>
                  <a:pt x="40" y="928"/>
                </a:cubicBezTo>
                <a:cubicBezTo>
                  <a:pt x="39" y="927"/>
                  <a:pt x="39" y="927"/>
                  <a:pt x="39" y="927"/>
                </a:cubicBezTo>
                <a:lnTo>
                  <a:pt x="35" y="928"/>
                </a:lnTo>
                <a:close/>
                <a:moveTo>
                  <a:pt x="66" y="423"/>
                </a:moveTo>
                <a:cubicBezTo>
                  <a:pt x="70" y="423"/>
                  <a:pt x="70" y="423"/>
                  <a:pt x="70" y="423"/>
                </a:cubicBezTo>
                <a:cubicBezTo>
                  <a:pt x="72" y="422"/>
                  <a:pt x="72" y="422"/>
                  <a:pt x="72" y="422"/>
                </a:cubicBezTo>
                <a:cubicBezTo>
                  <a:pt x="73" y="421"/>
                  <a:pt x="73" y="421"/>
                  <a:pt x="73" y="421"/>
                </a:cubicBezTo>
                <a:cubicBezTo>
                  <a:pt x="73" y="418"/>
                  <a:pt x="73" y="418"/>
                  <a:pt x="73" y="418"/>
                </a:cubicBezTo>
                <a:cubicBezTo>
                  <a:pt x="73" y="417"/>
                  <a:pt x="73" y="417"/>
                  <a:pt x="73" y="417"/>
                </a:cubicBezTo>
                <a:cubicBezTo>
                  <a:pt x="72" y="417"/>
                  <a:pt x="72" y="417"/>
                  <a:pt x="72" y="417"/>
                </a:cubicBezTo>
                <a:cubicBezTo>
                  <a:pt x="72" y="416"/>
                  <a:pt x="72" y="416"/>
                  <a:pt x="72" y="416"/>
                </a:cubicBezTo>
                <a:cubicBezTo>
                  <a:pt x="70" y="416"/>
                  <a:pt x="70" y="416"/>
                  <a:pt x="70" y="416"/>
                </a:cubicBezTo>
                <a:cubicBezTo>
                  <a:pt x="62" y="417"/>
                  <a:pt x="62" y="417"/>
                  <a:pt x="62" y="417"/>
                </a:cubicBezTo>
                <a:cubicBezTo>
                  <a:pt x="61" y="417"/>
                  <a:pt x="61" y="417"/>
                  <a:pt x="61" y="417"/>
                </a:cubicBezTo>
                <a:cubicBezTo>
                  <a:pt x="61" y="418"/>
                  <a:pt x="61" y="418"/>
                  <a:pt x="61" y="418"/>
                </a:cubicBezTo>
                <a:cubicBezTo>
                  <a:pt x="61" y="419"/>
                  <a:pt x="61" y="419"/>
                  <a:pt x="61" y="419"/>
                </a:cubicBezTo>
                <a:cubicBezTo>
                  <a:pt x="61" y="420"/>
                  <a:pt x="61" y="420"/>
                  <a:pt x="61" y="420"/>
                </a:cubicBezTo>
                <a:cubicBezTo>
                  <a:pt x="61" y="421"/>
                  <a:pt x="61" y="421"/>
                  <a:pt x="61" y="421"/>
                </a:cubicBezTo>
                <a:cubicBezTo>
                  <a:pt x="64" y="422"/>
                  <a:pt x="64" y="422"/>
                  <a:pt x="64" y="422"/>
                </a:cubicBezTo>
                <a:lnTo>
                  <a:pt x="66" y="423"/>
                </a:lnTo>
                <a:close/>
                <a:moveTo>
                  <a:pt x="15" y="854"/>
                </a:moveTo>
                <a:cubicBezTo>
                  <a:pt x="21" y="851"/>
                  <a:pt x="21" y="851"/>
                  <a:pt x="21" y="851"/>
                </a:cubicBezTo>
                <a:cubicBezTo>
                  <a:pt x="24" y="848"/>
                  <a:pt x="24" y="848"/>
                  <a:pt x="24" y="848"/>
                </a:cubicBezTo>
                <a:cubicBezTo>
                  <a:pt x="24" y="848"/>
                  <a:pt x="24" y="848"/>
                  <a:pt x="24" y="848"/>
                </a:cubicBezTo>
                <a:cubicBezTo>
                  <a:pt x="23" y="847"/>
                  <a:pt x="23" y="847"/>
                  <a:pt x="23" y="847"/>
                </a:cubicBezTo>
                <a:cubicBezTo>
                  <a:pt x="18" y="845"/>
                  <a:pt x="18" y="845"/>
                  <a:pt x="18" y="845"/>
                </a:cubicBezTo>
                <a:cubicBezTo>
                  <a:pt x="15" y="846"/>
                  <a:pt x="15" y="846"/>
                  <a:pt x="15" y="846"/>
                </a:cubicBezTo>
                <a:cubicBezTo>
                  <a:pt x="7" y="850"/>
                  <a:pt x="7" y="850"/>
                  <a:pt x="7" y="850"/>
                </a:cubicBezTo>
                <a:cubicBezTo>
                  <a:pt x="6" y="852"/>
                  <a:pt x="6" y="852"/>
                  <a:pt x="6" y="852"/>
                </a:cubicBezTo>
                <a:cubicBezTo>
                  <a:pt x="4" y="855"/>
                  <a:pt x="4" y="855"/>
                  <a:pt x="4" y="855"/>
                </a:cubicBezTo>
                <a:cubicBezTo>
                  <a:pt x="4" y="856"/>
                  <a:pt x="4" y="856"/>
                  <a:pt x="4" y="856"/>
                </a:cubicBezTo>
                <a:cubicBezTo>
                  <a:pt x="4" y="856"/>
                  <a:pt x="4" y="856"/>
                  <a:pt x="4" y="856"/>
                </a:cubicBezTo>
                <a:cubicBezTo>
                  <a:pt x="13" y="855"/>
                  <a:pt x="13" y="855"/>
                  <a:pt x="13" y="855"/>
                </a:cubicBezTo>
                <a:lnTo>
                  <a:pt x="15" y="854"/>
                </a:lnTo>
                <a:close/>
                <a:moveTo>
                  <a:pt x="104" y="371"/>
                </a:moveTo>
                <a:cubicBezTo>
                  <a:pt x="96" y="376"/>
                  <a:pt x="96" y="376"/>
                  <a:pt x="96" y="376"/>
                </a:cubicBezTo>
                <a:cubicBezTo>
                  <a:pt x="96" y="376"/>
                  <a:pt x="96" y="376"/>
                  <a:pt x="96" y="376"/>
                </a:cubicBezTo>
                <a:cubicBezTo>
                  <a:pt x="95" y="378"/>
                  <a:pt x="95" y="378"/>
                  <a:pt x="95" y="378"/>
                </a:cubicBezTo>
                <a:cubicBezTo>
                  <a:pt x="95" y="379"/>
                  <a:pt x="95" y="379"/>
                  <a:pt x="95" y="379"/>
                </a:cubicBezTo>
                <a:cubicBezTo>
                  <a:pt x="95" y="380"/>
                  <a:pt x="95" y="380"/>
                  <a:pt x="95" y="380"/>
                </a:cubicBezTo>
                <a:cubicBezTo>
                  <a:pt x="101" y="380"/>
                  <a:pt x="101" y="380"/>
                  <a:pt x="101" y="380"/>
                </a:cubicBezTo>
                <a:cubicBezTo>
                  <a:pt x="106" y="380"/>
                  <a:pt x="106" y="380"/>
                  <a:pt x="106" y="380"/>
                </a:cubicBezTo>
                <a:cubicBezTo>
                  <a:pt x="108" y="379"/>
                  <a:pt x="108" y="379"/>
                  <a:pt x="108" y="379"/>
                </a:cubicBezTo>
                <a:cubicBezTo>
                  <a:pt x="110" y="377"/>
                  <a:pt x="110" y="377"/>
                  <a:pt x="110" y="377"/>
                </a:cubicBezTo>
                <a:cubicBezTo>
                  <a:pt x="110" y="377"/>
                  <a:pt x="110" y="377"/>
                  <a:pt x="110" y="377"/>
                </a:cubicBezTo>
                <a:cubicBezTo>
                  <a:pt x="111" y="376"/>
                  <a:pt x="111" y="376"/>
                  <a:pt x="111" y="376"/>
                </a:cubicBezTo>
                <a:cubicBezTo>
                  <a:pt x="111" y="375"/>
                  <a:pt x="111" y="375"/>
                  <a:pt x="111" y="375"/>
                </a:cubicBezTo>
                <a:cubicBezTo>
                  <a:pt x="105" y="371"/>
                  <a:pt x="105" y="371"/>
                  <a:pt x="105" y="371"/>
                </a:cubicBezTo>
                <a:lnTo>
                  <a:pt x="104" y="371"/>
                </a:lnTo>
                <a:close/>
                <a:moveTo>
                  <a:pt x="96" y="342"/>
                </a:moveTo>
                <a:cubicBezTo>
                  <a:pt x="96" y="344"/>
                  <a:pt x="96" y="344"/>
                  <a:pt x="96" y="344"/>
                </a:cubicBezTo>
                <a:cubicBezTo>
                  <a:pt x="96" y="345"/>
                  <a:pt x="96" y="345"/>
                  <a:pt x="96" y="345"/>
                </a:cubicBezTo>
                <a:cubicBezTo>
                  <a:pt x="96" y="346"/>
                  <a:pt x="96" y="346"/>
                  <a:pt x="96" y="346"/>
                </a:cubicBezTo>
                <a:cubicBezTo>
                  <a:pt x="97" y="349"/>
                  <a:pt x="97" y="349"/>
                  <a:pt x="97" y="349"/>
                </a:cubicBezTo>
                <a:cubicBezTo>
                  <a:pt x="108" y="357"/>
                  <a:pt x="108" y="357"/>
                  <a:pt x="108" y="357"/>
                </a:cubicBezTo>
                <a:cubicBezTo>
                  <a:pt x="110" y="358"/>
                  <a:pt x="110" y="358"/>
                  <a:pt x="110" y="358"/>
                </a:cubicBezTo>
                <a:cubicBezTo>
                  <a:pt x="111" y="358"/>
                  <a:pt x="111" y="358"/>
                  <a:pt x="111" y="358"/>
                </a:cubicBezTo>
                <a:cubicBezTo>
                  <a:pt x="112" y="358"/>
                  <a:pt x="112" y="358"/>
                  <a:pt x="112" y="358"/>
                </a:cubicBezTo>
                <a:cubicBezTo>
                  <a:pt x="113" y="357"/>
                  <a:pt x="113" y="357"/>
                  <a:pt x="113" y="357"/>
                </a:cubicBezTo>
                <a:cubicBezTo>
                  <a:pt x="114" y="354"/>
                  <a:pt x="114" y="354"/>
                  <a:pt x="114" y="354"/>
                </a:cubicBezTo>
                <a:cubicBezTo>
                  <a:pt x="117" y="341"/>
                  <a:pt x="117" y="341"/>
                  <a:pt x="117" y="341"/>
                </a:cubicBezTo>
                <a:cubicBezTo>
                  <a:pt x="117" y="340"/>
                  <a:pt x="117" y="340"/>
                  <a:pt x="117" y="340"/>
                </a:cubicBezTo>
                <a:cubicBezTo>
                  <a:pt x="116" y="329"/>
                  <a:pt x="116" y="329"/>
                  <a:pt x="116" y="329"/>
                </a:cubicBezTo>
                <a:cubicBezTo>
                  <a:pt x="115" y="327"/>
                  <a:pt x="115" y="327"/>
                  <a:pt x="115" y="327"/>
                </a:cubicBezTo>
                <a:cubicBezTo>
                  <a:pt x="114" y="326"/>
                  <a:pt x="114" y="326"/>
                  <a:pt x="114" y="326"/>
                </a:cubicBezTo>
                <a:cubicBezTo>
                  <a:pt x="113" y="324"/>
                  <a:pt x="113" y="324"/>
                  <a:pt x="113" y="324"/>
                </a:cubicBezTo>
                <a:cubicBezTo>
                  <a:pt x="111" y="323"/>
                  <a:pt x="111" y="323"/>
                  <a:pt x="111" y="323"/>
                </a:cubicBezTo>
                <a:cubicBezTo>
                  <a:pt x="110" y="321"/>
                  <a:pt x="110" y="321"/>
                  <a:pt x="110" y="321"/>
                </a:cubicBezTo>
                <a:cubicBezTo>
                  <a:pt x="99" y="320"/>
                  <a:pt x="99" y="320"/>
                  <a:pt x="99" y="320"/>
                </a:cubicBezTo>
                <a:cubicBezTo>
                  <a:pt x="97" y="320"/>
                  <a:pt x="97" y="320"/>
                  <a:pt x="97" y="320"/>
                </a:cubicBezTo>
                <a:cubicBezTo>
                  <a:pt x="77" y="326"/>
                  <a:pt x="77" y="326"/>
                  <a:pt x="77" y="326"/>
                </a:cubicBezTo>
                <a:cubicBezTo>
                  <a:pt x="67" y="329"/>
                  <a:pt x="67" y="329"/>
                  <a:pt x="67" y="329"/>
                </a:cubicBezTo>
                <a:cubicBezTo>
                  <a:pt x="67" y="330"/>
                  <a:pt x="67" y="330"/>
                  <a:pt x="67" y="330"/>
                </a:cubicBezTo>
                <a:cubicBezTo>
                  <a:pt x="67" y="331"/>
                  <a:pt x="67" y="331"/>
                  <a:pt x="67" y="331"/>
                </a:cubicBezTo>
                <a:cubicBezTo>
                  <a:pt x="80" y="334"/>
                  <a:pt x="80" y="334"/>
                  <a:pt x="80" y="334"/>
                </a:cubicBezTo>
                <a:lnTo>
                  <a:pt x="96" y="342"/>
                </a:lnTo>
                <a:close/>
                <a:moveTo>
                  <a:pt x="693" y="577"/>
                </a:moveTo>
                <a:cubicBezTo>
                  <a:pt x="684" y="536"/>
                  <a:pt x="684" y="536"/>
                  <a:pt x="684" y="536"/>
                </a:cubicBezTo>
                <a:cubicBezTo>
                  <a:pt x="674" y="528"/>
                  <a:pt x="674" y="528"/>
                  <a:pt x="674" y="528"/>
                </a:cubicBezTo>
                <a:cubicBezTo>
                  <a:pt x="672" y="527"/>
                  <a:pt x="672" y="527"/>
                  <a:pt x="672" y="527"/>
                </a:cubicBezTo>
                <a:cubicBezTo>
                  <a:pt x="671" y="525"/>
                  <a:pt x="671" y="525"/>
                  <a:pt x="671" y="525"/>
                </a:cubicBezTo>
                <a:cubicBezTo>
                  <a:pt x="665" y="517"/>
                  <a:pt x="665" y="517"/>
                  <a:pt x="665" y="517"/>
                </a:cubicBezTo>
                <a:cubicBezTo>
                  <a:pt x="665" y="515"/>
                  <a:pt x="665" y="515"/>
                  <a:pt x="665" y="515"/>
                </a:cubicBezTo>
                <a:cubicBezTo>
                  <a:pt x="665" y="514"/>
                  <a:pt x="665" y="514"/>
                  <a:pt x="665" y="514"/>
                </a:cubicBezTo>
                <a:cubicBezTo>
                  <a:pt x="677" y="490"/>
                  <a:pt x="677" y="490"/>
                  <a:pt x="677" y="490"/>
                </a:cubicBezTo>
                <a:cubicBezTo>
                  <a:pt x="681" y="482"/>
                  <a:pt x="681" y="482"/>
                  <a:pt x="681" y="482"/>
                </a:cubicBezTo>
                <a:cubicBezTo>
                  <a:pt x="687" y="472"/>
                  <a:pt x="687" y="472"/>
                  <a:pt x="687" y="472"/>
                </a:cubicBezTo>
                <a:cubicBezTo>
                  <a:pt x="688" y="471"/>
                  <a:pt x="688" y="471"/>
                  <a:pt x="688" y="471"/>
                </a:cubicBezTo>
                <a:cubicBezTo>
                  <a:pt x="688" y="467"/>
                  <a:pt x="688" y="467"/>
                  <a:pt x="688" y="467"/>
                </a:cubicBezTo>
                <a:cubicBezTo>
                  <a:pt x="688" y="465"/>
                  <a:pt x="688" y="465"/>
                  <a:pt x="688" y="465"/>
                </a:cubicBezTo>
                <a:cubicBezTo>
                  <a:pt x="687" y="461"/>
                  <a:pt x="687" y="461"/>
                  <a:pt x="687" y="461"/>
                </a:cubicBezTo>
                <a:cubicBezTo>
                  <a:pt x="684" y="457"/>
                  <a:pt x="684" y="457"/>
                  <a:pt x="684" y="457"/>
                </a:cubicBezTo>
                <a:cubicBezTo>
                  <a:pt x="682" y="457"/>
                  <a:pt x="682" y="457"/>
                  <a:pt x="682" y="457"/>
                </a:cubicBezTo>
                <a:cubicBezTo>
                  <a:pt x="678" y="455"/>
                  <a:pt x="678" y="455"/>
                  <a:pt x="678" y="455"/>
                </a:cubicBezTo>
                <a:cubicBezTo>
                  <a:pt x="677" y="455"/>
                  <a:pt x="677" y="455"/>
                  <a:pt x="677" y="455"/>
                </a:cubicBezTo>
                <a:cubicBezTo>
                  <a:pt x="667" y="443"/>
                  <a:pt x="667" y="443"/>
                  <a:pt x="667" y="443"/>
                </a:cubicBezTo>
                <a:cubicBezTo>
                  <a:pt x="664" y="432"/>
                  <a:pt x="664" y="432"/>
                  <a:pt x="664" y="432"/>
                </a:cubicBezTo>
                <a:cubicBezTo>
                  <a:pt x="662" y="422"/>
                  <a:pt x="662" y="422"/>
                  <a:pt x="662" y="422"/>
                </a:cubicBezTo>
                <a:cubicBezTo>
                  <a:pt x="662" y="419"/>
                  <a:pt x="662" y="419"/>
                  <a:pt x="662" y="419"/>
                </a:cubicBezTo>
                <a:cubicBezTo>
                  <a:pt x="663" y="414"/>
                  <a:pt x="663" y="414"/>
                  <a:pt x="663" y="414"/>
                </a:cubicBezTo>
                <a:cubicBezTo>
                  <a:pt x="664" y="406"/>
                  <a:pt x="664" y="406"/>
                  <a:pt x="664" y="406"/>
                </a:cubicBezTo>
                <a:cubicBezTo>
                  <a:pt x="664" y="387"/>
                  <a:pt x="664" y="387"/>
                  <a:pt x="664" y="387"/>
                </a:cubicBezTo>
                <a:cubicBezTo>
                  <a:pt x="664" y="386"/>
                  <a:pt x="664" y="386"/>
                  <a:pt x="664" y="386"/>
                </a:cubicBezTo>
                <a:cubicBezTo>
                  <a:pt x="661" y="385"/>
                  <a:pt x="661" y="385"/>
                  <a:pt x="661" y="385"/>
                </a:cubicBezTo>
                <a:cubicBezTo>
                  <a:pt x="657" y="385"/>
                  <a:pt x="657" y="385"/>
                  <a:pt x="657" y="385"/>
                </a:cubicBezTo>
                <a:cubicBezTo>
                  <a:pt x="652" y="384"/>
                  <a:pt x="652" y="384"/>
                  <a:pt x="652" y="384"/>
                </a:cubicBezTo>
                <a:cubicBezTo>
                  <a:pt x="650" y="383"/>
                  <a:pt x="650" y="383"/>
                  <a:pt x="650" y="383"/>
                </a:cubicBezTo>
                <a:cubicBezTo>
                  <a:pt x="649" y="382"/>
                  <a:pt x="649" y="382"/>
                  <a:pt x="649" y="382"/>
                </a:cubicBezTo>
                <a:cubicBezTo>
                  <a:pt x="645" y="376"/>
                  <a:pt x="645" y="376"/>
                  <a:pt x="645" y="376"/>
                </a:cubicBezTo>
                <a:cubicBezTo>
                  <a:pt x="644" y="374"/>
                  <a:pt x="644" y="374"/>
                  <a:pt x="644" y="374"/>
                </a:cubicBezTo>
                <a:cubicBezTo>
                  <a:pt x="644" y="371"/>
                  <a:pt x="644" y="371"/>
                  <a:pt x="644" y="371"/>
                </a:cubicBezTo>
                <a:cubicBezTo>
                  <a:pt x="644" y="363"/>
                  <a:pt x="644" y="363"/>
                  <a:pt x="644" y="363"/>
                </a:cubicBezTo>
                <a:cubicBezTo>
                  <a:pt x="644" y="362"/>
                  <a:pt x="644" y="362"/>
                  <a:pt x="644" y="362"/>
                </a:cubicBezTo>
                <a:cubicBezTo>
                  <a:pt x="647" y="348"/>
                  <a:pt x="647" y="348"/>
                  <a:pt x="647" y="348"/>
                </a:cubicBezTo>
                <a:cubicBezTo>
                  <a:pt x="648" y="347"/>
                  <a:pt x="648" y="347"/>
                  <a:pt x="648" y="347"/>
                </a:cubicBezTo>
                <a:cubicBezTo>
                  <a:pt x="650" y="347"/>
                  <a:pt x="650" y="347"/>
                  <a:pt x="650" y="347"/>
                </a:cubicBezTo>
                <a:cubicBezTo>
                  <a:pt x="657" y="349"/>
                  <a:pt x="657" y="349"/>
                  <a:pt x="657" y="349"/>
                </a:cubicBezTo>
                <a:cubicBezTo>
                  <a:pt x="663" y="352"/>
                  <a:pt x="663" y="352"/>
                  <a:pt x="663" y="352"/>
                </a:cubicBezTo>
                <a:cubicBezTo>
                  <a:pt x="667" y="354"/>
                  <a:pt x="667" y="354"/>
                  <a:pt x="667" y="354"/>
                </a:cubicBezTo>
                <a:cubicBezTo>
                  <a:pt x="670" y="356"/>
                  <a:pt x="670" y="356"/>
                  <a:pt x="670" y="356"/>
                </a:cubicBezTo>
                <a:cubicBezTo>
                  <a:pt x="672" y="356"/>
                  <a:pt x="672" y="356"/>
                  <a:pt x="672" y="356"/>
                </a:cubicBezTo>
                <a:cubicBezTo>
                  <a:pt x="675" y="356"/>
                  <a:pt x="675" y="356"/>
                  <a:pt x="675" y="356"/>
                </a:cubicBezTo>
                <a:cubicBezTo>
                  <a:pt x="679" y="355"/>
                  <a:pt x="679" y="355"/>
                  <a:pt x="679" y="355"/>
                </a:cubicBezTo>
                <a:cubicBezTo>
                  <a:pt x="682" y="353"/>
                  <a:pt x="682" y="353"/>
                  <a:pt x="682" y="353"/>
                </a:cubicBezTo>
                <a:cubicBezTo>
                  <a:pt x="683" y="352"/>
                  <a:pt x="683" y="352"/>
                  <a:pt x="683" y="352"/>
                </a:cubicBezTo>
                <a:cubicBezTo>
                  <a:pt x="683" y="351"/>
                  <a:pt x="683" y="351"/>
                  <a:pt x="683" y="351"/>
                </a:cubicBezTo>
                <a:cubicBezTo>
                  <a:pt x="683" y="349"/>
                  <a:pt x="683" y="349"/>
                  <a:pt x="683" y="349"/>
                </a:cubicBezTo>
                <a:cubicBezTo>
                  <a:pt x="680" y="344"/>
                  <a:pt x="680" y="344"/>
                  <a:pt x="680" y="344"/>
                </a:cubicBezTo>
                <a:cubicBezTo>
                  <a:pt x="680" y="344"/>
                  <a:pt x="680" y="344"/>
                  <a:pt x="680" y="344"/>
                </a:cubicBezTo>
                <a:cubicBezTo>
                  <a:pt x="676" y="344"/>
                  <a:pt x="676" y="344"/>
                  <a:pt x="676" y="344"/>
                </a:cubicBezTo>
                <a:cubicBezTo>
                  <a:pt x="675" y="343"/>
                  <a:pt x="675" y="343"/>
                  <a:pt x="675" y="343"/>
                </a:cubicBezTo>
                <a:cubicBezTo>
                  <a:pt x="674" y="342"/>
                  <a:pt x="674" y="342"/>
                  <a:pt x="674" y="342"/>
                </a:cubicBezTo>
                <a:cubicBezTo>
                  <a:pt x="663" y="331"/>
                  <a:pt x="663" y="331"/>
                  <a:pt x="663" y="331"/>
                </a:cubicBezTo>
                <a:cubicBezTo>
                  <a:pt x="662" y="329"/>
                  <a:pt x="662" y="329"/>
                  <a:pt x="662" y="329"/>
                </a:cubicBezTo>
                <a:cubicBezTo>
                  <a:pt x="662" y="329"/>
                  <a:pt x="662" y="329"/>
                  <a:pt x="662" y="329"/>
                </a:cubicBezTo>
                <a:cubicBezTo>
                  <a:pt x="662" y="329"/>
                  <a:pt x="662" y="329"/>
                  <a:pt x="662" y="329"/>
                </a:cubicBezTo>
                <a:cubicBezTo>
                  <a:pt x="657" y="327"/>
                  <a:pt x="657" y="327"/>
                  <a:pt x="657" y="327"/>
                </a:cubicBezTo>
                <a:cubicBezTo>
                  <a:pt x="656" y="328"/>
                  <a:pt x="656" y="328"/>
                  <a:pt x="656" y="328"/>
                </a:cubicBezTo>
                <a:cubicBezTo>
                  <a:pt x="650" y="329"/>
                  <a:pt x="650" y="329"/>
                  <a:pt x="650" y="329"/>
                </a:cubicBezTo>
                <a:cubicBezTo>
                  <a:pt x="650" y="330"/>
                  <a:pt x="650" y="330"/>
                  <a:pt x="650" y="330"/>
                </a:cubicBezTo>
                <a:cubicBezTo>
                  <a:pt x="650" y="332"/>
                  <a:pt x="650" y="332"/>
                  <a:pt x="650" y="332"/>
                </a:cubicBezTo>
                <a:cubicBezTo>
                  <a:pt x="649" y="334"/>
                  <a:pt x="649" y="334"/>
                  <a:pt x="649" y="334"/>
                </a:cubicBezTo>
                <a:cubicBezTo>
                  <a:pt x="642" y="338"/>
                  <a:pt x="642" y="338"/>
                  <a:pt x="642" y="338"/>
                </a:cubicBezTo>
                <a:cubicBezTo>
                  <a:pt x="614" y="341"/>
                  <a:pt x="614" y="341"/>
                  <a:pt x="614" y="341"/>
                </a:cubicBezTo>
                <a:cubicBezTo>
                  <a:pt x="610" y="341"/>
                  <a:pt x="610" y="341"/>
                  <a:pt x="610" y="341"/>
                </a:cubicBezTo>
                <a:cubicBezTo>
                  <a:pt x="608" y="340"/>
                  <a:pt x="608" y="340"/>
                  <a:pt x="608" y="340"/>
                </a:cubicBezTo>
                <a:cubicBezTo>
                  <a:pt x="606" y="336"/>
                  <a:pt x="606" y="336"/>
                  <a:pt x="606" y="336"/>
                </a:cubicBezTo>
                <a:cubicBezTo>
                  <a:pt x="602" y="330"/>
                  <a:pt x="602" y="330"/>
                  <a:pt x="602" y="330"/>
                </a:cubicBezTo>
                <a:cubicBezTo>
                  <a:pt x="602" y="328"/>
                  <a:pt x="602" y="328"/>
                  <a:pt x="602" y="328"/>
                </a:cubicBezTo>
                <a:cubicBezTo>
                  <a:pt x="602" y="324"/>
                  <a:pt x="602" y="324"/>
                  <a:pt x="602" y="324"/>
                </a:cubicBezTo>
                <a:cubicBezTo>
                  <a:pt x="602" y="323"/>
                  <a:pt x="602" y="323"/>
                  <a:pt x="602" y="323"/>
                </a:cubicBezTo>
                <a:cubicBezTo>
                  <a:pt x="606" y="316"/>
                  <a:pt x="606" y="316"/>
                  <a:pt x="606" y="316"/>
                </a:cubicBezTo>
                <a:cubicBezTo>
                  <a:pt x="606" y="313"/>
                  <a:pt x="606" y="313"/>
                  <a:pt x="606" y="313"/>
                </a:cubicBezTo>
                <a:cubicBezTo>
                  <a:pt x="606" y="312"/>
                  <a:pt x="606" y="312"/>
                  <a:pt x="606" y="312"/>
                </a:cubicBezTo>
                <a:cubicBezTo>
                  <a:pt x="605" y="309"/>
                  <a:pt x="605" y="309"/>
                  <a:pt x="605" y="309"/>
                </a:cubicBezTo>
                <a:cubicBezTo>
                  <a:pt x="604" y="307"/>
                  <a:pt x="604" y="307"/>
                  <a:pt x="604" y="307"/>
                </a:cubicBezTo>
                <a:cubicBezTo>
                  <a:pt x="603" y="306"/>
                  <a:pt x="603" y="306"/>
                  <a:pt x="603" y="306"/>
                </a:cubicBezTo>
                <a:cubicBezTo>
                  <a:pt x="596" y="302"/>
                  <a:pt x="596" y="302"/>
                  <a:pt x="596" y="302"/>
                </a:cubicBezTo>
                <a:cubicBezTo>
                  <a:pt x="595" y="304"/>
                  <a:pt x="595" y="304"/>
                  <a:pt x="595" y="304"/>
                </a:cubicBezTo>
                <a:cubicBezTo>
                  <a:pt x="593" y="306"/>
                  <a:pt x="593" y="306"/>
                  <a:pt x="593" y="306"/>
                </a:cubicBezTo>
                <a:cubicBezTo>
                  <a:pt x="590" y="305"/>
                  <a:pt x="590" y="305"/>
                  <a:pt x="590" y="305"/>
                </a:cubicBezTo>
                <a:cubicBezTo>
                  <a:pt x="582" y="297"/>
                  <a:pt x="582" y="297"/>
                  <a:pt x="582" y="297"/>
                </a:cubicBezTo>
                <a:cubicBezTo>
                  <a:pt x="579" y="292"/>
                  <a:pt x="579" y="292"/>
                  <a:pt x="579" y="292"/>
                </a:cubicBezTo>
                <a:cubicBezTo>
                  <a:pt x="574" y="279"/>
                  <a:pt x="574" y="279"/>
                  <a:pt x="574" y="279"/>
                </a:cubicBezTo>
                <a:cubicBezTo>
                  <a:pt x="573" y="277"/>
                  <a:pt x="573" y="277"/>
                  <a:pt x="573" y="277"/>
                </a:cubicBezTo>
                <a:cubicBezTo>
                  <a:pt x="574" y="274"/>
                  <a:pt x="574" y="274"/>
                  <a:pt x="574" y="274"/>
                </a:cubicBezTo>
                <a:cubicBezTo>
                  <a:pt x="572" y="266"/>
                  <a:pt x="572" y="266"/>
                  <a:pt x="572" y="266"/>
                </a:cubicBezTo>
                <a:cubicBezTo>
                  <a:pt x="571" y="264"/>
                  <a:pt x="571" y="264"/>
                  <a:pt x="571" y="264"/>
                </a:cubicBezTo>
                <a:cubicBezTo>
                  <a:pt x="566" y="257"/>
                  <a:pt x="566" y="257"/>
                  <a:pt x="566" y="257"/>
                </a:cubicBezTo>
                <a:cubicBezTo>
                  <a:pt x="560" y="251"/>
                  <a:pt x="560" y="251"/>
                  <a:pt x="560" y="251"/>
                </a:cubicBezTo>
                <a:cubicBezTo>
                  <a:pt x="551" y="246"/>
                  <a:pt x="551" y="246"/>
                  <a:pt x="551" y="246"/>
                </a:cubicBezTo>
                <a:cubicBezTo>
                  <a:pt x="550" y="246"/>
                  <a:pt x="550" y="246"/>
                  <a:pt x="550" y="246"/>
                </a:cubicBezTo>
                <a:cubicBezTo>
                  <a:pt x="534" y="265"/>
                  <a:pt x="534" y="265"/>
                  <a:pt x="534" y="265"/>
                </a:cubicBezTo>
                <a:cubicBezTo>
                  <a:pt x="530" y="276"/>
                  <a:pt x="530" y="276"/>
                  <a:pt x="530" y="276"/>
                </a:cubicBezTo>
                <a:cubicBezTo>
                  <a:pt x="533" y="283"/>
                  <a:pt x="533" y="283"/>
                  <a:pt x="533" y="283"/>
                </a:cubicBezTo>
                <a:cubicBezTo>
                  <a:pt x="533" y="292"/>
                  <a:pt x="533" y="292"/>
                  <a:pt x="533" y="292"/>
                </a:cubicBezTo>
                <a:cubicBezTo>
                  <a:pt x="515" y="316"/>
                  <a:pt x="515" y="316"/>
                  <a:pt x="515" y="316"/>
                </a:cubicBezTo>
                <a:cubicBezTo>
                  <a:pt x="511" y="320"/>
                  <a:pt x="511" y="320"/>
                  <a:pt x="511" y="320"/>
                </a:cubicBezTo>
                <a:cubicBezTo>
                  <a:pt x="505" y="321"/>
                  <a:pt x="505" y="321"/>
                  <a:pt x="505" y="321"/>
                </a:cubicBezTo>
                <a:cubicBezTo>
                  <a:pt x="503" y="321"/>
                  <a:pt x="503" y="321"/>
                  <a:pt x="503" y="321"/>
                </a:cubicBezTo>
                <a:cubicBezTo>
                  <a:pt x="478" y="318"/>
                  <a:pt x="478" y="318"/>
                  <a:pt x="478" y="318"/>
                </a:cubicBezTo>
                <a:cubicBezTo>
                  <a:pt x="468" y="316"/>
                  <a:pt x="468" y="316"/>
                  <a:pt x="468" y="316"/>
                </a:cubicBezTo>
                <a:cubicBezTo>
                  <a:pt x="466" y="315"/>
                  <a:pt x="466" y="315"/>
                  <a:pt x="466" y="315"/>
                </a:cubicBezTo>
                <a:cubicBezTo>
                  <a:pt x="460" y="311"/>
                  <a:pt x="460" y="311"/>
                  <a:pt x="460" y="311"/>
                </a:cubicBezTo>
                <a:cubicBezTo>
                  <a:pt x="458" y="308"/>
                  <a:pt x="458" y="308"/>
                  <a:pt x="458" y="308"/>
                </a:cubicBezTo>
                <a:cubicBezTo>
                  <a:pt x="457" y="305"/>
                  <a:pt x="457" y="305"/>
                  <a:pt x="457" y="305"/>
                </a:cubicBezTo>
                <a:cubicBezTo>
                  <a:pt x="457" y="304"/>
                  <a:pt x="457" y="304"/>
                  <a:pt x="457" y="304"/>
                </a:cubicBezTo>
                <a:cubicBezTo>
                  <a:pt x="457" y="302"/>
                  <a:pt x="457" y="302"/>
                  <a:pt x="457" y="302"/>
                </a:cubicBezTo>
                <a:cubicBezTo>
                  <a:pt x="455" y="300"/>
                  <a:pt x="455" y="300"/>
                  <a:pt x="455" y="300"/>
                </a:cubicBezTo>
                <a:cubicBezTo>
                  <a:pt x="450" y="297"/>
                  <a:pt x="450" y="297"/>
                  <a:pt x="450" y="297"/>
                </a:cubicBezTo>
                <a:cubicBezTo>
                  <a:pt x="448" y="296"/>
                  <a:pt x="448" y="296"/>
                  <a:pt x="448" y="296"/>
                </a:cubicBezTo>
                <a:cubicBezTo>
                  <a:pt x="442" y="295"/>
                  <a:pt x="442" y="295"/>
                  <a:pt x="442" y="295"/>
                </a:cubicBezTo>
                <a:cubicBezTo>
                  <a:pt x="432" y="294"/>
                  <a:pt x="432" y="294"/>
                  <a:pt x="432" y="294"/>
                </a:cubicBezTo>
                <a:cubicBezTo>
                  <a:pt x="426" y="293"/>
                  <a:pt x="426" y="293"/>
                  <a:pt x="426" y="293"/>
                </a:cubicBezTo>
                <a:cubicBezTo>
                  <a:pt x="425" y="292"/>
                  <a:pt x="425" y="292"/>
                  <a:pt x="425" y="292"/>
                </a:cubicBezTo>
                <a:cubicBezTo>
                  <a:pt x="424" y="287"/>
                  <a:pt x="424" y="287"/>
                  <a:pt x="424" y="287"/>
                </a:cubicBezTo>
                <a:cubicBezTo>
                  <a:pt x="417" y="272"/>
                  <a:pt x="417" y="272"/>
                  <a:pt x="417" y="272"/>
                </a:cubicBezTo>
                <a:cubicBezTo>
                  <a:pt x="410" y="263"/>
                  <a:pt x="410" y="263"/>
                  <a:pt x="410" y="263"/>
                </a:cubicBezTo>
                <a:cubicBezTo>
                  <a:pt x="399" y="252"/>
                  <a:pt x="399" y="252"/>
                  <a:pt x="399" y="252"/>
                </a:cubicBezTo>
                <a:cubicBezTo>
                  <a:pt x="384" y="233"/>
                  <a:pt x="384" y="233"/>
                  <a:pt x="384" y="233"/>
                </a:cubicBezTo>
                <a:cubicBezTo>
                  <a:pt x="382" y="226"/>
                  <a:pt x="382" y="226"/>
                  <a:pt x="382" y="226"/>
                </a:cubicBezTo>
                <a:cubicBezTo>
                  <a:pt x="384" y="224"/>
                  <a:pt x="384" y="224"/>
                  <a:pt x="384" y="224"/>
                </a:cubicBezTo>
                <a:cubicBezTo>
                  <a:pt x="414" y="207"/>
                  <a:pt x="414" y="207"/>
                  <a:pt x="414" y="207"/>
                </a:cubicBezTo>
                <a:cubicBezTo>
                  <a:pt x="428" y="208"/>
                  <a:pt x="428" y="208"/>
                  <a:pt x="428" y="208"/>
                </a:cubicBezTo>
                <a:cubicBezTo>
                  <a:pt x="429" y="207"/>
                  <a:pt x="429" y="207"/>
                  <a:pt x="429" y="207"/>
                </a:cubicBezTo>
                <a:cubicBezTo>
                  <a:pt x="433" y="205"/>
                  <a:pt x="433" y="205"/>
                  <a:pt x="433" y="205"/>
                </a:cubicBezTo>
                <a:cubicBezTo>
                  <a:pt x="451" y="190"/>
                  <a:pt x="451" y="190"/>
                  <a:pt x="451" y="190"/>
                </a:cubicBezTo>
                <a:cubicBezTo>
                  <a:pt x="451" y="189"/>
                  <a:pt x="451" y="189"/>
                  <a:pt x="451" y="189"/>
                </a:cubicBezTo>
                <a:cubicBezTo>
                  <a:pt x="440" y="187"/>
                  <a:pt x="440" y="187"/>
                  <a:pt x="440" y="187"/>
                </a:cubicBezTo>
                <a:cubicBezTo>
                  <a:pt x="431" y="186"/>
                  <a:pt x="431" y="186"/>
                  <a:pt x="431" y="186"/>
                </a:cubicBezTo>
                <a:cubicBezTo>
                  <a:pt x="429" y="186"/>
                  <a:pt x="429" y="186"/>
                  <a:pt x="429" y="186"/>
                </a:cubicBezTo>
                <a:cubicBezTo>
                  <a:pt x="419" y="174"/>
                  <a:pt x="419" y="174"/>
                  <a:pt x="419" y="174"/>
                </a:cubicBezTo>
                <a:cubicBezTo>
                  <a:pt x="422" y="169"/>
                  <a:pt x="422" y="169"/>
                  <a:pt x="422" y="169"/>
                </a:cubicBezTo>
                <a:cubicBezTo>
                  <a:pt x="429" y="158"/>
                  <a:pt x="429" y="158"/>
                  <a:pt x="429" y="158"/>
                </a:cubicBezTo>
                <a:cubicBezTo>
                  <a:pt x="430" y="156"/>
                  <a:pt x="430" y="156"/>
                  <a:pt x="430" y="156"/>
                </a:cubicBezTo>
                <a:cubicBezTo>
                  <a:pt x="431" y="156"/>
                  <a:pt x="431" y="156"/>
                  <a:pt x="431" y="156"/>
                </a:cubicBezTo>
                <a:cubicBezTo>
                  <a:pt x="435" y="156"/>
                  <a:pt x="435" y="156"/>
                  <a:pt x="435" y="156"/>
                </a:cubicBezTo>
                <a:cubicBezTo>
                  <a:pt x="437" y="158"/>
                  <a:pt x="437" y="158"/>
                  <a:pt x="437" y="158"/>
                </a:cubicBezTo>
                <a:cubicBezTo>
                  <a:pt x="443" y="163"/>
                  <a:pt x="443" y="163"/>
                  <a:pt x="443" y="163"/>
                </a:cubicBezTo>
                <a:cubicBezTo>
                  <a:pt x="444" y="164"/>
                  <a:pt x="444" y="164"/>
                  <a:pt x="444" y="164"/>
                </a:cubicBezTo>
                <a:cubicBezTo>
                  <a:pt x="444" y="164"/>
                  <a:pt x="444" y="164"/>
                  <a:pt x="444" y="164"/>
                </a:cubicBezTo>
                <a:cubicBezTo>
                  <a:pt x="447" y="166"/>
                  <a:pt x="447" y="166"/>
                  <a:pt x="447" y="166"/>
                </a:cubicBezTo>
                <a:cubicBezTo>
                  <a:pt x="477" y="153"/>
                  <a:pt x="477" y="153"/>
                  <a:pt x="477" y="153"/>
                </a:cubicBezTo>
                <a:cubicBezTo>
                  <a:pt x="490" y="128"/>
                  <a:pt x="490" y="128"/>
                  <a:pt x="490" y="128"/>
                </a:cubicBezTo>
                <a:cubicBezTo>
                  <a:pt x="492" y="123"/>
                  <a:pt x="492" y="123"/>
                  <a:pt x="492" y="123"/>
                </a:cubicBezTo>
                <a:cubicBezTo>
                  <a:pt x="496" y="108"/>
                  <a:pt x="496" y="108"/>
                  <a:pt x="496" y="108"/>
                </a:cubicBezTo>
                <a:cubicBezTo>
                  <a:pt x="496" y="98"/>
                  <a:pt x="496" y="98"/>
                  <a:pt x="496" y="98"/>
                </a:cubicBezTo>
                <a:cubicBezTo>
                  <a:pt x="496" y="97"/>
                  <a:pt x="496" y="97"/>
                  <a:pt x="496" y="97"/>
                </a:cubicBezTo>
                <a:cubicBezTo>
                  <a:pt x="497" y="95"/>
                  <a:pt x="497" y="95"/>
                  <a:pt x="497" y="95"/>
                </a:cubicBezTo>
                <a:cubicBezTo>
                  <a:pt x="506" y="82"/>
                  <a:pt x="506" y="82"/>
                  <a:pt x="506" y="82"/>
                </a:cubicBezTo>
                <a:cubicBezTo>
                  <a:pt x="508" y="82"/>
                  <a:pt x="508" y="82"/>
                  <a:pt x="508" y="82"/>
                </a:cubicBezTo>
                <a:cubicBezTo>
                  <a:pt x="522" y="79"/>
                  <a:pt x="522" y="79"/>
                  <a:pt x="522" y="79"/>
                </a:cubicBezTo>
                <a:cubicBezTo>
                  <a:pt x="523" y="79"/>
                  <a:pt x="523" y="79"/>
                  <a:pt x="523" y="79"/>
                </a:cubicBezTo>
                <a:cubicBezTo>
                  <a:pt x="523" y="79"/>
                  <a:pt x="523" y="79"/>
                  <a:pt x="523" y="79"/>
                </a:cubicBezTo>
                <a:cubicBezTo>
                  <a:pt x="523" y="78"/>
                  <a:pt x="523" y="78"/>
                  <a:pt x="523" y="78"/>
                </a:cubicBezTo>
                <a:cubicBezTo>
                  <a:pt x="523" y="77"/>
                  <a:pt x="523" y="77"/>
                  <a:pt x="523" y="77"/>
                </a:cubicBezTo>
                <a:cubicBezTo>
                  <a:pt x="524" y="75"/>
                  <a:pt x="524" y="75"/>
                  <a:pt x="524" y="75"/>
                </a:cubicBezTo>
                <a:cubicBezTo>
                  <a:pt x="527" y="71"/>
                  <a:pt x="527" y="71"/>
                  <a:pt x="527" y="71"/>
                </a:cubicBezTo>
                <a:cubicBezTo>
                  <a:pt x="533" y="62"/>
                  <a:pt x="533" y="62"/>
                  <a:pt x="533" y="62"/>
                </a:cubicBezTo>
                <a:cubicBezTo>
                  <a:pt x="535" y="61"/>
                  <a:pt x="535" y="61"/>
                  <a:pt x="535" y="61"/>
                </a:cubicBezTo>
                <a:cubicBezTo>
                  <a:pt x="537" y="58"/>
                  <a:pt x="537" y="58"/>
                  <a:pt x="537" y="58"/>
                </a:cubicBezTo>
                <a:cubicBezTo>
                  <a:pt x="540" y="57"/>
                  <a:pt x="540" y="57"/>
                  <a:pt x="540" y="57"/>
                </a:cubicBezTo>
                <a:cubicBezTo>
                  <a:pt x="552" y="51"/>
                  <a:pt x="552" y="51"/>
                  <a:pt x="552" y="51"/>
                </a:cubicBezTo>
                <a:cubicBezTo>
                  <a:pt x="568" y="43"/>
                  <a:pt x="568" y="43"/>
                  <a:pt x="568" y="43"/>
                </a:cubicBezTo>
                <a:cubicBezTo>
                  <a:pt x="570" y="41"/>
                  <a:pt x="570" y="41"/>
                  <a:pt x="570" y="41"/>
                </a:cubicBezTo>
                <a:cubicBezTo>
                  <a:pt x="571" y="37"/>
                  <a:pt x="571" y="37"/>
                  <a:pt x="571" y="37"/>
                </a:cubicBezTo>
                <a:cubicBezTo>
                  <a:pt x="570" y="35"/>
                  <a:pt x="570" y="35"/>
                  <a:pt x="570" y="35"/>
                </a:cubicBezTo>
                <a:cubicBezTo>
                  <a:pt x="567" y="33"/>
                  <a:pt x="567" y="33"/>
                  <a:pt x="567" y="33"/>
                </a:cubicBezTo>
                <a:cubicBezTo>
                  <a:pt x="554" y="27"/>
                  <a:pt x="554" y="27"/>
                  <a:pt x="554" y="27"/>
                </a:cubicBezTo>
                <a:cubicBezTo>
                  <a:pt x="535" y="12"/>
                  <a:pt x="535" y="12"/>
                  <a:pt x="535" y="12"/>
                </a:cubicBezTo>
                <a:cubicBezTo>
                  <a:pt x="532" y="9"/>
                  <a:pt x="532" y="9"/>
                  <a:pt x="532" y="9"/>
                </a:cubicBezTo>
                <a:cubicBezTo>
                  <a:pt x="527" y="5"/>
                  <a:pt x="527" y="5"/>
                  <a:pt x="527" y="5"/>
                </a:cubicBezTo>
                <a:cubicBezTo>
                  <a:pt x="510" y="0"/>
                  <a:pt x="510" y="0"/>
                  <a:pt x="510" y="0"/>
                </a:cubicBezTo>
                <a:cubicBezTo>
                  <a:pt x="505" y="0"/>
                  <a:pt x="505" y="0"/>
                  <a:pt x="505" y="0"/>
                </a:cubicBezTo>
                <a:cubicBezTo>
                  <a:pt x="504" y="1"/>
                  <a:pt x="504" y="1"/>
                  <a:pt x="504" y="1"/>
                </a:cubicBezTo>
                <a:cubicBezTo>
                  <a:pt x="503" y="1"/>
                  <a:pt x="503" y="1"/>
                  <a:pt x="503" y="1"/>
                </a:cubicBezTo>
                <a:cubicBezTo>
                  <a:pt x="514" y="18"/>
                  <a:pt x="514" y="18"/>
                  <a:pt x="514" y="18"/>
                </a:cubicBezTo>
                <a:cubicBezTo>
                  <a:pt x="504" y="21"/>
                  <a:pt x="504" y="21"/>
                  <a:pt x="504" y="21"/>
                </a:cubicBezTo>
                <a:cubicBezTo>
                  <a:pt x="485" y="24"/>
                  <a:pt x="485" y="24"/>
                  <a:pt x="485" y="24"/>
                </a:cubicBezTo>
                <a:cubicBezTo>
                  <a:pt x="484" y="25"/>
                  <a:pt x="484" y="25"/>
                  <a:pt x="484" y="25"/>
                </a:cubicBezTo>
                <a:cubicBezTo>
                  <a:pt x="481" y="43"/>
                  <a:pt x="481" y="43"/>
                  <a:pt x="481" y="43"/>
                </a:cubicBezTo>
                <a:cubicBezTo>
                  <a:pt x="481" y="45"/>
                  <a:pt x="481" y="45"/>
                  <a:pt x="481" y="45"/>
                </a:cubicBezTo>
                <a:cubicBezTo>
                  <a:pt x="482" y="45"/>
                  <a:pt x="482" y="45"/>
                  <a:pt x="482" y="45"/>
                </a:cubicBezTo>
                <a:cubicBezTo>
                  <a:pt x="485" y="47"/>
                  <a:pt x="485" y="47"/>
                  <a:pt x="485" y="47"/>
                </a:cubicBezTo>
                <a:cubicBezTo>
                  <a:pt x="486" y="48"/>
                  <a:pt x="486" y="48"/>
                  <a:pt x="486" y="48"/>
                </a:cubicBezTo>
                <a:cubicBezTo>
                  <a:pt x="489" y="55"/>
                  <a:pt x="489" y="55"/>
                  <a:pt x="489" y="55"/>
                </a:cubicBezTo>
                <a:cubicBezTo>
                  <a:pt x="492" y="59"/>
                  <a:pt x="492" y="59"/>
                  <a:pt x="492" y="59"/>
                </a:cubicBezTo>
                <a:cubicBezTo>
                  <a:pt x="492" y="60"/>
                  <a:pt x="492" y="60"/>
                  <a:pt x="492" y="60"/>
                </a:cubicBezTo>
                <a:cubicBezTo>
                  <a:pt x="492" y="81"/>
                  <a:pt x="492" y="81"/>
                  <a:pt x="492" y="81"/>
                </a:cubicBezTo>
                <a:cubicBezTo>
                  <a:pt x="492" y="82"/>
                  <a:pt x="492" y="82"/>
                  <a:pt x="492" y="82"/>
                </a:cubicBezTo>
                <a:cubicBezTo>
                  <a:pt x="491" y="83"/>
                  <a:pt x="491" y="83"/>
                  <a:pt x="491" y="83"/>
                </a:cubicBezTo>
                <a:cubicBezTo>
                  <a:pt x="483" y="86"/>
                  <a:pt x="483" y="86"/>
                  <a:pt x="483" y="86"/>
                </a:cubicBezTo>
                <a:cubicBezTo>
                  <a:pt x="478" y="86"/>
                  <a:pt x="478" y="86"/>
                  <a:pt x="478" y="86"/>
                </a:cubicBezTo>
                <a:cubicBezTo>
                  <a:pt x="467" y="83"/>
                  <a:pt x="467" y="83"/>
                  <a:pt x="467" y="83"/>
                </a:cubicBezTo>
                <a:cubicBezTo>
                  <a:pt x="467" y="83"/>
                  <a:pt x="467" y="83"/>
                  <a:pt x="467" y="83"/>
                </a:cubicBezTo>
                <a:cubicBezTo>
                  <a:pt x="468" y="80"/>
                  <a:pt x="468" y="80"/>
                  <a:pt x="468" y="80"/>
                </a:cubicBezTo>
                <a:cubicBezTo>
                  <a:pt x="478" y="73"/>
                  <a:pt x="478" y="73"/>
                  <a:pt x="478" y="73"/>
                </a:cubicBezTo>
                <a:cubicBezTo>
                  <a:pt x="479" y="72"/>
                  <a:pt x="479" y="72"/>
                  <a:pt x="479" y="72"/>
                </a:cubicBezTo>
                <a:cubicBezTo>
                  <a:pt x="482" y="72"/>
                  <a:pt x="482" y="72"/>
                  <a:pt x="482" y="72"/>
                </a:cubicBezTo>
                <a:cubicBezTo>
                  <a:pt x="483" y="71"/>
                  <a:pt x="483" y="71"/>
                  <a:pt x="483" y="71"/>
                </a:cubicBezTo>
                <a:cubicBezTo>
                  <a:pt x="484" y="65"/>
                  <a:pt x="484" y="65"/>
                  <a:pt x="484" y="65"/>
                </a:cubicBezTo>
                <a:cubicBezTo>
                  <a:pt x="484" y="62"/>
                  <a:pt x="484" y="62"/>
                  <a:pt x="484" y="62"/>
                </a:cubicBezTo>
                <a:cubicBezTo>
                  <a:pt x="471" y="24"/>
                  <a:pt x="471" y="24"/>
                  <a:pt x="471" y="24"/>
                </a:cubicBezTo>
                <a:cubicBezTo>
                  <a:pt x="470" y="24"/>
                  <a:pt x="470" y="24"/>
                  <a:pt x="470" y="24"/>
                </a:cubicBezTo>
                <a:cubicBezTo>
                  <a:pt x="470" y="23"/>
                  <a:pt x="470" y="23"/>
                  <a:pt x="470" y="23"/>
                </a:cubicBezTo>
                <a:cubicBezTo>
                  <a:pt x="468" y="23"/>
                  <a:pt x="468" y="23"/>
                  <a:pt x="468" y="23"/>
                </a:cubicBezTo>
                <a:cubicBezTo>
                  <a:pt x="453" y="31"/>
                  <a:pt x="453" y="31"/>
                  <a:pt x="453" y="31"/>
                </a:cubicBezTo>
                <a:cubicBezTo>
                  <a:pt x="453" y="31"/>
                  <a:pt x="453" y="31"/>
                  <a:pt x="453" y="31"/>
                </a:cubicBezTo>
                <a:cubicBezTo>
                  <a:pt x="448" y="37"/>
                  <a:pt x="448" y="37"/>
                  <a:pt x="448" y="37"/>
                </a:cubicBezTo>
                <a:cubicBezTo>
                  <a:pt x="446" y="38"/>
                  <a:pt x="446" y="38"/>
                  <a:pt x="446" y="38"/>
                </a:cubicBezTo>
                <a:cubicBezTo>
                  <a:pt x="446" y="40"/>
                  <a:pt x="446" y="40"/>
                  <a:pt x="446" y="40"/>
                </a:cubicBezTo>
                <a:cubicBezTo>
                  <a:pt x="446" y="40"/>
                  <a:pt x="446" y="40"/>
                  <a:pt x="446" y="40"/>
                </a:cubicBezTo>
                <a:cubicBezTo>
                  <a:pt x="448" y="44"/>
                  <a:pt x="448" y="44"/>
                  <a:pt x="448" y="44"/>
                </a:cubicBezTo>
                <a:cubicBezTo>
                  <a:pt x="450" y="45"/>
                  <a:pt x="450" y="45"/>
                  <a:pt x="450" y="45"/>
                </a:cubicBezTo>
                <a:cubicBezTo>
                  <a:pt x="457" y="50"/>
                  <a:pt x="457" y="50"/>
                  <a:pt x="457" y="50"/>
                </a:cubicBezTo>
                <a:cubicBezTo>
                  <a:pt x="458" y="49"/>
                  <a:pt x="458" y="49"/>
                  <a:pt x="458" y="49"/>
                </a:cubicBezTo>
                <a:cubicBezTo>
                  <a:pt x="457" y="46"/>
                  <a:pt x="457" y="46"/>
                  <a:pt x="457" y="46"/>
                </a:cubicBezTo>
                <a:cubicBezTo>
                  <a:pt x="457" y="45"/>
                  <a:pt x="457" y="45"/>
                  <a:pt x="457" y="45"/>
                </a:cubicBezTo>
                <a:cubicBezTo>
                  <a:pt x="456" y="43"/>
                  <a:pt x="456" y="43"/>
                  <a:pt x="456" y="43"/>
                </a:cubicBezTo>
                <a:cubicBezTo>
                  <a:pt x="457" y="38"/>
                  <a:pt x="457" y="38"/>
                  <a:pt x="457" y="38"/>
                </a:cubicBezTo>
                <a:cubicBezTo>
                  <a:pt x="457" y="37"/>
                  <a:pt x="457" y="37"/>
                  <a:pt x="457" y="37"/>
                </a:cubicBezTo>
                <a:cubicBezTo>
                  <a:pt x="458" y="37"/>
                  <a:pt x="458" y="37"/>
                  <a:pt x="458" y="37"/>
                </a:cubicBezTo>
                <a:cubicBezTo>
                  <a:pt x="459" y="37"/>
                  <a:pt x="459" y="37"/>
                  <a:pt x="459" y="37"/>
                </a:cubicBezTo>
                <a:cubicBezTo>
                  <a:pt x="460" y="38"/>
                  <a:pt x="460" y="38"/>
                  <a:pt x="460" y="38"/>
                </a:cubicBezTo>
                <a:cubicBezTo>
                  <a:pt x="460" y="39"/>
                  <a:pt x="460" y="39"/>
                  <a:pt x="460" y="39"/>
                </a:cubicBezTo>
                <a:cubicBezTo>
                  <a:pt x="464" y="56"/>
                  <a:pt x="464" y="56"/>
                  <a:pt x="464" y="56"/>
                </a:cubicBezTo>
                <a:cubicBezTo>
                  <a:pt x="464" y="57"/>
                  <a:pt x="464" y="57"/>
                  <a:pt x="464" y="57"/>
                </a:cubicBezTo>
                <a:cubicBezTo>
                  <a:pt x="460" y="68"/>
                  <a:pt x="460" y="68"/>
                  <a:pt x="460" y="68"/>
                </a:cubicBezTo>
                <a:cubicBezTo>
                  <a:pt x="460" y="69"/>
                  <a:pt x="460" y="69"/>
                  <a:pt x="460" y="69"/>
                </a:cubicBezTo>
                <a:cubicBezTo>
                  <a:pt x="459" y="69"/>
                  <a:pt x="459" y="69"/>
                  <a:pt x="459" y="69"/>
                </a:cubicBezTo>
                <a:cubicBezTo>
                  <a:pt x="458" y="69"/>
                  <a:pt x="458" y="69"/>
                  <a:pt x="458" y="69"/>
                </a:cubicBezTo>
                <a:cubicBezTo>
                  <a:pt x="458" y="68"/>
                  <a:pt x="458" y="68"/>
                  <a:pt x="458" y="68"/>
                </a:cubicBezTo>
                <a:cubicBezTo>
                  <a:pt x="459" y="65"/>
                  <a:pt x="459" y="65"/>
                  <a:pt x="459" y="65"/>
                </a:cubicBezTo>
                <a:cubicBezTo>
                  <a:pt x="460" y="61"/>
                  <a:pt x="460" y="61"/>
                  <a:pt x="460" y="61"/>
                </a:cubicBezTo>
                <a:cubicBezTo>
                  <a:pt x="460" y="58"/>
                  <a:pt x="460" y="58"/>
                  <a:pt x="460" y="58"/>
                </a:cubicBezTo>
                <a:cubicBezTo>
                  <a:pt x="459" y="56"/>
                  <a:pt x="459" y="56"/>
                  <a:pt x="459" y="56"/>
                </a:cubicBezTo>
                <a:cubicBezTo>
                  <a:pt x="458" y="53"/>
                  <a:pt x="458" y="53"/>
                  <a:pt x="458" y="53"/>
                </a:cubicBezTo>
                <a:cubicBezTo>
                  <a:pt x="452" y="49"/>
                  <a:pt x="452" y="49"/>
                  <a:pt x="452" y="49"/>
                </a:cubicBezTo>
                <a:cubicBezTo>
                  <a:pt x="450" y="47"/>
                  <a:pt x="450" y="47"/>
                  <a:pt x="450" y="47"/>
                </a:cubicBezTo>
                <a:cubicBezTo>
                  <a:pt x="448" y="47"/>
                  <a:pt x="448" y="47"/>
                  <a:pt x="448" y="47"/>
                </a:cubicBezTo>
                <a:cubicBezTo>
                  <a:pt x="448" y="47"/>
                  <a:pt x="448" y="47"/>
                  <a:pt x="448" y="47"/>
                </a:cubicBezTo>
                <a:cubicBezTo>
                  <a:pt x="446" y="48"/>
                  <a:pt x="446" y="48"/>
                  <a:pt x="446" y="48"/>
                </a:cubicBezTo>
                <a:cubicBezTo>
                  <a:pt x="444" y="48"/>
                  <a:pt x="444" y="48"/>
                  <a:pt x="444" y="48"/>
                </a:cubicBezTo>
                <a:cubicBezTo>
                  <a:pt x="443" y="48"/>
                  <a:pt x="443" y="48"/>
                  <a:pt x="443" y="48"/>
                </a:cubicBezTo>
                <a:cubicBezTo>
                  <a:pt x="442" y="44"/>
                  <a:pt x="442" y="44"/>
                  <a:pt x="442" y="44"/>
                </a:cubicBezTo>
                <a:cubicBezTo>
                  <a:pt x="442" y="43"/>
                  <a:pt x="442" y="43"/>
                  <a:pt x="442" y="43"/>
                </a:cubicBezTo>
                <a:cubicBezTo>
                  <a:pt x="442" y="42"/>
                  <a:pt x="442" y="42"/>
                  <a:pt x="442" y="42"/>
                </a:cubicBezTo>
                <a:cubicBezTo>
                  <a:pt x="442" y="40"/>
                  <a:pt x="442" y="40"/>
                  <a:pt x="442" y="40"/>
                </a:cubicBezTo>
                <a:cubicBezTo>
                  <a:pt x="444" y="37"/>
                  <a:pt x="444" y="37"/>
                  <a:pt x="444" y="37"/>
                </a:cubicBezTo>
                <a:cubicBezTo>
                  <a:pt x="446" y="35"/>
                  <a:pt x="446" y="35"/>
                  <a:pt x="446" y="35"/>
                </a:cubicBezTo>
                <a:cubicBezTo>
                  <a:pt x="418" y="36"/>
                  <a:pt x="418" y="36"/>
                  <a:pt x="418" y="36"/>
                </a:cubicBezTo>
                <a:cubicBezTo>
                  <a:pt x="416" y="37"/>
                  <a:pt x="416" y="37"/>
                  <a:pt x="416" y="37"/>
                </a:cubicBezTo>
                <a:cubicBezTo>
                  <a:pt x="415" y="37"/>
                  <a:pt x="415" y="37"/>
                  <a:pt x="415" y="37"/>
                </a:cubicBezTo>
                <a:cubicBezTo>
                  <a:pt x="415" y="38"/>
                  <a:pt x="415" y="38"/>
                  <a:pt x="415" y="38"/>
                </a:cubicBezTo>
                <a:cubicBezTo>
                  <a:pt x="413" y="40"/>
                  <a:pt x="413" y="40"/>
                  <a:pt x="413" y="40"/>
                </a:cubicBezTo>
                <a:cubicBezTo>
                  <a:pt x="413" y="44"/>
                  <a:pt x="413" y="44"/>
                  <a:pt x="413" y="44"/>
                </a:cubicBezTo>
                <a:cubicBezTo>
                  <a:pt x="413" y="47"/>
                  <a:pt x="413" y="47"/>
                  <a:pt x="413" y="47"/>
                </a:cubicBezTo>
                <a:cubicBezTo>
                  <a:pt x="413" y="48"/>
                  <a:pt x="413" y="48"/>
                  <a:pt x="413" y="48"/>
                </a:cubicBezTo>
                <a:cubicBezTo>
                  <a:pt x="397" y="59"/>
                  <a:pt x="397" y="59"/>
                  <a:pt x="397" y="59"/>
                </a:cubicBezTo>
                <a:cubicBezTo>
                  <a:pt x="396" y="59"/>
                  <a:pt x="396" y="59"/>
                  <a:pt x="396" y="59"/>
                </a:cubicBezTo>
                <a:cubicBezTo>
                  <a:pt x="392" y="60"/>
                  <a:pt x="392" y="60"/>
                  <a:pt x="392" y="60"/>
                </a:cubicBezTo>
                <a:cubicBezTo>
                  <a:pt x="392" y="59"/>
                  <a:pt x="392" y="59"/>
                  <a:pt x="392" y="59"/>
                </a:cubicBezTo>
                <a:cubicBezTo>
                  <a:pt x="387" y="55"/>
                  <a:pt x="387" y="55"/>
                  <a:pt x="387" y="55"/>
                </a:cubicBezTo>
                <a:cubicBezTo>
                  <a:pt x="378" y="52"/>
                  <a:pt x="378" y="52"/>
                  <a:pt x="378" y="52"/>
                </a:cubicBezTo>
                <a:cubicBezTo>
                  <a:pt x="376" y="52"/>
                  <a:pt x="376" y="52"/>
                  <a:pt x="376" y="52"/>
                </a:cubicBezTo>
                <a:cubicBezTo>
                  <a:pt x="375" y="52"/>
                  <a:pt x="375" y="52"/>
                  <a:pt x="375" y="52"/>
                </a:cubicBezTo>
                <a:cubicBezTo>
                  <a:pt x="374" y="53"/>
                  <a:pt x="374" y="53"/>
                  <a:pt x="374" y="53"/>
                </a:cubicBezTo>
                <a:cubicBezTo>
                  <a:pt x="349" y="90"/>
                  <a:pt x="349" y="90"/>
                  <a:pt x="349" y="90"/>
                </a:cubicBezTo>
                <a:cubicBezTo>
                  <a:pt x="348" y="112"/>
                  <a:pt x="348" y="112"/>
                  <a:pt x="348" y="112"/>
                </a:cubicBezTo>
                <a:cubicBezTo>
                  <a:pt x="348" y="113"/>
                  <a:pt x="348" y="113"/>
                  <a:pt x="348" y="113"/>
                </a:cubicBezTo>
                <a:cubicBezTo>
                  <a:pt x="357" y="118"/>
                  <a:pt x="357" y="118"/>
                  <a:pt x="357" y="118"/>
                </a:cubicBezTo>
                <a:cubicBezTo>
                  <a:pt x="358" y="118"/>
                  <a:pt x="358" y="118"/>
                  <a:pt x="358" y="118"/>
                </a:cubicBezTo>
                <a:cubicBezTo>
                  <a:pt x="358" y="118"/>
                  <a:pt x="358" y="118"/>
                  <a:pt x="358" y="118"/>
                </a:cubicBezTo>
                <a:cubicBezTo>
                  <a:pt x="358" y="117"/>
                  <a:pt x="358" y="117"/>
                  <a:pt x="358" y="117"/>
                </a:cubicBezTo>
                <a:cubicBezTo>
                  <a:pt x="358" y="116"/>
                  <a:pt x="358" y="116"/>
                  <a:pt x="358" y="116"/>
                </a:cubicBezTo>
                <a:cubicBezTo>
                  <a:pt x="358" y="115"/>
                  <a:pt x="358" y="115"/>
                  <a:pt x="358" y="115"/>
                </a:cubicBezTo>
                <a:cubicBezTo>
                  <a:pt x="359" y="115"/>
                  <a:pt x="359" y="115"/>
                  <a:pt x="359" y="115"/>
                </a:cubicBezTo>
                <a:cubicBezTo>
                  <a:pt x="363" y="115"/>
                  <a:pt x="363" y="115"/>
                  <a:pt x="363" y="115"/>
                </a:cubicBezTo>
                <a:cubicBezTo>
                  <a:pt x="364" y="116"/>
                  <a:pt x="364" y="116"/>
                  <a:pt x="364" y="116"/>
                </a:cubicBezTo>
                <a:cubicBezTo>
                  <a:pt x="369" y="119"/>
                  <a:pt x="369" y="119"/>
                  <a:pt x="369" y="119"/>
                </a:cubicBezTo>
                <a:cubicBezTo>
                  <a:pt x="369" y="120"/>
                  <a:pt x="369" y="120"/>
                  <a:pt x="369" y="120"/>
                </a:cubicBezTo>
                <a:cubicBezTo>
                  <a:pt x="366" y="130"/>
                  <a:pt x="366" y="130"/>
                  <a:pt x="366" y="130"/>
                </a:cubicBezTo>
                <a:cubicBezTo>
                  <a:pt x="365" y="131"/>
                  <a:pt x="365" y="131"/>
                  <a:pt x="365" y="131"/>
                </a:cubicBezTo>
                <a:cubicBezTo>
                  <a:pt x="364" y="131"/>
                  <a:pt x="364" y="131"/>
                  <a:pt x="364" y="131"/>
                </a:cubicBezTo>
                <a:cubicBezTo>
                  <a:pt x="357" y="130"/>
                  <a:pt x="357" y="130"/>
                  <a:pt x="357" y="130"/>
                </a:cubicBezTo>
                <a:cubicBezTo>
                  <a:pt x="356" y="129"/>
                  <a:pt x="356" y="129"/>
                  <a:pt x="356" y="129"/>
                </a:cubicBezTo>
                <a:cubicBezTo>
                  <a:pt x="336" y="133"/>
                  <a:pt x="336" y="133"/>
                  <a:pt x="336" y="133"/>
                </a:cubicBezTo>
                <a:cubicBezTo>
                  <a:pt x="336" y="134"/>
                  <a:pt x="336" y="134"/>
                  <a:pt x="336" y="134"/>
                </a:cubicBezTo>
                <a:cubicBezTo>
                  <a:pt x="346" y="142"/>
                  <a:pt x="346" y="142"/>
                  <a:pt x="346" y="142"/>
                </a:cubicBezTo>
                <a:cubicBezTo>
                  <a:pt x="352" y="147"/>
                  <a:pt x="352" y="147"/>
                  <a:pt x="352" y="147"/>
                </a:cubicBezTo>
                <a:cubicBezTo>
                  <a:pt x="352" y="148"/>
                  <a:pt x="352" y="148"/>
                  <a:pt x="352" y="148"/>
                </a:cubicBezTo>
                <a:cubicBezTo>
                  <a:pt x="352" y="150"/>
                  <a:pt x="352" y="150"/>
                  <a:pt x="352" y="150"/>
                </a:cubicBezTo>
                <a:cubicBezTo>
                  <a:pt x="346" y="151"/>
                  <a:pt x="346" y="151"/>
                  <a:pt x="346" y="151"/>
                </a:cubicBezTo>
                <a:cubicBezTo>
                  <a:pt x="337" y="150"/>
                  <a:pt x="337" y="150"/>
                  <a:pt x="337" y="150"/>
                </a:cubicBezTo>
                <a:cubicBezTo>
                  <a:pt x="337" y="149"/>
                  <a:pt x="337" y="149"/>
                  <a:pt x="337" y="149"/>
                </a:cubicBezTo>
                <a:cubicBezTo>
                  <a:pt x="336" y="147"/>
                  <a:pt x="336" y="147"/>
                  <a:pt x="336" y="147"/>
                </a:cubicBezTo>
                <a:cubicBezTo>
                  <a:pt x="335" y="147"/>
                  <a:pt x="335" y="147"/>
                  <a:pt x="335" y="147"/>
                </a:cubicBezTo>
                <a:cubicBezTo>
                  <a:pt x="324" y="145"/>
                  <a:pt x="324" y="145"/>
                  <a:pt x="324" y="145"/>
                </a:cubicBezTo>
                <a:cubicBezTo>
                  <a:pt x="320" y="145"/>
                  <a:pt x="320" y="145"/>
                  <a:pt x="320" y="145"/>
                </a:cubicBezTo>
                <a:cubicBezTo>
                  <a:pt x="315" y="145"/>
                  <a:pt x="315" y="145"/>
                  <a:pt x="315" y="145"/>
                </a:cubicBezTo>
                <a:cubicBezTo>
                  <a:pt x="294" y="161"/>
                  <a:pt x="294" y="161"/>
                  <a:pt x="294" y="161"/>
                </a:cubicBezTo>
                <a:cubicBezTo>
                  <a:pt x="293" y="163"/>
                  <a:pt x="293" y="163"/>
                  <a:pt x="293" y="163"/>
                </a:cubicBezTo>
                <a:cubicBezTo>
                  <a:pt x="293" y="163"/>
                  <a:pt x="293" y="163"/>
                  <a:pt x="293" y="163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7" y="173"/>
                  <a:pt x="297" y="173"/>
                  <a:pt x="297" y="173"/>
                </a:cubicBezTo>
                <a:cubicBezTo>
                  <a:pt x="299" y="175"/>
                  <a:pt x="299" y="175"/>
                  <a:pt x="299" y="175"/>
                </a:cubicBezTo>
                <a:cubicBezTo>
                  <a:pt x="301" y="176"/>
                  <a:pt x="301" y="176"/>
                  <a:pt x="301" y="176"/>
                </a:cubicBezTo>
                <a:cubicBezTo>
                  <a:pt x="310" y="181"/>
                  <a:pt x="310" y="181"/>
                  <a:pt x="310" y="181"/>
                </a:cubicBezTo>
                <a:cubicBezTo>
                  <a:pt x="316" y="183"/>
                  <a:pt x="316" y="183"/>
                  <a:pt x="316" y="183"/>
                </a:cubicBezTo>
                <a:cubicBezTo>
                  <a:pt x="320" y="185"/>
                  <a:pt x="320" y="185"/>
                  <a:pt x="320" y="185"/>
                </a:cubicBezTo>
                <a:cubicBezTo>
                  <a:pt x="325" y="186"/>
                  <a:pt x="325" y="186"/>
                  <a:pt x="325" y="186"/>
                </a:cubicBezTo>
                <a:cubicBezTo>
                  <a:pt x="353" y="183"/>
                  <a:pt x="353" y="183"/>
                  <a:pt x="353" y="183"/>
                </a:cubicBezTo>
                <a:cubicBezTo>
                  <a:pt x="369" y="180"/>
                  <a:pt x="369" y="180"/>
                  <a:pt x="369" y="180"/>
                </a:cubicBezTo>
                <a:cubicBezTo>
                  <a:pt x="386" y="182"/>
                  <a:pt x="386" y="182"/>
                  <a:pt x="386" y="182"/>
                </a:cubicBezTo>
                <a:cubicBezTo>
                  <a:pt x="387" y="191"/>
                  <a:pt x="387" y="191"/>
                  <a:pt x="387" y="191"/>
                </a:cubicBezTo>
                <a:cubicBezTo>
                  <a:pt x="369" y="221"/>
                  <a:pt x="369" y="221"/>
                  <a:pt x="369" y="221"/>
                </a:cubicBezTo>
                <a:cubicBezTo>
                  <a:pt x="367" y="222"/>
                  <a:pt x="367" y="222"/>
                  <a:pt x="367" y="222"/>
                </a:cubicBezTo>
                <a:cubicBezTo>
                  <a:pt x="354" y="224"/>
                  <a:pt x="354" y="224"/>
                  <a:pt x="354" y="224"/>
                </a:cubicBezTo>
                <a:cubicBezTo>
                  <a:pt x="339" y="230"/>
                  <a:pt x="339" y="230"/>
                  <a:pt x="339" y="230"/>
                </a:cubicBezTo>
                <a:cubicBezTo>
                  <a:pt x="321" y="244"/>
                  <a:pt x="321" y="244"/>
                  <a:pt x="321" y="244"/>
                </a:cubicBezTo>
                <a:cubicBezTo>
                  <a:pt x="315" y="257"/>
                  <a:pt x="315" y="257"/>
                  <a:pt x="315" y="257"/>
                </a:cubicBezTo>
                <a:cubicBezTo>
                  <a:pt x="316" y="256"/>
                  <a:pt x="316" y="256"/>
                  <a:pt x="316" y="256"/>
                </a:cubicBezTo>
                <a:cubicBezTo>
                  <a:pt x="317" y="255"/>
                  <a:pt x="317" y="255"/>
                  <a:pt x="317" y="255"/>
                </a:cubicBezTo>
                <a:cubicBezTo>
                  <a:pt x="321" y="255"/>
                  <a:pt x="321" y="255"/>
                  <a:pt x="321" y="255"/>
                </a:cubicBezTo>
                <a:cubicBezTo>
                  <a:pt x="322" y="255"/>
                  <a:pt x="322" y="255"/>
                  <a:pt x="322" y="255"/>
                </a:cubicBezTo>
                <a:cubicBezTo>
                  <a:pt x="328" y="255"/>
                  <a:pt x="328" y="255"/>
                  <a:pt x="328" y="255"/>
                </a:cubicBezTo>
                <a:cubicBezTo>
                  <a:pt x="329" y="256"/>
                  <a:pt x="329" y="256"/>
                  <a:pt x="329" y="256"/>
                </a:cubicBezTo>
                <a:cubicBezTo>
                  <a:pt x="333" y="259"/>
                  <a:pt x="333" y="259"/>
                  <a:pt x="333" y="259"/>
                </a:cubicBezTo>
                <a:cubicBezTo>
                  <a:pt x="333" y="260"/>
                  <a:pt x="333" y="260"/>
                  <a:pt x="333" y="260"/>
                </a:cubicBezTo>
                <a:cubicBezTo>
                  <a:pt x="337" y="271"/>
                  <a:pt x="337" y="271"/>
                  <a:pt x="337" y="271"/>
                </a:cubicBezTo>
                <a:cubicBezTo>
                  <a:pt x="330" y="287"/>
                  <a:pt x="330" y="287"/>
                  <a:pt x="330" y="287"/>
                </a:cubicBezTo>
                <a:cubicBezTo>
                  <a:pt x="330" y="288"/>
                  <a:pt x="330" y="288"/>
                  <a:pt x="330" y="288"/>
                </a:cubicBezTo>
                <a:cubicBezTo>
                  <a:pt x="328" y="288"/>
                  <a:pt x="328" y="288"/>
                  <a:pt x="328" y="288"/>
                </a:cubicBezTo>
                <a:cubicBezTo>
                  <a:pt x="323" y="287"/>
                  <a:pt x="323" y="287"/>
                  <a:pt x="323" y="287"/>
                </a:cubicBezTo>
                <a:cubicBezTo>
                  <a:pt x="319" y="285"/>
                  <a:pt x="319" y="285"/>
                  <a:pt x="319" y="285"/>
                </a:cubicBezTo>
                <a:cubicBezTo>
                  <a:pt x="314" y="282"/>
                  <a:pt x="314" y="282"/>
                  <a:pt x="314" y="282"/>
                </a:cubicBezTo>
                <a:cubicBezTo>
                  <a:pt x="311" y="274"/>
                  <a:pt x="311" y="274"/>
                  <a:pt x="311" y="274"/>
                </a:cubicBezTo>
                <a:cubicBezTo>
                  <a:pt x="282" y="273"/>
                  <a:pt x="282" y="273"/>
                  <a:pt x="282" y="273"/>
                </a:cubicBezTo>
                <a:cubicBezTo>
                  <a:pt x="276" y="270"/>
                  <a:pt x="276" y="270"/>
                  <a:pt x="276" y="270"/>
                </a:cubicBezTo>
                <a:cubicBezTo>
                  <a:pt x="271" y="265"/>
                  <a:pt x="271" y="265"/>
                  <a:pt x="271" y="265"/>
                </a:cubicBezTo>
                <a:cubicBezTo>
                  <a:pt x="268" y="264"/>
                  <a:pt x="268" y="264"/>
                  <a:pt x="268" y="264"/>
                </a:cubicBezTo>
                <a:cubicBezTo>
                  <a:pt x="261" y="263"/>
                  <a:pt x="261" y="263"/>
                  <a:pt x="261" y="263"/>
                </a:cubicBezTo>
                <a:cubicBezTo>
                  <a:pt x="252" y="263"/>
                  <a:pt x="252" y="263"/>
                  <a:pt x="252" y="263"/>
                </a:cubicBezTo>
                <a:cubicBezTo>
                  <a:pt x="250" y="264"/>
                  <a:pt x="250" y="264"/>
                  <a:pt x="250" y="264"/>
                </a:cubicBezTo>
                <a:cubicBezTo>
                  <a:pt x="250" y="266"/>
                  <a:pt x="250" y="266"/>
                  <a:pt x="250" y="266"/>
                </a:cubicBezTo>
                <a:cubicBezTo>
                  <a:pt x="249" y="268"/>
                  <a:pt x="249" y="268"/>
                  <a:pt x="249" y="268"/>
                </a:cubicBezTo>
                <a:cubicBezTo>
                  <a:pt x="248" y="273"/>
                  <a:pt x="248" y="273"/>
                  <a:pt x="248" y="273"/>
                </a:cubicBezTo>
                <a:cubicBezTo>
                  <a:pt x="240" y="290"/>
                  <a:pt x="240" y="290"/>
                  <a:pt x="240" y="290"/>
                </a:cubicBezTo>
                <a:cubicBezTo>
                  <a:pt x="239" y="291"/>
                  <a:pt x="239" y="291"/>
                  <a:pt x="239" y="291"/>
                </a:cubicBezTo>
                <a:cubicBezTo>
                  <a:pt x="238" y="292"/>
                  <a:pt x="238" y="292"/>
                  <a:pt x="238" y="292"/>
                </a:cubicBezTo>
                <a:cubicBezTo>
                  <a:pt x="237" y="292"/>
                  <a:pt x="237" y="292"/>
                  <a:pt x="237" y="292"/>
                </a:cubicBezTo>
                <a:cubicBezTo>
                  <a:pt x="236" y="291"/>
                  <a:pt x="236" y="291"/>
                  <a:pt x="236" y="291"/>
                </a:cubicBezTo>
                <a:cubicBezTo>
                  <a:pt x="235" y="289"/>
                  <a:pt x="235" y="289"/>
                  <a:pt x="235" y="289"/>
                </a:cubicBezTo>
                <a:cubicBezTo>
                  <a:pt x="231" y="284"/>
                  <a:pt x="231" y="284"/>
                  <a:pt x="231" y="284"/>
                </a:cubicBezTo>
                <a:cubicBezTo>
                  <a:pt x="227" y="277"/>
                  <a:pt x="227" y="277"/>
                  <a:pt x="227" y="277"/>
                </a:cubicBezTo>
                <a:cubicBezTo>
                  <a:pt x="229" y="273"/>
                  <a:pt x="229" y="273"/>
                  <a:pt x="229" y="273"/>
                </a:cubicBezTo>
                <a:cubicBezTo>
                  <a:pt x="229" y="266"/>
                  <a:pt x="229" y="266"/>
                  <a:pt x="229" y="266"/>
                </a:cubicBezTo>
                <a:cubicBezTo>
                  <a:pt x="228" y="265"/>
                  <a:pt x="228" y="265"/>
                  <a:pt x="228" y="265"/>
                </a:cubicBezTo>
                <a:cubicBezTo>
                  <a:pt x="228" y="264"/>
                  <a:pt x="228" y="264"/>
                  <a:pt x="228" y="264"/>
                </a:cubicBezTo>
                <a:cubicBezTo>
                  <a:pt x="220" y="258"/>
                  <a:pt x="220" y="258"/>
                  <a:pt x="220" y="258"/>
                </a:cubicBezTo>
                <a:cubicBezTo>
                  <a:pt x="209" y="252"/>
                  <a:pt x="209" y="252"/>
                  <a:pt x="209" y="252"/>
                </a:cubicBezTo>
                <a:cubicBezTo>
                  <a:pt x="188" y="252"/>
                  <a:pt x="188" y="252"/>
                  <a:pt x="188" y="252"/>
                </a:cubicBezTo>
                <a:cubicBezTo>
                  <a:pt x="164" y="249"/>
                  <a:pt x="164" y="249"/>
                  <a:pt x="164" y="249"/>
                </a:cubicBezTo>
                <a:cubicBezTo>
                  <a:pt x="142" y="243"/>
                  <a:pt x="142" y="243"/>
                  <a:pt x="142" y="243"/>
                </a:cubicBezTo>
                <a:cubicBezTo>
                  <a:pt x="138" y="244"/>
                  <a:pt x="138" y="244"/>
                  <a:pt x="138" y="244"/>
                </a:cubicBezTo>
                <a:cubicBezTo>
                  <a:pt x="134" y="247"/>
                  <a:pt x="134" y="247"/>
                  <a:pt x="134" y="247"/>
                </a:cubicBezTo>
                <a:cubicBezTo>
                  <a:pt x="132" y="248"/>
                  <a:pt x="132" y="248"/>
                  <a:pt x="132" y="248"/>
                </a:cubicBezTo>
                <a:cubicBezTo>
                  <a:pt x="132" y="249"/>
                  <a:pt x="132" y="249"/>
                  <a:pt x="132" y="249"/>
                </a:cubicBezTo>
                <a:cubicBezTo>
                  <a:pt x="131" y="250"/>
                  <a:pt x="131" y="250"/>
                  <a:pt x="131" y="250"/>
                </a:cubicBezTo>
                <a:cubicBezTo>
                  <a:pt x="131" y="251"/>
                  <a:pt x="131" y="251"/>
                  <a:pt x="131" y="251"/>
                </a:cubicBezTo>
                <a:cubicBezTo>
                  <a:pt x="131" y="252"/>
                  <a:pt x="131" y="252"/>
                  <a:pt x="131" y="252"/>
                </a:cubicBezTo>
                <a:cubicBezTo>
                  <a:pt x="131" y="261"/>
                  <a:pt x="131" y="261"/>
                  <a:pt x="131" y="261"/>
                </a:cubicBezTo>
                <a:cubicBezTo>
                  <a:pt x="129" y="270"/>
                  <a:pt x="129" y="270"/>
                  <a:pt x="129" y="270"/>
                </a:cubicBezTo>
                <a:cubicBezTo>
                  <a:pt x="127" y="274"/>
                  <a:pt x="127" y="274"/>
                  <a:pt x="127" y="274"/>
                </a:cubicBezTo>
                <a:cubicBezTo>
                  <a:pt x="125" y="275"/>
                  <a:pt x="125" y="275"/>
                  <a:pt x="125" y="275"/>
                </a:cubicBezTo>
                <a:cubicBezTo>
                  <a:pt x="124" y="275"/>
                  <a:pt x="124" y="275"/>
                  <a:pt x="124" y="275"/>
                </a:cubicBezTo>
                <a:cubicBezTo>
                  <a:pt x="116" y="273"/>
                  <a:pt x="116" y="273"/>
                  <a:pt x="116" y="273"/>
                </a:cubicBezTo>
                <a:cubicBezTo>
                  <a:pt x="115" y="273"/>
                  <a:pt x="115" y="273"/>
                  <a:pt x="115" y="273"/>
                </a:cubicBezTo>
                <a:cubicBezTo>
                  <a:pt x="114" y="273"/>
                  <a:pt x="114" y="273"/>
                  <a:pt x="114" y="273"/>
                </a:cubicBezTo>
                <a:cubicBezTo>
                  <a:pt x="114" y="271"/>
                  <a:pt x="114" y="271"/>
                  <a:pt x="114" y="271"/>
                </a:cubicBezTo>
                <a:cubicBezTo>
                  <a:pt x="113" y="267"/>
                  <a:pt x="113" y="267"/>
                  <a:pt x="113" y="267"/>
                </a:cubicBezTo>
                <a:cubicBezTo>
                  <a:pt x="114" y="266"/>
                  <a:pt x="114" y="266"/>
                  <a:pt x="114" y="266"/>
                </a:cubicBezTo>
                <a:cubicBezTo>
                  <a:pt x="115" y="267"/>
                  <a:pt x="115" y="267"/>
                  <a:pt x="115" y="267"/>
                </a:cubicBezTo>
                <a:cubicBezTo>
                  <a:pt x="115" y="267"/>
                  <a:pt x="115" y="267"/>
                  <a:pt x="115" y="267"/>
                </a:cubicBezTo>
                <a:cubicBezTo>
                  <a:pt x="116" y="269"/>
                  <a:pt x="116" y="269"/>
                  <a:pt x="116" y="269"/>
                </a:cubicBezTo>
                <a:cubicBezTo>
                  <a:pt x="117" y="271"/>
                  <a:pt x="117" y="271"/>
                  <a:pt x="117" y="271"/>
                </a:cubicBezTo>
                <a:cubicBezTo>
                  <a:pt x="118" y="271"/>
                  <a:pt x="118" y="271"/>
                  <a:pt x="118" y="271"/>
                </a:cubicBezTo>
                <a:cubicBezTo>
                  <a:pt x="119" y="272"/>
                  <a:pt x="119" y="272"/>
                  <a:pt x="119" y="272"/>
                </a:cubicBezTo>
                <a:cubicBezTo>
                  <a:pt x="122" y="271"/>
                  <a:pt x="122" y="271"/>
                  <a:pt x="122" y="271"/>
                </a:cubicBezTo>
                <a:cubicBezTo>
                  <a:pt x="124" y="268"/>
                  <a:pt x="124" y="268"/>
                  <a:pt x="124" y="268"/>
                </a:cubicBezTo>
                <a:cubicBezTo>
                  <a:pt x="125" y="268"/>
                  <a:pt x="125" y="268"/>
                  <a:pt x="125" y="268"/>
                </a:cubicBezTo>
                <a:cubicBezTo>
                  <a:pt x="126" y="267"/>
                  <a:pt x="126" y="267"/>
                  <a:pt x="126" y="267"/>
                </a:cubicBezTo>
                <a:cubicBezTo>
                  <a:pt x="126" y="264"/>
                  <a:pt x="126" y="264"/>
                  <a:pt x="126" y="264"/>
                </a:cubicBezTo>
                <a:cubicBezTo>
                  <a:pt x="126" y="263"/>
                  <a:pt x="126" y="263"/>
                  <a:pt x="126" y="263"/>
                </a:cubicBezTo>
                <a:cubicBezTo>
                  <a:pt x="125" y="263"/>
                  <a:pt x="125" y="263"/>
                  <a:pt x="125" y="263"/>
                </a:cubicBezTo>
                <a:cubicBezTo>
                  <a:pt x="112" y="250"/>
                  <a:pt x="112" y="250"/>
                  <a:pt x="112" y="250"/>
                </a:cubicBezTo>
                <a:cubicBezTo>
                  <a:pt x="110" y="250"/>
                  <a:pt x="110" y="250"/>
                  <a:pt x="110" y="250"/>
                </a:cubicBezTo>
                <a:cubicBezTo>
                  <a:pt x="102" y="258"/>
                  <a:pt x="102" y="258"/>
                  <a:pt x="102" y="258"/>
                </a:cubicBezTo>
                <a:cubicBezTo>
                  <a:pt x="99" y="260"/>
                  <a:pt x="99" y="260"/>
                  <a:pt x="99" y="260"/>
                </a:cubicBezTo>
                <a:cubicBezTo>
                  <a:pt x="95" y="266"/>
                  <a:pt x="95" y="266"/>
                  <a:pt x="95" y="266"/>
                </a:cubicBezTo>
                <a:cubicBezTo>
                  <a:pt x="94" y="267"/>
                  <a:pt x="94" y="267"/>
                  <a:pt x="94" y="267"/>
                </a:cubicBezTo>
                <a:cubicBezTo>
                  <a:pt x="90" y="296"/>
                  <a:pt x="90" y="296"/>
                  <a:pt x="90" y="296"/>
                </a:cubicBezTo>
                <a:cubicBezTo>
                  <a:pt x="90" y="296"/>
                  <a:pt x="90" y="296"/>
                  <a:pt x="90" y="296"/>
                </a:cubicBezTo>
                <a:cubicBezTo>
                  <a:pt x="90" y="300"/>
                  <a:pt x="90" y="300"/>
                  <a:pt x="90" y="300"/>
                </a:cubicBezTo>
                <a:cubicBezTo>
                  <a:pt x="90" y="300"/>
                  <a:pt x="90" y="300"/>
                  <a:pt x="90" y="300"/>
                </a:cubicBezTo>
                <a:cubicBezTo>
                  <a:pt x="91" y="302"/>
                  <a:pt x="91" y="302"/>
                  <a:pt x="91" y="302"/>
                </a:cubicBezTo>
                <a:cubicBezTo>
                  <a:pt x="94" y="303"/>
                  <a:pt x="94" y="303"/>
                  <a:pt x="94" y="303"/>
                </a:cubicBezTo>
                <a:cubicBezTo>
                  <a:pt x="96" y="303"/>
                  <a:pt x="96" y="303"/>
                  <a:pt x="96" y="303"/>
                </a:cubicBezTo>
                <a:cubicBezTo>
                  <a:pt x="98" y="303"/>
                  <a:pt x="98" y="303"/>
                  <a:pt x="98" y="303"/>
                </a:cubicBezTo>
                <a:cubicBezTo>
                  <a:pt x="99" y="302"/>
                  <a:pt x="99" y="302"/>
                  <a:pt x="99" y="302"/>
                </a:cubicBezTo>
                <a:cubicBezTo>
                  <a:pt x="99" y="302"/>
                  <a:pt x="99" y="302"/>
                  <a:pt x="99" y="302"/>
                </a:cubicBezTo>
                <a:cubicBezTo>
                  <a:pt x="98" y="300"/>
                  <a:pt x="98" y="300"/>
                  <a:pt x="98" y="300"/>
                </a:cubicBezTo>
                <a:cubicBezTo>
                  <a:pt x="98" y="299"/>
                  <a:pt x="98" y="299"/>
                  <a:pt x="98" y="299"/>
                </a:cubicBezTo>
                <a:cubicBezTo>
                  <a:pt x="97" y="298"/>
                  <a:pt x="97" y="298"/>
                  <a:pt x="97" y="298"/>
                </a:cubicBezTo>
                <a:cubicBezTo>
                  <a:pt x="96" y="287"/>
                  <a:pt x="96" y="287"/>
                  <a:pt x="96" y="287"/>
                </a:cubicBezTo>
                <a:cubicBezTo>
                  <a:pt x="97" y="286"/>
                  <a:pt x="97" y="286"/>
                  <a:pt x="97" y="286"/>
                </a:cubicBezTo>
                <a:cubicBezTo>
                  <a:pt x="108" y="271"/>
                  <a:pt x="108" y="271"/>
                  <a:pt x="108" y="271"/>
                </a:cubicBezTo>
                <a:cubicBezTo>
                  <a:pt x="109" y="271"/>
                  <a:pt x="109" y="271"/>
                  <a:pt x="109" y="271"/>
                </a:cubicBezTo>
                <a:cubicBezTo>
                  <a:pt x="110" y="271"/>
                  <a:pt x="110" y="271"/>
                  <a:pt x="110" y="271"/>
                </a:cubicBezTo>
                <a:cubicBezTo>
                  <a:pt x="110" y="272"/>
                  <a:pt x="110" y="272"/>
                  <a:pt x="110" y="272"/>
                </a:cubicBezTo>
                <a:cubicBezTo>
                  <a:pt x="119" y="279"/>
                  <a:pt x="119" y="279"/>
                  <a:pt x="119" y="279"/>
                </a:cubicBezTo>
                <a:cubicBezTo>
                  <a:pt x="119" y="280"/>
                  <a:pt x="119" y="280"/>
                  <a:pt x="119" y="280"/>
                </a:cubicBezTo>
                <a:cubicBezTo>
                  <a:pt x="121" y="323"/>
                  <a:pt x="121" y="323"/>
                  <a:pt x="121" y="323"/>
                </a:cubicBezTo>
                <a:cubicBezTo>
                  <a:pt x="121" y="339"/>
                  <a:pt x="121" y="339"/>
                  <a:pt x="121" y="339"/>
                </a:cubicBezTo>
                <a:cubicBezTo>
                  <a:pt x="119" y="340"/>
                  <a:pt x="119" y="340"/>
                  <a:pt x="119" y="340"/>
                </a:cubicBezTo>
                <a:cubicBezTo>
                  <a:pt x="119" y="340"/>
                  <a:pt x="119" y="340"/>
                  <a:pt x="119" y="340"/>
                </a:cubicBezTo>
                <a:cubicBezTo>
                  <a:pt x="118" y="341"/>
                  <a:pt x="118" y="341"/>
                  <a:pt x="118" y="341"/>
                </a:cubicBezTo>
                <a:cubicBezTo>
                  <a:pt x="113" y="360"/>
                  <a:pt x="113" y="360"/>
                  <a:pt x="113" y="360"/>
                </a:cubicBezTo>
                <a:cubicBezTo>
                  <a:pt x="113" y="361"/>
                  <a:pt x="113" y="361"/>
                  <a:pt x="113" y="361"/>
                </a:cubicBezTo>
                <a:cubicBezTo>
                  <a:pt x="114" y="361"/>
                  <a:pt x="114" y="361"/>
                  <a:pt x="114" y="361"/>
                </a:cubicBezTo>
                <a:cubicBezTo>
                  <a:pt x="118" y="363"/>
                  <a:pt x="118" y="363"/>
                  <a:pt x="118" y="363"/>
                </a:cubicBezTo>
                <a:cubicBezTo>
                  <a:pt x="119" y="363"/>
                  <a:pt x="119" y="363"/>
                  <a:pt x="119" y="363"/>
                </a:cubicBezTo>
                <a:cubicBezTo>
                  <a:pt x="128" y="362"/>
                  <a:pt x="128" y="362"/>
                  <a:pt x="128" y="362"/>
                </a:cubicBezTo>
                <a:cubicBezTo>
                  <a:pt x="131" y="361"/>
                  <a:pt x="131" y="361"/>
                  <a:pt x="131" y="361"/>
                </a:cubicBezTo>
                <a:cubicBezTo>
                  <a:pt x="135" y="359"/>
                  <a:pt x="135" y="359"/>
                  <a:pt x="135" y="359"/>
                </a:cubicBezTo>
                <a:cubicBezTo>
                  <a:pt x="136" y="358"/>
                  <a:pt x="136" y="358"/>
                  <a:pt x="136" y="358"/>
                </a:cubicBezTo>
                <a:cubicBezTo>
                  <a:pt x="137" y="356"/>
                  <a:pt x="137" y="356"/>
                  <a:pt x="137" y="356"/>
                </a:cubicBezTo>
                <a:cubicBezTo>
                  <a:pt x="139" y="356"/>
                  <a:pt x="139" y="356"/>
                  <a:pt x="139" y="356"/>
                </a:cubicBezTo>
                <a:cubicBezTo>
                  <a:pt x="140" y="355"/>
                  <a:pt x="140" y="355"/>
                  <a:pt x="140" y="355"/>
                </a:cubicBezTo>
                <a:cubicBezTo>
                  <a:pt x="146" y="355"/>
                  <a:pt x="146" y="355"/>
                  <a:pt x="146" y="355"/>
                </a:cubicBezTo>
                <a:cubicBezTo>
                  <a:pt x="151" y="356"/>
                  <a:pt x="151" y="356"/>
                  <a:pt x="151" y="356"/>
                </a:cubicBezTo>
                <a:cubicBezTo>
                  <a:pt x="169" y="357"/>
                  <a:pt x="169" y="357"/>
                  <a:pt x="169" y="357"/>
                </a:cubicBezTo>
                <a:cubicBezTo>
                  <a:pt x="169" y="358"/>
                  <a:pt x="169" y="358"/>
                  <a:pt x="169" y="358"/>
                </a:cubicBezTo>
                <a:cubicBezTo>
                  <a:pt x="169" y="366"/>
                  <a:pt x="169" y="366"/>
                  <a:pt x="169" y="366"/>
                </a:cubicBezTo>
                <a:cubicBezTo>
                  <a:pt x="166" y="381"/>
                  <a:pt x="166" y="381"/>
                  <a:pt x="166" y="381"/>
                </a:cubicBezTo>
                <a:cubicBezTo>
                  <a:pt x="156" y="386"/>
                  <a:pt x="156" y="386"/>
                  <a:pt x="156" y="386"/>
                </a:cubicBezTo>
                <a:cubicBezTo>
                  <a:pt x="152" y="385"/>
                  <a:pt x="152" y="385"/>
                  <a:pt x="152" y="385"/>
                </a:cubicBezTo>
                <a:cubicBezTo>
                  <a:pt x="151" y="385"/>
                  <a:pt x="151" y="385"/>
                  <a:pt x="151" y="385"/>
                </a:cubicBezTo>
                <a:cubicBezTo>
                  <a:pt x="136" y="385"/>
                  <a:pt x="136" y="385"/>
                  <a:pt x="136" y="385"/>
                </a:cubicBezTo>
                <a:cubicBezTo>
                  <a:pt x="133" y="385"/>
                  <a:pt x="133" y="385"/>
                  <a:pt x="133" y="385"/>
                </a:cubicBezTo>
                <a:cubicBezTo>
                  <a:pt x="117" y="389"/>
                  <a:pt x="117" y="389"/>
                  <a:pt x="117" y="389"/>
                </a:cubicBezTo>
                <a:cubicBezTo>
                  <a:pt x="116" y="390"/>
                  <a:pt x="116" y="390"/>
                  <a:pt x="116" y="390"/>
                </a:cubicBezTo>
                <a:cubicBezTo>
                  <a:pt x="113" y="403"/>
                  <a:pt x="113" y="403"/>
                  <a:pt x="113" y="403"/>
                </a:cubicBezTo>
                <a:cubicBezTo>
                  <a:pt x="113" y="405"/>
                  <a:pt x="113" y="405"/>
                  <a:pt x="113" y="405"/>
                </a:cubicBezTo>
                <a:cubicBezTo>
                  <a:pt x="112" y="406"/>
                  <a:pt x="112" y="406"/>
                  <a:pt x="112" y="406"/>
                </a:cubicBezTo>
                <a:cubicBezTo>
                  <a:pt x="113" y="416"/>
                  <a:pt x="113" y="416"/>
                  <a:pt x="113" y="416"/>
                </a:cubicBezTo>
                <a:cubicBezTo>
                  <a:pt x="107" y="429"/>
                  <a:pt x="107" y="429"/>
                  <a:pt x="107" y="429"/>
                </a:cubicBezTo>
                <a:cubicBezTo>
                  <a:pt x="93" y="431"/>
                  <a:pt x="93" y="431"/>
                  <a:pt x="93" y="431"/>
                </a:cubicBezTo>
                <a:cubicBezTo>
                  <a:pt x="75" y="437"/>
                  <a:pt x="75" y="437"/>
                  <a:pt x="75" y="437"/>
                </a:cubicBezTo>
                <a:cubicBezTo>
                  <a:pt x="69" y="472"/>
                  <a:pt x="69" y="472"/>
                  <a:pt x="69" y="472"/>
                </a:cubicBezTo>
                <a:cubicBezTo>
                  <a:pt x="69" y="473"/>
                  <a:pt x="69" y="473"/>
                  <a:pt x="69" y="473"/>
                </a:cubicBezTo>
                <a:cubicBezTo>
                  <a:pt x="69" y="474"/>
                  <a:pt x="69" y="474"/>
                  <a:pt x="69" y="474"/>
                </a:cubicBezTo>
                <a:cubicBezTo>
                  <a:pt x="93" y="483"/>
                  <a:pt x="93" y="483"/>
                  <a:pt x="93" y="483"/>
                </a:cubicBezTo>
                <a:cubicBezTo>
                  <a:pt x="100" y="485"/>
                  <a:pt x="100" y="485"/>
                  <a:pt x="100" y="485"/>
                </a:cubicBezTo>
                <a:cubicBezTo>
                  <a:pt x="101" y="485"/>
                  <a:pt x="101" y="485"/>
                  <a:pt x="101" y="485"/>
                </a:cubicBezTo>
                <a:cubicBezTo>
                  <a:pt x="103" y="485"/>
                  <a:pt x="103" y="485"/>
                  <a:pt x="103" y="485"/>
                </a:cubicBezTo>
                <a:cubicBezTo>
                  <a:pt x="106" y="483"/>
                  <a:pt x="106" y="483"/>
                  <a:pt x="106" y="483"/>
                </a:cubicBezTo>
                <a:cubicBezTo>
                  <a:pt x="106" y="483"/>
                  <a:pt x="106" y="483"/>
                  <a:pt x="106" y="483"/>
                </a:cubicBezTo>
                <a:cubicBezTo>
                  <a:pt x="107" y="482"/>
                  <a:pt x="107" y="482"/>
                  <a:pt x="107" y="482"/>
                </a:cubicBezTo>
                <a:cubicBezTo>
                  <a:pt x="108" y="478"/>
                  <a:pt x="108" y="478"/>
                  <a:pt x="108" y="478"/>
                </a:cubicBezTo>
                <a:cubicBezTo>
                  <a:pt x="109" y="476"/>
                  <a:pt x="109" y="476"/>
                  <a:pt x="109" y="476"/>
                </a:cubicBezTo>
                <a:cubicBezTo>
                  <a:pt x="109" y="475"/>
                  <a:pt x="109" y="475"/>
                  <a:pt x="109" y="475"/>
                </a:cubicBezTo>
                <a:cubicBezTo>
                  <a:pt x="110" y="474"/>
                  <a:pt x="110" y="474"/>
                  <a:pt x="110" y="474"/>
                </a:cubicBezTo>
                <a:cubicBezTo>
                  <a:pt x="115" y="473"/>
                  <a:pt x="115" y="473"/>
                  <a:pt x="115" y="473"/>
                </a:cubicBezTo>
                <a:cubicBezTo>
                  <a:pt x="117" y="473"/>
                  <a:pt x="117" y="473"/>
                  <a:pt x="117" y="473"/>
                </a:cubicBezTo>
                <a:cubicBezTo>
                  <a:pt x="126" y="475"/>
                  <a:pt x="126" y="475"/>
                  <a:pt x="126" y="475"/>
                </a:cubicBezTo>
                <a:cubicBezTo>
                  <a:pt x="126" y="476"/>
                  <a:pt x="126" y="476"/>
                  <a:pt x="126" y="476"/>
                </a:cubicBezTo>
                <a:cubicBezTo>
                  <a:pt x="128" y="481"/>
                  <a:pt x="128" y="481"/>
                  <a:pt x="128" y="481"/>
                </a:cubicBezTo>
                <a:cubicBezTo>
                  <a:pt x="127" y="484"/>
                  <a:pt x="127" y="484"/>
                  <a:pt x="127" y="484"/>
                </a:cubicBezTo>
                <a:cubicBezTo>
                  <a:pt x="123" y="486"/>
                  <a:pt x="123" y="486"/>
                  <a:pt x="123" y="486"/>
                </a:cubicBezTo>
                <a:cubicBezTo>
                  <a:pt x="116" y="488"/>
                  <a:pt x="116" y="488"/>
                  <a:pt x="116" y="488"/>
                </a:cubicBezTo>
                <a:cubicBezTo>
                  <a:pt x="113" y="488"/>
                  <a:pt x="113" y="488"/>
                  <a:pt x="113" y="488"/>
                </a:cubicBezTo>
                <a:cubicBezTo>
                  <a:pt x="112" y="489"/>
                  <a:pt x="112" y="489"/>
                  <a:pt x="112" y="489"/>
                </a:cubicBezTo>
                <a:cubicBezTo>
                  <a:pt x="110" y="490"/>
                  <a:pt x="110" y="490"/>
                  <a:pt x="110" y="490"/>
                </a:cubicBezTo>
                <a:cubicBezTo>
                  <a:pt x="109" y="498"/>
                  <a:pt x="109" y="498"/>
                  <a:pt x="109" y="498"/>
                </a:cubicBezTo>
                <a:cubicBezTo>
                  <a:pt x="109" y="499"/>
                  <a:pt x="109" y="499"/>
                  <a:pt x="109" y="499"/>
                </a:cubicBezTo>
                <a:cubicBezTo>
                  <a:pt x="111" y="501"/>
                  <a:pt x="111" y="501"/>
                  <a:pt x="111" y="501"/>
                </a:cubicBezTo>
                <a:cubicBezTo>
                  <a:pt x="112" y="501"/>
                  <a:pt x="112" y="501"/>
                  <a:pt x="112" y="501"/>
                </a:cubicBezTo>
                <a:cubicBezTo>
                  <a:pt x="128" y="506"/>
                  <a:pt x="128" y="506"/>
                  <a:pt x="128" y="506"/>
                </a:cubicBezTo>
                <a:cubicBezTo>
                  <a:pt x="129" y="506"/>
                  <a:pt x="129" y="506"/>
                  <a:pt x="129" y="506"/>
                </a:cubicBezTo>
                <a:cubicBezTo>
                  <a:pt x="133" y="505"/>
                  <a:pt x="133" y="505"/>
                  <a:pt x="133" y="505"/>
                </a:cubicBezTo>
                <a:cubicBezTo>
                  <a:pt x="135" y="504"/>
                  <a:pt x="135" y="504"/>
                  <a:pt x="135" y="504"/>
                </a:cubicBezTo>
                <a:cubicBezTo>
                  <a:pt x="136" y="502"/>
                  <a:pt x="136" y="502"/>
                  <a:pt x="136" y="502"/>
                </a:cubicBezTo>
                <a:cubicBezTo>
                  <a:pt x="139" y="497"/>
                  <a:pt x="139" y="497"/>
                  <a:pt x="139" y="497"/>
                </a:cubicBezTo>
                <a:cubicBezTo>
                  <a:pt x="140" y="494"/>
                  <a:pt x="140" y="494"/>
                  <a:pt x="140" y="494"/>
                </a:cubicBezTo>
                <a:cubicBezTo>
                  <a:pt x="141" y="493"/>
                  <a:pt x="141" y="493"/>
                  <a:pt x="141" y="493"/>
                </a:cubicBezTo>
                <a:cubicBezTo>
                  <a:pt x="141" y="491"/>
                  <a:pt x="141" y="491"/>
                  <a:pt x="141" y="491"/>
                </a:cubicBezTo>
                <a:cubicBezTo>
                  <a:pt x="148" y="487"/>
                  <a:pt x="148" y="487"/>
                  <a:pt x="148" y="487"/>
                </a:cubicBezTo>
                <a:cubicBezTo>
                  <a:pt x="148" y="486"/>
                  <a:pt x="148" y="486"/>
                  <a:pt x="148" y="486"/>
                </a:cubicBezTo>
                <a:cubicBezTo>
                  <a:pt x="149" y="487"/>
                  <a:pt x="149" y="487"/>
                  <a:pt x="149" y="487"/>
                </a:cubicBezTo>
                <a:cubicBezTo>
                  <a:pt x="156" y="492"/>
                  <a:pt x="156" y="492"/>
                  <a:pt x="156" y="492"/>
                </a:cubicBezTo>
                <a:cubicBezTo>
                  <a:pt x="158" y="494"/>
                  <a:pt x="158" y="494"/>
                  <a:pt x="158" y="494"/>
                </a:cubicBezTo>
                <a:cubicBezTo>
                  <a:pt x="159" y="497"/>
                  <a:pt x="159" y="497"/>
                  <a:pt x="159" y="497"/>
                </a:cubicBezTo>
                <a:cubicBezTo>
                  <a:pt x="159" y="500"/>
                  <a:pt x="159" y="500"/>
                  <a:pt x="159" y="500"/>
                </a:cubicBezTo>
                <a:cubicBezTo>
                  <a:pt x="153" y="513"/>
                  <a:pt x="153" y="513"/>
                  <a:pt x="153" y="513"/>
                </a:cubicBezTo>
                <a:cubicBezTo>
                  <a:pt x="150" y="518"/>
                  <a:pt x="150" y="518"/>
                  <a:pt x="150" y="518"/>
                </a:cubicBezTo>
                <a:cubicBezTo>
                  <a:pt x="149" y="520"/>
                  <a:pt x="149" y="520"/>
                  <a:pt x="149" y="520"/>
                </a:cubicBezTo>
                <a:cubicBezTo>
                  <a:pt x="150" y="521"/>
                  <a:pt x="150" y="521"/>
                  <a:pt x="150" y="521"/>
                </a:cubicBezTo>
                <a:cubicBezTo>
                  <a:pt x="150" y="523"/>
                  <a:pt x="150" y="523"/>
                  <a:pt x="150" y="523"/>
                </a:cubicBezTo>
                <a:cubicBezTo>
                  <a:pt x="151" y="523"/>
                  <a:pt x="151" y="523"/>
                  <a:pt x="151" y="523"/>
                </a:cubicBezTo>
                <a:cubicBezTo>
                  <a:pt x="152" y="524"/>
                  <a:pt x="152" y="524"/>
                  <a:pt x="152" y="524"/>
                </a:cubicBezTo>
                <a:cubicBezTo>
                  <a:pt x="164" y="526"/>
                  <a:pt x="164" y="526"/>
                  <a:pt x="164" y="526"/>
                </a:cubicBezTo>
                <a:cubicBezTo>
                  <a:pt x="169" y="527"/>
                  <a:pt x="169" y="527"/>
                  <a:pt x="169" y="527"/>
                </a:cubicBezTo>
                <a:cubicBezTo>
                  <a:pt x="172" y="527"/>
                  <a:pt x="172" y="527"/>
                  <a:pt x="172" y="527"/>
                </a:cubicBezTo>
                <a:cubicBezTo>
                  <a:pt x="181" y="527"/>
                  <a:pt x="181" y="527"/>
                  <a:pt x="181" y="527"/>
                </a:cubicBezTo>
                <a:cubicBezTo>
                  <a:pt x="217" y="526"/>
                  <a:pt x="217" y="526"/>
                  <a:pt x="217" y="526"/>
                </a:cubicBezTo>
                <a:cubicBezTo>
                  <a:pt x="230" y="525"/>
                  <a:pt x="230" y="525"/>
                  <a:pt x="230" y="525"/>
                </a:cubicBezTo>
                <a:cubicBezTo>
                  <a:pt x="231" y="524"/>
                  <a:pt x="231" y="524"/>
                  <a:pt x="231" y="524"/>
                </a:cubicBezTo>
                <a:cubicBezTo>
                  <a:pt x="235" y="523"/>
                  <a:pt x="235" y="523"/>
                  <a:pt x="235" y="523"/>
                </a:cubicBezTo>
                <a:cubicBezTo>
                  <a:pt x="240" y="520"/>
                  <a:pt x="240" y="520"/>
                  <a:pt x="240" y="520"/>
                </a:cubicBezTo>
                <a:cubicBezTo>
                  <a:pt x="241" y="520"/>
                  <a:pt x="241" y="520"/>
                  <a:pt x="241" y="520"/>
                </a:cubicBezTo>
                <a:cubicBezTo>
                  <a:pt x="253" y="521"/>
                  <a:pt x="253" y="521"/>
                  <a:pt x="253" y="521"/>
                </a:cubicBezTo>
                <a:cubicBezTo>
                  <a:pt x="254" y="521"/>
                  <a:pt x="254" y="521"/>
                  <a:pt x="254" y="521"/>
                </a:cubicBezTo>
                <a:cubicBezTo>
                  <a:pt x="255" y="522"/>
                  <a:pt x="255" y="522"/>
                  <a:pt x="255" y="522"/>
                </a:cubicBezTo>
                <a:cubicBezTo>
                  <a:pt x="255" y="554"/>
                  <a:pt x="255" y="554"/>
                  <a:pt x="255" y="554"/>
                </a:cubicBezTo>
                <a:cubicBezTo>
                  <a:pt x="254" y="555"/>
                  <a:pt x="254" y="555"/>
                  <a:pt x="254" y="555"/>
                </a:cubicBezTo>
                <a:cubicBezTo>
                  <a:pt x="253" y="554"/>
                  <a:pt x="253" y="554"/>
                  <a:pt x="253" y="554"/>
                </a:cubicBezTo>
                <a:cubicBezTo>
                  <a:pt x="248" y="550"/>
                  <a:pt x="248" y="550"/>
                  <a:pt x="248" y="550"/>
                </a:cubicBezTo>
                <a:cubicBezTo>
                  <a:pt x="247" y="549"/>
                  <a:pt x="247" y="549"/>
                  <a:pt x="247" y="549"/>
                </a:cubicBezTo>
                <a:cubicBezTo>
                  <a:pt x="247" y="548"/>
                  <a:pt x="247" y="548"/>
                  <a:pt x="247" y="548"/>
                </a:cubicBezTo>
                <a:cubicBezTo>
                  <a:pt x="242" y="547"/>
                  <a:pt x="242" y="547"/>
                  <a:pt x="242" y="547"/>
                </a:cubicBezTo>
                <a:cubicBezTo>
                  <a:pt x="236" y="545"/>
                  <a:pt x="236" y="545"/>
                  <a:pt x="236" y="545"/>
                </a:cubicBezTo>
                <a:cubicBezTo>
                  <a:pt x="203" y="547"/>
                  <a:pt x="203" y="547"/>
                  <a:pt x="203" y="547"/>
                </a:cubicBezTo>
                <a:cubicBezTo>
                  <a:pt x="203" y="548"/>
                  <a:pt x="203" y="548"/>
                  <a:pt x="203" y="548"/>
                </a:cubicBezTo>
                <a:cubicBezTo>
                  <a:pt x="202" y="548"/>
                  <a:pt x="202" y="548"/>
                  <a:pt x="202" y="548"/>
                </a:cubicBezTo>
                <a:cubicBezTo>
                  <a:pt x="200" y="550"/>
                  <a:pt x="200" y="550"/>
                  <a:pt x="200" y="550"/>
                </a:cubicBezTo>
                <a:cubicBezTo>
                  <a:pt x="168" y="599"/>
                  <a:pt x="168" y="599"/>
                  <a:pt x="168" y="599"/>
                </a:cubicBezTo>
                <a:cubicBezTo>
                  <a:pt x="168" y="600"/>
                  <a:pt x="168" y="600"/>
                  <a:pt x="168" y="600"/>
                </a:cubicBezTo>
                <a:cubicBezTo>
                  <a:pt x="168" y="600"/>
                  <a:pt x="168" y="600"/>
                  <a:pt x="168" y="600"/>
                </a:cubicBezTo>
                <a:cubicBezTo>
                  <a:pt x="168" y="601"/>
                  <a:pt x="168" y="601"/>
                  <a:pt x="168" y="601"/>
                </a:cubicBezTo>
                <a:cubicBezTo>
                  <a:pt x="168" y="602"/>
                  <a:pt x="168" y="602"/>
                  <a:pt x="168" y="602"/>
                </a:cubicBezTo>
                <a:cubicBezTo>
                  <a:pt x="180" y="603"/>
                  <a:pt x="180" y="603"/>
                  <a:pt x="180" y="603"/>
                </a:cubicBezTo>
                <a:cubicBezTo>
                  <a:pt x="163" y="641"/>
                  <a:pt x="163" y="641"/>
                  <a:pt x="163" y="641"/>
                </a:cubicBezTo>
                <a:cubicBezTo>
                  <a:pt x="151" y="647"/>
                  <a:pt x="151" y="647"/>
                  <a:pt x="151" y="647"/>
                </a:cubicBezTo>
                <a:cubicBezTo>
                  <a:pt x="151" y="647"/>
                  <a:pt x="151" y="647"/>
                  <a:pt x="151" y="647"/>
                </a:cubicBezTo>
                <a:cubicBezTo>
                  <a:pt x="148" y="647"/>
                  <a:pt x="148" y="647"/>
                  <a:pt x="148" y="647"/>
                </a:cubicBezTo>
                <a:cubicBezTo>
                  <a:pt x="145" y="649"/>
                  <a:pt x="145" y="649"/>
                  <a:pt x="145" y="649"/>
                </a:cubicBezTo>
                <a:cubicBezTo>
                  <a:pt x="141" y="653"/>
                  <a:pt x="141" y="653"/>
                  <a:pt x="141" y="653"/>
                </a:cubicBezTo>
                <a:cubicBezTo>
                  <a:pt x="141" y="654"/>
                  <a:pt x="141" y="654"/>
                  <a:pt x="141" y="654"/>
                </a:cubicBezTo>
                <a:cubicBezTo>
                  <a:pt x="141" y="655"/>
                  <a:pt x="141" y="655"/>
                  <a:pt x="141" y="655"/>
                </a:cubicBezTo>
                <a:cubicBezTo>
                  <a:pt x="141" y="656"/>
                  <a:pt x="141" y="656"/>
                  <a:pt x="141" y="656"/>
                </a:cubicBezTo>
                <a:cubicBezTo>
                  <a:pt x="135" y="662"/>
                  <a:pt x="135" y="662"/>
                  <a:pt x="135" y="662"/>
                </a:cubicBezTo>
                <a:cubicBezTo>
                  <a:pt x="112" y="681"/>
                  <a:pt x="112" y="681"/>
                  <a:pt x="112" y="681"/>
                </a:cubicBezTo>
                <a:cubicBezTo>
                  <a:pt x="95" y="687"/>
                  <a:pt x="95" y="687"/>
                  <a:pt x="95" y="687"/>
                </a:cubicBezTo>
                <a:cubicBezTo>
                  <a:pt x="94" y="687"/>
                  <a:pt x="94" y="687"/>
                  <a:pt x="94" y="687"/>
                </a:cubicBezTo>
                <a:cubicBezTo>
                  <a:pt x="91" y="690"/>
                  <a:pt x="91" y="690"/>
                  <a:pt x="91" y="690"/>
                </a:cubicBezTo>
                <a:cubicBezTo>
                  <a:pt x="91" y="691"/>
                  <a:pt x="91" y="691"/>
                  <a:pt x="91" y="691"/>
                </a:cubicBezTo>
                <a:cubicBezTo>
                  <a:pt x="91" y="692"/>
                  <a:pt x="91" y="692"/>
                  <a:pt x="91" y="692"/>
                </a:cubicBezTo>
                <a:cubicBezTo>
                  <a:pt x="95" y="693"/>
                  <a:pt x="95" y="693"/>
                  <a:pt x="95" y="693"/>
                </a:cubicBezTo>
                <a:cubicBezTo>
                  <a:pt x="99" y="693"/>
                  <a:pt x="99" y="693"/>
                  <a:pt x="99" y="693"/>
                </a:cubicBezTo>
                <a:cubicBezTo>
                  <a:pt x="113" y="691"/>
                  <a:pt x="113" y="691"/>
                  <a:pt x="113" y="691"/>
                </a:cubicBezTo>
                <a:cubicBezTo>
                  <a:pt x="126" y="688"/>
                  <a:pt x="126" y="688"/>
                  <a:pt x="126" y="688"/>
                </a:cubicBezTo>
                <a:cubicBezTo>
                  <a:pt x="127" y="688"/>
                  <a:pt x="127" y="688"/>
                  <a:pt x="127" y="688"/>
                </a:cubicBezTo>
                <a:cubicBezTo>
                  <a:pt x="127" y="687"/>
                  <a:pt x="127" y="687"/>
                  <a:pt x="127" y="687"/>
                </a:cubicBezTo>
                <a:cubicBezTo>
                  <a:pt x="127" y="685"/>
                  <a:pt x="127" y="685"/>
                  <a:pt x="127" y="685"/>
                </a:cubicBezTo>
                <a:cubicBezTo>
                  <a:pt x="127" y="685"/>
                  <a:pt x="127" y="685"/>
                  <a:pt x="127" y="685"/>
                </a:cubicBezTo>
                <a:cubicBezTo>
                  <a:pt x="127" y="683"/>
                  <a:pt x="127" y="683"/>
                  <a:pt x="127" y="683"/>
                </a:cubicBezTo>
                <a:cubicBezTo>
                  <a:pt x="129" y="682"/>
                  <a:pt x="129" y="682"/>
                  <a:pt x="129" y="682"/>
                </a:cubicBezTo>
                <a:cubicBezTo>
                  <a:pt x="134" y="680"/>
                  <a:pt x="134" y="680"/>
                  <a:pt x="134" y="680"/>
                </a:cubicBezTo>
                <a:cubicBezTo>
                  <a:pt x="149" y="676"/>
                  <a:pt x="149" y="676"/>
                  <a:pt x="149" y="676"/>
                </a:cubicBezTo>
                <a:cubicBezTo>
                  <a:pt x="154" y="677"/>
                  <a:pt x="154" y="677"/>
                  <a:pt x="154" y="677"/>
                </a:cubicBezTo>
                <a:cubicBezTo>
                  <a:pt x="155" y="678"/>
                  <a:pt x="155" y="678"/>
                  <a:pt x="155" y="678"/>
                </a:cubicBezTo>
                <a:cubicBezTo>
                  <a:pt x="172" y="684"/>
                  <a:pt x="172" y="684"/>
                  <a:pt x="172" y="684"/>
                </a:cubicBezTo>
                <a:cubicBezTo>
                  <a:pt x="198" y="683"/>
                  <a:pt x="198" y="683"/>
                  <a:pt x="198" y="683"/>
                </a:cubicBezTo>
                <a:cubicBezTo>
                  <a:pt x="211" y="683"/>
                  <a:pt x="211" y="683"/>
                  <a:pt x="211" y="683"/>
                </a:cubicBezTo>
                <a:cubicBezTo>
                  <a:pt x="213" y="682"/>
                  <a:pt x="213" y="682"/>
                  <a:pt x="213" y="682"/>
                </a:cubicBezTo>
                <a:cubicBezTo>
                  <a:pt x="215" y="680"/>
                  <a:pt x="215" y="680"/>
                  <a:pt x="215" y="680"/>
                </a:cubicBezTo>
                <a:cubicBezTo>
                  <a:pt x="223" y="672"/>
                  <a:pt x="223" y="672"/>
                  <a:pt x="223" y="672"/>
                </a:cubicBezTo>
                <a:cubicBezTo>
                  <a:pt x="231" y="659"/>
                  <a:pt x="231" y="659"/>
                  <a:pt x="231" y="659"/>
                </a:cubicBezTo>
                <a:cubicBezTo>
                  <a:pt x="232" y="658"/>
                  <a:pt x="232" y="658"/>
                  <a:pt x="232" y="658"/>
                </a:cubicBezTo>
                <a:cubicBezTo>
                  <a:pt x="233" y="657"/>
                  <a:pt x="233" y="657"/>
                  <a:pt x="233" y="657"/>
                </a:cubicBezTo>
                <a:cubicBezTo>
                  <a:pt x="233" y="656"/>
                  <a:pt x="233" y="656"/>
                  <a:pt x="233" y="656"/>
                </a:cubicBezTo>
                <a:cubicBezTo>
                  <a:pt x="247" y="661"/>
                  <a:pt x="247" y="661"/>
                  <a:pt x="247" y="661"/>
                </a:cubicBezTo>
                <a:cubicBezTo>
                  <a:pt x="260" y="667"/>
                  <a:pt x="260" y="667"/>
                  <a:pt x="260" y="667"/>
                </a:cubicBezTo>
                <a:cubicBezTo>
                  <a:pt x="264" y="673"/>
                  <a:pt x="264" y="673"/>
                  <a:pt x="264" y="673"/>
                </a:cubicBezTo>
                <a:cubicBezTo>
                  <a:pt x="264" y="674"/>
                  <a:pt x="264" y="674"/>
                  <a:pt x="264" y="674"/>
                </a:cubicBezTo>
                <a:cubicBezTo>
                  <a:pt x="238" y="681"/>
                  <a:pt x="238" y="681"/>
                  <a:pt x="238" y="681"/>
                </a:cubicBezTo>
                <a:cubicBezTo>
                  <a:pt x="211" y="687"/>
                  <a:pt x="211" y="687"/>
                  <a:pt x="211" y="687"/>
                </a:cubicBezTo>
                <a:cubicBezTo>
                  <a:pt x="201" y="691"/>
                  <a:pt x="201" y="691"/>
                  <a:pt x="201" y="691"/>
                </a:cubicBezTo>
                <a:cubicBezTo>
                  <a:pt x="191" y="695"/>
                  <a:pt x="191" y="695"/>
                  <a:pt x="191" y="695"/>
                </a:cubicBezTo>
                <a:cubicBezTo>
                  <a:pt x="190" y="695"/>
                  <a:pt x="190" y="695"/>
                  <a:pt x="190" y="695"/>
                </a:cubicBezTo>
                <a:cubicBezTo>
                  <a:pt x="188" y="695"/>
                  <a:pt x="188" y="695"/>
                  <a:pt x="188" y="695"/>
                </a:cubicBezTo>
                <a:cubicBezTo>
                  <a:pt x="187" y="694"/>
                  <a:pt x="187" y="694"/>
                  <a:pt x="187" y="694"/>
                </a:cubicBezTo>
                <a:cubicBezTo>
                  <a:pt x="169" y="691"/>
                  <a:pt x="169" y="691"/>
                  <a:pt x="169" y="691"/>
                </a:cubicBezTo>
                <a:cubicBezTo>
                  <a:pt x="140" y="691"/>
                  <a:pt x="140" y="691"/>
                  <a:pt x="140" y="691"/>
                </a:cubicBezTo>
                <a:cubicBezTo>
                  <a:pt x="138" y="691"/>
                  <a:pt x="138" y="691"/>
                  <a:pt x="138" y="691"/>
                </a:cubicBezTo>
                <a:cubicBezTo>
                  <a:pt x="136" y="692"/>
                  <a:pt x="136" y="692"/>
                  <a:pt x="136" y="692"/>
                </a:cubicBezTo>
                <a:cubicBezTo>
                  <a:pt x="135" y="692"/>
                  <a:pt x="135" y="692"/>
                  <a:pt x="135" y="692"/>
                </a:cubicBezTo>
                <a:cubicBezTo>
                  <a:pt x="131" y="696"/>
                  <a:pt x="131" y="696"/>
                  <a:pt x="131" y="696"/>
                </a:cubicBezTo>
                <a:cubicBezTo>
                  <a:pt x="131" y="696"/>
                  <a:pt x="131" y="696"/>
                  <a:pt x="131" y="696"/>
                </a:cubicBezTo>
                <a:cubicBezTo>
                  <a:pt x="129" y="704"/>
                  <a:pt x="129" y="704"/>
                  <a:pt x="129" y="704"/>
                </a:cubicBezTo>
                <a:cubicBezTo>
                  <a:pt x="130" y="709"/>
                  <a:pt x="130" y="709"/>
                  <a:pt x="130" y="709"/>
                </a:cubicBezTo>
                <a:cubicBezTo>
                  <a:pt x="128" y="713"/>
                  <a:pt x="128" y="713"/>
                  <a:pt x="128" y="713"/>
                </a:cubicBezTo>
                <a:cubicBezTo>
                  <a:pt x="117" y="720"/>
                  <a:pt x="117" y="720"/>
                  <a:pt x="117" y="720"/>
                </a:cubicBezTo>
                <a:cubicBezTo>
                  <a:pt x="115" y="721"/>
                  <a:pt x="115" y="721"/>
                  <a:pt x="115" y="721"/>
                </a:cubicBezTo>
                <a:cubicBezTo>
                  <a:pt x="104" y="725"/>
                  <a:pt x="104" y="725"/>
                  <a:pt x="104" y="725"/>
                </a:cubicBezTo>
                <a:cubicBezTo>
                  <a:pt x="102" y="735"/>
                  <a:pt x="102" y="735"/>
                  <a:pt x="102" y="735"/>
                </a:cubicBezTo>
                <a:cubicBezTo>
                  <a:pt x="100" y="755"/>
                  <a:pt x="100" y="755"/>
                  <a:pt x="100" y="755"/>
                </a:cubicBezTo>
                <a:cubicBezTo>
                  <a:pt x="103" y="763"/>
                  <a:pt x="103" y="763"/>
                  <a:pt x="103" y="763"/>
                </a:cubicBezTo>
                <a:cubicBezTo>
                  <a:pt x="111" y="765"/>
                  <a:pt x="111" y="765"/>
                  <a:pt x="111" y="765"/>
                </a:cubicBezTo>
                <a:cubicBezTo>
                  <a:pt x="113" y="765"/>
                  <a:pt x="113" y="765"/>
                  <a:pt x="113" y="765"/>
                </a:cubicBezTo>
                <a:cubicBezTo>
                  <a:pt x="115" y="766"/>
                  <a:pt x="115" y="766"/>
                  <a:pt x="115" y="766"/>
                </a:cubicBezTo>
                <a:cubicBezTo>
                  <a:pt x="116" y="767"/>
                  <a:pt x="116" y="767"/>
                  <a:pt x="116" y="767"/>
                </a:cubicBezTo>
                <a:cubicBezTo>
                  <a:pt x="116" y="768"/>
                  <a:pt x="116" y="768"/>
                  <a:pt x="116" y="768"/>
                </a:cubicBezTo>
                <a:cubicBezTo>
                  <a:pt x="115" y="772"/>
                  <a:pt x="115" y="772"/>
                  <a:pt x="115" y="772"/>
                </a:cubicBezTo>
                <a:cubicBezTo>
                  <a:pt x="96" y="773"/>
                  <a:pt x="96" y="773"/>
                  <a:pt x="96" y="773"/>
                </a:cubicBezTo>
                <a:cubicBezTo>
                  <a:pt x="88" y="774"/>
                  <a:pt x="88" y="774"/>
                  <a:pt x="88" y="774"/>
                </a:cubicBezTo>
                <a:cubicBezTo>
                  <a:pt x="84" y="773"/>
                  <a:pt x="84" y="773"/>
                  <a:pt x="84" y="773"/>
                </a:cubicBezTo>
                <a:cubicBezTo>
                  <a:pt x="51" y="765"/>
                  <a:pt x="51" y="765"/>
                  <a:pt x="51" y="765"/>
                </a:cubicBezTo>
                <a:cubicBezTo>
                  <a:pt x="52" y="761"/>
                  <a:pt x="52" y="761"/>
                  <a:pt x="52" y="761"/>
                </a:cubicBezTo>
                <a:cubicBezTo>
                  <a:pt x="52" y="758"/>
                  <a:pt x="52" y="758"/>
                  <a:pt x="52" y="758"/>
                </a:cubicBezTo>
                <a:cubicBezTo>
                  <a:pt x="52" y="757"/>
                  <a:pt x="52" y="757"/>
                  <a:pt x="52" y="757"/>
                </a:cubicBezTo>
                <a:cubicBezTo>
                  <a:pt x="51" y="756"/>
                  <a:pt x="51" y="756"/>
                  <a:pt x="51" y="756"/>
                </a:cubicBezTo>
                <a:cubicBezTo>
                  <a:pt x="50" y="756"/>
                  <a:pt x="50" y="756"/>
                  <a:pt x="50" y="756"/>
                </a:cubicBezTo>
                <a:cubicBezTo>
                  <a:pt x="45" y="757"/>
                  <a:pt x="45" y="757"/>
                  <a:pt x="45" y="757"/>
                </a:cubicBezTo>
                <a:cubicBezTo>
                  <a:pt x="37" y="759"/>
                  <a:pt x="37" y="759"/>
                  <a:pt x="37" y="759"/>
                </a:cubicBezTo>
                <a:cubicBezTo>
                  <a:pt x="35" y="760"/>
                  <a:pt x="35" y="760"/>
                  <a:pt x="35" y="760"/>
                </a:cubicBezTo>
                <a:cubicBezTo>
                  <a:pt x="34" y="761"/>
                  <a:pt x="34" y="761"/>
                  <a:pt x="34" y="761"/>
                </a:cubicBezTo>
                <a:cubicBezTo>
                  <a:pt x="20" y="768"/>
                  <a:pt x="20" y="768"/>
                  <a:pt x="20" y="768"/>
                </a:cubicBezTo>
                <a:cubicBezTo>
                  <a:pt x="3" y="780"/>
                  <a:pt x="3" y="780"/>
                  <a:pt x="3" y="780"/>
                </a:cubicBezTo>
                <a:cubicBezTo>
                  <a:pt x="3" y="780"/>
                  <a:pt x="3" y="780"/>
                  <a:pt x="3" y="780"/>
                </a:cubicBezTo>
                <a:cubicBezTo>
                  <a:pt x="2" y="781"/>
                  <a:pt x="2" y="781"/>
                  <a:pt x="2" y="781"/>
                </a:cubicBezTo>
                <a:cubicBezTo>
                  <a:pt x="1" y="789"/>
                  <a:pt x="1" y="789"/>
                  <a:pt x="1" y="789"/>
                </a:cubicBezTo>
                <a:cubicBezTo>
                  <a:pt x="0" y="793"/>
                  <a:pt x="0" y="793"/>
                  <a:pt x="0" y="793"/>
                </a:cubicBezTo>
                <a:cubicBezTo>
                  <a:pt x="1" y="798"/>
                  <a:pt x="1" y="798"/>
                  <a:pt x="1" y="798"/>
                </a:cubicBezTo>
                <a:cubicBezTo>
                  <a:pt x="2" y="800"/>
                  <a:pt x="2" y="800"/>
                  <a:pt x="2" y="800"/>
                </a:cubicBezTo>
                <a:cubicBezTo>
                  <a:pt x="4" y="802"/>
                  <a:pt x="4" y="802"/>
                  <a:pt x="4" y="802"/>
                </a:cubicBezTo>
                <a:cubicBezTo>
                  <a:pt x="4" y="802"/>
                  <a:pt x="4" y="802"/>
                  <a:pt x="4" y="802"/>
                </a:cubicBezTo>
                <a:cubicBezTo>
                  <a:pt x="6" y="802"/>
                  <a:pt x="6" y="802"/>
                  <a:pt x="6" y="802"/>
                </a:cubicBezTo>
                <a:cubicBezTo>
                  <a:pt x="55" y="799"/>
                  <a:pt x="55" y="799"/>
                  <a:pt x="55" y="799"/>
                </a:cubicBezTo>
                <a:cubicBezTo>
                  <a:pt x="70" y="796"/>
                  <a:pt x="70" y="796"/>
                  <a:pt x="70" y="796"/>
                </a:cubicBezTo>
                <a:cubicBezTo>
                  <a:pt x="82" y="794"/>
                  <a:pt x="82" y="794"/>
                  <a:pt x="82" y="794"/>
                </a:cubicBezTo>
                <a:cubicBezTo>
                  <a:pt x="91" y="794"/>
                  <a:pt x="91" y="794"/>
                  <a:pt x="91" y="794"/>
                </a:cubicBezTo>
                <a:cubicBezTo>
                  <a:pt x="94" y="794"/>
                  <a:pt x="94" y="794"/>
                  <a:pt x="94" y="794"/>
                </a:cubicBezTo>
                <a:cubicBezTo>
                  <a:pt x="96" y="794"/>
                  <a:pt x="96" y="794"/>
                  <a:pt x="96" y="794"/>
                </a:cubicBezTo>
                <a:cubicBezTo>
                  <a:pt x="104" y="797"/>
                  <a:pt x="104" y="797"/>
                  <a:pt x="104" y="797"/>
                </a:cubicBezTo>
                <a:cubicBezTo>
                  <a:pt x="105" y="798"/>
                  <a:pt x="105" y="798"/>
                  <a:pt x="105" y="798"/>
                </a:cubicBezTo>
                <a:cubicBezTo>
                  <a:pt x="108" y="801"/>
                  <a:pt x="108" y="801"/>
                  <a:pt x="108" y="801"/>
                </a:cubicBezTo>
                <a:cubicBezTo>
                  <a:pt x="109" y="802"/>
                  <a:pt x="109" y="802"/>
                  <a:pt x="109" y="802"/>
                </a:cubicBezTo>
                <a:cubicBezTo>
                  <a:pt x="108" y="803"/>
                  <a:pt x="108" y="803"/>
                  <a:pt x="108" y="803"/>
                </a:cubicBezTo>
                <a:cubicBezTo>
                  <a:pt x="104" y="802"/>
                  <a:pt x="104" y="802"/>
                  <a:pt x="104" y="802"/>
                </a:cubicBezTo>
                <a:cubicBezTo>
                  <a:pt x="102" y="801"/>
                  <a:pt x="102" y="801"/>
                  <a:pt x="102" y="801"/>
                </a:cubicBezTo>
                <a:cubicBezTo>
                  <a:pt x="90" y="803"/>
                  <a:pt x="90" y="803"/>
                  <a:pt x="90" y="803"/>
                </a:cubicBezTo>
                <a:cubicBezTo>
                  <a:pt x="87" y="804"/>
                  <a:pt x="87" y="804"/>
                  <a:pt x="87" y="804"/>
                </a:cubicBezTo>
                <a:cubicBezTo>
                  <a:pt x="79" y="812"/>
                  <a:pt x="79" y="812"/>
                  <a:pt x="79" y="812"/>
                </a:cubicBezTo>
                <a:cubicBezTo>
                  <a:pt x="58" y="821"/>
                  <a:pt x="58" y="821"/>
                  <a:pt x="58" y="821"/>
                </a:cubicBezTo>
                <a:cubicBezTo>
                  <a:pt x="52" y="823"/>
                  <a:pt x="52" y="823"/>
                  <a:pt x="52" y="823"/>
                </a:cubicBezTo>
                <a:cubicBezTo>
                  <a:pt x="30" y="830"/>
                  <a:pt x="30" y="830"/>
                  <a:pt x="30" y="830"/>
                </a:cubicBezTo>
                <a:cubicBezTo>
                  <a:pt x="26" y="836"/>
                  <a:pt x="26" y="836"/>
                  <a:pt x="26" y="836"/>
                </a:cubicBezTo>
                <a:cubicBezTo>
                  <a:pt x="25" y="840"/>
                  <a:pt x="25" y="840"/>
                  <a:pt x="25" y="840"/>
                </a:cubicBezTo>
                <a:cubicBezTo>
                  <a:pt x="26" y="841"/>
                  <a:pt x="26" y="841"/>
                  <a:pt x="26" y="841"/>
                </a:cubicBezTo>
                <a:cubicBezTo>
                  <a:pt x="28" y="843"/>
                  <a:pt x="28" y="843"/>
                  <a:pt x="28" y="843"/>
                </a:cubicBezTo>
                <a:cubicBezTo>
                  <a:pt x="31" y="849"/>
                  <a:pt x="31" y="849"/>
                  <a:pt x="31" y="849"/>
                </a:cubicBezTo>
                <a:cubicBezTo>
                  <a:pt x="31" y="852"/>
                  <a:pt x="31" y="852"/>
                  <a:pt x="31" y="852"/>
                </a:cubicBezTo>
                <a:cubicBezTo>
                  <a:pt x="30" y="853"/>
                  <a:pt x="30" y="853"/>
                  <a:pt x="30" y="853"/>
                </a:cubicBezTo>
                <a:cubicBezTo>
                  <a:pt x="28" y="851"/>
                  <a:pt x="28" y="851"/>
                  <a:pt x="28" y="851"/>
                </a:cubicBezTo>
                <a:cubicBezTo>
                  <a:pt x="28" y="851"/>
                  <a:pt x="28" y="851"/>
                  <a:pt x="28" y="851"/>
                </a:cubicBezTo>
                <a:cubicBezTo>
                  <a:pt x="27" y="851"/>
                  <a:pt x="27" y="851"/>
                  <a:pt x="27" y="851"/>
                </a:cubicBezTo>
                <a:cubicBezTo>
                  <a:pt x="23" y="854"/>
                  <a:pt x="23" y="854"/>
                  <a:pt x="23" y="854"/>
                </a:cubicBezTo>
                <a:cubicBezTo>
                  <a:pt x="9" y="857"/>
                  <a:pt x="9" y="857"/>
                  <a:pt x="9" y="857"/>
                </a:cubicBezTo>
                <a:cubicBezTo>
                  <a:pt x="8" y="864"/>
                  <a:pt x="8" y="864"/>
                  <a:pt x="8" y="864"/>
                </a:cubicBezTo>
                <a:cubicBezTo>
                  <a:pt x="8" y="865"/>
                  <a:pt x="8" y="865"/>
                  <a:pt x="8" y="865"/>
                </a:cubicBezTo>
                <a:cubicBezTo>
                  <a:pt x="14" y="879"/>
                  <a:pt x="14" y="879"/>
                  <a:pt x="14" y="879"/>
                </a:cubicBezTo>
                <a:cubicBezTo>
                  <a:pt x="14" y="880"/>
                  <a:pt x="14" y="880"/>
                  <a:pt x="14" y="880"/>
                </a:cubicBezTo>
                <a:cubicBezTo>
                  <a:pt x="15" y="882"/>
                  <a:pt x="15" y="882"/>
                  <a:pt x="15" y="882"/>
                </a:cubicBezTo>
                <a:cubicBezTo>
                  <a:pt x="16" y="881"/>
                  <a:pt x="16" y="881"/>
                  <a:pt x="16" y="881"/>
                </a:cubicBezTo>
                <a:cubicBezTo>
                  <a:pt x="25" y="875"/>
                  <a:pt x="25" y="875"/>
                  <a:pt x="25" y="875"/>
                </a:cubicBezTo>
                <a:cubicBezTo>
                  <a:pt x="39" y="883"/>
                  <a:pt x="39" y="883"/>
                  <a:pt x="39" y="883"/>
                </a:cubicBezTo>
                <a:cubicBezTo>
                  <a:pt x="59" y="888"/>
                  <a:pt x="59" y="888"/>
                  <a:pt x="59" y="888"/>
                </a:cubicBezTo>
                <a:cubicBezTo>
                  <a:pt x="84" y="879"/>
                  <a:pt x="84" y="879"/>
                  <a:pt x="84" y="879"/>
                </a:cubicBezTo>
                <a:cubicBezTo>
                  <a:pt x="114" y="870"/>
                  <a:pt x="114" y="870"/>
                  <a:pt x="114" y="870"/>
                </a:cubicBezTo>
                <a:cubicBezTo>
                  <a:pt x="118" y="869"/>
                  <a:pt x="118" y="869"/>
                  <a:pt x="118" y="869"/>
                </a:cubicBezTo>
                <a:cubicBezTo>
                  <a:pt x="125" y="867"/>
                  <a:pt x="125" y="867"/>
                  <a:pt x="125" y="867"/>
                </a:cubicBezTo>
                <a:cubicBezTo>
                  <a:pt x="134" y="866"/>
                  <a:pt x="134" y="866"/>
                  <a:pt x="134" y="866"/>
                </a:cubicBezTo>
                <a:cubicBezTo>
                  <a:pt x="135" y="867"/>
                  <a:pt x="135" y="867"/>
                  <a:pt x="135" y="867"/>
                </a:cubicBezTo>
                <a:cubicBezTo>
                  <a:pt x="135" y="868"/>
                  <a:pt x="135" y="868"/>
                  <a:pt x="135" y="868"/>
                </a:cubicBezTo>
                <a:cubicBezTo>
                  <a:pt x="97" y="887"/>
                  <a:pt x="97" y="887"/>
                  <a:pt x="97" y="887"/>
                </a:cubicBezTo>
                <a:cubicBezTo>
                  <a:pt x="84" y="893"/>
                  <a:pt x="84" y="893"/>
                  <a:pt x="84" y="893"/>
                </a:cubicBezTo>
                <a:cubicBezTo>
                  <a:pt x="69" y="905"/>
                  <a:pt x="69" y="905"/>
                  <a:pt x="69" y="905"/>
                </a:cubicBezTo>
                <a:cubicBezTo>
                  <a:pt x="46" y="927"/>
                  <a:pt x="46" y="927"/>
                  <a:pt x="46" y="927"/>
                </a:cubicBezTo>
                <a:cubicBezTo>
                  <a:pt x="44" y="932"/>
                  <a:pt x="44" y="932"/>
                  <a:pt x="44" y="932"/>
                </a:cubicBezTo>
                <a:cubicBezTo>
                  <a:pt x="58" y="933"/>
                  <a:pt x="58" y="933"/>
                  <a:pt x="58" y="933"/>
                </a:cubicBezTo>
                <a:cubicBezTo>
                  <a:pt x="60" y="932"/>
                  <a:pt x="60" y="932"/>
                  <a:pt x="60" y="932"/>
                </a:cubicBezTo>
                <a:cubicBezTo>
                  <a:pt x="74" y="928"/>
                  <a:pt x="74" y="928"/>
                  <a:pt x="74" y="928"/>
                </a:cubicBezTo>
                <a:cubicBezTo>
                  <a:pt x="75" y="927"/>
                  <a:pt x="75" y="927"/>
                  <a:pt x="75" y="927"/>
                </a:cubicBezTo>
                <a:cubicBezTo>
                  <a:pt x="76" y="926"/>
                  <a:pt x="76" y="926"/>
                  <a:pt x="76" y="926"/>
                </a:cubicBezTo>
                <a:cubicBezTo>
                  <a:pt x="76" y="924"/>
                  <a:pt x="76" y="924"/>
                  <a:pt x="76" y="924"/>
                </a:cubicBezTo>
                <a:cubicBezTo>
                  <a:pt x="76" y="923"/>
                  <a:pt x="76" y="923"/>
                  <a:pt x="76" y="923"/>
                </a:cubicBezTo>
                <a:cubicBezTo>
                  <a:pt x="76" y="922"/>
                  <a:pt x="76" y="922"/>
                  <a:pt x="76" y="922"/>
                </a:cubicBezTo>
                <a:cubicBezTo>
                  <a:pt x="79" y="921"/>
                  <a:pt x="79" y="921"/>
                  <a:pt x="79" y="921"/>
                </a:cubicBezTo>
                <a:cubicBezTo>
                  <a:pt x="90" y="919"/>
                  <a:pt x="90" y="919"/>
                  <a:pt x="90" y="919"/>
                </a:cubicBezTo>
                <a:cubicBezTo>
                  <a:pt x="100" y="919"/>
                  <a:pt x="100" y="919"/>
                  <a:pt x="100" y="919"/>
                </a:cubicBezTo>
                <a:cubicBezTo>
                  <a:pt x="118" y="916"/>
                  <a:pt x="118" y="916"/>
                  <a:pt x="118" y="916"/>
                </a:cubicBezTo>
                <a:cubicBezTo>
                  <a:pt x="128" y="914"/>
                  <a:pt x="128" y="914"/>
                  <a:pt x="128" y="914"/>
                </a:cubicBezTo>
                <a:cubicBezTo>
                  <a:pt x="128" y="913"/>
                  <a:pt x="128" y="913"/>
                  <a:pt x="128" y="913"/>
                </a:cubicBezTo>
                <a:cubicBezTo>
                  <a:pt x="137" y="906"/>
                  <a:pt x="137" y="906"/>
                  <a:pt x="137" y="906"/>
                </a:cubicBezTo>
                <a:cubicBezTo>
                  <a:pt x="141" y="906"/>
                  <a:pt x="141" y="906"/>
                  <a:pt x="141" y="906"/>
                </a:cubicBezTo>
                <a:cubicBezTo>
                  <a:pt x="152" y="905"/>
                  <a:pt x="152" y="905"/>
                  <a:pt x="152" y="905"/>
                </a:cubicBezTo>
                <a:cubicBezTo>
                  <a:pt x="153" y="905"/>
                  <a:pt x="153" y="905"/>
                  <a:pt x="153" y="905"/>
                </a:cubicBezTo>
                <a:cubicBezTo>
                  <a:pt x="154" y="909"/>
                  <a:pt x="154" y="909"/>
                  <a:pt x="154" y="909"/>
                </a:cubicBezTo>
                <a:cubicBezTo>
                  <a:pt x="152" y="914"/>
                  <a:pt x="152" y="914"/>
                  <a:pt x="152" y="914"/>
                </a:cubicBezTo>
                <a:cubicBezTo>
                  <a:pt x="152" y="915"/>
                  <a:pt x="152" y="915"/>
                  <a:pt x="152" y="915"/>
                </a:cubicBezTo>
                <a:cubicBezTo>
                  <a:pt x="149" y="918"/>
                  <a:pt x="149" y="918"/>
                  <a:pt x="149" y="918"/>
                </a:cubicBezTo>
                <a:cubicBezTo>
                  <a:pt x="141" y="921"/>
                  <a:pt x="141" y="921"/>
                  <a:pt x="141" y="921"/>
                </a:cubicBezTo>
                <a:cubicBezTo>
                  <a:pt x="139" y="921"/>
                  <a:pt x="139" y="921"/>
                  <a:pt x="139" y="921"/>
                </a:cubicBezTo>
                <a:cubicBezTo>
                  <a:pt x="135" y="921"/>
                  <a:pt x="135" y="921"/>
                  <a:pt x="135" y="921"/>
                </a:cubicBezTo>
                <a:cubicBezTo>
                  <a:pt x="131" y="922"/>
                  <a:pt x="131" y="922"/>
                  <a:pt x="131" y="922"/>
                </a:cubicBezTo>
                <a:cubicBezTo>
                  <a:pt x="130" y="923"/>
                  <a:pt x="130" y="923"/>
                  <a:pt x="130" y="923"/>
                </a:cubicBezTo>
                <a:cubicBezTo>
                  <a:pt x="103" y="935"/>
                  <a:pt x="103" y="935"/>
                  <a:pt x="103" y="935"/>
                </a:cubicBezTo>
                <a:cubicBezTo>
                  <a:pt x="99" y="938"/>
                  <a:pt x="99" y="938"/>
                  <a:pt x="99" y="938"/>
                </a:cubicBezTo>
                <a:cubicBezTo>
                  <a:pt x="89" y="945"/>
                  <a:pt x="89" y="945"/>
                  <a:pt x="89" y="945"/>
                </a:cubicBezTo>
                <a:cubicBezTo>
                  <a:pt x="88" y="946"/>
                  <a:pt x="88" y="946"/>
                  <a:pt x="88" y="946"/>
                </a:cubicBezTo>
                <a:cubicBezTo>
                  <a:pt x="88" y="947"/>
                  <a:pt x="88" y="947"/>
                  <a:pt x="88" y="947"/>
                </a:cubicBezTo>
                <a:cubicBezTo>
                  <a:pt x="88" y="948"/>
                  <a:pt x="88" y="948"/>
                  <a:pt x="88" y="948"/>
                </a:cubicBezTo>
                <a:cubicBezTo>
                  <a:pt x="89" y="948"/>
                  <a:pt x="89" y="948"/>
                  <a:pt x="89" y="948"/>
                </a:cubicBezTo>
                <a:cubicBezTo>
                  <a:pt x="90" y="948"/>
                  <a:pt x="90" y="948"/>
                  <a:pt x="90" y="948"/>
                </a:cubicBezTo>
                <a:cubicBezTo>
                  <a:pt x="94" y="948"/>
                  <a:pt x="94" y="948"/>
                  <a:pt x="94" y="948"/>
                </a:cubicBezTo>
                <a:cubicBezTo>
                  <a:pt x="120" y="938"/>
                  <a:pt x="120" y="938"/>
                  <a:pt x="120" y="938"/>
                </a:cubicBezTo>
                <a:cubicBezTo>
                  <a:pt x="124" y="936"/>
                  <a:pt x="124" y="936"/>
                  <a:pt x="124" y="936"/>
                </a:cubicBezTo>
                <a:cubicBezTo>
                  <a:pt x="124" y="935"/>
                  <a:pt x="124" y="935"/>
                  <a:pt x="124" y="935"/>
                </a:cubicBezTo>
                <a:cubicBezTo>
                  <a:pt x="126" y="934"/>
                  <a:pt x="126" y="934"/>
                  <a:pt x="126" y="934"/>
                </a:cubicBezTo>
                <a:cubicBezTo>
                  <a:pt x="129" y="932"/>
                  <a:pt x="129" y="932"/>
                  <a:pt x="129" y="932"/>
                </a:cubicBezTo>
                <a:cubicBezTo>
                  <a:pt x="130" y="932"/>
                  <a:pt x="130" y="932"/>
                  <a:pt x="130" y="932"/>
                </a:cubicBezTo>
                <a:cubicBezTo>
                  <a:pt x="131" y="932"/>
                  <a:pt x="131" y="932"/>
                  <a:pt x="131" y="932"/>
                </a:cubicBezTo>
                <a:cubicBezTo>
                  <a:pt x="135" y="932"/>
                  <a:pt x="135" y="932"/>
                  <a:pt x="135" y="932"/>
                </a:cubicBezTo>
                <a:cubicBezTo>
                  <a:pt x="135" y="932"/>
                  <a:pt x="135" y="932"/>
                  <a:pt x="135" y="932"/>
                </a:cubicBezTo>
                <a:cubicBezTo>
                  <a:pt x="136" y="932"/>
                  <a:pt x="136" y="932"/>
                  <a:pt x="136" y="932"/>
                </a:cubicBezTo>
                <a:cubicBezTo>
                  <a:pt x="136" y="934"/>
                  <a:pt x="136" y="934"/>
                  <a:pt x="136" y="934"/>
                </a:cubicBezTo>
                <a:cubicBezTo>
                  <a:pt x="135" y="934"/>
                  <a:pt x="135" y="934"/>
                  <a:pt x="135" y="934"/>
                </a:cubicBezTo>
                <a:cubicBezTo>
                  <a:pt x="118" y="948"/>
                  <a:pt x="118" y="948"/>
                  <a:pt x="118" y="948"/>
                </a:cubicBezTo>
                <a:cubicBezTo>
                  <a:pt x="115" y="950"/>
                  <a:pt x="115" y="950"/>
                  <a:pt x="115" y="950"/>
                </a:cubicBezTo>
                <a:cubicBezTo>
                  <a:pt x="110" y="952"/>
                  <a:pt x="110" y="952"/>
                  <a:pt x="110" y="952"/>
                </a:cubicBezTo>
                <a:cubicBezTo>
                  <a:pt x="108" y="953"/>
                  <a:pt x="108" y="953"/>
                  <a:pt x="108" y="953"/>
                </a:cubicBezTo>
                <a:cubicBezTo>
                  <a:pt x="104" y="954"/>
                  <a:pt x="104" y="954"/>
                  <a:pt x="104" y="954"/>
                </a:cubicBezTo>
                <a:cubicBezTo>
                  <a:pt x="99" y="956"/>
                  <a:pt x="99" y="956"/>
                  <a:pt x="99" y="956"/>
                </a:cubicBezTo>
                <a:cubicBezTo>
                  <a:pt x="88" y="963"/>
                  <a:pt x="88" y="963"/>
                  <a:pt x="88" y="963"/>
                </a:cubicBezTo>
                <a:cubicBezTo>
                  <a:pt x="88" y="964"/>
                  <a:pt x="88" y="964"/>
                  <a:pt x="88" y="964"/>
                </a:cubicBezTo>
                <a:cubicBezTo>
                  <a:pt x="88" y="965"/>
                  <a:pt x="88" y="965"/>
                  <a:pt x="88" y="965"/>
                </a:cubicBezTo>
                <a:cubicBezTo>
                  <a:pt x="91" y="972"/>
                  <a:pt x="91" y="972"/>
                  <a:pt x="91" y="972"/>
                </a:cubicBezTo>
                <a:cubicBezTo>
                  <a:pt x="93" y="972"/>
                  <a:pt x="93" y="972"/>
                  <a:pt x="93" y="972"/>
                </a:cubicBezTo>
                <a:cubicBezTo>
                  <a:pt x="99" y="971"/>
                  <a:pt x="99" y="971"/>
                  <a:pt x="99" y="971"/>
                </a:cubicBezTo>
                <a:cubicBezTo>
                  <a:pt x="101" y="970"/>
                  <a:pt x="101" y="970"/>
                  <a:pt x="101" y="970"/>
                </a:cubicBezTo>
                <a:cubicBezTo>
                  <a:pt x="108" y="969"/>
                  <a:pt x="108" y="969"/>
                  <a:pt x="108" y="969"/>
                </a:cubicBezTo>
                <a:cubicBezTo>
                  <a:pt x="109" y="968"/>
                  <a:pt x="109" y="968"/>
                  <a:pt x="109" y="968"/>
                </a:cubicBezTo>
                <a:cubicBezTo>
                  <a:pt x="132" y="960"/>
                  <a:pt x="132" y="960"/>
                  <a:pt x="132" y="960"/>
                </a:cubicBezTo>
                <a:cubicBezTo>
                  <a:pt x="150" y="954"/>
                  <a:pt x="150" y="954"/>
                  <a:pt x="150" y="954"/>
                </a:cubicBezTo>
                <a:cubicBezTo>
                  <a:pt x="155" y="963"/>
                  <a:pt x="155" y="963"/>
                  <a:pt x="155" y="963"/>
                </a:cubicBezTo>
                <a:cubicBezTo>
                  <a:pt x="155" y="964"/>
                  <a:pt x="155" y="964"/>
                  <a:pt x="155" y="964"/>
                </a:cubicBezTo>
                <a:cubicBezTo>
                  <a:pt x="159" y="970"/>
                  <a:pt x="159" y="970"/>
                  <a:pt x="159" y="970"/>
                </a:cubicBezTo>
                <a:cubicBezTo>
                  <a:pt x="160" y="970"/>
                  <a:pt x="160" y="970"/>
                  <a:pt x="160" y="970"/>
                </a:cubicBezTo>
                <a:cubicBezTo>
                  <a:pt x="161" y="971"/>
                  <a:pt x="161" y="971"/>
                  <a:pt x="161" y="971"/>
                </a:cubicBezTo>
                <a:cubicBezTo>
                  <a:pt x="165" y="971"/>
                  <a:pt x="165" y="971"/>
                  <a:pt x="165" y="971"/>
                </a:cubicBezTo>
                <a:cubicBezTo>
                  <a:pt x="182" y="969"/>
                  <a:pt x="182" y="969"/>
                  <a:pt x="182" y="969"/>
                </a:cubicBezTo>
                <a:cubicBezTo>
                  <a:pt x="184" y="969"/>
                  <a:pt x="184" y="969"/>
                  <a:pt x="184" y="969"/>
                </a:cubicBezTo>
                <a:cubicBezTo>
                  <a:pt x="199" y="959"/>
                  <a:pt x="199" y="959"/>
                  <a:pt x="199" y="959"/>
                </a:cubicBezTo>
                <a:cubicBezTo>
                  <a:pt x="200" y="958"/>
                  <a:pt x="200" y="958"/>
                  <a:pt x="200" y="958"/>
                </a:cubicBezTo>
                <a:cubicBezTo>
                  <a:pt x="203" y="955"/>
                  <a:pt x="203" y="955"/>
                  <a:pt x="203" y="955"/>
                </a:cubicBezTo>
                <a:cubicBezTo>
                  <a:pt x="203" y="954"/>
                  <a:pt x="203" y="954"/>
                  <a:pt x="203" y="954"/>
                </a:cubicBezTo>
                <a:cubicBezTo>
                  <a:pt x="210" y="952"/>
                  <a:pt x="210" y="952"/>
                  <a:pt x="210" y="952"/>
                </a:cubicBezTo>
                <a:cubicBezTo>
                  <a:pt x="218" y="949"/>
                  <a:pt x="218" y="949"/>
                  <a:pt x="218" y="949"/>
                </a:cubicBezTo>
                <a:cubicBezTo>
                  <a:pt x="231" y="956"/>
                  <a:pt x="231" y="956"/>
                  <a:pt x="231" y="956"/>
                </a:cubicBezTo>
                <a:cubicBezTo>
                  <a:pt x="237" y="955"/>
                  <a:pt x="237" y="955"/>
                  <a:pt x="237" y="955"/>
                </a:cubicBezTo>
                <a:cubicBezTo>
                  <a:pt x="239" y="954"/>
                  <a:pt x="239" y="954"/>
                  <a:pt x="239" y="954"/>
                </a:cubicBezTo>
                <a:cubicBezTo>
                  <a:pt x="241" y="949"/>
                  <a:pt x="241" y="949"/>
                  <a:pt x="241" y="949"/>
                </a:cubicBezTo>
                <a:cubicBezTo>
                  <a:pt x="243" y="944"/>
                  <a:pt x="243" y="944"/>
                  <a:pt x="243" y="944"/>
                </a:cubicBezTo>
                <a:cubicBezTo>
                  <a:pt x="244" y="944"/>
                  <a:pt x="244" y="944"/>
                  <a:pt x="244" y="944"/>
                </a:cubicBezTo>
                <a:cubicBezTo>
                  <a:pt x="248" y="945"/>
                  <a:pt x="248" y="945"/>
                  <a:pt x="248" y="945"/>
                </a:cubicBezTo>
                <a:cubicBezTo>
                  <a:pt x="250" y="945"/>
                  <a:pt x="250" y="945"/>
                  <a:pt x="250" y="945"/>
                </a:cubicBezTo>
                <a:cubicBezTo>
                  <a:pt x="270" y="945"/>
                  <a:pt x="270" y="945"/>
                  <a:pt x="270" y="945"/>
                </a:cubicBezTo>
                <a:cubicBezTo>
                  <a:pt x="285" y="934"/>
                  <a:pt x="285" y="934"/>
                  <a:pt x="285" y="934"/>
                </a:cubicBezTo>
                <a:cubicBezTo>
                  <a:pt x="302" y="922"/>
                  <a:pt x="302" y="922"/>
                  <a:pt x="302" y="922"/>
                </a:cubicBezTo>
                <a:cubicBezTo>
                  <a:pt x="326" y="916"/>
                  <a:pt x="326" y="916"/>
                  <a:pt x="326" y="916"/>
                </a:cubicBezTo>
                <a:cubicBezTo>
                  <a:pt x="330" y="912"/>
                  <a:pt x="330" y="912"/>
                  <a:pt x="330" y="912"/>
                </a:cubicBezTo>
                <a:cubicBezTo>
                  <a:pt x="341" y="897"/>
                  <a:pt x="341" y="897"/>
                  <a:pt x="341" y="897"/>
                </a:cubicBezTo>
                <a:cubicBezTo>
                  <a:pt x="346" y="897"/>
                  <a:pt x="346" y="897"/>
                  <a:pt x="346" y="897"/>
                </a:cubicBezTo>
                <a:cubicBezTo>
                  <a:pt x="352" y="897"/>
                  <a:pt x="352" y="897"/>
                  <a:pt x="352" y="897"/>
                </a:cubicBezTo>
                <a:cubicBezTo>
                  <a:pt x="369" y="894"/>
                  <a:pt x="369" y="894"/>
                  <a:pt x="369" y="894"/>
                </a:cubicBezTo>
                <a:cubicBezTo>
                  <a:pt x="371" y="894"/>
                  <a:pt x="371" y="894"/>
                  <a:pt x="371" y="894"/>
                </a:cubicBezTo>
                <a:cubicBezTo>
                  <a:pt x="379" y="892"/>
                  <a:pt x="379" y="892"/>
                  <a:pt x="379" y="892"/>
                </a:cubicBezTo>
                <a:cubicBezTo>
                  <a:pt x="379" y="891"/>
                  <a:pt x="379" y="891"/>
                  <a:pt x="379" y="891"/>
                </a:cubicBezTo>
                <a:cubicBezTo>
                  <a:pt x="379" y="890"/>
                  <a:pt x="379" y="890"/>
                  <a:pt x="379" y="890"/>
                </a:cubicBezTo>
                <a:cubicBezTo>
                  <a:pt x="384" y="881"/>
                  <a:pt x="384" y="881"/>
                  <a:pt x="384" y="881"/>
                </a:cubicBezTo>
                <a:cubicBezTo>
                  <a:pt x="398" y="871"/>
                  <a:pt x="398" y="871"/>
                  <a:pt x="398" y="871"/>
                </a:cubicBezTo>
                <a:cubicBezTo>
                  <a:pt x="417" y="862"/>
                  <a:pt x="417" y="862"/>
                  <a:pt x="417" y="862"/>
                </a:cubicBezTo>
                <a:cubicBezTo>
                  <a:pt x="442" y="852"/>
                  <a:pt x="442" y="852"/>
                  <a:pt x="442" y="852"/>
                </a:cubicBezTo>
                <a:cubicBezTo>
                  <a:pt x="444" y="851"/>
                  <a:pt x="444" y="851"/>
                  <a:pt x="444" y="851"/>
                </a:cubicBezTo>
                <a:cubicBezTo>
                  <a:pt x="447" y="850"/>
                  <a:pt x="447" y="850"/>
                  <a:pt x="447" y="850"/>
                </a:cubicBezTo>
                <a:cubicBezTo>
                  <a:pt x="454" y="837"/>
                  <a:pt x="454" y="837"/>
                  <a:pt x="454" y="837"/>
                </a:cubicBezTo>
                <a:cubicBezTo>
                  <a:pt x="454" y="836"/>
                  <a:pt x="454" y="836"/>
                  <a:pt x="454" y="836"/>
                </a:cubicBezTo>
                <a:cubicBezTo>
                  <a:pt x="453" y="835"/>
                  <a:pt x="453" y="835"/>
                  <a:pt x="453" y="835"/>
                </a:cubicBezTo>
                <a:cubicBezTo>
                  <a:pt x="452" y="835"/>
                  <a:pt x="452" y="835"/>
                  <a:pt x="452" y="835"/>
                </a:cubicBezTo>
                <a:cubicBezTo>
                  <a:pt x="448" y="836"/>
                  <a:pt x="448" y="836"/>
                  <a:pt x="448" y="836"/>
                </a:cubicBezTo>
                <a:cubicBezTo>
                  <a:pt x="446" y="835"/>
                  <a:pt x="446" y="835"/>
                  <a:pt x="446" y="835"/>
                </a:cubicBezTo>
                <a:cubicBezTo>
                  <a:pt x="445" y="834"/>
                  <a:pt x="445" y="834"/>
                  <a:pt x="445" y="834"/>
                </a:cubicBezTo>
                <a:cubicBezTo>
                  <a:pt x="443" y="830"/>
                  <a:pt x="443" y="830"/>
                  <a:pt x="443" y="830"/>
                </a:cubicBezTo>
                <a:cubicBezTo>
                  <a:pt x="443" y="829"/>
                  <a:pt x="443" y="829"/>
                  <a:pt x="443" y="829"/>
                </a:cubicBezTo>
                <a:cubicBezTo>
                  <a:pt x="443" y="828"/>
                  <a:pt x="443" y="828"/>
                  <a:pt x="443" y="828"/>
                </a:cubicBezTo>
                <a:cubicBezTo>
                  <a:pt x="446" y="826"/>
                  <a:pt x="446" y="826"/>
                  <a:pt x="446" y="826"/>
                </a:cubicBezTo>
                <a:cubicBezTo>
                  <a:pt x="472" y="819"/>
                  <a:pt x="472" y="819"/>
                  <a:pt x="472" y="819"/>
                </a:cubicBezTo>
                <a:cubicBezTo>
                  <a:pt x="482" y="817"/>
                  <a:pt x="482" y="817"/>
                  <a:pt x="482" y="817"/>
                </a:cubicBezTo>
                <a:cubicBezTo>
                  <a:pt x="494" y="817"/>
                  <a:pt x="494" y="817"/>
                  <a:pt x="494" y="817"/>
                </a:cubicBezTo>
                <a:cubicBezTo>
                  <a:pt x="522" y="820"/>
                  <a:pt x="522" y="820"/>
                  <a:pt x="522" y="820"/>
                </a:cubicBezTo>
                <a:cubicBezTo>
                  <a:pt x="523" y="820"/>
                  <a:pt x="523" y="820"/>
                  <a:pt x="523" y="820"/>
                </a:cubicBezTo>
                <a:cubicBezTo>
                  <a:pt x="533" y="819"/>
                  <a:pt x="533" y="819"/>
                  <a:pt x="533" y="819"/>
                </a:cubicBezTo>
                <a:cubicBezTo>
                  <a:pt x="538" y="819"/>
                  <a:pt x="538" y="819"/>
                  <a:pt x="538" y="819"/>
                </a:cubicBezTo>
                <a:cubicBezTo>
                  <a:pt x="540" y="817"/>
                  <a:pt x="540" y="817"/>
                  <a:pt x="540" y="817"/>
                </a:cubicBezTo>
                <a:cubicBezTo>
                  <a:pt x="544" y="810"/>
                  <a:pt x="544" y="810"/>
                  <a:pt x="544" y="810"/>
                </a:cubicBezTo>
                <a:cubicBezTo>
                  <a:pt x="544" y="801"/>
                  <a:pt x="544" y="801"/>
                  <a:pt x="544" y="801"/>
                </a:cubicBezTo>
                <a:cubicBezTo>
                  <a:pt x="572" y="799"/>
                  <a:pt x="572" y="799"/>
                  <a:pt x="572" y="799"/>
                </a:cubicBezTo>
                <a:cubicBezTo>
                  <a:pt x="581" y="800"/>
                  <a:pt x="581" y="800"/>
                  <a:pt x="581" y="800"/>
                </a:cubicBezTo>
                <a:cubicBezTo>
                  <a:pt x="598" y="806"/>
                  <a:pt x="598" y="806"/>
                  <a:pt x="598" y="806"/>
                </a:cubicBezTo>
                <a:cubicBezTo>
                  <a:pt x="626" y="807"/>
                  <a:pt x="626" y="807"/>
                  <a:pt x="626" y="807"/>
                </a:cubicBezTo>
                <a:cubicBezTo>
                  <a:pt x="637" y="788"/>
                  <a:pt x="637" y="788"/>
                  <a:pt x="637" y="788"/>
                </a:cubicBezTo>
                <a:cubicBezTo>
                  <a:pt x="628" y="777"/>
                  <a:pt x="628" y="777"/>
                  <a:pt x="628" y="777"/>
                </a:cubicBezTo>
                <a:cubicBezTo>
                  <a:pt x="627" y="776"/>
                  <a:pt x="627" y="776"/>
                  <a:pt x="627" y="776"/>
                </a:cubicBezTo>
                <a:cubicBezTo>
                  <a:pt x="627" y="776"/>
                  <a:pt x="627" y="776"/>
                  <a:pt x="627" y="776"/>
                </a:cubicBezTo>
                <a:cubicBezTo>
                  <a:pt x="627" y="770"/>
                  <a:pt x="627" y="770"/>
                  <a:pt x="627" y="770"/>
                </a:cubicBezTo>
                <a:cubicBezTo>
                  <a:pt x="627" y="768"/>
                  <a:pt x="627" y="768"/>
                  <a:pt x="627" y="768"/>
                </a:cubicBezTo>
                <a:cubicBezTo>
                  <a:pt x="627" y="767"/>
                  <a:pt x="627" y="767"/>
                  <a:pt x="627" y="767"/>
                </a:cubicBezTo>
                <a:cubicBezTo>
                  <a:pt x="628" y="765"/>
                  <a:pt x="628" y="765"/>
                  <a:pt x="628" y="765"/>
                </a:cubicBezTo>
                <a:cubicBezTo>
                  <a:pt x="629" y="765"/>
                  <a:pt x="629" y="765"/>
                  <a:pt x="629" y="765"/>
                </a:cubicBezTo>
                <a:cubicBezTo>
                  <a:pt x="639" y="756"/>
                  <a:pt x="639" y="756"/>
                  <a:pt x="639" y="756"/>
                </a:cubicBezTo>
                <a:cubicBezTo>
                  <a:pt x="660" y="725"/>
                  <a:pt x="660" y="725"/>
                  <a:pt x="660" y="725"/>
                </a:cubicBezTo>
                <a:cubicBezTo>
                  <a:pt x="665" y="718"/>
                  <a:pt x="665" y="718"/>
                  <a:pt x="665" y="718"/>
                </a:cubicBezTo>
                <a:cubicBezTo>
                  <a:pt x="665" y="716"/>
                  <a:pt x="665" y="716"/>
                  <a:pt x="665" y="716"/>
                </a:cubicBezTo>
                <a:cubicBezTo>
                  <a:pt x="665" y="709"/>
                  <a:pt x="665" y="709"/>
                  <a:pt x="665" y="709"/>
                </a:cubicBezTo>
                <a:cubicBezTo>
                  <a:pt x="663" y="703"/>
                  <a:pt x="663" y="703"/>
                  <a:pt x="663" y="703"/>
                </a:cubicBezTo>
                <a:cubicBezTo>
                  <a:pt x="663" y="701"/>
                  <a:pt x="663" y="701"/>
                  <a:pt x="663" y="701"/>
                </a:cubicBezTo>
                <a:cubicBezTo>
                  <a:pt x="662" y="700"/>
                  <a:pt x="662" y="700"/>
                  <a:pt x="662" y="700"/>
                </a:cubicBezTo>
                <a:cubicBezTo>
                  <a:pt x="662" y="697"/>
                  <a:pt x="662" y="697"/>
                  <a:pt x="662" y="697"/>
                </a:cubicBezTo>
                <a:cubicBezTo>
                  <a:pt x="662" y="691"/>
                  <a:pt x="662" y="691"/>
                  <a:pt x="662" y="691"/>
                </a:cubicBezTo>
                <a:cubicBezTo>
                  <a:pt x="663" y="688"/>
                  <a:pt x="663" y="688"/>
                  <a:pt x="663" y="688"/>
                </a:cubicBezTo>
                <a:cubicBezTo>
                  <a:pt x="676" y="653"/>
                  <a:pt x="676" y="653"/>
                  <a:pt x="676" y="653"/>
                </a:cubicBezTo>
                <a:cubicBezTo>
                  <a:pt x="678" y="647"/>
                  <a:pt x="678" y="647"/>
                  <a:pt x="678" y="647"/>
                </a:cubicBezTo>
                <a:cubicBezTo>
                  <a:pt x="689" y="631"/>
                  <a:pt x="689" y="631"/>
                  <a:pt x="689" y="631"/>
                </a:cubicBezTo>
                <a:cubicBezTo>
                  <a:pt x="696" y="616"/>
                  <a:pt x="696" y="616"/>
                  <a:pt x="696" y="616"/>
                </a:cubicBezTo>
                <a:lnTo>
                  <a:pt x="693" y="577"/>
                </a:lnTo>
                <a:close/>
                <a:moveTo>
                  <a:pt x="155" y="559"/>
                </a:moveTo>
                <a:cubicBezTo>
                  <a:pt x="152" y="560"/>
                  <a:pt x="152" y="560"/>
                  <a:pt x="152" y="560"/>
                </a:cubicBezTo>
                <a:cubicBezTo>
                  <a:pt x="150" y="561"/>
                  <a:pt x="150" y="561"/>
                  <a:pt x="150" y="561"/>
                </a:cubicBezTo>
                <a:cubicBezTo>
                  <a:pt x="149" y="563"/>
                  <a:pt x="149" y="563"/>
                  <a:pt x="149" y="563"/>
                </a:cubicBezTo>
                <a:cubicBezTo>
                  <a:pt x="149" y="564"/>
                  <a:pt x="149" y="564"/>
                  <a:pt x="149" y="564"/>
                </a:cubicBezTo>
                <a:cubicBezTo>
                  <a:pt x="149" y="565"/>
                  <a:pt x="149" y="565"/>
                  <a:pt x="149" y="565"/>
                </a:cubicBezTo>
                <a:cubicBezTo>
                  <a:pt x="149" y="566"/>
                  <a:pt x="149" y="566"/>
                  <a:pt x="149" y="566"/>
                </a:cubicBezTo>
                <a:cubicBezTo>
                  <a:pt x="150" y="567"/>
                  <a:pt x="150" y="567"/>
                  <a:pt x="150" y="567"/>
                </a:cubicBezTo>
                <a:cubicBezTo>
                  <a:pt x="153" y="567"/>
                  <a:pt x="153" y="567"/>
                  <a:pt x="153" y="567"/>
                </a:cubicBezTo>
                <a:cubicBezTo>
                  <a:pt x="156" y="564"/>
                  <a:pt x="156" y="564"/>
                  <a:pt x="156" y="564"/>
                </a:cubicBezTo>
                <a:cubicBezTo>
                  <a:pt x="157" y="563"/>
                  <a:pt x="157" y="563"/>
                  <a:pt x="157" y="563"/>
                </a:cubicBezTo>
                <a:cubicBezTo>
                  <a:pt x="157" y="561"/>
                  <a:pt x="157" y="561"/>
                  <a:pt x="157" y="561"/>
                </a:cubicBezTo>
                <a:cubicBezTo>
                  <a:pt x="157" y="560"/>
                  <a:pt x="157" y="560"/>
                  <a:pt x="157" y="560"/>
                </a:cubicBezTo>
                <a:cubicBezTo>
                  <a:pt x="157" y="559"/>
                  <a:pt x="157" y="559"/>
                  <a:pt x="157" y="559"/>
                </a:cubicBezTo>
                <a:lnTo>
                  <a:pt x="155" y="559"/>
                </a:lnTo>
                <a:close/>
                <a:moveTo>
                  <a:pt x="146" y="513"/>
                </a:moveTo>
                <a:cubicBezTo>
                  <a:pt x="146" y="512"/>
                  <a:pt x="146" y="512"/>
                  <a:pt x="146" y="512"/>
                </a:cubicBezTo>
                <a:cubicBezTo>
                  <a:pt x="145" y="512"/>
                  <a:pt x="145" y="512"/>
                  <a:pt x="145" y="512"/>
                </a:cubicBezTo>
                <a:cubicBezTo>
                  <a:pt x="143" y="512"/>
                  <a:pt x="143" y="512"/>
                  <a:pt x="143" y="512"/>
                </a:cubicBezTo>
                <a:cubicBezTo>
                  <a:pt x="137" y="515"/>
                  <a:pt x="137" y="515"/>
                  <a:pt x="137" y="515"/>
                </a:cubicBezTo>
                <a:cubicBezTo>
                  <a:pt x="137" y="516"/>
                  <a:pt x="137" y="516"/>
                  <a:pt x="137" y="516"/>
                </a:cubicBezTo>
                <a:cubicBezTo>
                  <a:pt x="136" y="517"/>
                  <a:pt x="136" y="517"/>
                  <a:pt x="136" y="517"/>
                </a:cubicBezTo>
                <a:cubicBezTo>
                  <a:pt x="137" y="524"/>
                  <a:pt x="137" y="524"/>
                  <a:pt x="137" y="524"/>
                </a:cubicBezTo>
                <a:cubicBezTo>
                  <a:pt x="139" y="525"/>
                  <a:pt x="139" y="525"/>
                  <a:pt x="139" y="525"/>
                </a:cubicBezTo>
                <a:cubicBezTo>
                  <a:pt x="142" y="525"/>
                  <a:pt x="142" y="525"/>
                  <a:pt x="142" y="525"/>
                </a:cubicBezTo>
                <a:cubicBezTo>
                  <a:pt x="145" y="525"/>
                  <a:pt x="145" y="525"/>
                  <a:pt x="145" y="525"/>
                </a:cubicBezTo>
                <a:cubicBezTo>
                  <a:pt x="146" y="524"/>
                  <a:pt x="146" y="524"/>
                  <a:pt x="146" y="524"/>
                </a:cubicBezTo>
                <a:cubicBezTo>
                  <a:pt x="148" y="519"/>
                  <a:pt x="148" y="519"/>
                  <a:pt x="148" y="519"/>
                </a:cubicBezTo>
                <a:cubicBezTo>
                  <a:pt x="148" y="518"/>
                  <a:pt x="148" y="518"/>
                  <a:pt x="148" y="518"/>
                </a:cubicBezTo>
                <a:cubicBezTo>
                  <a:pt x="146" y="515"/>
                  <a:pt x="146" y="515"/>
                  <a:pt x="146" y="515"/>
                </a:cubicBezTo>
                <a:cubicBezTo>
                  <a:pt x="146" y="514"/>
                  <a:pt x="146" y="514"/>
                  <a:pt x="146" y="514"/>
                </a:cubicBezTo>
                <a:lnTo>
                  <a:pt x="146" y="513"/>
                </a:lnTo>
                <a:close/>
                <a:moveTo>
                  <a:pt x="127" y="544"/>
                </a:moveTo>
                <a:cubicBezTo>
                  <a:pt x="121" y="543"/>
                  <a:pt x="121" y="543"/>
                  <a:pt x="121" y="543"/>
                </a:cubicBezTo>
                <a:cubicBezTo>
                  <a:pt x="119" y="543"/>
                  <a:pt x="119" y="543"/>
                  <a:pt x="119" y="543"/>
                </a:cubicBezTo>
                <a:cubicBezTo>
                  <a:pt x="118" y="544"/>
                  <a:pt x="118" y="544"/>
                  <a:pt x="118" y="544"/>
                </a:cubicBezTo>
                <a:cubicBezTo>
                  <a:pt x="116" y="545"/>
                  <a:pt x="116" y="545"/>
                  <a:pt x="116" y="545"/>
                </a:cubicBezTo>
                <a:cubicBezTo>
                  <a:pt x="144" y="560"/>
                  <a:pt x="144" y="560"/>
                  <a:pt x="144" y="560"/>
                </a:cubicBezTo>
                <a:cubicBezTo>
                  <a:pt x="146" y="560"/>
                  <a:pt x="146" y="560"/>
                  <a:pt x="146" y="560"/>
                </a:cubicBezTo>
                <a:cubicBezTo>
                  <a:pt x="146" y="560"/>
                  <a:pt x="146" y="560"/>
                  <a:pt x="146" y="560"/>
                </a:cubicBezTo>
                <a:cubicBezTo>
                  <a:pt x="149" y="556"/>
                  <a:pt x="149" y="556"/>
                  <a:pt x="149" y="556"/>
                </a:cubicBezTo>
                <a:cubicBezTo>
                  <a:pt x="149" y="556"/>
                  <a:pt x="149" y="556"/>
                  <a:pt x="149" y="556"/>
                </a:cubicBezTo>
                <a:cubicBezTo>
                  <a:pt x="149" y="555"/>
                  <a:pt x="149" y="555"/>
                  <a:pt x="149" y="555"/>
                </a:cubicBezTo>
                <a:cubicBezTo>
                  <a:pt x="148" y="554"/>
                  <a:pt x="148" y="554"/>
                  <a:pt x="148" y="554"/>
                </a:cubicBezTo>
                <a:cubicBezTo>
                  <a:pt x="141" y="550"/>
                  <a:pt x="141" y="550"/>
                  <a:pt x="141" y="550"/>
                </a:cubicBezTo>
                <a:cubicBezTo>
                  <a:pt x="139" y="548"/>
                  <a:pt x="139" y="548"/>
                  <a:pt x="139" y="548"/>
                </a:cubicBezTo>
                <a:cubicBezTo>
                  <a:pt x="135" y="547"/>
                  <a:pt x="135" y="547"/>
                  <a:pt x="135" y="547"/>
                </a:cubicBezTo>
                <a:lnTo>
                  <a:pt x="127" y="544"/>
                </a:lnTo>
                <a:close/>
                <a:moveTo>
                  <a:pt x="162" y="574"/>
                </a:moveTo>
                <a:cubicBezTo>
                  <a:pt x="163" y="574"/>
                  <a:pt x="163" y="574"/>
                  <a:pt x="163" y="574"/>
                </a:cubicBezTo>
                <a:cubicBezTo>
                  <a:pt x="164" y="572"/>
                  <a:pt x="164" y="572"/>
                  <a:pt x="164" y="572"/>
                </a:cubicBezTo>
                <a:cubicBezTo>
                  <a:pt x="165" y="570"/>
                  <a:pt x="165" y="570"/>
                  <a:pt x="165" y="570"/>
                </a:cubicBezTo>
                <a:cubicBezTo>
                  <a:pt x="165" y="570"/>
                  <a:pt x="165" y="570"/>
                  <a:pt x="165" y="570"/>
                </a:cubicBezTo>
                <a:cubicBezTo>
                  <a:pt x="165" y="570"/>
                  <a:pt x="165" y="570"/>
                  <a:pt x="165" y="570"/>
                </a:cubicBezTo>
                <a:cubicBezTo>
                  <a:pt x="165" y="569"/>
                  <a:pt x="165" y="569"/>
                  <a:pt x="165" y="569"/>
                </a:cubicBezTo>
                <a:cubicBezTo>
                  <a:pt x="164" y="568"/>
                  <a:pt x="164" y="568"/>
                  <a:pt x="164" y="568"/>
                </a:cubicBezTo>
                <a:cubicBezTo>
                  <a:pt x="163" y="568"/>
                  <a:pt x="163" y="568"/>
                  <a:pt x="163" y="568"/>
                </a:cubicBezTo>
                <a:cubicBezTo>
                  <a:pt x="161" y="567"/>
                  <a:pt x="161" y="567"/>
                  <a:pt x="161" y="567"/>
                </a:cubicBezTo>
                <a:cubicBezTo>
                  <a:pt x="159" y="569"/>
                  <a:pt x="159" y="569"/>
                  <a:pt x="159" y="569"/>
                </a:cubicBezTo>
                <a:cubicBezTo>
                  <a:pt x="157" y="570"/>
                  <a:pt x="157" y="570"/>
                  <a:pt x="157" y="570"/>
                </a:cubicBezTo>
                <a:cubicBezTo>
                  <a:pt x="157" y="571"/>
                  <a:pt x="157" y="571"/>
                  <a:pt x="157" y="571"/>
                </a:cubicBezTo>
                <a:cubicBezTo>
                  <a:pt x="157" y="572"/>
                  <a:pt x="157" y="572"/>
                  <a:pt x="157" y="572"/>
                </a:cubicBezTo>
                <a:lnTo>
                  <a:pt x="162" y="57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Freeform 56">
            <a:extLst>
              <a:ext uri="{FF2B5EF4-FFF2-40B4-BE49-F238E27FC236}">
                <a16:creationId xmlns:a16="http://schemas.microsoft.com/office/drawing/2014/main" id="{180093A8-A41F-4D3E-90B0-648B90C5292E}"/>
              </a:ext>
            </a:extLst>
          </p:cNvPr>
          <p:cNvSpPr>
            <a:spLocks/>
          </p:cNvSpPr>
          <p:nvPr/>
        </p:nvSpPr>
        <p:spPr bwMode="auto">
          <a:xfrm>
            <a:off x="6359274" y="4325469"/>
            <a:ext cx="569252" cy="341313"/>
          </a:xfrm>
          <a:custGeom>
            <a:avLst/>
            <a:gdLst>
              <a:gd name="T0" fmla="*/ 15 w 236"/>
              <a:gd name="T1" fmla="*/ 55 h 153"/>
              <a:gd name="T2" fmla="*/ 14 w 236"/>
              <a:gd name="T3" fmla="*/ 63 h 153"/>
              <a:gd name="T4" fmla="*/ 6 w 236"/>
              <a:gd name="T5" fmla="*/ 68 h 153"/>
              <a:gd name="T6" fmla="*/ 2 w 236"/>
              <a:gd name="T7" fmla="*/ 73 h 153"/>
              <a:gd name="T8" fmla="*/ 4 w 236"/>
              <a:gd name="T9" fmla="*/ 80 h 153"/>
              <a:gd name="T10" fmla="*/ 5 w 236"/>
              <a:gd name="T11" fmla="*/ 89 h 153"/>
              <a:gd name="T12" fmla="*/ 7 w 236"/>
              <a:gd name="T13" fmla="*/ 93 h 153"/>
              <a:gd name="T14" fmla="*/ 8 w 236"/>
              <a:gd name="T15" fmla="*/ 102 h 153"/>
              <a:gd name="T16" fmla="*/ 8 w 236"/>
              <a:gd name="T17" fmla="*/ 106 h 153"/>
              <a:gd name="T18" fmla="*/ 8 w 236"/>
              <a:gd name="T19" fmla="*/ 113 h 153"/>
              <a:gd name="T20" fmla="*/ 16 w 236"/>
              <a:gd name="T21" fmla="*/ 116 h 153"/>
              <a:gd name="T22" fmla="*/ 26 w 236"/>
              <a:gd name="T23" fmla="*/ 119 h 153"/>
              <a:gd name="T24" fmla="*/ 35 w 236"/>
              <a:gd name="T25" fmla="*/ 124 h 153"/>
              <a:gd name="T26" fmla="*/ 43 w 236"/>
              <a:gd name="T27" fmla="*/ 132 h 153"/>
              <a:gd name="T28" fmla="*/ 48 w 236"/>
              <a:gd name="T29" fmla="*/ 135 h 153"/>
              <a:gd name="T30" fmla="*/ 54 w 236"/>
              <a:gd name="T31" fmla="*/ 134 h 153"/>
              <a:gd name="T32" fmla="*/ 61 w 236"/>
              <a:gd name="T33" fmla="*/ 134 h 153"/>
              <a:gd name="T34" fmla="*/ 69 w 236"/>
              <a:gd name="T35" fmla="*/ 135 h 153"/>
              <a:gd name="T36" fmla="*/ 72 w 236"/>
              <a:gd name="T37" fmla="*/ 141 h 153"/>
              <a:gd name="T38" fmla="*/ 80 w 236"/>
              <a:gd name="T39" fmla="*/ 146 h 153"/>
              <a:gd name="T40" fmla="*/ 97 w 236"/>
              <a:gd name="T41" fmla="*/ 148 h 153"/>
              <a:gd name="T42" fmla="*/ 104 w 236"/>
              <a:gd name="T43" fmla="*/ 148 h 153"/>
              <a:gd name="T44" fmla="*/ 113 w 236"/>
              <a:gd name="T45" fmla="*/ 149 h 153"/>
              <a:gd name="T46" fmla="*/ 117 w 236"/>
              <a:gd name="T47" fmla="*/ 150 h 153"/>
              <a:gd name="T48" fmla="*/ 126 w 236"/>
              <a:gd name="T49" fmla="*/ 152 h 153"/>
              <a:gd name="T50" fmla="*/ 137 w 236"/>
              <a:gd name="T51" fmla="*/ 151 h 153"/>
              <a:gd name="T52" fmla="*/ 155 w 236"/>
              <a:gd name="T53" fmla="*/ 153 h 153"/>
              <a:gd name="T54" fmla="*/ 158 w 236"/>
              <a:gd name="T55" fmla="*/ 151 h 153"/>
              <a:gd name="T56" fmla="*/ 164 w 236"/>
              <a:gd name="T57" fmla="*/ 148 h 153"/>
              <a:gd name="T58" fmla="*/ 172 w 236"/>
              <a:gd name="T59" fmla="*/ 143 h 153"/>
              <a:gd name="T60" fmla="*/ 182 w 236"/>
              <a:gd name="T61" fmla="*/ 134 h 153"/>
              <a:gd name="T62" fmla="*/ 189 w 236"/>
              <a:gd name="T63" fmla="*/ 127 h 153"/>
              <a:gd name="T64" fmla="*/ 201 w 236"/>
              <a:gd name="T65" fmla="*/ 127 h 153"/>
              <a:gd name="T66" fmla="*/ 212 w 236"/>
              <a:gd name="T67" fmla="*/ 124 h 153"/>
              <a:gd name="T68" fmla="*/ 225 w 236"/>
              <a:gd name="T69" fmla="*/ 124 h 153"/>
              <a:gd name="T70" fmla="*/ 224 w 236"/>
              <a:gd name="T71" fmla="*/ 117 h 153"/>
              <a:gd name="T72" fmla="*/ 216 w 236"/>
              <a:gd name="T73" fmla="*/ 110 h 153"/>
              <a:gd name="T74" fmla="*/ 216 w 236"/>
              <a:gd name="T75" fmla="*/ 102 h 153"/>
              <a:gd name="T76" fmla="*/ 221 w 236"/>
              <a:gd name="T77" fmla="*/ 94 h 153"/>
              <a:gd name="T78" fmla="*/ 226 w 236"/>
              <a:gd name="T79" fmla="*/ 91 h 153"/>
              <a:gd name="T80" fmla="*/ 236 w 236"/>
              <a:gd name="T81" fmla="*/ 89 h 153"/>
              <a:gd name="T82" fmla="*/ 224 w 236"/>
              <a:gd name="T83" fmla="*/ 50 h 153"/>
              <a:gd name="T84" fmla="*/ 216 w 236"/>
              <a:gd name="T85" fmla="*/ 38 h 153"/>
              <a:gd name="T86" fmla="*/ 175 w 236"/>
              <a:gd name="T87" fmla="*/ 10 h 153"/>
              <a:gd name="T88" fmla="*/ 155 w 236"/>
              <a:gd name="T89" fmla="*/ 2 h 153"/>
              <a:gd name="T90" fmla="*/ 47 w 236"/>
              <a:gd name="T91" fmla="*/ 2 h 153"/>
              <a:gd name="T92" fmla="*/ 42 w 236"/>
              <a:gd name="T93" fmla="*/ 2 h 153"/>
              <a:gd name="T94" fmla="*/ 31 w 236"/>
              <a:gd name="T95" fmla="*/ 24 h 153"/>
              <a:gd name="T96" fmla="*/ 26 w 236"/>
              <a:gd name="T97" fmla="*/ 40 h 153"/>
              <a:gd name="T98" fmla="*/ 14 w 236"/>
              <a:gd name="T99" fmla="*/ 50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36" h="153">
                <a:moveTo>
                  <a:pt x="15" y="53"/>
                </a:moveTo>
                <a:cubicBezTo>
                  <a:pt x="15" y="54"/>
                  <a:pt x="15" y="54"/>
                  <a:pt x="15" y="54"/>
                </a:cubicBezTo>
                <a:cubicBezTo>
                  <a:pt x="15" y="55"/>
                  <a:pt x="15" y="55"/>
                  <a:pt x="15" y="55"/>
                </a:cubicBezTo>
                <a:cubicBezTo>
                  <a:pt x="16" y="56"/>
                  <a:pt x="16" y="57"/>
                  <a:pt x="15" y="58"/>
                </a:cubicBezTo>
                <a:cubicBezTo>
                  <a:pt x="15" y="59"/>
                  <a:pt x="15" y="60"/>
                  <a:pt x="15" y="60"/>
                </a:cubicBezTo>
                <a:cubicBezTo>
                  <a:pt x="15" y="61"/>
                  <a:pt x="15" y="62"/>
                  <a:pt x="14" y="63"/>
                </a:cubicBezTo>
                <a:cubicBezTo>
                  <a:pt x="10" y="65"/>
                  <a:pt x="10" y="65"/>
                  <a:pt x="10" y="65"/>
                </a:cubicBezTo>
                <a:cubicBezTo>
                  <a:pt x="9" y="65"/>
                  <a:pt x="9" y="65"/>
                  <a:pt x="9" y="65"/>
                </a:cubicBezTo>
                <a:cubicBezTo>
                  <a:pt x="9" y="65"/>
                  <a:pt x="8" y="66"/>
                  <a:pt x="6" y="68"/>
                </a:cubicBezTo>
                <a:cubicBezTo>
                  <a:pt x="5" y="70"/>
                  <a:pt x="3" y="71"/>
                  <a:pt x="2" y="71"/>
                </a:cubicBezTo>
                <a:cubicBezTo>
                  <a:pt x="2" y="72"/>
                  <a:pt x="2" y="72"/>
                  <a:pt x="2" y="72"/>
                </a:cubicBezTo>
                <a:cubicBezTo>
                  <a:pt x="2" y="72"/>
                  <a:pt x="2" y="72"/>
                  <a:pt x="2" y="73"/>
                </a:cubicBezTo>
                <a:cubicBezTo>
                  <a:pt x="0" y="75"/>
                  <a:pt x="0" y="75"/>
                  <a:pt x="0" y="75"/>
                </a:cubicBezTo>
                <a:cubicBezTo>
                  <a:pt x="0" y="78"/>
                  <a:pt x="0" y="78"/>
                  <a:pt x="0" y="78"/>
                </a:cubicBezTo>
                <a:cubicBezTo>
                  <a:pt x="4" y="80"/>
                  <a:pt x="4" y="80"/>
                  <a:pt x="4" y="80"/>
                </a:cubicBezTo>
                <a:cubicBezTo>
                  <a:pt x="5" y="81"/>
                  <a:pt x="5" y="82"/>
                  <a:pt x="5" y="83"/>
                </a:cubicBezTo>
                <a:cubicBezTo>
                  <a:pt x="5" y="83"/>
                  <a:pt x="5" y="83"/>
                  <a:pt x="5" y="83"/>
                </a:cubicBezTo>
                <a:cubicBezTo>
                  <a:pt x="6" y="85"/>
                  <a:pt x="6" y="88"/>
                  <a:pt x="5" y="89"/>
                </a:cubicBezTo>
                <a:cubicBezTo>
                  <a:pt x="6" y="92"/>
                  <a:pt x="6" y="92"/>
                  <a:pt x="6" y="92"/>
                </a:cubicBezTo>
                <a:cubicBezTo>
                  <a:pt x="6" y="93"/>
                  <a:pt x="6" y="93"/>
                  <a:pt x="6" y="93"/>
                </a:cubicBezTo>
                <a:cubicBezTo>
                  <a:pt x="7" y="93"/>
                  <a:pt x="7" y="93"/>
                  <a:pt x="7" y="93"/>
                </a:cubicBezTo>
                <a:cubicBezTo>
                  <a:pt x="8" y="93"/>
                  <a:pt x="9" y="94"/>
                  <a:pt x="9" y="95"/>
                </a:cubicBezTo>
                <a:cubicBezTo>
                  <a:pt x="9" y="101"/>
                  <a:pt x="9" y="101"/>
                  <a:pt x="9" y="101"/>
                </a:cubicBezTo>
                <a:cubicBezTo>
                  <a:pt x="9" y="101"/>
                  <a:pt x="9" y="102"/>
                  <a:pt x="8" y="102"/>
                </a:cubicBezTo>
                <a:cubicBezTo>
                  <a:pt x="8" y="103"/>
                  <a:pt x="7" y="103"/>
                  <a:pt x="7" y="103"/>
                </a:cubicBezTo>
                <a:cubicBezTo>
                  <a:pt x="7" y="103"/>
                  <a:pt x="7" y="103"/>
                  <a:pt x="7" y="104"/>
                </a:cubicBezTo>
                <a:cubicBezTo>
                  <a:pt x="7" y="104"/>
                  <a:pt x="8" y="105"/>
                  <a:pt x="8" y="106"/>
                </a:cubicBezTo>
                <a:cubicBezTo>
                  <a:pt x="9" y="106"/>
                  <a:pt x="9" y="106"/>
                  <a:pt x="10" y="107"/>
                </a:cubicBezTo>
                <a:cubicBezTo>
                  <a:pt x="10" y="108"/>
                  <a:pt x="10" y="109"/>
                  <a:pt x="9" y="111"/>
                </a:cubicBezTo>
                <a:cubicBezTo>
                  <a:pt x="8" y="112"/>
                  <a:pt x="8" y="112"/>
                  <a:pt x="8" y="113"/>
                </a:cubicBezTo>
                <a:cubicBezTo>
                  <a:pt x="9" y="114"/>
                  <a:pt x="9" y="114"/>
                  <a:pt x="9" y="114"/>
                </a:cubicBezTo>
                <a:cubicBezTo>
                  <a:pt x="12" y="115"/>
                  <a:pt x="13" y="116"/>
                  <a:pt x="14" y="116"/>
                </a:cubicBezTo>
                <a:cubicBezTo>
                  <a:pt x="16" y="116"/>
                  <a:pt x="16" y="116"/>
                  <a:pt x="16" y="116"/>
                </a:cubicBezTo>
                <a:cubicBezTo>
                  <a:pt x="16" y="116"/>
                  <a:pt x="16" y="116"/>
                  <a:pt x="17" y="116"/>
                </a:cubicBezTo>
                <a:cubicBezTo>
                  <a:pt x="20" y="119"/>
                  <a:pt x="20" y="119"/>
                  <a:pt x="20" y="119"/>
                </a:cubicBezTo>
                <a:cubicBezTo>
                  <a:pt x="26" y="119"/>
                  <a:pt x="26" y="119"/>
                  <a:pt x="26" y="119"/>
                </a:cubicBezTo>
                <a:cubicBezTo>
                  <a:pt x="27" y="119"/>
                  <a:pt x="27" y="119"/>
                  <a:pt x="27" y="119"/>
                </a:cubicBezTo>
                <a:cubicBezTo>
                  <a:pt x="30" y="121"/>
                  <a:pt x="30" y="121"/>
                  <a:pt x="30" y="121"/>
                </a:cubicBezTo>
                <a:cubicBezTo>
                  <a:pt x="35" y="124"/>
                  <a:pt x="35" y="124"/>
                  <a:pt x="35" y="124"/>
                </a:cubicBezTo>
                <a:cubicBezTo>
                  <a:pt x="42" y="128"/>
                  <a:pt x="42" y="128"/>
                  <a:pt x="42" y="128"/>
                </a:cubicBezTo>
                <a:cubicBezTo>
                  <a:pt x="43" y="129"/>
                  <a:pt x="43" y="129"/>
                  <a:pt x="43" y="129"/>
                </a:cubicBezTo>
                <a:cubicBezTo>
                  <a:pt x="43" y="132"/>
                  <a:pt x="43" y="132"/>
                  <a:pt x="43" y="132"/>
                </a:cubicBezTo>
                <a:cubicBezTo>
                  <a:pt x="44" y="134"/>
                  <a:pt x="44" y="134"/>
                  <a:pt x="44" y="134"/>
                </a:cubicBezTo>
                <a:cubicBezTo>
                  <a:pt x="47" y="134"/>
                  <a:pt x="47" y="134"/>
                  <a:pt x="47" y="134"/>
                </a:cubicBezTo>
                <a:cubicBezTo>
                  <a:pt x="47" y="134"/>
                  <a:pt x="48" y="134"/>
                  <a:pt x="48" y="135"/>
                </a:cubicBezTo>
                <a:cubicBezTo>
                  <a:pt x="49" y="134"/>
                  <a:pt x="49" y="134"/>
                  <a:pt x="50" y="134"/>
                </a:cubicBezTo>
                <a:cubicBezTo>
                  <a:pt x="53" y="134"/>
                  <a:pt x="53" y="134"/>
                  <a:pt x="53" y="134"/>
                </a:cubicBezTo>
                <a:cubicBezTo>
                  <a:pt x="53" y="134"/>
                  <a:pt x="53" y="134"/>
                  <a:pt x="54" y="134"/>
                </a:cubicBezTo>
                <a:cubicBezTo>
                  <a:pt x="54" y="134"/>
                  <a:pt x="54" y="134"/>
                  <a:pt x="55" y="134"/>
                </a:cubicBezTo>
                <a:cubicBezTo>
                  <a:pt x="56" y="133"/>
                  <a:pt x="58" y="134"/>
                  <a:pt x="59" y="134"/>
                </a:cubicBezTo>
                <a:cubicBezTo>
                  <a:pt x="61" y="134"/>
                  <a:pt x="61" y="134"/>
                  <a:pt x="61" y="134"/>
                </a:cubicBezTo>
                <a:cubicBezTo>
                  <a:pt x="63" y="134"/>
                  <a:pt x="65" y="134"/>
                  <a:pt x="65" y="134"/>
                </a:cubicBezTo>
                <a:cubicBezTo>
                  <a:pt x="67" y="133"/>
                  <a:pt x="68" y="134"/>
                  <a:pt x="69" y="134"/>
                </a:cubicBezTo>
                <a:cubicBezTo>
                  <a:pt x="69" y="134"/>
                  <a:pt x="69" y="134"/>
                  <a:pt x="69" y="135"/>
                </a:cubicBezTo>
                <a:cubicBezTo>
                  <a:pt x="72" y="138"/>
                  <a:pt x="72" y="138"/>
                  <a:pt x="72" y="138"/>
                </a:cubicBezTo>
                <a:cubicBezTo>
                  <a:pt x="72" y="138"/>
                  <a:pt x="72" y="138"/>
                  <a:pt x="72" y="139"/>
                </a:cubicBezTo>
                <a:cubicBezTo>
                  <a:pt x="72" y="141"/>
                  <a:pt x="72" y="141"/>
                  <a:pt x="72" y="141"/>
                </a:cubicBezTo>
                <a:cubicBezTo>
                  <a:pt x="73" y="142"/>
                  <a:pt x="73" y="144"/>
                  <a:pt x="72" y="146"/>
                </a:cubicBezTo>
                <a:cubicBezTo>
                  <a:pt x="73" y="146"/>
                  <a:pt x="73" y="146"/>
                  <a:pt x="73" y="146"/>
                </a:cubicBezTo>
                <a:cubicBezTo>
                  <a:pt x="80" y="146"/>
                  <a:pt x="80" y="146"/>
                  <a:pt x="80" y="146"/>
                </a:cubicBezTo>
                <a:cubicBezTo>
                  <a:pt x="81" y="146"/>
                  <a:pt x="82" y="147"/>
                  <a:pt x="82" y="147"/>
                </a:cubicBezTo>
                <a:cubicBezTo>
                  <a:pt x="82" y="148"/>
                  <a:pt x="83" y="148"/>
                  <a:pt x="83" y="148"/>
                </a:cubicBezTo>
                <a:cubicBezTo>
                  <a:pt x="97" y="148"/>
                  <a:pt x="97" y="148"/>
                  <a:pt x="97" y="148"/>
                </a:cubicBezTo>
                <a:cubicBezTo>
                  <a:pt x="98" y="148"/>
                  <a:pt x="99" y="148"/>
                  <a:pt x="100" y="148"/>
                </a:cubicBezTo>
                <a:cubicBezTo>
                  <a:pt x="101" y="148"/>
                  <a:pt x="102" y="148"/>
                  <a:pt x="103" y="148"/>
                </a:cubicBezTo>
                <a:cubicBezTo>
                  <a:pt x="104" y="148"/>
                  <a:pt x="104" y="148"/>
                  <a:pt x="104" y="148"/>
                </a:cubicBezTo>
                <a:cubicBezTo>
                  <a:pt x="108" y="150"/>
                  <a:pt x="108" y="150"/>
                  <a:pt x="108" y="150"/>
                </a:cubicBezTo>
                <a:cubicBezTo>
                  <a:pt x="110" y="150"/>
                  <a:pt x="110" y="150"/>
                  <a:pt x="110" y="150"/>
                </a:cubicBezTo>
                <a:cubicBezTo>
                  <a:pt x="110" y="150"/>
                  <a:pt x="111" y="149"/>
                  <a:pt x="113" y="149"/>
                </a:cubicBezTo>
                <a:cubicBezTo>
                  <a:pt x="114" y="150"/>
                  <a:pt x="114" y="150"/>
                  <a:pt x="115" y="151"/>
                </a:cubicBezTo>
                <a:cubicBezTo>
                  <a:pt x="115" y="151"/>
                  <a:pt x="115" y="151"/>
                  <a:pt x="115" y="151"/>
                </a:cubicBezTo>
                <a:cubicBezTo>
                  <a:pt x="116" y="150"/>
                  <a:pt x="117" y="150"/>
                  <a:pt x="117" y="150"/>
                </a:cubicBezTo>
                <a:cubicBezTo>
                  <a:pt x="118" y="151"/>
                  <a:pt x="118" y="151"/>
                  <a:pt x="118" y="151"/>
                </a:cubicBezTo>
                <a:cubicBezTo>
                  <a:pt x="124" y="151"/>
                  <a:pt x="124" y="151"/>
                  <a:pt x="124" y="151"/>
                </a:cubicBezTo>
                <a:cubicBezTo>
                  <a:pt x="125" y="151"/>
                  <a:pt x="125" y="151"/>
                  <a:pt x="126" y="152"/>
                </a:cubicBezTo>
                <a:cubicBezTo>
                  <a:pt x="132" y="152"/>
                  <a:pt x="132" y="152"/>
                  <a:pt x="132" y="152"/>
                </a:cubicBezTo>
                <a:cubicBezTo>
                  <a:pt x="133" y="152"/>
                  <a:pt x="133" y="152"/>
                  <a:pt x="134" y="153"/>
                </a:cubicBezTo>
                <a:cubicBezTo>
                  <a:pt x="137" y="151"/>
                  <a:pt x="137" y="151"/>
                  <a:pt x="137" y="151"/>
                </a:cubicBezTo>
                <a:cubicBezTo>
                  <a:pt x="137" y="151"/>
                  <a:pt x="138" y="151"/>
                  <a:pt x="138" y="152"/>
                </a:cubicBezTo>
                <a:cubicBezTo>
                  <a:pt x="141" y="153"/>
                  <a:pt x="141" y="153"/>
                  <a:pt x="141" y="153"/>
                </a:cubicBezTo>
                <a:cubicBezTo>
                  <a:pt x="155" y="153"/>
                  <a:pt x="155" y="153"/>
                  <a:pt x="155" y="153"/>
                </a:cubicBezTo>
                <a:cubicBezTo>
                  <a:pt x="156" y="153"/>
                  <a:pt x="156" y="153"/>
                  <a:pt x="157" y="152"/>
                </a:cubicBezTo>
                <a:cubicBezTo>
                  <a:pt x="158" y="151"/>
                  <a:pt x="158" y="151"/>
                  <a:pt x="158" y="151"/>
                </a:cubicBezTo>
                <a:cubicBezTo>
                  <a:pt x="158" y="151"/>
                  <a:pt x="158" y="151"/>
                  <a:pt x="158" y="151"/>
                </a:cubicBezTo>
                <a:cubicBezTo>
                  <a:pt x="158" y="150"/>
                  <a:pt x="159" y="149"/>
                  <a:pt x="161" y="149"/>
                </a:cubicBezTo>
                <a:cubicBezTo>
                  <a:pt x="163" y="149"/>
                  <a:pt x="163" y="149"/>
                  <a:pt x="163" y="149"/>
                </a:cubicBezTo>
                <a:cubicBezTo>
                  <a:pt x="164" y="148"/>
                  <a:pt x="164" y="148"/>
                  <a:pt x="164" y="148"/>
                </a:cubicBezTo>
                <a:cubicBezTo>
                  <a:pt x="168" y="144"/>
                  <a:pt x="168" y="144"/>
                  <a:pt x="168" y="144"/>
                </a:cubicBezTo>
                <a:cubicBezTo>
                  <a:pt x="169" y="143"/>
                  <a:pt x="169" y="143"/>
                  <a:pt x="169" y="143"/>
                </a:cubicBezTo>
                <a:cubicBezTo>
                  <a:pt x="172" y="143"/>
                  <a:pt x="172" y="143"/>
                  <a:pt x="172" y="143"/>
                </a:cubicBezTo>
                <a:cubicBezTo>
                  <a:pt x="179" y="138"/>
                  <a:pt x="179" y="138"/>
                  <a:pt x="179" y="138"/>
                </a:cubicBezTo>
                <a:cubicBezTo>
                  <a:pt x="180" y="137"/>
                  <a:pt x="180" y="137"/>
                  <a:pt x="180" y="137"/>
                </a:cubicBezTo>
                <a:cubicBezTo>
                  <a:pt x="180" y="135"/>
                  <a:pt x="182" y="134"/>
                  <a:pt x="182" y="134"/>
                </a:cubicBezTo>
                <a:cubicBezTo>
                  <a:pt x="184" y="132"/>
                  <a:pt x="184" y="132"/>
                  <a:pt x="184" y="132"/>
                </a:cubicBezTo>
                <a:cubicBezTo>
                  <a:pt x="183" y="131"/>
                  <a:pt x="184" y="130"/>
                  <a:pt x="184" y="130"/>
                </a:cubicBezTo>
                <a:cubicBezTo>
                  <a:pt x="185" y="128"/>
                  <a:pt x="188" y="127"/>
                  <a:pt x="189" y="127"/>
                </a:cubicBezTo>
                <a:cubicBezTo>
                  <a:pt x="189" y="127"/>
                  <a:pt x="189" y="127"/>
                  <a:pt x="189" y="127"/>
                </a:cubicBezTo>
                <a:cubicBezTo>
                  <a:pt x="197" y="127"/>
                  <a:pt x="197" y="127"/>
                  <a:pt x="197" y="127"/>
                </a:cubicBezTo>
                <a:cubicBezTo>
                  <a:pt x="198" y="126"/>
                  <a:pt x="200" y="126"/>
                  <a:pt x="201" y="127"/>
                </a:cubicBezTo>
                <a:cubicBezTo>
                  <a:pt x="204" y="127"/>
                  <a:pt x="204" y="127"/>
                  <a:pt x="204" y="127"/>
                </a:cubicBezTo>
                <a:cubicBezTo>
                  <a:pt x="205" y="127"/>
                  <a:pt x="206" y="127"/>
                  <a:pt x="207" y="126"/>
                </a:cubicBezTo>
                <a:cubicBezTo>
                  <a:pt x="208" y="126"/>
                  <a:pt x="211" y="125"/>
                  <a:pt x="212" y="124"/>
                </a:cubicBezTo>
                <a:cubicBezTo>
                  <a:pt x="213" y="124"/>
                  <a:pt x="213" y="124"/>
                  <a:pt x="213" y="124"/>
                </a:cubicBezTo>
                <a:cubicBezTo>
                  <a:pt x="224" y="124"/>
                  <a:pt x="224" y="124"/>
                  <a:pt x="224" y="124"/>
                </a:cubicBezTo>
                <a:cubicBezTo>
                  <a:pt x="224" y="124"/>
                  <a:pt x="224" y="124"/>
                  <a:pt x="225" y="124"/>
                </a:cubicBezTo>
                <a:cubicBezTo>
                  <a:pt x="225" y="123"/>
                  <a:pt x="226" y="121"/>
                  <a:pt x="226" y="121"/>
                </a:cubicBezTo>
                <a:cubicBezTo>
                  <a:pt x="226" y="118"/>
                  <a:pt x="226" y="118"/>
                  <a:pt x="226" y="118"/>
                </a:cubicBezTo>
                <a:cubicBezTo>
                  <a:pt x="224" y="117"/>
                  <a:pt x="224" y="117"/>
                  <a:pt x="224" y="117"/>
                </a:cubicBezTo>
                <a:cubicBezTo>
                  <a:pt x="220" y="113"/>
                  <a:pt x="220" y="113"/>
                  <a:pt x="220" y="113"/>
                </a:cubicBezTo>
                <a:cubicBezTo>
                  <a:pt x="220" y="113"/>
                  <a:pt x="219" y="113"/>
                  <a:pt x="218" y="112"/>
                </a:cubicBezTo>
                <a:cubicBezTo>
                  <a:pt x="217" y="111"/>
                  <a:pt x="216" y="110"/>
                  <a:pt x="216" y="110"/>
                </a:cubicBezTo>
                <a:cubicBezTo>
                  <a:pt x="214" y="107"/>
                  <a:pt x="214" y="107"/>
                  <a:pt x="214" y="107"/>
                </a:cubicBezTo>
                <a:cubicBezTo>
                  <a:pt x="214" y="107"/>
                  <a:pt x="214" y="107"/>
                  <a:pt x="214" y="107"/>
                </a:cubicBezTo>
                <a:cubicBezTo>
                  <a:pt x="214" y="106"/>
                  <a:pt x="214" y="103"/>
                  <a:pt x="216" y="102"/>
                </a:cubicBezTo>
                <a:cubicBezTo>
                  <a:pt x="216" y="102"/>
                  <a:pt x="216" y="102"/>
                  <a:pt x="216" y="102"/>
                </a:cubicBezTo>
                <a:cubicBezTo>
                  <a:pt x="216" y="101"/>
                  <a:pt x="217" y="101"/>
                  <a:pt x="217" y="100"/>
                </a:cubicBezTo>
                <a:cubicBezTo>
                  <a:pt x="221" y="94"/>
                  <a:pt x="221" y="94"/>
                  <a:pt x="221" y="94"/>
                </a:cubicBezTo>
                <a:cubicBezTo>
                  <a:pt x="221" y="93"/>
                  <a:pt x="222" y="93"/>
                  <a:pt x="223" y="93"/>
                </a:cubicBezTo>
                <a:cubicBezTo>
                  <a:pt x="223" y="93"/>
                  <a:pt x="223" y="93"/>
                  <a:pt x="223" y="93"/>
                </a:cubicBezTo>
                <a:cubicBezTo>
                  <a:pt x="226" y="91"/>
                  <a:pt x="226" y="91"/>
                  <a:pt x="226" y="91"/>
                </a:cubicBezTo>
                <a:cubicBezTo>
                  <a:pt x="229" y="89"/>
                  <a:pt x="229" y="89"/>
                  <a:pt x="229" y="89"/>
                </a:cubicBezTo>
                <a:cubicBezTo>
                  <a:pt x="229" y="89"/>
                  <a:pt x="229" y="89"/>
                  <a:pt x="230" y="89"/>
                </a:cubicBezTo>
                <a:cubicBezTo>
                  <a:pt x="236" y="89"/>
                  <a:pt x="236" y="89"/>
                  <a:pt x="236" y="89"/>
                </a:cubicBezTo>
                <a:cubicBezTo>
                  <a:pt x="233" y="73"/>
                  <a:pt x="233" y="73"/>
                  <a:pt x="233" y="73"/>
                </a:cubicBezTo>
                <a:cubicBezTo>
                  <a:pt x="231" y="68"/>
                  <a:pt x="231" y="68"/>
                  <a:pt x="231" y="68"/>
                </a:cubicBezTo>
                <a:cubicBezTo>
                  <a:pt x="224" y="50"/>
                  <a:pt x="224" y="50"/>
                  <a:pt x="224" y="50"/>
                </a:cubicBezTo>
                <a:cubicBezTo>
                  <a:pt x="222" y="47"/>
                  <a:pt x="222" y="47"/>
                  <a:pt x="222" y="47"/>
                </a:cubicBezTo>
                <a:cubicBezTo>
                  <a:pt x="219" y="42"/>
                  <a:pt x="219" y="42"/>
                  <a:pt x="219" y="42"/>
                </a:cubicBezTo>
                <a:cubicBezTo>
                  <a:pt x="216" y="38"/>
                  <a:pt x="216" y="38"/>
                  <a:pt x="216" y="38"/>
                </a:cubicBezTo>
                <a:cubicBezTo>
                  <a:pt x="214" y="37"/>
                  <a:pt x="214" y="37"/>
                  <a:pt x="214" y="37"/>
                </a:cubicBezTo>
                <a:cubicBezTo>
                  <a:pt x="179" y="13"/>
                  <a:pt x="179" y="13"/>
                  <a:pt x="179" y="13"/>
                </a:cubicBezTo>
                <a:cubicBezTo>
                  <a:pt x="175" y="10"/>
                  <a:pt x="175" y="10"/>
                  <a:pt x="175" y="10"/>
                </a:cubicBezTo>
                <a:cubicBezTo>
                  <a:pt x="170" y="8"/>
                  <a:pt x="170" y="8"/>
                  <a:pt x="170" y="8"/>
                </a:cubicBezTo>
                <a:cubicBezTo>
                  <a:pt x="166" y="6"/>
                  <a:pt x="166" y="6"/>
                  <a:pt x="166" y="6"/>
                </a:cubicBezTo>
                <a:cubicBezTo>
                  <a:pt x="155" y="2"/>
                  <a:pt x="155" y="2"/>
                  <a:pt x="155" y="2"/>
                </a:cubicBezTo>
                <a:cubicBezTo>
                  <a:pt x="139" y="0"/>
                  <a:pt x="139" y="0"/>
                  <a:pt x="139" y="0"/>
                </a:cubicBezTo>
                <a:cubicBezTo>
                  <a:pt x="111" y="0"/>
                  <a:pt x="111" y="0"/>
                  <a:pt x="111" y="0"/>
                </a:cubicBezTo>
                <a:cubicBezTo>
                  <a:pt x="47" y="2"/>
                  <a:pt x="47" y="2"/>
                  <a:pt x="47" y="2"/>
                </a:cubicBezTo>
                <a:cubicBezTo>
                  <a:pt x="46" y="2"/>
                  <a:pt x="46" y="2"/>
                  <a:pt x="46" y="2"/>
                </a:cubicBezTo>
                <a:cubicBezTo>
                  <a:pt x="44" y="2"/>
                  <a:pt x="44" y="2"/>
                  <a:pt x="44" y="2"/>
                </a:cubicBezTo>
                <a:cubicBezTo>
                  <a:pt x="42" y="2"/>
                  <a:pt x="42" y="2"/>
                  <a:pt x="42" y="2"/>
                </a:cubicBezTo>
                <a:cubicBezTo>
                  <a:pt x="35" y="10"/>
                  <a:pt x="35" y="10"/>
                  <a:pt x="35" y="10"/>
                </a:cubicBezTo>
                <a:cubicBezTo>
                  <a:pt x="34" y="12"/>
                  <a:pt x="34" y="12"/>
                  <a:pt x="34" y="12"/>
                </a:cubicBezTo>
                <a:cubicBezTo>
                  <a:pt x="31" y="24"/>
                  <a:pt x="31" y="24"/>
                  <a:pt x="31" y="24"/>
                </a:cubicBezTo>
                <a:cubicBezTo>
                  <a:pt x="28" y="36"/>
                  <a:pt x="28" y="36"/>
                  <a:pt x="28" y="36"/>
                </a:cubicBezTo>
                <a:cubicBezTo>
                  <a:pt x="28" y="39"/>
                  <a:pt x="28" y="39"/>
                  <a:pt x="28" y="39"/>
                </a:cubicBezTo>
                <a:cubicBezTo>
                  <a:pt x="26" y="40"/>
                  <a:pt x="26" y="40"/>
                  <a:pt x="26" y="40"/>
                </a:cubicBezTo>
                <a:cubicBezTo>
                  <a:pt x="21" y="48"/>
                  <a:pt x="21" y="48"/>
                  <a:pt x="21" y="48"/>
                </a:cubicBezTo>
                <a:cubicBezTo>
                  <a:pt x="18" y="50"/>
                  <a:pt x="18" y="50"/>
                  <a:pt x="18" y="50"/>
                </a:cubicBezTo>
                <a:cubicBezTo>
                  <a:pt x="14" y="50"/>
                  <a:pt x="14" y="50"/>
                  <a:pt x="14" y="50"/>
                </a:cubicBezTo>
                <a:cubicBezTo>
                  <a:pt x="15" y="52"/>
                  <a:pt x="15" y="52"/>
                  <a:pt x="15" y="52"/>
                </a:cubicBezTo>
                <a:cubicBezTo>
                  <a:pt x="15" y="53"/>
                  <a:pt x="15" y="53"/>
                  <a:pt x="15" y="5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Freeform 57">
            <a:extLst>
              <a:ext uri="{FF2B5EF4-FFF2-40B4-BE49-F238E27FC236}">
                <a16:creationId xmlns:a16="http://schemas.microsoft.com/office/drawing/2014/main" id="{1501D9FE-996F-41DC-A81F-E30C1822D40A}"/>
              </a:ext>
            </a:extLst>
          </p:cNvPr>
          <p:cNvSpPr>
            <a:spLocks noEditPoints="1"/>
          </p:cNvSpPr>
          <p:nvPr/>
        </p:nvSpPr>
        <p:spPr bwMode="auto">
          <a:xfrm>
            <a:off x="3746910" y="2190282"/>
            <a:ext cx="832379" cy="904875"/>
          </a:xfrm>
          <a:custGeom>
            <a:avLst/>
            <a:gdLst>
              <a:gd name="T0" fmla="*/ 161 w 344"/>
              <a:gd name="T1" fmla="*/ 55 h 406"/>
              <a:gd name="T2" fmla="*/ 190 w 344"/>
              <a:gd name="T3" fmla="*/ 56 h 406"/>
              <a:gd name="T4" fmla="*/ 155 w 344"/>
              <a:gd name="T5" fmla="*/ 62 h 406"/>
              <a:gd name="T6" fmla="*/ 181 w 344"/>
              <a:gd name="T7" fmla="*/ 101 h 406"/>
              <a:gd name="T8" fmla="*/ 265 w 344"/>
              <a:gd name="T9" fmla="*/ 19 h 406"/>
              <a:gd name="T10" fmla="*/ 264 w 344"/>
              <a:gd name="T11" fmla="*/ 9 h 406"/>
              <a:gd name="T12" fmla="*/ 248 w 344"/>
              <a:gd name="T13" fmla="*/ 0 h 406"/>
              <a:gd name="T14" fmla="*/ 219 w 344"/>
              <a:gd name="T15" fmla="*/ 6 h 406"/>
              <a:gd name="T16" fmla="*/ 195 w 344"/>
              <a:gd name="T17" fmla="*/ 24 h 406"/>
              <a:gd name="T18" fmla="*/ 171 w 344"/>
              <a:gd name="T19" fmla="*/ 34 h 406"/>
              <a:gd name="T20" fmla="*/ 120 w 344"/>
              <a:gd name="T21" fmla="*/ 33 h 406"/>
              <a:gd name="T22" fmla="*/ 218 w 344"/>
              <a:gd name="T23" fmla="*/ 87 h 406"/>
              <a:gd name="T24" fmla="*/ 217 w 344"/>
              <a:gd name="T25" fmla="*/ 88 h 406"/>
              <a:gd name="T26" fmla="*/ 324 w 344"/>
              <a:gd name="T27" fmla="*/ 74 h 406"/>
              <a:gd name="T28" fmla="*/ 332 w 344"/>
              <a:gd name="T29" fmla="*/ 60 h 406"/>
              <a:gd name="T30" fmla="*/ 320 w 344"/>
              <a:gd name="T31" fmla="*/ 56 h 406"/>
              <a:gd name="T32" fmla="*/ 275 w 344"/>
              <a:gd name="T33" fmla="*/ 54 h 406"/>
              <a:gd name="T34" fmla="*/ 225 w 344"/>
              <a:gd name="T35" fmla="*/ 78 h 406"/>
              <a:gd name="T36" fmla="*/ 195 w 344"/>
              <a:gd name="T37" fmla="*/ 167 h 406"/>
              <a:gd name="T38" fmla="*/ 194 w 344"/>
              <a:gd name="T39" fmla="*/ 205 h 406"/>
              <a:gd name="T40" fmla="*/ 191 w 344"/>
              <a:gd name="T41" fmla="*/ 222 h 406"/>
              <a:gd name="T42" fmla="*/ 180 w 344"/>
              <a:gd name="T43" fmla="*/ 244 h 406"/>
              <a:gd name="T44" fmla="*/ 174 w 344"/>
              <a:gd name="T45" fmla="*/ 370 h 406"/>
              <a:gd name="T46" fmla="*/ 163 w 344"/>
              <a:gd name="T47" fmla="*/ 405 h 406"/>
              <a:gd name="T48" fmla="*/ 199 w 344"/>
              <a:gd name="T49" fmla="*/ 373 h 406"/>
              <a:gd name="T50" fmla="*/ 215 w 344"/>
              <a:gd name="T51" fmla="*/ 223 h 406"/>
              <a:gd name="T52" fmla="*/ 289 w 344"/>
              <a:gd name="T53" fmla="*/ 160 h 406"/>
              <a:gd name="T54" fmla="*/ 235 w 344"/>
              <a:gd name="T55" fmla="*/ 215 h 406"/>
              <a:gd name="T56" fmla="*/ 249 w 344"/>
              <a:gd name="T57" fmla="*/ 269 h 406"/>
              <a:gd name="T58" fmla="*/ 280 w 344"/>
              <a:gd name="T59" fmla="*/ 262 h 406"/>
              <a:gd name="T60" fmla="*/ 299 w 344"/>
              <a:gd name="T61" fmla="*/ 191 h 406"/>
              <a:gd name="T62" fmla="*/ 309 w 344"/>
              <a:gd name="T63" fmla="*/ 168 h 406"/>
              <a:gd name="T64" fmla="*/ 300 w 344"/>
              <a:gd name="T65" fmla="*/ 145 h 406"/>
              <a:gd name="T66" fmla="*/ 313 w 344"/>
              <a:gd name="T67" fmla="*/ 119 h 406"/>
              <a:gd name="T68" fmla="*/ 325 w 344"/>
              <a:gd name="T69" fmla="*/ 106 h 406"/>
              <a:gd name="T70" fmla="*/ 331 w 344"/>
              <a:gd name="T71" fmla="*/ 89 h 406"/>
              <a:gd name="T72" fmla="*/ 1 w 344"/>
              <a:gd name="T73" fmla="*/ 105 h 406"/>
              <a:gd name="T74" fmla="*/ 71 w 344"/>
              <a:gd name="T75" fmla="*/ 64 h 406"/>
              <a:gd name="T76" fmla="*/ 58 w 344"/>
              <a:gd name="T77" fmla="*/ 76 h 406"/>
              <a:gd name="T78" fmla="*/ 123 w 344"/>
              <a:gd name="T79" fmla="*/ 250 h 406"/>
              <a:gd name="T80" fmla="*/ 158 w 344"/>
              <a:gd name="T81" fmla="*/ 238 h 406"/>
              <a:gd name="T82" fmla="*/ 181 w 344"/>
              <a:gd name="T83" fmla="*/ 183 h 406"/>
              <a:gd name="T84" fmla="*/ 106 w 344"/>
              <a:gd name="T85" fmla="*/ 101 h 406"/>
              <a:gd name="T86" fmla="*/ 121 w 344"/>
              <a:gd name="T87" fmla="*/ 278 h 406"/>
              <a:gd name="T88" fmla="*/ 72 w 344"/>
              <a:gd name="T89" fmla="*/ 262 h 406"/>
              <a:gd name="T90" fmla="*/ 75 w 344"/>
              <a:gd name="T91" fmla="*/ 301 h 406"/>
              <a:gd name="T92" fmla="*/ 98 w 344"/>
              <a:gd name="T93" fmla="*/ 284 h 406"/>
              <a:gd name="T94" fmla="*/ 131 w 344"/>
              <a:gd name="T95" fmla="*/ 307 h 406"/>
              <a:gd name="T96" fmla="*/ 177 w 344"/>
              <a:gd name="T97" fmla="*/ 189 h 406"/>
              <a:gd name="T98" fmla="*/ 158 w 344"/>
              <a:gd name="T99" fmla="*/ 232 h 406"/>
              <a:gd name="T100" fmla="*/ 171 w 344"/>
              <a:gd name="T101" fmla="*/ 314 h 406"/>
              <a:gd name="T102" fmla="*/ 159 w 344"/>
              <a:gd name="T103" fmla="*/ 147 h 406"/>
              <a:gd name="T104" fmla="*/ 177 w 344"/>
              <a:gd name="T105" fmla="*/ 105 h 406"/>
              <a:gd name="T106" fmla="*/ 110 w 344"/>
              <a:gd name="T107" fmla="*/ 64 h 406"/>
              <a:gd name="T108" fmla="*/ 137 w 344"/>
              <a:gd name="T109" fmla="*/ 106 h 406"/>
              <a:gd name="T110" fmla="*/ 112 w 344"/>
              <a:gd name="T111" fmla="*/ 136 h 406"/>
              <a:gd name="T112" fmla="*/ 97 w 344"/>
              <a:gd name="T113" fmla="*/ 141 h 406"/>
              <a:gd name="T114" fmla="*/ 193 w 344"/>
              <a:gd name="T115" fmla="*/ 156 h 406"/>
              <a:gd name="T116" fmla="*/ 186 w 344"/>
              <a:gd name="T117" fmla="*/ 158 h 406"/>
              <a:gd name="T118" fmla="*/ 195 w 344"/>
              <a:gd name="T119" fmla="*/ 128 h 406"/>
              <a:gd name="T120" fmla="*/ 74 w 344"/>
              <a:gd name="T121" fmla="*/ 146 h 406"/>
              <a:gd name="T122" fmla="*/ 76 w 344"/>
              <a:gd name="T123" fmla="*/ 141 h 406"/>
              <a:gd name="T124" fmla="*/ 109 w 344"/>
              <a:gd name="T125" fmla="*/ 214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44" h="406">
                <a:moveTo>
                  <a:pt x="109" y="50"/>
                </a:moveTo>
                <a:cubicBezTo>
                  <a:pt x="111" y="51"/>
                  <a:pt x="111" y="51"/>
                  <a:pt x="111" y="51"/>
                </a:cubicBezTo>
                <a:cubicBezTo>
                  <a:pt x="112" y="52"/>
                  <a:pt x="112" y="52"/>
                  <a:pt x="112" y="52"/>
                </a:cubicBezTo>
                <a:cubicBezTo>
                  <a:pt x="118" y="53"/>
                  <a:pt x="118" y="53"/>
                  <a:pt x="118" y="53"/>
                </a:cubicBezTo>
                <a:cubicBezTo>
                  <a:pt x="122" y="52"/>
                  <a:pt x="122" y="52"/>
                  <a:pt x="122" y="52"/>
                </a:cubicBezTo>
                <a:cubicBezTo>
                  <a:pt x="126" y="52"/>
                  <a:pt x="126" y="52"/>
                  <a:pt x="126" y="52"/>
                </a:cubicBezTo>
                <a:cubicBezTo>
                  <a:pt x="147" y="53"/>
                  <a:pt x="147" y="53"/>
                  <a:pt x="147" y="53"/>
                </a:cubicBezTo>
                <a:cubicBezTo>
                  <a:pt x="148" y="53"/>
                  <a:pt x="148" y="53"/>
                  <a:pt x="148" y="53"/>
                </a:cubicBezTo>
                <a:cubicBezTo>
                  <a:pt x="149" y="55"/>
                  <a:pt x="149" y="55"/>
                  <a:pt x="149" y="55"/>
                </a:cubicBezTo>
                <a:cubicBezTo>
                  <a:pt x="151" y="55"/>
                  <a:pt x="151" y="55"/>
                  <a:pt x="151" y="55"/>
                </a:cubicBezTo>
                <a:cubicBezTo>
                  <a:pt x="156" y="56"/>
                  <a:pt x="156" y="56"/>
                  <a:pt x="156" y="56"/>
                </a:cubicBezTo>
                <a:cubicBezTo>
                  <a:pt x="161" y="55"/>
                  <a:pt x="161" y="55"/>
                  <a:pt x="161" y="55"/>
                </a:cubicBezTo>
                <a:cubicBezTo>
                  <a:pt x="163" y="55"/>
                  <a:pt x="163" y="55"/>
                  <a:pt x="163" y="55"/>
                </a:cubicBezTo>
                <a:cubicBezTo>
                  <a:pt x="163" y="54"/>
                  <a:pt x="163" y="54"/>
                  <a:pt x="163" y="54"/>
                </a:cubicBezTo>
                <a:cubicBezTo>
                  <a:pt x="168" y="50"/>
                  <a:pt x="168" y="50"/>
                  <a:pt x="168" y="50"/>
                </a:cubicBezTo>
                <a:cubicBezTo>
                  <a:pt x="169" y="48"/>
                  <a:pt x="169" y="48"/>
                  <a:pt x="169" y="48"/>
                </a:cubicBezTo>
                <a:cubicBezTo>
                  <a:pt x="171" y="47"/>
                  <a:pt x="171" y="47"/>
                  <a:pt x="171" y="47"/>
                </a:cubicBezTo>
                <a:cubicBezTo>
                  <a:pt x="172" y="47"/>
                  <a:pt x="172" y="47"/>
                  <a:pt x="172" y="47"/>
                </a:cubicBezTo>
                <a:cubicBezTo>
                  <a:pt x="200" y="51"/>
                  <a:pt x="200" y="51"/>
                  <a:pt x="200" y="51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3"/>
                  <a:pt x="201" y="53"/>
                  <a:pt x="201" y="53"/>
                </a:cubicBezTo>
                <a:cubicBezTo>
                  <a:pt x="200" y="53"/>
                  <a:pt x="200" y="53"/>
                  <a:pt x="200" y="53"/>
                </a:cubicBezTo>
                <a:cubicBezTo>
                  <a:pt x="192" y="55"/>
                  <a:pt x="192" y="55"/>
                  <a:pt x="192" y="55"/>
                </a:cubicBezTo>
                <a:cubicBezTo>
                  <a:pt x="190" y="56"/>
                  <a:pt x="190" y="56"/>
                  <a:pt x="190" y="56"/>
                </a:cubicBezTo>
                <a:cubicBezTo>
                  <a:pt x="186" y="55"/>
                  <a:pt x="186" y="55"/>
                  <a:pt x="186" y="55"/>
                </a:cubicBezTo>
                <a:cubicBezTo>
                  <a:pt x="184" y="55"/>
                  <a:pt x="184" y="55"/>
                  <a:pt x="184" y="55"/>
                </a:cubicBezTo>
                <a:cubicBezTo>
                  <a:pt x="180" y="53"/>
                  <a:pt x="180" y="53"/>
                  <a:pt x="180" y="53"/>
                </a:cubicBezTo>
                <a:cubicBezTo>
                  <a:pt x="180" y="53"/>
                  <a:pt x="180" y="53"/>
                  <a:pt x="180" y="53"/>
                </a:cubicBezTo>
                <a:cubicBezTo>
                  <a:pt x="178" y="51"/>
                  <a:pt x="178" y="51"/>
                  <a:pt x="178" y="51"/>
                </a:cubicBezTo>
                <a:cubicBezTo>
                  <a:pt x="177" y="50"/>
                  <a:pt x="177" y="50"/>
                  <a:pt x="177" y="50"/>
                </a:cubicBezTo>
                <a:cubicBezTo>
                  <a:pt x="174" y="50"/>
                  <a:pt x="174" y="50"/>
                  <a:pt x="174" y="50"/>
                </a:cubicBezTo>
                <a:cubicBezTo>
                  <a:pt x="171" y="51"/>
                  <a:pt x="171" y="51"/>
                  <a:pt x="171" y="51"/>
                </a:cubicBezTo>
                <a:cubicBezTo>
                  <a:pt x="169" y="53"/>
                  <a:pt x="169" y="53"/>
                  <a:pt x="169" y="53"/>
                </a:cubicBezTo>
                <a:cubicBezTo>
                  <a:pt x="164" y="57"/>
                  <a:pt x="164" y="57"/>
                  <a:pt x="164" y="57"/>
                </a:cubicBezTo>
                <a:cubicBezTo>
                  <a:pt x="156" y="62"/>
                  <a:pt x="156" y="62"/>
                  <a:pt x="156" y="62"/>
                </a:cubicBezTo>
                <a:cubicBezTo>
                  <a:pt x="155" y="62"/>
                  <a:pt x="155" y="62"/>
                  <a:pt x="155" y="62"/>
                </a:cubicBezTo>
                <a:cubicBezTo>
                  <a:pt x="155" y="62"/>
                  <a:pt x="155" y="62"/>
                  <a:pt x="155" y="62"/>
                </a:cubicBezTo>
                <a:cubicBezTo>
                  <a:pt x="145" y="61"/>
                  <a:pt x="145" y="61"/>
                  <a:pt x="145" y="61"/>
                </a:cubicBezTo>
                <a:cubicBezTo>
                  <a:pt x="138" y="63"/>
                  <a:pt x="138" y="63"/>
                  <a:pt x="138" y="63"/>
                </a:cubicBezTo>
                <a:cubicBezTo>
                  <a:pt x="138" y="63"/>
                  <a:pt x="138" y="63"/>
                  <a:pt x="138" y="63"/>
                </a:cubicBezTo>
                <a:cubicBezTo>
                  <a:pt x="137" y="64"/>
                  <a:pt x="137" y="64"/>
                  <a:pt x="137" y="64"/>
                </a:cubicBezTo>
                <a:cubicBezTo>
                  <a:pt x="138" y="67"/>
                  <a:pt x="138" y="67"/>
                  <a:pt x="138" y="67"/>
                </a:cubicBezTo>
                <a:cubicBezTo>
                  <a:pt x="143" y="77"/>
                  <a:pt x="143" y="77"/>
                  <a:pt x="143" y="77"/>
                </a:cubicBezTo>
                <a:cubicBezTo>
                  <a:pt x="146" y="81"/>
                  <a:pt x="146" y="81"/>
                  <a:pt x="146" y="81"/>
                </a:cubicBezTo>
                <a:cubicBezTo>
                  <a:pt x="147" y="82"/>
                  <a:pt x="147" y="82"/>
                  <a:pt x="147" y="82"/>
                </a:cubicBezTo>
                <a:cubicBezTo>
                  <a:pt x="153" y="87"/>
                  <a:pt x="153" y="87"/>
                  <a:pt x="153" y="87"/>
                </a:cubicBezTo>
                <a:cubicBezTo>
                  <a:pt x="154" y="88"/>
                  <a:pt x="154" y="88"/>
                  <a:pt x="154" y="88"/>
                </a:cubicBezTo>
                <a:cubicBezTo>
                  <a:pt x="181" y="101"/>
                  <a:pt x="181" y="101"/>
                  <a:pt x="181" y="101"/>
                </a:cubicBezTo>
                <a:cubicBezTo>
                  <a:pt x="182" y="101"/>
                  <a:pt x="182" y="101"/>
                  <a:pt x="182" y="101"/>
                </a:cubicBezTo>
                <a:cubicBezTo>
                  <a:pt x="194" y="94"/>
                  <a:pt x="194" y="94"/>
                  <a:pt x="194" y="94"/>
                </a:cubicBezTo>
                <a:cubicBezTo>
                  <a:pt x="196" y="93"/>
                  <a:pt x="196" y="93"/>
                  <a:pt x="196" y="93"/>
                </a:cubicBezTo>
                <a:cubicBezTo>
                  <a:pt x="200" y="89"/>
                  <a:pt x="200" y="89"/>
                  <a:pt x="200" y="89"/>
                </a:cubicBezTo>
                <a:cubicBezTo>
                  <a:pt x="227" y="59"/>
                  <a:pt x="227" y="59"/>
                  <a:pt x="227" y="59"/>
                </a:cubicBezTo>
                <a:cubicBezTo>
                  <a:pt x="246" y="38"/>
                  <a:pt x="246" y="38"/>
                  <a:pt x="246" y="38"/>
                </a:cubicBezTo>
                <a:cubicBezTo>
                  <a:pt x="249" y="34"/>
                  <a:pt x="249" y="34"/>
                  <a:pt x="249" y="34"/>
                </a:cubicBezTo>
                <a:cubicBezTo>
                  <a:pt x="252" y="30"/>
                  <a:pt x="252" y="30"/>
                  <a:pt x="252" y="30"/>
                </a:cubicBezTo>
                <a:cubicBezTo>
                  <a:pt x="254" y="27"/>
                  <a:pt x="254" y="27"/>
                  <a:pt x="254" y="27"/>
                </a:cubicBezTo>
                <a:cubicBezTo>
                  <a:pt x="257" y="24"/>
                  <a:pt x="257" y="24"/>
                  <a:pt x="257" y="24"/>
                </a:cubicBezTo>
                <a:cubicBezTo>
                  <a:pt x="262" y="19"/>
                  <a:pt x="262" y="19"/>
                  <a:pt x="262" y="19"/>
                </a:cubicBezTo>
                <a:cubicBezTo>
                  <a:pt x="265" y="19"/>
                  <a:pt x="265" y="19"/>
                  <a:pt x="265" y="19"/>
                </a:cubicBezTo>
                <a:cubicBezTo>
                  <a:pt x="265" y="19"/>
                  <a:pt x="265" y="19"/>
                  <a:pt x="265" y="19"/>
                </a:cubicBezTo>
                <a:cubicBezTo>
                  <a:pt x="265" y="18"/>
                  <a:pt x="265" y="18"/>
                  <a:pt x="265" y="17"/>
                </a:cubicBezTo>
                <a:cubicBezTo>
                  <a:pt x="265" y="17"/>
                  <a:pt x="266" y="16"/>
                  <a:pt x="266" y="15"/>
                </a:cubicBezTo>
                <a:cubicBezTo>
                  <a:pt x="267" y="14"/>
                  <a:pt x="266" y="13"/>
                  <a:pt x="266" y="13"/>
                </a:cubicBezTo>
                <a:cubicBezTo>
                  <a:pt x="266" y="12"/>
                  <a:pt x="266" y="11"/>
                  <a:pt x="267" y="11"/>
                </a:cubicBezTo>
                <a:cubicBezTo>
                  <a:pt x="269" y="9"/>
                  <a:pt x="269" y="9"/>
                  <a:pt x="269" y="9"/>
                </a:cubicBezTo>
                <a:cubicBezTo>
                  <a:pt x="270" y="7"/>
                  <a:pt x="270" y="7"/>
                  <a:pt x="270" y="7"/>
                </a:cubicBezTo>
                <a:cubicBezTo>
                  <a:pt x="270" y="7"/>
                  <a:pt x="270" y="7"/>
                  <a:pt x="270" y="7"/>
                </a:cubicBezTo>
                <a:cubicBezTo>
                  <a:pt x="268" y="7"/>
                  <a:pt x="268" y="7"/>
                  <a:pt x="268" y="7"/>
                </a:cubicBezTo>
                <a:cubicBezTo>
                  <a:pt x="268" y="7"/>
                  <a:pt x="267" y="7"/>
                  <a:pt x="265" y="7"/>
                </a:cubicBezTo>
                <a:cubicBezTo>
                  <a:pt x="266" y="7"/>
                  <a:pt x="265" y="7"/>
                  <a:pt x="265" y="7"/>
                </a:cubicBezTo>
                <a:cubicBezTo>
                  <a:pt x="265" y="8"/>
                  <a:pt x="265" y="9"/>
                  <a:pt x="264" y="9"/>
                </a:cubicBezTo>
                <a:cubicBezTo>
                  <a:pt x="263" y="9"/>
                  <a:pt x="262" y="9"/>
                  <a:pt x="262" y="8"/>
                </a:cubicBezTo>
                <a:cubicBezTo>
                  <a:pt x="258" y="4"/>
                  <a:pt x="258" y="4"/>
                  <a:pt x="258" y="4"/>
                </a:cubicBezTo>
                <a:cubicBezTo>
                  <a:pt x="258" y="3"/>
                  <a:pt x="258" y="3"/>
                  <a:pt x="258" y="3"/>
                </a:cubicBezTo>
                <a:cubicBezTo>
                  <a:pt x="258" y="2"/>
                  <a:pt x="259" y="2"/>
                  <a:pt x="259" y="1"/>
                </a:cubicBezTo>
                <a:cubicBezTo>
                  <a:pt x="259" y="1"/>
                  <a:pt x="260" y="1"/>
                  <a:pt x="261" y="0"/>
                </a:cubicBezTo>
                <a:cubicBezTo>
                  <a:pt x="261" y="0"/>
                  <a:pt x="261" y="0"/>
                  <a:pt x="261" y="0"/>
                </a:cubicBezTo>
                <a:cubicBezTo>
                  <a:pt x="260" y="0"/>
                  <a:pt x="258" y="1"/>
                  <a:pt x="256" y="1"/>
                </a:cubicBezTo>
                <a:cubicBezTo>
                  <a:pt x="257" y="2"/>
                  <a:pt x="257" y="3"/>
                  <a:pt x="257" y="3"/>
                </a:cubicBezTo>
                <a:cubicBezTo>
                  <a:pt x="256" y="4"/>
                  <a:pt x="256" y="5"/>
                  <a:pt x="255" y="6"/>
                </a:cubicBezTo>
                <a:cubicBezTo>
                  <a:pt x="253" y="7"/>
                  <a:pt x="251" y="6"/>
                  <a:pt x="250" y="5"/>
                </a:cubicBezTo>
                <a:cubicBezTo>
                  <a:pt x="249" y="5"/>
                  <a:pt x="248" y="4"/>
                  <a:pt x="248" y="3"/>
                </a:cubicBezTo>
                <a:cubicBezTo>
                  <a:pt x="248" y="0"/>
                  <a:pt x="248" y="0"/>
                  <a:pt x="248" y="0"/>
                </a:cubicBezTo>
                <a:cubicBezTo>
                  <a:pt x="243" y="0"/>
                  <a:pt x="243" y="0"/>
                  <a:pt x="243" y="0"/>
                </a:cubicBezTo>
                <a:cubicBezTo>
                  <a:pt x="242" y="1"/>
                  <a:pt x="241" y="1"/>
                  <a:pt x="239" y="0"/>
                </a:cubicBezTo>
                <a:cubicBezTo>
                  <a:pt x="238" y="0"/>
                  <a:pt x="237" y="0"/>
                  <a:pt x="236" y="0"/>
                </a:cubicBezTo>
                <a:cubicBezTo>
                  <a:pt x="231" y="0"/>
                  <a:pt x="231" y="0"/>
                  <a:pt x="231" y="0"/>
                </a:cubicBezTo>
                <a:cubicBezTo>
                  <a:pt x="230" y="1"/>
                  <a:pt x="230" y="1"/>
                  <a:pt x="230" y="1"/>
                </a:cubicBezTo>
                <a:cubicBezTo>
                  <a:pt x="228" y="3"/>
                  <a:pt x="226" y="3"/>
                  <a:pt x="225" y="2"/>
                </a:cubicBezTo>
                <a:cubicBezTo>
                  <a:pt x="225" y="2"/>
                  <a:pt x="225" y="2"/>
                  <a:pt x="224" y="2"/>
                </a:cubicBezTo>
                <a:cubicBezTo>
                  <a:pt x="224" y="2"/>
                  <a:pt x="224" y="2"/>
                  <a:pt x="224" y="2"/>
                </a:cubicBezTo>
                <a:cubicBezTo>
                  <a:pt x="223" y="3"/>
                  <a:pt x="223" y="3"/>
                  <a:pt x="222" y="3"/>
                </a:cubicBezTo>
                <a:cubicBezTo>
                  <a:pt x="222" y="3"/>
                  <a:pt x="222" y="3"/>
                  <a:pt x="221" y="4"/>
                </a:cubicBezTo>
                <a:cubicBezTo>
                  <a:pt x="220" y="5"/>
                  <a:pt x="220" y="5"/>
                  <a:pt x="220" y="5"/>
                </a:cubicBezTo>
                <a:cubicBezTo>
                  <a:pt x="219" y="6"/>
                  <a:pt x="219" y="6"/>
                  <a:pt x="219" y="6"/>
                </a:cubicBezTo>
                <a:cubicBezTo>
                  <a:pt x="219" y="7"/>
                  <a:pt x="218" y="8"/>
                  <a:pt x="217" y="8"/>
                </a:cubicBezTo>
                <a:cubicBezTo>
                  <a:pt x="217" y="8"/>
                  <a:pt x="217" y="8"/>
                  <a:pt x="217" y="8"/>
                </a:cubicBezTo>
                <a:cubicBezTo>
                  <a:pt x="216" y="8"/>
                  <a:pt x="216" y="9"/>
                  <a:pt x="215" y="9"/>
                </a:cubicBezTo>
                <a:cubicBezTo>
                  <a:pt x="213" y="10"/>
                  <a:pt x="212" y="11"/>
                  <a:pt x="211" y="12"/>
                </a:cubicBezTo>
                <a:cubicBezTo>
                  <a:pt x="210" y="13"/>
                  <a:pt x="209" y="13"/>
                  <a:pt x="208" y="13"/>
                </a:cubicBezTo>
                <a:cubicBezTo>
                  <a:pt x="206" y="15"/>
                  <a:pt x="206" y="15"/>
                  <a:pt x="206" y="15"/>
                </a:cubicBezTo>
                <a:cubicBezTo>
                  <a:pt x="206" y="16"/>
                  <a:pt x="206" y="16"/>
                  <a:pt x="206" y="16"/>
                </a:cubicBezTo>
                <a:cubicBezTo>
                  <a:pt x="206" y="17"/>
                  <a:pt x="206" y="18"/>
                  <a:pt x="205" y="18"/>
                </a:cubicBezTo>
                <a:cubicBezTo>
                  <a:pt x="205" y="18"/>
                  <a:pt x="203" y="18"/>
                  <a:pt x="203" y="20"/>
                </a:cubicBezTo>
                <a:cubicBezTo>
                  <a:pt x="202" y="22"/>
                  <a:pt x="201" y="22"/>
                  <a:pt x="199" y="23"/>
                </a:cubicBezTo>
                <a:cubicBezTo>
                  <a:pt x="199" y="23"/>
                  <a:pt x="198" y="23"/>
                  <a:pt x="198" y="24"/>
                </a:cubicBezTo>
                <a:cubicBezTo>
                  <a:pt x="197" y="24"/>
                  <a:pt x="196" y="25"/>
                  <a:pt x="195" y="24"/>
                </a:cubicBezTo>
                <a:cubicBezTo>
                  <a:pt x="195" y="24"/>
                  <a:pt x="195" y="24"/>
                  <a:pt x="194" y="24"/>
                </a:cubicBezTo>
                <a:cubicBezTo>
                  <a:pt x="194" y="25"/>
                  <a:pt x="193" y="25"/>
                  <a:pt x="193" y="26"/>
                </a:cubicBezTo>
                <a:cubicBezTo>
                  <a:pt x="193" y="27"/>
                  <a:pt x="192" y="27"/>
                  <a:pt x="192" y="27"/>
                </a:cubicBezTo>
                <a:cubicBezTo>
                  <a:pt x="192" y="27"/>
                  <a:pt x="189" y="28"/>
                  <a:pt x="187" y="29"/>
                </a:cubicBezTo>
                <a:cubicBezTo>
                  <a:pt x="186" y="29"/>
                  <a:pt x="186" y="30"/>
                  <a:pt x="186" y="30"/>
                </a:cubicBezTo>
                <a:cubicBezTo>
                  <a:pt x="185" y="31"/>
                  <a:pt x="184" y="32"/>
                  <a:pt x="182" y="33"/>
                </a:cubicBezTo>
                <a:cubicBezTo>
                  <a:pt x="181" y="33"/>
                  <a:pt x="181" y="34"/>
                  <a:pt x="180" y="34"/>
                </a:cubicBezTo>
                <a:cubicBezTo>
                  <a:pt x="180" y="34"/>
                  <a:pt x="180" y="34"/>
                  <a:pt x="180" y="34"/>
                </a:cubicBezTo>
                <a:cubicBezTo>
                  <a:pt x="179" y="35"/>
                  <a:pt x="179" y="35"/>
                  <a:pt x="179" y="35"/>
                </a:cubicBezTo>
                <a:cubicBezTo>
                  <a:pt x="179" y="35"/>
                  <a:pt x="179" y="35"/>
                  <a:pt x="179" y="35"/>
                </a:cubicBezTo>
                <a:cubicBezTo>
                  <a:pt x="172" y="35"/>
                  <a:pt x="172" y="35"/>
                  <a:pt x="172" y="35"/>
                </a:cubicBezTo>
                <a:cubicBezTo>
                  <a:pt x="171" y="35"/>
                  <a:pt x="171" y="35"/>
                  <a:pt x="171" y="34"/>
                </a:cubicBezTo>
                <a:cubicBezTo>
                  <a:pt x="168" y="33"/>
                  <a:pt x="168" y="33"/>
                  <a:pt x="168" y="33"/>
                </a:cubicBezTo>
                <a:cubicBezTo>
                  <a:pt x="167" y="33"/>
                  <a:pt x="167" y="32"/>
                  <a:pt x="167" y="32"/>
                </a:cubicBezTo>
                <a:cubicBezTo>
                  <a:pt x="165" y="31"/>
                  <a:pt x="165" y="31"/>
                  <a:pt x="165" y="31"/>
                </a:cubicBezTo>
                <a:cubicBezTo>
                  <a:pt x="167" y="29"/>
                  <a:pt x="167" y="29"/>
                  <a:pt x="167" y="29"/>
                </a:cubicBezTo>
                <a:cubicBezTo>
                  <a:pt x="158" y="34"/>
                  <a:pt x="158" y="34"/>
                  <a:pt x="158" y="34"/>
                </a:cubicBezTo>
                <a:cubicBezTo>
                  <a:pt x="157" y="35"/>
                  <a:pt x="157" y="35"/>
                  <a:pt x="157" y="35"/>
                </a:cubicBezTo>
                <a:cubicBezTo>
                  <a:pt x="153" y="36"/>
                  <a:pt x="153" y="36"/>
                  <a:pt x="153" y="36"/>
                </a:cubicBezTo>
                <a:cubicBezTo>
                  <a:pt x="151" y="36"/>
                  <a:pt x="151" y="36"/>
                  <a:pt x="151" y="36"/>
                </a:cubicBezTo>
                <a:cubicBezTo>
                  <a:pt x="147" y="31"/>
                  <a:pt x="147" y="31"/>
                  <a:pt x="147" y="31"/>
                </a:cubicBezTo>
                <a:cubicBezTo>
                  <a:pt x="140" y="32"/>
                  <a:pt x="140" y="32"/>
                  <a:pt x="140" y="32"/>
                </a:cubicBezTo>
                <a:cubicBezTo>
                  <a:pt x="125" y="33"/>
                  <a:pt x="125" y="33"/>
                  <a:pt x="125" y="33"/>
                </a:cubicBezTo>
                <a:cubicBezTo>
                  <a:pt x="120" y="33"/>
                  <a:pt x="120" y="33"/>
                  <a:pt x="120" y="33"/>
                </a:cubicBezTo>
                <a:cubicBezTo>
                  <a:pt x="118" y="33"/>
                  <a:pt x="118" y="33"/>
                  <a:pt x="118" y="33"/>
                </a:cubicBezTo>
                <a:cubicBezTo>
                  <a:pt x="113" y="35"/>
                  <a:pt x="113" y="35"/>
                  <a:pt x="113" y="35"/>
                </a:cubicBezTo>
                <a:cubicBezTo>
                  <a:pt x="112" y="36"/>
                  <a:pt x="112" y="36"/>
                  <a:pt x="112" y="36"/>
                </a:cubicBezTo>
                <a:cubicBezTo>
                  <a:pt x="107" y="41"/>
                  <a:pt x="107" y="41"/>
                  <a:pt x="107" y="41"/>
                </a:cubicBezTo>
                <a:cubicBezTo>
                  <a:pt x="107" y="42"/>
                  <a:pt x="107" y="42"/>
                  <a:pt x="107" y="42"/>
                </a:cubicBezTo>
                <a:cubicBezTo>
                  <a:pt x="107" y="44"/>
                  <a:pt x="107" y="44"/>
                  <a:pt x="107" y="44"/>
                </a:cubicBezTo>
                <a:cubicBezTo>
                  <a:pt x="107" y="46"/>
                  <a:pt x="107" y="46"/>
                  <a:pt x="107" y="46"/>
                </a:cubicBezTo>
                <a:cubicBezTo>
                  <a:pt x="107" y="46"/>
                  <a:pt x="107" y="46"/>
                  <a:pt x="107" y="46"/>
                </a:cubicBezTo>
                <a:lnTo>
                  <a:pt x="109" y="50"/>
                </a:lnTo>
                <a:close/>
                <a:moveTo>
                  <a:pt x="217" y="88"/>
                </a:moveTo>
                <a:cubicBezTo>
                  <a:pt x="217" y="88"/>
                  <a:pt x="217" y="88"/>
                  <a:pt x="217" y="88"/>
                </a:cubicBezTo>
                <a:cubicBezTo>
                  <a:pt x="218" y="87"/>
                  <a:pt x="218" y="87"/>
                  <a:pt x="218" y="87"/>
                </a:cubicBezTo>
                <a:cubicBezTo>
                  <a:pt x="217" y="85"/>
                  <a:pt x="217" y="85"/>
                  <a:pt x="217" y="85"/>
                </a:cubicBezTo>
                <a:cubicBezTo>
                  <a:pt x="217" y="85"/>
                  <a:pt x="217" y="85"/>
                  <a:pt x="217" y="85"/>
                </a:cubicBezTo>
                <a:cubicBezTo>
                  <a:pt x="212" y="89"/>
                  <a:pt x="212" y="89"/>
                  <a:pt x="212" y="89"/>
                </a:cubicBezTo>
                <a:cubicBezTo>
                  <a:pt x="197" y="102"/>
                  <a:pt x="197" y="102"/>
                  <a:pt x="197" y="102"/>
                </a:cubicBezTo>
                <a:cubicBezTo>
                  <a:pt x="191" y="110"/>
                  <a:pt x="191" y="110"/>
                  <a:pt x="191" y="110"/>
                </a:cubicBezTo>
                <a:cubicBezTo>
                  <a:pt x="191" y="111"/>
                  <a:pt x="191" y="111"/>
                  <a:pt x="191" y="111"/>
                </a:cubicBezTo>
                <a:cubicBezTo>
                  <a:pt x="194" y="111"/>
                  <a:pt x="194" y="111"/>
                  <a:pt x="194" y="111"/>
                </a:cubicBezTo>
                <a:cubicBezTo>
                  <a:pt x="200" y="107"/>
                  <a:pt x="200" y="107"/>
                  <a:pt x="200" y="107"/>
                </a:cubicBezTo>
                <a:cubicBezTo>
                  <a:pt x="201" y="107"/>
                  <a:pt x="201" y="107"/>
                  <a:pt x="201" y="107"/>
                </a:cubicBezTo>
                <a:cubicBezTo>
                  <a:pt x="202" y="106"/>
                  <a:pt x="202" y="106"/>
                  <a:pt x="202" y="106"/>
                </a:cubicBezTo>
                <a:cubicBezTo>
                  <a:pt x="210" y="97"/>
                  <a:pt x="210" y="97"/>
                  <a:pt x="210" y="97"/>
                </a:cubicBezTo>
                <a:lnTo>
                  <a:pt x="217" y="88"/>
                </a:lnTo>
                <a:close/>
                <a:moveTo>
                  <a:pt x="343" y="82"/>
                </a:moveTo>
                <a:cubicBezTo>
                  <a:pt x="342" y="82"/>
                  <a:pt x="342" y="82"/>
                  <a:pt x="342" y="82"/>
                </a:cubicBezTo>
                <a:cubicBezTo>
                  <a:pt x="341" y="80"/>
                  <a:pt x="340" y="78"/>
                  <a:pt x="339" y="77"/>
                </a:cubicBezTo>
                <a:cubicBezTo>
                  <a:pt x="339" y="76"/>
                  <a:pt x="337" y="75"/>
                  <a:pt x="337" y="73"/>
                </a:cubicBezTo>
                <a:cubicBezTo>
                  <a:pt x="337" y="73"/>
                  <a:pt x="337" y="71"/>
                  <a:pt x="336" y="69"/>
                </a:cubicBezTo>
                <a:cubicBezTo>
                  <a:pt x="336" y="69"/>
                  <a:pt x="336" y="69"/>
                  <a:pt x="336" y="68"/>
                </a:cubicBezTo>
                <a:cubicBezTo>
                  <a:pt x="334" y="69"/>
                  <a:pt x="333" y="69"/>
                  <a:pt x="333" y="70"/>
                </a:cubicBezTo>
                <a:cubicBezTo>
                  <a:pt x="333" y="70"/>
                  <a:pt x="333" y="70"/>
                  <a:pt x="333" y="70"/>
                </a:cubicBezTo>
                <a:cubicBezTo>
                  <a:pt x="331" y="73"/>
                  <a:pt x="331" y="73"/>
                  <a:pt x="331" y="73"/>
                </a:cubicBezTo>
                <a:cubicBezTo>
                  <a:pt x="331" y="74"/>
                  <a:pt x="330" y="74"/>
                  <a:pt x="329" y="74"/>
                </a:cubicBezTo>
                <a:cubicBezTo>
                  <a:pt x="326" y="74"/>
                  <a:pt x="326" y="74"/>
                  <a:pt x="326" y="74"/>
                </a:cubicBezTo>
                <a:cubicBezTo>
                  <a:pt x="325" y="74"/>
                  <a:pt x="325" y="74"/>
                  <a:pt x="324" y="74"/>
                </a:cubicBezTo>
                <a:cubicBezTo>
                  <a:pt x="321" y="71"/>
                  <a:pt x="321" y="71"/>
                  <a:pt x="321" y="71"/>
                </a:cubicBezTo>
                <a:cubicBezTo>
                  <a:pt x="319" y="70"/>
                  <a:pt x="319" y="70"/>
                  <a:pt x="319" y="70"/>
                </a:cubicBezTo>
                <a:cubicBezTo>
                  <a:pt x="318" y="70"/>
                  <a:pt x="318" y="69"/>
                  <a:pt x="318" y="69"/>
                </a:cubicBezTo>
                <a:cubicBezTo>
                  <a:pt x="318" y="66"/>
                  <a:pt x="318" y="66"/>
                  <a:pt x="318" y="66"/>
                </a:cubicBezTo>
                <a:cubicBezTo>
                  <a:pt x="317" y="66"/>
                  <a:pt x="318" y="65"/>
                  <a:pt x="318" y="65"/>
                </a:cubicBezTo>
                <a:cubicBezTo>
                  <a:pt x="318" y="64"/>
                  <a:pt x="319" y="64"/>
                  <a:pt x="320" y="64"/>
                </a:cubicBezTo>
                <a:cubicBezTo>
                  <a:pt x="322" y="64"/>
                  <a:pt x="322" y="64"/>
                  <a:pt x="322" y="64"/>
                </a:cubicBezTo>
                <a:cubicBezTo>
                  <a:pt x="324" y="64"/>
                  <a:pt x="325" y="64"/>
                  <a:pt x="326" y="64"/>
                </a:cubicBezTo>
                <a:cubicBezTo>
                  <a:pt x="326" y="64"/>
                  <a:pt x="326" y="64"/>
                  <a:pt x="327" y="64"/>
                </a:cubicBezTo>
                <a:cubicBezTo>
                  <a:pt x="327" y="64"/>
                  <a:pt x="327" y="64"/>
                  <a:pt x="327" y="64"/>
                </a:cubicBezTo>
                <a:cubicBezTo>
                  <a:pt x="331" y="60"/>
                  <a:pt x="331" y="60"/>
                  <a:pt x="331" y="60"/>
                </a:cubicBezTo>
                <a:cubicBezTo>
                  <a:pt x="332" y="60"/>
                  <a:pt x="332" y="60"/>
                  <a:pt x="332" y="60"/>
                </a:cubicBezTo>
                <a:cubicBezTo>
                  <a:pt x="334" y="60"/>
                  <a:pt x="334" y="60"/>
                  <a:pt x="334" y="60"/>
                </a:cubicBezTo>
                <a:cubicBezTo>
                  <a:pt x="334" y="59"/>
                  <a:pt x="334" y="59"/>
                  <a:pt x="334" y="59"/>
                </a:cubicBezTo>
                <a:cubicBezTo>
                  <a:pt x="335" y="58"/>
                  <a:pt x="335" y="58"/>
                  <a:pt x="335" y="58"/>
                </a:cubicBezTo>
                <a:cubicBezTo>
                  <a:pt x="335" y="58"/>
                  <a:pt x="335" y="58"/>
                  <a:pt x="335" y="58"/>
                </a:cubicBezTo>
                <a:cubicBezTo>
                  <a:pt x="335" y="57"/>
                  <a:pt x="335" y="57"/>
                  <a:pt x="335" y="57"/>
                </a:cubicBezTo>
                <a:cubicBezTo>
                  <a:pt x="335" y="57"/>
                  <a:pt x="334" y="57"/>
                  <a:pt x="333" y="57"/>
                </a:cubicBezTo>
                <a:cubicBezTo>
                  <a:pt x="331" y="56"/>
                  <a:pt x="330" y="56"/>
                  <a:pt x="330" y="56"/>
                </a:cubicBezTo>
                <a:cubicBezTo>
                  <a:pt x="329" y="56"/>
                  <a:pt x="329" y="56"/>
                  <a:pt x="329" y="56"/>
                </a:cubicBezTo>
                <a:cubicBezTo>
                  <a:pt x="325" y="56"/>
                  <a:pt x="325" y="56"/>
                  <a:pt x="325" y="56"/>
                </a:cubicBezTo>
                <a:cubicBezTo>
                  <a:pt x="324" y="56"/>
                  <a:pt x="324" y="56"/>
                  <a:pt x="324" y="56"/>
                </a:cubicBezTo>
                <a:cubicBezTo>
                  <a:pt x="323" y="56"/>
                  <a:pt x="323" y="56"/>
                  <a:pt x="323" y="56"/>
                </a:cubicBezTo>
                <a:cubicBezTo>
                  <a:pt x="323" y="56"/>
                  <a:pt x="321" y="56"/>
                  <a:pt x="320" y="56"/>
                </a:cubicBezTo>
                <a:cubicBezTo>
                  <a:pt x="318" y="57"/>
                  <a:pt x="316" y="56"/>
                  <a:pt x="315" y="56"/>
                </a:cubicBezTo>
                <a:cubicBezTo>
                  <a:pt x="312" y="56"/>
                  <a:pt x="312" y="56"/>
                  <a:pt x="312" y="56"/>
                </a:cubicBezTo>
                <a:cubicBezTo>
                  <a:pt x="312" y="56"/>
                  <a:pt x="312" y="56"/>
                  <a:pt x="312" y="56"/>
                </a:cubicBezTo>
                <a:cubicBezTo>
                  <a:pt x="310" y="58"/>
                  <a:pt x="308" y="58"/>
                  <a:pt x="307" y="58"/>
                </a:cubicBezTo>
                <a:cubicBezTo>
                  <a:pt x="305" y="58"/>
                  <a:pt x="305" y="58"/>
                  <a:pt x="305" y="58"/>
                </a:cubicBezTo>
                <a:cubicBezTo>
                  <a:pt x="297" y="58"/>
                  <a:pt x="297" y="58"/>
                  <a:pt x="297" y="58"/>
                </a:cubicBezTo>
                <a:cubicBezTo>
                  <a:pt x="292" y="59"/>
                  <a:pt x="292" y="59"/>
                  <a:pt x="292" y="59"/>
                </a:cubicBezTo>
                <a:cubicBezTo>
                  <a:pt x="291" y="59"/>
                  <a:pt x="290" y="59"/>
                  <a:pt x="288" y="57"/>
                </a:cubicBezTo>
                <a:cubicBezTo>
                  <a:pt x="286" y="56"/>
                  <a:pt x="286" y="56"/>
                  <a:pt x="286" y="56"/>
                </a:cubicBezTo>
                <a:cubicBezTo>
                  <a:pt x="286" y="56"/>
                  <a:pt x="285" y="56"/>
                  <a:pt x="284" y="55"/>
                </a:cubicBezTo>
                <a:cubicBezTo>
                  <a:pt x="282" y="54"/>
                  <a:pt x="282" y="54"/>
                  <a:pt x="282" y="54"/>
                </a:cubicBezTo>
                <a:cubicBezTo>
                  <a:pt x="275" y="54"/>
                  <a:pt x="275" y="54"/>
                  <a:pt x="275" y="54"/>
                </a:cubicBezTo>
                <a:cubicBezTo>
                  <a:pt x="269" y="58"/>
                  <a:pt x="269" y="58"/>
                  <a:pt x="269" y="58"/>
                </a:cubicBezTo>
                <a:cubicBezTo>
                  <a:pt x="268" y="58"/>
                  <a:pt x="268" y="58"/>
                  <a:pt x="267" y="58"/>
                </a:cubicBezTo>
                <a:cubicBezTo>
                  <a:pt x="265" y="57"/>
                  <a:pt x="265" y="57"/>
                  <a:pt x="265" y="57"/>
                </a:cubicBezTo>
                <a:cubicBezTo>
                  <a:pt x="263" y="58"/>
                  <a:pt x="263" y="58"/>
                  <a:pt x="263" y="58"/>
                </a:cubicBezTo>
                <a:cubicBezTo>
                  <a:pt x="262" y="59"/>
                  <a:pt x="259" y="59"/>
                  <a:pt x="257" y="59"/>
                </a:cubicBezTo>
                <a:cubicBezTo>
                  <a:pt x="256" y="59"/>
                  <a:pt x="255" y="59"/>
                  <a:pt x="253" y="58"/>
                </a:cubicBezTo>
                <a:cubicBezTo>
                  <a:pt x="251" y="57"/>
                  <a:pt x="250" y="55"/>
                  <a:pt x="249" y="54"/>
                </a:cubicBezTo>
                <a:cubicBezTo>
                  <a:pt x="248" y="56"/>
                  <a:pt x="247" y="55"/>
                  <a:pt x="245" y="55"/>
                </a:cubicBezTo>
                <a:cubicBezTo>
                  <a:pt x="241" y="54"/>
                  <a:pt x="241" y="54"/>
                  <a:pt x="241" y="54"/>
                </a:cubicBezTo>
                <a:cubicBezTo>
                  <a:pt x="240" y="54"/>
                  <a:pt x="240" y="54"/>
                  <a:pt x="240" y="54"/>
                </a:cubicBezTo>
                <a:cubicBezTo>
                  <a:pt x="234" y="61"/>
                  <a:pt x="234" y="61"/>
                  <a:pt x="234" y="61"/>
                </a:cubicBezTo>
                <a:cubicBezTo>
                  <a:pt x="225" y="78"/>
                  <a:pt x="225" y="78"/>
                  <a:pt x="225" y="78"/>
                </a:cubicBezTo>
                <a:cubicBezTo>
                  <a:pt x="221" y="85"/>
                  <a:pt x="221" y="85"/>
                  <a:pt x="221" y="85"/>
                </a:cubicBezTo>
                <a:cubicBezTo>
                  <a:pt x="216" y="96"/>
                  <a:pt x="216" y="96"/>
                  <a:pt x="216" y="96"/>
                </a:cubicBezTo>
                <a:cubicBezTo>
                  <a:pt x="213" y="104"/>
                  <a:pt x="213" y="104"/>
                  <a:pt x="213" y="104"/>
                </a:cubicBezTo>
                <a:cubicBezTo>
                  <a:pt x="213" y="105"/>
                  <a:pt x="213" y="105"/>
                  <a:pt x="213" y="105"/>
                </a:cubicBezTo>
                <a:cubicBezTo>
                  <a:pt x="214" y="114"/>
                  <a:pt x="214" y="114"/>
                  <a:pt x="214" y="114"/>
                </a:cubicBezTo>
                <a:cubicBezTo>
                  <a:pt x="211" y="117"/>
                  <a:pt x="211" y="117"/>
                  <a:pt x="211" y="117"/>
                </a:cubicBezTo>
                <a:cubicBezTo>
                  <a:pt x="198" y="141"/>
                  <a:pt x="198" y="141"/>
                  <a:pt x="198" y="141"/>
                </a:cubicBezTo>
                <a:cubicBezTo>
                  <a:pt x="196" y="145"/>
                  <a:pt x="196" y="145"/>
                  <a:pt x="196" y="145"/>
                </a:cubicBezTo>
                <a:cubicBezTo>
                  <a:pt x="195" y="153"/>
                  <a:pt x="195" y="153"/>
                  <a:pt x="195" y="153"/>
                </a:cubicBezTo>
                <a:cubicBezTo>
                  <a:pt x="194" y="165"/>
                  <a:pt x="194" y="165"/>
                  <a:pt x="194" y="165"/>
                </a:cubicBezTo>
                <a:cubicBezTo>
                  <a:pt x="194" y="166"/>
                  <a:pt x="194" y="166"/>
                  <a:pt x="194" y="166"/>
                </a:cubicBezTo>
                <a:cubicBezTo>
                  <a:pt x="195" y="167"/>
                  <a:pt x="195" y="167"/>
                  <a:pt x="195" y="167"/>
                </a:cubicBezTo>
                <a:cubicBezTo>
                  <a:pt x="196" y="168"/>
                  <a:pt x="196" y="168"/>
                  <a:pt x="196" y="168"/>
                </a:cubicBezTo>
                <a:cubicBezTo>
                  <a:pt x="199" y="168"/>
                  <a:pt x="199" y="168"/>
                  <a:pt x="199" y="168"/>
                </a:cubicBezTo>
                <a:cubicBezTo>
                  <a:pt x="200" y="168"/>
                  <a:pt x="200" y="168"/>
                  <a:pt x="200" y="168"/>
                </a:cubicBezTo>
                <a:cubicBezTo>
                  <a:pt x="200" y="169"/>
                  <a:pt x="200" y="169"/>
                  <a:pt x="200" y="169"/>
                </a:cubicBezTo>
                <a:cubicBezTo>
                  <a:pt x="201" y="170"/>
                  <a:pt x="201" y="170"/>
                  <a:pt x="201" y="170"/>
                </a:cubicBezTo>
                <a:cubicBezTo>
                  <a:pt x="201" y="170"/>
                  <a:pt x="201" y="170"/>
                  <a:pt x="201" y="170"/>
                </a:cubicBezTo>
                <a:cubicBezTo>
                  <a:pt x="201" y="172"/>
                  <a:pt x="201" y="172"/>
                  <a:pt x="201" y="172"/>
                </a:cubicBezTo>
                <a:cubicBezTo>
                  <a:pt x="193" y="187"/>
                  <a:pt x="193" y="187"/>
                  <a:pt x="193" y="187"/>
                </a:cubicBezTo>
                <a:cubicBezTo>
                  <a:pt x="191" y="191"/>
                  <a:pt x="191" y="191"/>
                  <a:pt x="191" y="191"/>
                </a:cubicBezTo>
                <a:cubicBezTo>
                  <a:pt x="198" y="188"/>
                  <a:pt x="198" y="188"/>
                  <a:pt x="198" y="188"/>
                </a:cubicBezTo>
                <a:cubicBezTo>
                  <a:pt x="195" y="204"/>
                  <a:pt x="195" y="204"/>
                  <a:pt x="195" y="204"/>
                </a:cubicBezTo>
                <a:cubicBezTo>
                  <a:pt x="194" y="205"/>
                  <a:pt x="194" y="205"/>
                  <a:pt x="194" y="205"/>
                </a:cubicBezTo>
                <a:cubicBezTo>
                  <a:pt x="189" y="212"/>
                  <a:pt x="189" y="212"/>
                  <a:pt x="189" y="212"/>
                </a:cubicBezTo>
                <a:cubicBezTo>
                  <a:pt x="188" y="214"/>
                  <a:pt x="188" y="214"/>
                  <a:pt x="188" y="214"/>
                </a:cubicBezTo>
                <a:cubicBezTo>
                  <a:pt x="179" y="231"/>
                  <a:pt x="179" y="231"/>
                  <a:pt x="179" y="231"/>
                </a:cubicBezTo>
                <a:cubicBezTo>
                  <a:pt x="178" y="234"/>
                  <a:pt x="178" y="234"/>
                  <a:pt x="178" y="234"/>
                </a:cubicBezTo>
                <a:cubicBezTo>
                  <a:pt x="178" y="235"/>
                  <a:pt x="178" y="235"/>
                  <a:pt x="178" y="235"/>
                </a:cubicBezTo>
                <a:cubicBezTo>
                  <a:pt x="178" y="241"/>
                  <a:pt x="178" y="241"/>
                  <a:pt x="178" y="241"/>
                </a:cubicBezTo>
                <a:cubicBezTo>
                  <a:pt x="178" y="241"/>
                  <a:pt x="178" y="241"/>
                  <a:pt x="178" y="241"/>
                </a:cubicBezTo>
                <a:cubicBezTo>
                  <a:pt x="179" y="242"/>
                  <a:pt x="179" y="242"/>
                  <a:pt x="179" y="242"/>
                </a:cubicBezTo>
                <a:cubicBezTo>
                  <a:pt x="180" y="242"/>
                  <a:pt x="180" y="242"/>
                  <a:pt x="180" y="242"/>
                </a:cubicBezTo>
                <a:cubicBezTo>
                  <a:pt x="181" y="241"/>
                  <a:pt x="181" y="241"/>
                  <a:pt x="181" y="241"/>
                </a:cubicBezTo>
                <a:cubicBezTo>
                  <a:pt x="190" y="222"/>
                  <a:pt x="190" y="222"/>
                  <a:pt x="190" y="222"/>
                </a:cubicBezTo>
                <a:cubicBezTo>
                  <a:pt x="191" y="222"/>
                  <a:pt x="191" y="222"/>
                  <a:pt x="191" y="222"/>
                </a:cubicBezTo>
                <a:cubicBezTo>
                  <a:pt x="190" y="221"/>
                  <a:pt x="190" y="221"/>
                  <a:pt x="190" y="221"/>
                </a:cubicBezTo>
                <a:cubicBezTo>
                  <a:pt x="190" y="220"/>
                  <a:pt x="190" y="220"/>
                  <a:pt x="190" y="220"/>
                </a:cubicBezTo>
                <a:cubicBezTo>
                  <a:pt x="195" y="217"/>
                  <a:pt x="195" y="217"/>
                  <a:pt x="195" y="217"/>
                </a:cubicBezTo>
                <a:cubicBezTo>
                  <a:pt x="196" y="215"/>
                  <a:pt x="196" y="215"/>
                  <a:pt x="196" y="215"/>
                </a:cubicBezTo>
                <a:cubicBezTo>
                  <a:pt x="198" y="215"/>
                  <a:pt x="198" y="215"/>
                  <a:pt x="198" y="215"/>
                </a:cubicBezTo>
                <a:cubicBezTo>
                  <a:pt x="196" y="222"/>
                  <a:pt x="196" y="222"/>
                  <a:pt x="196" y="222"/>
                </a:cubicBezTo>
                <a:cubicBezTo>
                  <a:pt x="196" y="222"/>
                  <a:pt x="196" y="222"/>
                  <a:pt x="196" y="222"/>
                </a:cubicBezTo>
                <a:cubicBezTo>
                  <a:pt x="188" y="234"/>
                  <a:pt x="188" y="234"/>
                  <a:pt x="188" y="234"/>
                </a:cubicBezTo>
                <a:cubicBezTo>
                  <a:pt x="186" y="237"/>
                  <a:pt x="186" y="237"/>
                  <a:pt x="186" y="237"/>
                </a:cubicBezTo>
                <a:cubicBezTo>
                  <a:pt x="181" y="242"/>
                  <a:pt x="181" y="242"/>
                  <a:pt x="181" y="242"/>
                </a:cubicBezTo>
                <a:cubicBezTo>
                  <a:pt x="181" y="243"/>
                  <a:pt x="181" y="243"/>
                  <a:pt x="181" y="243"/>
                </a:cubicBezTo>
                <a:cubicBezTo>
                  <a:pt x="180" y="244"/>
                  <a:pt x="180" y="244"/>
                  <a:pt x="180" y="244"/>
                </a:cubicBezTo>
                <a:cubicBezTo>
                  <a:pt x="180" y="252"/>
                  <a:pt x="180" y="252"/>
                  <a:pt x="180" y="252"/>
                </a:cubicBezTo>
                <a:cubicBezTo>
                  <a:pt x="183" y="274"/>
                  <a:pt x="183" y="274"/>
                  <a:pt x="183" y="274"/>
                </a:cubicBezTo>
                <a:cubicBezTo>
                  <a:pt x="183" y="275"/>
                  <a:pt x="183" y="275"/>
                  <a:pt x="183" y="275"/>
                </a:cubicBezTo>
                <a:cubicBezTo>
                  <a:pt x="191" y="286"/>
                  <a:pt x="191" y="286"/>
                  <a:pt x="191" y="286"/>
                </a:cubicBezTo>
                <a:cubicBezTo>
                  <a:pt x="183" y="310"/>
                  <a:pt x="183" y="310"/>
                  <a:pt x="183" y="310"/>
                </a:cubicBezTo>
                <a:cubicBezTo>
                  <a:pt x="175" y="334"/>
                  <a:pt x="175" y="334"/>
                  <a:pt x="175" y="334"/>
                </a:cubicBezTo>
                <a:cubicBezTo>
                  <a:pt x="175" y="358"/>
                  <a:pt x="175" y="358"/>
                  <a:pt x="175" y="358"/>
                </a:cubicBezTo>
                <a:cubicBezTo>
                  <a:pt x="176" y="362"/>
                  <a:pt x="176" y="362"/>
                  <a:pt x="176" y="362"/>
                </a:cubicBezTo>
                <a:cubicBezTo>
                  <a:pt x="176" y="364"/>
                  <a:pt x="176" y="364"/>
                  <a:pt x="176" y="364"/>
                </a:cubicBezTo>
                <a:cubicBezTo>
                  <a:pt x="175" y="366"/>
                  <a:pt x="175" y="366"/>
                  <a:pt x="175" y="366"/>
                </a:cubicBezTo>
                <a:cubicBezTo>
                  <a:pt x="174" y="369"/>
                  <a:pt x="174" y="369"/>
                  <a:pt x="174" y="369"/>
                </a:cubicBezTo>
                <a:cubicBezTo>
                  <a:pt x="174" y="370"/>
                  <a:pt x="174" y="370"/>
                  <a:pt x="174" y="370"/>
                </a:cubicBezTo>
                <a:cubicBezTo>
                  <a:pt x="173" y="370"/>
                  <a:pt x="173" y="370"/>
                  <a:pt x="173" y="370"/>
                </a:cubicBezTo>
                <a:cubicBezTo>
                  <a:pt x="170" y="372"/>
                  <a:pt x="170" y="372"/>
                  <a:pt x="170" y="372"/>
                </a:cubicBezTo>
                <a:cubicBezTo>
                  <a:pt x="168" y="372"/>
                  <a:pt x="168" y="372"/>
                  <a:pt x="168" y="372"/>
                </a:cubicBezTo>
                <a:cubicBezTo>
                  <a:pt x="163" y="378"/>
                  <a:pt x="163" y="378"/>
                  <a:pt x="163" y="378"/>
                </a:cubicBezTo>
                <a:cubicBezTo>
                  <a:pt x="161" y="387"/>
                  <a:pt x="161" y="387"/>
                  <a:pt x="161" y="387"/>
                </a:cubicBezTo>
                <a:cubicBezTo>
                  <a:pt x="160" y="389"/>
                  <a:pt x="160" y="389"/>
                  <a:pt x="160" y="389"/>
                </a:cubicBezTo>
                <a:cubicBezTo>
                  <a:pt x="160" y="398"/>
                  <a:pt x="160" y="398"/>
                  <a:pt x="160" y="398"/>
                </a:cubicBezTo>
                <a:cubicBezTo>
                  <a:pt x="160" y="400"/>
                  <a:pt x="160" y="400"/>
                  <a:pt x="160" y="400"/>
                </a:cubicBezTo>
                <a:cubicBezTo>
                  <a:pt x="160" y="402"/>
                  <a:pt x="160" y="402"/>
                  <a:pt x="160" y="402"/>
                </a:cubicBezTo>
                <a:cubicBezTo>
                  <a:pt x="162" y="403"/>
                  <a:pt x="162" y="403"/>
                  <a:pt x="162" y="403"/>
                </a:cubicBezTo>
                <a:cubicBezTo>
                  <a:pt x="162" y="404"/>
                  <a:pt x="162" y="404"/>
                  <a:pt x="162" y="404"/>
                </a:cubicBezTo>
                <a:cubicBezTo>
                  <a:pt x="163" y="405"/>
                  <a:pt x="163" y="405"/>
                  <a:pt x="163" y="405"/>
                </a:cubicBezTo>
                <a:cubicBezTo>
                  <a:pt x="164" y="405"/>
                  <a:pt x="164" y="405"/>
                  <a:pt x="164" y="405"/>
                </a:cubicBezTo>
                <a:cubicBezTo>
                  <a:pt x="167" y="406"/>
                  <a:pt x="167" y="406"/>
                  <a:pt x="167" y="406"/>
                </a:cubicBezTo>
                <a:cubicBezTo>
                  <a:pt x="175" y="406"/>
                  <a:pt x="175" y="406"/>
                  <a:pt x="175" y="406"/>
                </a:cubicBezTo>
                <a:cubicBezTo>
                  <a:pt x="193" y="400"/>
                  <a:pt x="193" y="400"/>
                  <a:pt x="193" y="400"/>
                </a:cubicBezTo>
                <a:cubicBezTo>
                  <a:pt x="196" y="398"/>
                  <a:pt x="196" y="398"/>
                  <a:pt x="196" y="398"/>
                </a:cubicBezTo>
                <a:cubicBezTo>
                  <a:pt x="197" y="398"/>
                  <a:pt x="197" y="398"/>
                  <a:pt x="197" y="398"/>
                </a:cubicBezTo>
                <a:cubicBezTo>
                  <a:pt x="202" y="392"/>
                  <a:pt x="202" y="392"/>
                  <a:pt x="202" y="392"/>
                </a:cubicBezTo>
                <a:cubicBezTo>
                  <a:pt x="204" y="386"/>
                  <a:pt x="204" y="386"/>
                  <a:pt x="204" y="386"/>
                </a:cubicBezTo>
                <a:cubicBezTo>
                  <a:pt x="204" y="385"/>
                  <a:pt x="204" y="385"/>
                  <a:pt x="204" y="385"/>
                </a:cubicBezTo>
                <a:cubicBezTo>
                  <a:pt x="203" y="380"/>
                  <a:pt x="203" y="380"/>
                  <a:pt x="203" y="380"/>
                </a:cubicBezTo>
                <a:cubicBezTo>
                  <a:pt x="202" y="377"/>
                  <a:pt x="202" y="377"/>
                  <a:pt x="202" y="377"/>
                </a:cubicBezTo>
                <a:cubicBezTo>
                  <a:pt x="199" y="373"/>
                  <a:pt x="199" y="373"/>
                  <a:pt x="199" y="373"/>
                </a:cubicBezTo>
                <a:cubicBezTo>
                  <a:pt x="209" y="316"/>
                  <a:pt x="209" y="316"/>
                  <a:pt x="209" y="316"/>
                </a:cubicBezTo>
                <a:cubicBezTo>
                  <a:pt x="215" y="300"/>
                  <a:pt x="215" y="300"/>
                  <a:pt x="215" y="300"/>
                </a:cubicBezTo>
                <a:cubicBezTo>
                  <a:pt x="215" y="299"/>
                  <a:pt x="215" y="299"/>
                  <a:pt x="215" y="299"/>
                </a:cubicBezTo>
                <a:cubicBezTo>
                  <a:pt x="216" y="298"/>
                  <a:pt x="216" y="298"/>
                  <a:pt x="216" y="298"/>
                </a:cubicBezTo>
                <a:cubicBezTo>
                  <a:pt x="221" y="292"/>
                  <a:pt x="221" y="292"/>
                  <a:pt x="221" y="292"/>
                </a:cubicBezTo>
                <a:cubicBezTo>
                  <a:pt x="224" y="288"/>
                  <a:pt x="224" y="288"/>
                  <a:pt x="224" y="288"/>
                </a:cubicBezTo>
                <a:cubicBezTo>
                  <a:pt x="226" y="287"/>
                  <a:pt x="226" y="287"/>
                  <a:pt x="226" y="287"/>
                </a:cubicBezTo>
                <a:cubicBezTo>
                  <a:pt x="223" y="262"/>
                  <a:pt x="223" y="262"/>
                  <a:pt x="223" y="262"/>
                </a:cubicBezTo>
                <a:cubicBezTo>
                  <a:pt x="221" y="255"/>
                  <a:pt x="221" y="255"/>
                  <a:pt x="221" y="255"/>
                </a:cubicBezTo>
                <a:cubicBezTo>
                  <a:pt x="216" y="238"/>
                  <a:pt x="216" y="238"/>
                  <a:pt x="216" y="238"/>
                </a:cubicBezTo>
                <a:cubicBezTo>
                  <a:pt x="215" y="223"/>
                  <a:pt x="215" y="223"/>
                  <a:pt x="215" y="223"/>
                </a:cubicBezTo>
                <a:cubicBezTo>
                  <a:pt x="215" y="223"/>
                  <a:pt x="215" y="223"/>
                  <a:pt x="215" y="223"/>
                </a:cubicBezTo>
                <a:cubicBezTo>
                  <a:pt x="216" y="220"/>
                  <a:pt x="216" y="220"/>
                  <a:pt x="216" y="220"/>
                </a:cubicBezTo>
                <a:cubicBezTo>
                  <a:pt x="216" y="219"/>
                  <a:pt x="216" y="219"/>
                  <a:pt x="216" y="219"/>
                </a:cubicBezTo>
                <a:cubicBezTo>
                  <a:pt x="231" y="213"/>
                  <a:pt x="231" y="213"/>
                  <a:pt x="231" y="213"/>
                </a:cubicBezTo>
                <a:cubicBezTo>
                  <a:pt x="241" y="199"/>
                  <a:pt x="241" y="199"/>
                  <a:pt x="241" y="199"/>
                </a:cubicBezTo>
                <a:cubicBezTo>
                  <a:pt x="244" y="197"/>
                  <a:pt x="244" y="197"/>
                  <a:pt x="244" y="197"/>
                </a:cubicBezTo>
                <a:cubicBezTo>
                  <a:pt x="245" y="195"/>
                  <a:pt x="245" y="195"/>
                  <a:pt x="245" y="195"/>
                </a:cubicBezTo>
                <a:cubicBezTo>
                  <a:pt x="273" y="168"/>
                  <a:pt x="273" y="168"/>
                  <a:pt x="273" y="168"/>
                </a:cubicBezTo>
                <a:cubicBezTo>
                  <a:pt x="283" y="162"/>
                  <a:pt x="283" y="162"/>
                  <a:pt x="283" y="162"/>
                </a:cubicBezTo>
                <a:cubicBezTo>
                  <a:pt x="285" y="161"/>
                  <a:pt x="285" y="161"/>
                  <a:pt x="285" y="161"/>
                </a:cubicBezTo>
                <a:cubicBezTo>
                  <a:pt x="286" y="160"/>
                  <a:pt x="286" y="160"/>
                  <a:pt x="286" y="160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9" y="160"/>
                  <a:pt x="289" y="160"/>
                  <a:pt x="289" y="160"/>
                </a:cubicBezTo>
                <a:cubicBezTo>
                  <a:pt x="289" y="161"/>
                  <a:pt x="289" y="161"/>
                  <a:pt x="289" y="161"/>
                </a:cubicBezTo>
                <a:cubicBezTo>
                  <a:pt x="288" y="162"/>
                  <a:pt x="288" y="162"/>
                  <a:pt x="288" y="162"/>
                </a:cubicBezTo>
                <a:cubicBezTo>
                  <a:pt x="286" y="164"/>
                  <a:pt x="286" y="164"/>
                  <a:pt x="286" y="164"/>
                </a:cubicBezTo>
                <a:cubicBezTo>
                  <a:pt x="285" y="165"/>
                  <a:pt x="285" y="165"/>
                  <a:pt x="285" y="165"/>
                </a:cubicBezTo>
                <a:cubicBezTo>
                  <a:pt x="281" y="167"/>
                  <a:pt x="281" y="167"/>
                  <a:pt x="281" y="167"/>
                </a:cubicBezTo>
                <a:cubicBezTo>
                  <a:pt x="272" y="173"/>
                  <a:pt x="272" y="173"/>
                  <a:pt x="272" y="173"/>
                </a:cubicBezTo>
                <a:cubicBezTo>
                  <a:pt x="249" y="196"/>
                  <a:pt x="249" y="196"/>
                  <a:pt x="249" y="196"/>
                </a:cubicBezTo>
                <a:cubicBezTo>
                  <a:pt x="239" y="209"/>
                  <a:pt x="239" y="209"/>
                  <a:pt x="239" y="209"/>
                </a:cubicBezTo>
                <a:cubicBezTo>
                  <a:pt x="236" y="212"/>
                  <a:pt x="236" y="212"/>
                  <a:pt x="236" y="212"/>
                </a:cubicBezTo>
                <a:cubicBezTo>
                  <a:pt x="236" y="213"/>
                  <a:pt x="236" y="213"/>
                  <a:pt x="236" y="213"/>
                </a:cubicBezTo>
                <a:cubicBezTo>
                  <a:pt x="235" y="215"/>
                  <a:pt x="235" y="215"/>
                  <a:pt x="235" y="215"/>
                </a:cubicBezTo>
                <a:cubicBezTo>
                  <a:pt x="235" y="215"/>
                  <a:pt x="235" y="215"/>
                  <a:pt x="235" y="215"/>
                </a:cubicBezTo>
                <a:cubicBezTo>
                  <a:pt x="234" y="220"/>
                  <a:pt x="234" y="220"/>
                  <a:pt x="234" y="220"/>
                </a:cubicBezTo>
                <a:cubicBezTo>
                  <a:pt x="229" y="230"/>
                  <a:pt x="229" y="230"/>
                  <a:pt x="229" y="230"/>
                </a:cubicBezTo>
                <a:cubicBezTo>
                  <a:pt x="227" y="235"/>
                  <a:pt x="227" y="235"/>
                  <a:pt x="227" y="235"/>
                </a:cubicBezTo>
                <a:cubicBezTo>
                  <a:pt x="227" y="236"/>
                  <a:pt x="227" y="236"/>
                  <a:pt x="227" y="236"/>
                </a:cubicBezTo>
                <a:cubicBezTo>
                  <a:pt x="228" y="251"/>
                  <a:pt x="228" y="251"/>
                  <a:pt x="228" y="251"/>
                </a:cubicBezTo>
                <a:cubicBezTo>
                  <a:pt x="229" y="254"/>
                  <a:pt x="229" y="254"/>
                  <a:pt x="229" y="254"/>
                </a:cubicBezTo>
                <a:cubicBezTo>
                  <a:pt x="229" y="256"/>
                  <a:pt x="229" y="256"/>
                  <a:pt x="229" y="256"/>
                </a:cubicBezTo>
                <a:cubicBezTo>
                  <a:pt x="232" y="262"/>
                  <a:pt x="232" y="262"/>
                  <a:pt x="232" y="262"/>
                </a:cubicBezTo>
                <a:cubicBezTo>
                  <a:pt x="233" y="262"/>
                  <a:pt x="233" y="262"/>
                  <a:pt x="233" y="262"/>
                </a:cubicBezTo>
                <a:cubicBezTo>
                  <a:pt x="237" y="264"/>
                  <a:pt x="237" y="264"/>
                  <a:pt x="237" y="264"/>
                </a:cubicBezTo>
                <a:cubicBezTo>
                  <a:pt x="247" y="269"/>
                  <a:pt x="247" y="269"/>
                  <a:pt x="247" y="269"/>
                </a:cubicBezTo>
                <a:cubicBezTo>
                  <a:pt x="249" y="269"/>
                  <a:pt x="249" y="269"/>
                  <a:pt x="249" y="269"/>
                </a:cubicBezTo>
                <a:cubicBezTo>
                  <a:pt x="250" y="269"/>
                  <a:pt x="250" y="269"/>
                  <a:pt x="250" y="269"/>
                </a:cubicBezTo>
                <a:cubicBezTo>
                  <a:pt x="250" y="267"/>
                  <a:pt x="250" y="267"/>
                  <a:pt x="250" y="267"/>
                </a:cubicBezTo>
                <a:cubicBezTo>
                  <a:pt x="248" y="265"/>
                  <a:pt x="248" y="265"/>
                  <a:pt x="248" y="265"/>
                </a:cubicBezTo>
                <a:cubicBezTo>
                  <a:pt x="246" y="259"/>
                  <a:pt x="246" y="259"/>
                  <a:pt x="246" y="259"/>
                </a:cubicBezTo>
                <a:cubicBezTo>
                  <a:pt x="244" y="254"/>
                  <a:pt x="244" y="254"/>
                  <a:pt x="244" y="254"/>
                </a:cubicBezTo>
                <a:cubicBezTo>
                  <a:pt x="244" y="253"/>
                  <a:pt x="244" y="253"/>
                  <a:pt x="244" y="253"/>
                </a:cubicBezTo>
                <a:cubicBezTo>
                  <a:pt x="250" y="240"/>
                  <a:pt x="250" y="240"/>
                  <a:pt x="250" y="240"/>
                </a:cubicBezTo>
                <a:cubicBezTo>
                  <a:pt x="253" y="242"/>
                  <a:pt x="253" y="242"/>
                  <a:pt x="253" y="242"/>
                </a:cubicBezTo>
                <a:cubicBezTo>
                  <a:pt x="273" y="262"/>
                  <a:pt x="273" y="262"/>
                  <a:pt x="273" y="262"/>
                </a:cubicBezTo>
                <a:cubicBezTo>
                  <a:pt x="277" y="263"/>
                  <a:pt x="277" y="263"/>
                  <a:pt x="277" y="263"/>
                </a:cubicBezTo>
                <a:cubicBezTo>
                  <a:pt x="278" y="263"/>
                  <a:pt x="278" y="263"/>
                  <a:pt x="278" y="263"/>
                </a:cubicBezTo>
                <a:cubicBezTo>
                  <a:pt x="280" y="262"/>
                  <a:pt x="280" y="262"/>
                  <a:pt x="280" y="262"/>
                </a:cubicBezTo>
                <a:cubicBezTo>
                  <a:pt x="281" y="261"/>
                  <a:pt x="281" y="261"/>
                  <a:pt x="281" y="261"/>
                </a:cubicBezTo>
                <a:cubicBezTo>
                  <a:pt x="285" y="254"/>
                  <a:pt x="285" y="254"/>
                  <a:pt x="285" y="254"/>
                </a:cubicBezTo>
                <a:cubicBezTo>
                  <a:pt x="289" y="241"/>
                  <a:pt x="289" y="241"/>
                  <a:pt x="289" y="241"/>
                </a:cubicBezTo>
                <a:cubicBezTo>
                  <a:pt x="290" y="239"/>
                  <a:pt x="290" y="239"/>
                  <a:pt x="290" y="239"/>
                </a:cubicBezTo>
                <a:cubicBezTo>
                  <a:pt x="293" y="228"/>
                  <a:pt x="293" y="228"/>
                  <a:pt x="293" y="228"/>
                </a:cubicBezTo>
                <a:cubicBezTo>
                  <a:pt x="293" y="212"/>
                  <a:pt x="293" y="212"/>
                  <a:pt x="293" y="212"/>
                </a:cubicBezTo>
                <a:cubicBezTo>
                  <a:pt x="294" y="201"/>
                  <a:pt x="294" y="201"/>
                  <a:pt x="294" y="201"/>
                </a:cubicBezTo>
                <a:cubicBezTo>
                  <a:pt x="301" y="196"/>
                  <a:pt x="301" y="196"/>
                  <a:pt x="301" y="196"/>
                </a:cubicBezTo>
                <a:cubicBezTo>
                  <a:pt x="301" y="195"/>
                  <a:pt x="301" y="194"/>
                  <a:pt x="301" y="194"/>
                </a:cubicBezTo>
                <a:cubicBezTo>
                  <a:pt x="301" y="193"/>
                  <a:pt x="301" y="193"/>
                  <a:pt x="301" y="193"/>
                </a:cubicBezTo>
                <a:cubicBezTo>
                  <a:pt x="301" y="193"/>
                  <a:pt x="301" y="193"/>
                  <a:pt x="301" y="193"/>
                </a:cubicBezTo>
                <a:cubicBezTo>
                  <a:pt x="300" y="192"/>
                  <a:pt x="299" y="192"/>
                  <a:pt x="299" y="191"/>
                </a:cubicBezTo>
                <a:cubicBezTo>
                  <a:pt x="299" y="190"/>
                  <a:pt x="300" y="189"/>
                  <a:pt x="301" y="188"/>
                </a:cubicBezTo>
                <a:cubicBezTo>
                  <a:pt x="303" y="187"/>
                  <a:pt x="303" y="187"/>
                  <a:pt x="303" y="187"/>
                </a:cubicBezTo>
                <a:cubicBezTo>
                  <a:pt x="304" y="187"/>
                  <a:pt x="305" y="186"/>
                  <a:pt x="306" y="185"/>
                </a:cubicBezTo>
                <a:cubicBezTo>
                  <a:pt x="307" y="184"/>
                  <a:pt x="307" y="184"/>
                  <a:pt x="307" y="184"/>
                </a:cubicBezTo>
                <a:cubicBezTo>
                  <a:pt x="308" y="184"/>
                  <a:pt x="308" y="183"/>
                  <a:pt x="309" y="183"/>
                </a:cubicBezTo>
                <a:cubicBezTo>
                  <a:pt x="309" y="183"/>
                  <a:pt x="309" y="183"/>
                  <a:pt x="309" y="182"/>
                </a:cubicBezTo>
                <a:cubicBezTo>
                  <a:pt x="309" y="182"/>
                  <a:pt x="309" y="182"/>
                  <a:pt x="309" y="182"/>
                </a:cubicBezTo>
                <a:cubicBezTo>
                  <a:pt x="309" y="180"/>
                  <a:pt x="309" y="179"/>
                  <a:pt x="309" y="179"/>
                </a:cubicBezTo>
                <a:cubicBezTo>
                  <a:pt x="309" y="179"/>
                  <a:pt x="309" y="179"/>
                  <a:pt x="309" y="178"/>
                </a:cubicBezTo>
                <a:cubicBezTo>
                  <a:pt x="309" y="173"/>
                  <a:pt x="309" y="173"/>
                  <a:pt x="309" y="173"/>
                </a:cubicBezTo>
                <a:cubicBezTo>
                  <a:pt x="309" y="172"/>
                  <a:pt x="309" y="172"/>
                  <a:pt x="309" y="171"/>
                </a:cubicBezTo>
                <a:cubicBezTo>
                  <a:pt x="309" y="171"/>
                  <a:pt x="309" y="170"/>
                  <a:pt x="309" y="168"/>
                </a:cubicBezTo>
                <a:cubicBezTo>
                  <a:pt x="310" y="167"/>
                  <a:pt x="309" y="166"/>
                  <a:pt x="309" y="165"/>
                </a:cubicBezTo>
                <a:cubicBezTo>
                  <a:pt x="309" y="164"/>
                  <a:pt x="309" y="163"/>
                  <a:pt x="309" y="162"/>
                </a:cubicBezTo>
                <a:cubicBezTo>
                  <a:pt x="310" y="162"/>
                  <a:pt x="310" y="161"/>
                  <a:pt x="310" y="160"/>
                </a:cubicBezTo>
                <a:cubicBezTo>
                  <a:pt x="309" y="160"/>
                  <a:pt x="309" y="160"/>
                  <a:pt x="309" y="160"/>
                </a:cubicBezTo>
                <a:cubicBezTo>
                  <a:pt x="308" y="160"/>
                  <a:pt x="307" y="160"/>
                  <a:pt x="307" y="159"/>
                </a:cubicBezTo>
                <a:cubicBezTo>
                  <a:pt x="305" y="156"/>
                  <a:pt x="305" y="156"/>
                  <a:pt x="305" y="156"/>
                </a:cubicBezTo>
                <a:cubicBezTo>
                  <a:pt x="304" y="155"/>
                  <a:pt x="304" y="155"/>
                  <a:pt x="304" y="155"/>
                </a:cubicBezTo>
                <a:cubicBezTo>
                  <a:pt x="304" y="148"/>
                  <a:pt x="304" y="148"/>
                  <a:pt x="304" y="148"/>
                </a:cubicBezTo>
                <a:cubicBezTo>
                  <a:pt x="305" y="147"/>
                  <a:pt x="305" y="147"/>
                  <a:pt x="305" y="147"/>
                </a:cubicBezTo>
                <a:cubicBezTo>
                  <a:pt x="305" y="147"/>
                  <a:pt x="305" y="147"/>
                  <a:pt x="305" y="146"/>
                </a:cubicBezTo>
                <a:cubicBezTo>
                  <a:pt x="302" y="144"/>
                  <a:pt x="302" y="144"/>
                  <a:pt x="302" y="144"/>
                </a:cubicBezTo>
                <a:cubicBezTo>
                  <a:pt x="302" y="144"/>
                  <a:pt x="301" y="145"/>
                  <a:pt x="300" y="145"/>
                </a:cubicBezTo>
                <a:cubicBezTo>
                  <a:pt x="300" y="144"/>
                  <a:pt x="299" y="144"/>
                  <a:pt x="298" y="142"/>
                </a:cubicBezTo>
                <a:cubicBezTo>
                  <a:pt x="297" y="142"/>
                  <a:pt x="297" y="141"/>
                  <a:pt x="297" y="141"/>
                </a:cubicBezTo>
                <a:cubicBezTo>
                  <a:pt x="296" y="140"/>
                  <a:pt x="294" y="137"/>
                  <a:pt x="297" y="135"/>
                </a:cubicBezTo>
                <a:cubicBezTo>
                  <a:pt x="297" y="135"/>
                  <a:pt x="297" y="134"/>
                  <a:pt x="298" y="133"/>
                </a:cubicBezTo>
                <a:cubicBezTo>
                  <a:pt x="298" y="132"/>
                  <a:pt x="300" y="130"/>
                  <a:pt x="302" y="131"/>
                </a:cubicBezTo>
                <a:cubicBezTo>
                  <a:pt x="302" y="130"/>
                  <a:pt x="302" y="130"/>
                  <a:pt x="302" y="129"/>
                </a:cubicBezTo>
                <a:cubicBezTo>
                  <a:pt x="302" y="128"/>
                  <a:pt x="303" y="128"/>
                  <a:pt x="304" y="127"/>
                </a:cubicBezTo>
                <a:cubicBezTo>
                  <a:pt x="305" y="127"/>
                  <a:pt x="306" y="127"/>
                  <a:pt x="306" y="126"/>
                </a:cubicBezTo>
                <a:cubicBezTo>
                  <a:pt x="307" y="122"/>
                  <a:pt x="307" y="122"/>
                  <a:pt x="307" y="122"/>
                </a:cubicBezTo>
                <a:cubicBezTo>
                  <a:pt x="308" y="121"/>
                  <a:pt x="308" y="120"/>
                  <a:pt x="309" y="120"/>
                </a:cubicBezTo>
                <a:cubicBezTo>
                  <a:pt x="313" y="120"/>
                  <a:pt x="313" y="120"/>
                  <a:pt x="313" y="120"/>
                </a:cubicBezTo>
                <a:cubicBezTo>
                  <a:pt x="313" y="119"/>
                  <a:pt x="313" y="119"/>
                  <a:pt x="313" y="119"/>
                </a:cubicBezTo>
                <a:cubicBezTo>
                  <a:pt x="313" y="118"/>
                  <a:pt x="313" y="117"/>
                  <a:pt x="315" y="117"/>
                </a:cubicBezTo>
                <a:cubicBezTo>
                  <a:pt x="315" y="117"/>
                  <a:pt x="315" y="117"/>
                  <a:pt x="315" y="117"/>
                </a:cubicBezTo>
                <a:cubicBezTo>
                  <a:pt x="316" y="116"/>
                  <a:pt x="317" y="116"/>
                  <a:pt x="319" y="116"/>
                </a:cubicBezTo>
                <a:cubicBezTo>
                  <a:pt x="320" y="116"/>
                  <a:pt x="320" y="116"/>
                  <a:pt x="321" y="117"/>
                </a:cubicBezTo>
                <a:cubicBezTo>
                  <a:pt x="322" y="117"/>
                  <a:pt x="322" y="118"/>
                  <a:pt x="324" y="116"/>
                </a:cubicBezTo>
                <a:cubicBezTo>
                  <a:pt x="325" y="115"/>
                  <a:pt x="326" y="115"/>
                  <a:pt x="327" y="114"/>
                </a:cubicBezTo>
                <a:cubicBezTo>
                  <a:pt x="326" y="114"/>
                  <a:pt x="326" y="114"/>
                  <a:pt x="326" y="114"/>
                </a:cubicBezTo>
                <a:cubicBezTo>
                  <a:pt x="325" y="113"/>
                  <a:pt x="325" y="112"/>
                  <a:pt x="324" y="111"/>
                </a:cubicBezTo>
                <a:cubicBezTo>
                  <a:pt x="323" y="109"/>
                  <a:pt x="323" y="109"/>
                  <a:pt x="323" y="109"/>
                </a:cubicBezTo>
                <a:cubicBezTo>
                  <a:pt x="323" y="108"/>
                  <a:pt x="323" y="107"/>
                  <a:pt x="324" y="107"/>
                </a:cubicBezTo>
                <a:cubicBezTo>
                  <a:pt x="324" y="106"/>
                  <a:pt x="325" y="106"/>
                  <a:pt x="325" y="106"/>
                </a:cubicBezTo>
                <a:cubicBezTo>
                  <a:pt x="325" y="106"/>
                  <a:pt x="325" y="106"/>
                  <a:pt x="325" y="106"/>
                </a:cubicBezTo>
                <a:cubicBezTo>
                  <a:pt x="326" y="106"/>
                  <a:pt x="326" y="106"/>
                  <a:pt x="326" y="105"/>
                </a:cubicBezTo>
                <a:cubicBezTo>
                  <a:pt x="326" y="102"/>
                  <a:pt x="326" y="102"/>
                  <a:pt x="326" y="102"/>
                </a:cubicBezTo>
                <a:cubicBezTo>
                  <a:pt x="326" y="100"/>
                  <a:pt x="326" y="100"/>
                  <a:pt x="326" y="100"/>
                </a:cubicBezTo>
                <a:cubicBezTo>
                  <a:pt x="325" y="100"/>
                  <a:pt x="325" y="100"/>
                  <a:pt x="325" y="100"/>
                </a:cubicBezTo>
                <a:cubicBezTo>
                  <a:pt x="325" y="100"/>
                  <a:pt x="324" y="100"/>
                  <a:pt x="323" y="100"/>
                </a:cubicBezTo>
                <a:cubicBezTo>
                  <a:pt x="323" y="100"/>
                  <a:pt x="322" y="100"/>
                  <a:pt x="322" y="99"/>
                </a:cubicBezTo>
                <a:cubicBezTo>
                  <a:pt x="321" y="99"/>
                  <a:pt x="321" y="99"/>
                  <a:pt x="321" y="98"/>
                </a:cubicBezTo>
                <a:cubicBezTo>
                  <a:pt x="321" y="95"/>
                  <a:pt x="321" y="95"/>
                  <a:pt x="321" y="95"/>
                </a:cubicBezTo>
                <a:cubicBezTo>
                  <a:pt x="321" y="94"/>
                  <a:pt x="322" y="93"/>
                  <a:pt x="323" y="93"/>
                </a:cubicBezTo>
                <a:cubicBezTo>
                  <a:pt x="323" y="93"/>
                  <a:pt x="323" y="93"/>
                  <a:pt x="324" y="93"/>
                </a:cubicBezTo>
                <a:cubicBezTo>
                  <a:pt x="325" y="92"/>
                  <a:pt x="328" y="91"/>
                  <a:pt x="328" y="90"/>
                </a:cubicBezTo>
                <a:cubicBezTo>
                  <a:pt x="331" y="89"/>
                  <a:pt x="331" y="89"/>
                  <a:pt x="331" y="89"/>
                </a:cubicBezTo>
                <a:cubicBezTo>
                  <a:pt x="332" y="89"/>
                  <a:pt x="332" y="89"/>
                  <a:pt x="332" y="89"/>
                </a:cubicBezTo>
                <a:cubicBezTo>
                  <a:pt x="341" y="89"/>
                  <a:pt x="341" y="89"/>
                  <a:pt x="341" y="89"/>
                </a:cubicBezTo>
                <a:cubicBezTo>
                  <a:pt x="342" y="89"/>
                  <a:pt x="342" y="89"/>
                  <a:pt x="342" y="89"/>
                </a:cubicBezTo>
                <a:cubicBezTo>
                  <a:pt x="342" y="88"/>
                  <a:pt x="343" y="88"/>
                  <a:pt x="343" y="87"/>
                </a:cubicBezTo>
                <a:cubicBezTo>
                  <a:pt x="344" y="87"/>
                  <a:pt x="344" y="87"/>
                  <a:pt x="344" y="87"/>
                </a:cubicBezTo>
                <a:cubicBezTo>
                  <a:pt x="343" y="84"/>
                  <a:pt x="343" y="83"/>
                  <a:pt x="343" y="82"/>
                </a:cubicBezTo>
                <a:close/>
                <a:moveTo>
                  <a:pt x="32" y="84"/>
                </a:moveTo>
                <a:cubicBezTo>
                  <a:pt x="6" y="91"/>
                  <a:pt x="6" y="91"/>
                  <a:pt x="6" y="91"/>
                </a:cubicBezTo>
                <a:cubicBezTo>
                  <a:pt x="1" y="94"/>
                  <a:pt x="1" y="94"/>
                  <a:pt x="1" y="94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97"/>
                  <a:pt x="0" y="97"/>
                  <a:pt x="0" y="97"/>
                </a:cubicBezTo>
                <a:cubicBezTo>
                  <a:pt x="1" y="105"/>
                  <a:pt x="1" y="105"/>
                  <a:pt x="1" y="105"/>
                </a:cubicBezTo>
                <a:cubicBezTo>
                  <a:pt x="2" y="108"/>
                  <a:pt x="2" y="108"/>
                  <a:pt x="2" y="108"/>
                </a:cubicBezTo>
                <a:cubicBezTo>
                  <a:pt x="7" y="110"/>
                  <a:pt x="7" y="110"/>
                  <a:pt x="7" y="110"/>
                </a:cubicBezTo>
                <a:cubicBezTo>
                  <a:pt x="8" y="111"/>
                  <a:pt x="8" y="111"/>
                  <a:pt x="8" y="111"/>
                </a:cubicBezTo>
                <a:cubicBezTo>
                  <a:pt x="10" y="110"/>
                  <a:pt x="10" y="110"/>
                  <a:pt x="10" y="110"/>
                </a:cubicBezTo>
                <a:cubicBezTo>
                  <a:pt x="11" y="110"/>
                  <a:pt x="11" y="110"/>
                  <a:pt x="11" y="110"/>
                </a:cubicBezTo>
                <a:cubicBezTo>
                  <a:pt x="36" y="92"/>
                  <a:pt x="36" y="92"/>
                  <a:pt x="36" y="92"/>
                </a:cubicBezTo>
                <a:cubicBezTo>
                  <a:pt x="37" y="89"/>
                  <a:pt x="37" y="89"/>
                  <a:pt x="37" y="89"/>
                </a:cubicBezTo>
                <a:cubicBezTo>
                  <a:pt x="34" y="87"/>
                  <a:pt x="34" y="87"/>
                  <a:pt x="34" y="87"/>
                </a:cubicBezTo>
                <a:lnTo>
                  <a:pt x="32" y="84"/>
                </a:lnTo>
                <a:close/>
                <a:moveTo>
                  <a:pt x="63" y="74"/>
                </a:moveTo>
                <a:cubicBezTo>
                  <a:pt x="68" y="68"/>
                  <a:pt x="68" y="68"/>
                  <a:pt x="68" y="68"/>
                </a:cubicBezTo>
                <a:cubicBezTo>
                  <a:pt x="71" y="64"/>
                  <a:pt x="71" y="64"/>
                  <a:pt x="71" y="64"/>
                </a:cubicBezTo>
                <a:cubicBezTo>
                  <a:pt x="76" y="53"/>
                  <a:pt x="76" y="53"/>
                  <a:pt x="76" y="53"/>
                </a:cubicBezTo>
                <a:cubicBezTo>
                  <a:pt x="76" y="52"/>
                  <a:pt x="76" y="52"/>
                  <a:pt x="76" y="52"/>
                </a:cubicBezTo>
                <a:cubicBezTo>
                  <a:pt x="77" y="52"/>
                  <a:pt x="77" y="52"/>
                  <a:pt x="77" y="52"/>
                </a:cubicBezTo>
                <a:cubicBezTo>
                  <a:pt x="77" y="51"/>
                  <a:pt x="77" y="51"/>
                  <a:pt x="77" y="51"/>
                </a:cubicBezTo>
                <a:cubicBezTo>
                  <a:pt x="76" y="51"/>
                  <a:pt x="76" y="51"/>
                  <a:pt x="76" y="51"/>
                </a:cubicBezTo>
                <a:cubicBezTo>
                  <a:pt x="69" y="52"/>
                  <a:pt x="69" y="52"/>
                  <a:pt x="69" y="52"/>
                </a:cubicBezTo>
                <a:cubicBezTo>
                  <a:pt x="63" y="56"/>
                  <a:pt x="63" y="56"/>
                  <a:pt x="63" y="56"/>
                </a:cubicBezTo>
                <a:cubicBezTo>
                  <a:pt x="52" y="66"/>
                  <a:pt x="52" y="66"/>
                  <a:pt x="52" y="66"/>
                </a:cubicBezTo>
                <a:cubicBezTo>
                  <a:pt x="44" y="75"/>
                  <a:pt x="44" y="75"/>
                  <a:pt x="44" y="75"/>
                </a:cubicBezTo>
                <a:cubicBezTo>
                  <a:pt x="42" y="82"/>
                  <a:pt x="42" y="82"/>
                  <a:pt x="42" y="82"/>
                </a:cubicBezTo>
                <a:cubicBezTo>
                  <a:pt x="52" y="79"/>
                  <a:pt x="52" y="79"/>
                  <a:pt x="52" y="79"/>
                </a:cubicBezTo>
                <a:cubicBezTo>
                  <a:pt x="58" y="76"/>
                  <a:pt x="58" y="76"/>
                  <a:pt x="58" y="76"/>
                </a:cubicBezTo>
                <a:cubicBezTo>
                  <a:pt x="62" y="74"/>
                  <a:pt x="62" y="74"/>
                  <a:pt x="62" y="74"/>
                </a:cubicBezTo>
                <a:lnTo>
                  <a:pt x="63" y="74"/>
                </a:lnTo>
                <a:close/>
                <a:moveTo>
                  <a:pt x="157" y="235"/>
                </a:moveTo>
                <a:cubicBezTo>
                  <a:pt x="157" y="235"/>
                  <a:pt x="157" y="235"/>
                  <a:pt x="157" y="235"/>
                </a:cubicBezTo>
                <a:cubicBezTo>
                  <a:pt x="157" y="234"/>
                  <a:pt x="157" y="234"/>
                  <a:pt x="157" y="234"/>
                </a:cubicBezTo>
                <a:cubicBezTo>
                  <a:pt x="149" y="237"/>
                  <a:pt x="149" y="237"/>
                  <a:pt x="149" y="237"/>
                </a:cubicBezTo>
                <a:cubicBezTo>
                  <a:pt x="145" y="238"/>
                  <a:pt x="145" y="238"/>
                  <a:pt x="145" y="238"/>
                </a:cubicBezTo>
                <a:cubicBezTo>
                  <a:pt x="140" y="238"/>
                  <a:pt x="140" y="238"/>
                  <a:pt x="140" y="238"/>
                </a:cubicBezTo>
                <a:cubicBezTo>
                  <a:pt x="136" y="238"/>
                  <a:pt x="136" y="238"/>
                  <a:pt x="136" y="238"/>
                </a:cubicBezTo>
                <a:cubicBezTo>
                  <a:pt x="130" y="239"/>
                  <a:pt x="130" y="239"/>
                  <a:pt x="130" y="239"/>
                </a:cubicBezTo>
                <a:cubicBezTo>
                  <a:pt x="128" y="241"/>
                  <a:pt x="128" y="241"/>
                  <a:pt x="128" y="241"/>
                </a:cubicBezTo>
                <a:cubicBezTo>
                  <a:pt x="123" y="250"/>
                  <a:pt x="123" y="250"/>
                  <a:pt x="123" y="250"/>
                </a:cubicBezTo>
                <a:cubicBezTo>
                  <a:pt x="121" y="252"/>
                  <a:pt x="121" y="252"/>
                  <a:pt x="121" y="252"/>
                </a:cubicBezTo>
                <a:cubicBezTo>
                  <a:pt x="121" y="254"/>
                  <a:pt x="121" y="254"/>
                  <a:pt x="121" y="254"/>
                </a:cubicBezTo>
                <a:cubicBezTo>
                  <a:pt x="121" y="263"/>
                  <a:pt x="121" y="263"/>
                  <a:pt x="121" y="263"/>
                </a:cubicBezTo>
                <a:cubicBezTo>
                  <a:pt x="122" y="265"/>
                  <a:pt x="122" y="265"/>
                  <a:pt x="122" y="265"/>
                </a:cubicBezTo>
                <a:cubicBezTo>
                  <a:pt x="124" y="271"/>
                  <a:pt x="124" y="271"/>
                  <a:pt x="124" y="271"/>
                </a:cubicBezTo>
                <a:cubicBezTo>
                  <a:pt x="125" y="272"/>
                  <a:pt x="125" y="272"/>
                  <a:pt x="125" y="272"/>
                </a:cubicBezTo>
                <a:cubicBezTo>
                  <a:pt x="126" y="273"/>
                  <a:pt x="126" y="273"/>
                  <a:pt x="126" y="273"/>
                </a:cubicBezTo>
                <a:cubicBezTo>
                  <a:pt x="132" y="277"/>
                  <a:pt x="132" y="277"/>
                  <a:pt x="132" y="277"/>
                </a:cubicBezTo>
                <a:cubicBezTo>
                  <a:pt x="140" y="279"/>
                  <a:pt x="140" y="279"/>
                  <a:pt x="140" y="279"/>
                </a:cubicBezTo>
                <a:cubicBezTo>
                  <a:pt x="141" y="278"/>
                  <a:pt x="141" y="278"/>
                  <a:pt x="141" y="278"/>
                </a:cubicBezTo>
                <a:cubicBezTo>
                  <a:pt x="158" y="240"/>
                  <a:pt x="158" y="240"/>
                  <a:pt x="158" y="240"/>
                </a:cubicBezTo>
                <a:cubicBezTo>
                  <a:pt x="158" y="238"/>
                  <a:pt x="158" y="238"/>
                  <a:pt x="158" y="238"/>
                </a:cubicBezTo>
                <a:lnTo>
                  <a:pt x="157" y="235"/>
                </a:lnTo>
                <a:close/>
                <a:moveTo>
                  <a:pt x="180" y="177"/>
                </a:moveTo>
                <a:cubicBezTo>
                  <a:pt x="175" y="178"/>
                  <a:pt x="175" y="178"/>
                  <a:pt x="175" y="178"/>
                </a:cubicBezTo>
                <a:cubicBezTo>
                  <a:pt x="175" y="179"/>
                  <a:pt x="175" y="179"/>
                  <a:pt x="175" y="179"/>
                </a:cubicBezTo>
                <a:cubicBezTo>
                  <a:pt x="172" y="184"/>
                  <a:pt x="172" y="184"/>
                  <a:pt x="172" y="184"/>
                </a:cubicBezTo>
                <a:cubicBezTo>
                  <a:pt x="172" y="185"/>
                  <a:pt x="172" y="185"/>
                  <a:pt x="172" y="185"/>
                </a:cubicBezTo>
                <a:cubicBezTo>
                  <a:pt x="172" y="186"/>
                  <a:pt x="172" y="186"/>
                  <a:pt x="172" y="186"/>
                </a:cubicBezTo>
                <a:cubicBezTo>
                  <a:pt x="177" y="187"/>
                  <a:pt x="177" y="187"/>
                  <a:pt x="177" y="187"/>
                </a:cubicBezTo>
                <a:cubicBezTo>
                  <a:pt x="178" y="186"/>
                  <a:pt x="178" y="186"/>
                  <a:pt x="178" y="186"/>
                </a:cubicBezTo>
                <a:cubicBezTo>
                  <a:pt x="181" y="184"/>
                  <a:pt x="181" y="184"/>
                  <a:pt x="181" y="184"/>
                </a:cubicBezTo>
                <a:cubicBezTo>
                  <a:pt x="181" y="183"/>
                  <a:pt x="181" y="183"/>
                  <a:pt x="181" y="183"/>
                </a:cubicBezTo>
                <a:cubicBezTo>
                  <a:pt x="181" y="183"/>
                  <a:pt x="181" y="183"/>
                  <a:pt x="181" y="183"/>
                </a:cubicBezTo>
                <a:cubicBezTo>
                  <a:pt x="181" y="178"/>
                  <a:pt x="181" y="178"/>
                  <a:pt x="181" y="178"/>
                </a:cubicBezTo>
                <a:cubicBezTo>
                  <a:pt x="180" y="177"/>
                  <a:pt x="180" y="177"/>
                  <a:pt x="180" y="177"/>
                </a:cubicBezTo>
                <a:close/>
                <a:moveTo>
                  <a:pt x="108" y="109"/>
                </a:moveTo>
                <a:cubicBezTo>
                  <a:pt x="113" y="110"/>
                  <a:pt x="113" y="110"/>
                  <a:pt x="113" y="110"/>
                </a:cubicBezTo>
                <a:cubicBezTo>
                  <a:pt x="114" y="110"/>
                  <a:pt x="114" y="110"/>
                  <a:pt x="114" y="110"/>
                </a:cubicBezTo>
                <a:cubicBezTo>
                  <a:pt x="116" y="109"/>
                  <a:pt x="116" y="109"/>
                  <a:pt x="116" y="109"/>
                </a:cubicBezTo>
                <a:cubicBezTo>
                  <a:pt x="117" y="109"/>
                  <a:pt x="117" y="109"/>
                  <a:pt x="117" y="109"/>
                </a:cubicBezTo>
                <a:cubicBezTo>
                  <a:pt x="117" y="108"/>
                  <a:pt x="117" y="108"/>
                  <a:pt x="117" y="108"/>
                </a:cubicBezTo>
                <a:cubicBezTo>
                  <a:pt x="117" y="108"/>
                  <a:pt x="117" y="108"/>
                  <a:pt x="117" y="108"/>
                </a:cubicBezTo>
                <a:cubicBezTo>
                  <a:pt x="117" y="107"/>
                  <a:pt x="117" y="107"/>
                  <a:pt x="117" y="107"/>
                </a:cubicBezTo>
                <a:cubicBezTo>
                  <a:pt x="113" y="104"/>
                  <a:pt x="113" y="104"/>
                  <a:pt x="113" y="104"/>
                </a:cubicBezTo>
                <a:cubicBezTo>
                  <a:pt x="106" y="101"/>
                  <a:pt x="106" y="101"/>
                  <a:pt x="106" y="101"/>
                </a:cubicBezTo>
                <a:cubicBezTo>
                  <a:pt x="104" y="101"/>
                  <a:pt x="104" y="101"/>
                  <a:pt x="104" y="101"/>
                </a:cubicBezTo>
                <a:cubicBezTo>
                  <a:pt x="103" y="102"/>
                  <a:pt x="103" y="102"/>
                  <a:pt x="103" y="102"/>
                </a:cubicBezTo>
                <a:cubicBezTo>
                  <a:pt x="102" y="104"/>
                  <a:pt x="102" y="104"/>
                  <a:pt x="102" y="104"/>
                </a:cubicBezTo>
                <a:cubicBezTo>
                  <a:pt x="101" y="105"/>
                  <a:pt x="101" y="105"/>
                  <a:pt x="101" y="105"/>
                </a:cubicBezTo>
                <a:cubicBezTo>
                  <a:pt x="102" y="106"/>
                  <a:pt x="102" y="106"/>
                  <a:pt x="102" y="106"/>
                </a:cubicBezTo>
                <a:cubicBezTo>
                  <a:pt x="104" y="107"/>
                  <a:pt x="104" y="107"/>
                  <a:pt x="104" y="107"/>
                </a:cubicBezTo>
                <a:lnTo>
                  <a:pt x="108" y="109"/>
                </a:lnTo>
                <a:close/>
                <a:moveTo>
                  <a:pt x="128" y="288"/>
                </a:moveTo>
                <a:cubicBezTo>
                  <a:pt x="128" y="286"/>
                  <a:pt x="128" y="286"/>
                  <a:pt x="128" y="286"/>
                </a:cubicBezTo>
                <a:cubicBezTo>
                  <a:pt x="126" y="282"/>
                  <a:pt x="126" y="282"/>
                  <a:pt x="126" y="282"/>
                </a:cubicBezTo>
                <a:cubicBezTo>
                  <a:pt x="123" y="280"/>
                  <a:pt x="123" y="280"/>
                  <a:pt x="123" y="280"/>
                </a:cubicBezTo>
                <a:cubicBezTo>
                  <a:pt x="121" y="278"/>
                  <a:pt x="121" y="278"/>
                  <a:pt x="121" y="278"/>
                </a:cubicBezTo>
                <a:cubicBezTo>
                  <a:pt x="120" y="272"/>
                  <a:pt x="120" y="272"/>
                  <a:pt x="120" y="272"/>
                </a:cubicBezTo>
                <a:cubicBezTo>
                  <a:pt x="118" y="257"/>
                  <a:pt x="118" y="257"/>
                  <a:pt x="118" y="257"/>
                </a:cubicBezTo>
                <a:cubicBezTo>
                  <a:pt x="117" y="247"/>
                  <a:pt x="117" y="247"/>
                  <a:pt x="117" y="247"/>
                </a:cubicBezTo>
                <a:cubicBezTo>
                  <a:pt x="117" y="245"/>
                  <a:pt x="117" y="245"/>
                  <a:pt x="117" y="245"/>
                </a:cubicBezTo>
                <a:cubicBezTo>
                  <a:pt x="118" y="244"/>
                  <a:pt x="118" y="244"/>
                  <a:pt x="118" y="244"/>
                </a:cubicBezTo>
                <a:cubicBezTo>
                  <a:pt x="119" y="243"/>
                  <a:pt x="119" y="243"/>
                  <a:pt x="119" y="243"/>
                </a:cubicBezTo>
                <a:cubicBezTo>
                  <a:pt x="119" y="241"/>
                  <a:pt x="119" y="241"/>
                  <a:pt x="119" y="241"/>
                </a:cubicBezTo>
                <a:cubicBezTo>
                  <a:pt x="118" y="241"/>
                  <a:pt x="118" y="241"/>
                  <a:pt x="118" y="241"/>
                </a:cubicBezTo>
                <a:cubicBezTo>
                  <a:pt x="115" y="241"/>
                  <a:pt x="115" y="241"/>
                  <a:pt x="115" y="241"/>
                </a:cubicBezTo>
                <a:cubicBezTo>
                  <a:pt x="88" y="253"/>
                  <a:pt x="88" y="253"/>
                  <a:pt x="88" y="253"/>
                </a:cubicBezTo>
                <a:cubicBezTo>
                  <a:pt x="73" y="260"/>
                  <a:pt x="73" y="260"/>
                  <a:pt x="73" y="260"/>
                </a:cubicBezTo>
                <a:cubicBezTo>
                  <a:pt x="72" y="262"/>
                  <a:pt x="72" y="262"/>
                  <a:pt x="72" y="262"/>
                </a:cubicBezTo>
                <a:cubicBezTo>
                  <a:pt x="71" y="263"/>
                  <a:pt x="71" y="263"/>
                  <a:pt x="71" y="263"/>
                </a:cubicBezTo>
                <a:cubicBezTo>
                  <a:pt x="70" y="264"/>
                  <a:pt x="70" y="264"/>
                  <a:pt x="70" y="264"/>
                </a:cubicBezTo>
                <a:cubicBezTo>
                  <a:pt x="67" y="276"/>
                  <a:pt x="67" y="276"/>
                  <a:pt x="67" y="276"/>
                </a:cubicBezTo>
                <a:cubicBezTo>
                  <a:pt x="60" y="301"/>
                  <a:pt x="60" y="301"/>
                  <a:pt x="60" y="301"/>
                </a:cubicBezTo>
                <a:cubicBezTo>
                  <a:pt x="60" y="302"/>
                  <a:pt x="60" y="302"/>
                  <a:pt x="60" y="302"/>
                </a:cubicBezTo>
                <a:cubicBezTo>
                  <a:pt x="60" y="307"/>
                  <a:pt x="60" y="307"/>
                  <a:pt x="60" y="307"/>
                </a:cubicBezTo>
                <a:cubicBezTo>
                  <a:pt x="60" y="308"/>
                  <a:pt x="60" y="308"/>
                  <a:pt x="60" y="308"/>
                </a:cubicBezTo>
                <a:cubicBezTo>
                  <a:pt x="61" y="308"/>
                  <a:pt x="61" y="308"/>
                  <a:pt x="61" y="308"/>
                </a:cubicBezTo>
                <a:cubicBezTo>
                  <a:pt x="67" y="307"/>
                  <a:pt x="67" y="307"/>
                  <a:pt x="67" y="307"/>
                </a:cubicBezTo>
                <a:cubicBezTo>
                  <a:pt x="71" y="305"/>
                  <a:pt x="71" y="305"/>
                  <a:pt x="71" y="305"/>
                </a:cubicBezTo>
                <a:cubicBezTo>
                  <a:pt x="74" y="302"/>
                  <a:pt x="74" y="302"/>
                  <a:pt x="74" y="302"/>
                </a:cubicBezTo>
                <a:cubicBezTo>
                  <a:pt x="75" y="301"/>
                  <a:pt x="75" y="301"/>
                  <a:pt x="75" y="301"/>
                </a:cubicBezTo>
                <a:cubicBezTo>
                  <a:pt x="78" y="298"/>
                  <a:pt x="78" y="298"/>
                  <a:pt x="78" y="298"/>
                </a:cubicBezTo>
                <a:cubicBezTo>
                  <a:pt x="79" y="296"/>
                  <a:pt x="79" y="296"/>
                  <a:pt x="79" y="296"/>
                </a:cubicBezTo>
                <a:cubicBezTo>
                  <a:pt x="82" y="289"/>
                  <a:pt x="82" y="289"/>
                  <a:pt x="82" y="289"/>
                </a:cubicBezTo>
                <a:cubicBezTo>
                  <a:pt x="84" y="284"/>
                  <a:pt x="84" y="284"/>
                  <a:pt x="84" y="284"/>
                </a:cubicBezTo>
                <a:cubicBezTo>
                  <a:pt x="85" y="282"/>
                  <a:pt x="85" y="282"/>
                  <a:pt x="85" y="282"/>
                </a:cubicBezTo>
                <a:cubicBezTo>
                  <a:pt x="86" y="281"/>
                  <a:pt x="86" y="281"/>
                  <a:pt x="86" y="281"/>
                </a:cubicBezTo>
                <a:cubicBezTo>
                  <a:pt x="96" y="281"/>
                  <a:pt x="96" y="281"/>
                  <a:pt x="96" y="281"/>
                </a:cubicBezTo>
                <a:cubicBezTo>
                  <a:pt x="97" y="281"/>
                  <a:pt x="97" y="281"/>
                  <a:pt x="97" y="281"/>
                </a:cubicBezTo>
                <a:cubicBezTo>
                  <a:pt x="98" y="282"/>
                  <a:pt x="98" y="282"/>
                  <a:pt x="98" y="282"/>
                </a:cubicBezTo>
                <a:cubicBezTo>
                  <a:pt x="98" y="282"/>
                  <a:pt x="98" y="282"/>
                  <a:pt x="98" y="282"/>
                </a:cubicBezTo>
                <a:cubicBezTo>
                  <a:pt x="98" y="283"/>
                  <a:pt x="98" y="283"/>
                  <a:pt x="98" y="283"/>
                </a:cubicBezTo>
                <a:cubicBezTo>
                  <a:pt x="98" y="284"/>
                  <a:pt x="98" y="284"/>
                  <a:pt x="98" y="284"/>
                </a:cubicBezTo>
                <a:cubicBezTo>
                  <a:pt x="97" y="285"/>
                  <a:pt x="97" y="285"/>
                  <a:pt x="97" y="285"/>
                </a:cubicBezTo>
                <a:cubicBezTo>
                  <a:pt x="95" y="286"/>
                  <a:pt x="95" y="286"/>
                  <a:pt x="95" y="286"/>
                </a:cubicBezTo>
                <a:cubicBezTo>
                  <a:pt x="91" y="298"/>
                  <a:pt x="91" y="298"/>
                  <a:pt x="91" y="298"/>
                </a:cubicBezTo>
                <a:cubicBezTo>
                  <a:pt x="87" y="320"/>
                  <a:pt x="87" y="320"/>
                  <a:pt x="87" y="320"/>
                </a:cubicBezTo>
                <a:cubicBezTo>
                  <a:pt x="86" y="327"/>
                  <a:pt x="86" y="327"/>
                  <a:pt x="86" y="327"/>
                </a:cubicBezTo>
                <a:cubicBezTo>
                  <a:pt x="86" y="327"/>
                  <a:pt x="86" y="327"/>
                  <a:pt x="86" y="327"/>
                </a:cubicBezTo>
                <a:cubicBezTo>
                  <a:pt x="93" y="331"/>
                  <a:pt x="93" y="331"/>
                  <a:pt x="93" y="331"/>
                </a:cubicBezTo>
                <a:cubicBezTo>
                  <a:pt x="96" y="331"/>
                  <a:pt x="96" y="331"/>
                  <a:pt x="96" y="331"/>
                </a:cubicBezTo>
                <a:cubicBezTo>
                  <a:pt x="97" y="330"/>
                  <a:pt x="97" y="330"/>
                  <a:pt x="97" y="330"/>
                </a:cubicBezTo>
                <a:cubicBezTo>
                  <a:pt x="117" y="318"/>
                  <a:pt x="117" y="318"/>
                  <a:pt x="117" y="318"/>
                </a:cubicBezTo>
                <a:cubicBezTo>
                  <a:pt x="122" y="315"/>
                  <a:pt x="122" y="315"/>
                  <a:pt x="122" y="315"/>
                </a:cubicBezTo>
                <a:cubicBezTo>
                  <a:pt x="131" y="307"/>
                  <a:pt x="131" y="307"/>
                  <a:pt x="131" y="307"/>
                </a:cubicBezTo>
                <a:cubicBezTo>
                  <a:pt x="132" y="305"/>
                  <a:pt x="132" y="305"/>
                  <a:pt x="132" y="305"/>
                </a:cubicBezTo>
                <a:cubicBezTo>
                  <a:pt x="132" y="305"/>
                  <a:pt x="132" y="305"/>
                  <a:pt x="132" y="305"/>
                </a:cubicBezTo>
                <a:cubicBezTo>
                  <a:pt x="131" y="297"/>
                  <a:pt x="131" y="297"/>
                  <a:pt x="131" y="297"/>
                </a:cubicBezTo>
                <a:lnTo>
                  <a:pt x="128" y="288"/>
                </a:lnTo>
                <a:close/>
                <a:moveTo>
                  <a:pt x="168" y="221"/>
                </a:moveTo>
                <a:cubicBezTo>
                  <a:pt x="170" y="218"/>
                  <a:pt x="170" y="218"/>
                  <a:pt x="170" y="218"/>
                </a:cubicBezTo>
                <a:cubicBezTo>
                  <a:pt x="180" y="199"/>
                  <a:pt x="180" y="199"/>
                  <a:pt x="180" y="199"/>
                </a:cubicBezTo>
                <a:cubicBezTo>
                  <a:pt x="181" y="197"/>
                  <a:pt x="181" y="197"/>
                  <a:pt x="181" y="197"/>
                </a:cubicBezTo>
                <a:cubicBezTo>
                  <a:pt x="179" y="191"/>
                  <a:pt x="179" y="191"/>
                  <a:pt x="179" y="191"/>
                </a:cubicBezTo>
                <a:cubicBezTo>
                  <a:pt x="178" y="190"/>
                  <a:pt x="178" y="190"/>
                  <a:pt x="178" y="190"/>
                </a:cubicBezTo>
                <a:cubicBezTo>
                  <a:pt x="178" y="190"/>
                  <a:pt x="178" y="190"/>
                  <a:pt x="178" y="190"/>
                </a:cubicBezTo>
                <a:cubicBezTo>
                  <a:pt x="177" y="189"/>
                  <a:pt x="177" y="189"/>
                  <a:pt x="177" y="189"/>
                </a:cubicBezTo>
                <a:cubicBezTo>
                  <a:pt x="177" y="189"/>
                  <a:pt x="177" y="189"/>
                  <a:pt x="177" y="189"/>
                </a:cubicBezTo>
                <a:cubicBezTo>
                  <a:pt x="172" y="192"/>
                  <a:pt x="172" y="192"/>
                  <a:pt x="172" y="192"/>
                </a:cubicBezTo>
                <a:cubicBezTo>
                  <a:pt x="151" y="209"/>
                  <a:pt x="151" y="209"/>
                  <a:pt x="151" y="209"/>
                </a:cubicBezTo>
                <a:cubicBezTo>
                  <a:pt x="141" y="219"/>
                  <a:pt x="141" y="219"/>
                  <a:pt x="141" y="219"/>
                </a:cubicBezTo>
                <a:cubicBezTo>
                  <a:pt x="136" y="230"/>
                  <a:pt x="136" y="230"/>
                  <a:pt x="136" y="230"/>
                </a:cubicBezTo>
                <a:cubicBezTo>
                  <a:pt x="136" y="231"/>
                  <a:pt x="136" y="231"/>
                  <a:pt x="136" y="231"/>
                </a:cubicBezTo>
                <a:cubicBezTo>
                  <a:pt x="137" y="233"/>
                  <a:pt x="137" y="233"/>
                  <a:pt x="137" y="233"/>
                </a:cubicBezTo>
                <a:cubicBezTo>
                  <a:pt x="143" y="236"/>
                  <a:pt x="143" y="236"/>
                  <a:pt x="143" y="236"/>
                </a:cubicBezTo>
                <a:cubicBezTo>
                  <a:pt x="144" y="236"/>
                  <a:pt x="144" y="236"/>
                  <a:pt x="144" y="236"/>
                </a:cubicBezTo>
                <a:cubicBezTo>
                  <a:pt x="150" y="233"/>
                  <a:pt x="150" y="233"/>
                  <a:pt x="150" y="233"/>
                </a:cubicBezTo>
                <a:cubicBezTo>
                  <a:pt x="156" y="231"/>
                  <a:pt x="156" y="231"/>
                  <a:pt x="156" y="231"/>
                </a:cubicBezTo>
                <a:cubicBezTo>
                  <a:pt x="158" y="232"/>
                  <a:pt x="158" y="232"/>
                  <a:pt x="158" y="232"/>
                </a:cubicBezTo>
                <a:cubicBezTo>
                  <a:pt x="159" y="232"/>
                  <a:pt x="159" y="232"/>
                  <a:pt x="159" y="232"/>
                </a:cubicBezTo>
                <a:cubicBezTo>
                  <a:pt x="159" y="232"/>
                  <a:pt x="159" y="232"/>
                  <a:pt x="159" y="232"/>
                </a:cubicBezTo>
                <a:cubicBezTo>
                  <a:pt x="164" y="228"/>
                  <a:pt x="164" y="228"/>
                  <a:pt x="164" y="228"/>
                </a:cubicBezTo>
                <a:lnTo>
                  <a:pt x="168" y="221"/>
                </a:lnTo>
                <a:close/>
                <a:moveTo>
                  <a:pt x="173" y="295"/>
                </a:moveTo>
                <a:cubicBezTo>
                  <a:pt x="167" y="307"/>
                  <a:pt x="167" y="307"/>
                  <a:pt x="167" y="307"/>
                </a:cubicBezTo>
                <a:cubicBezTo>
                  <a:pt x="167" y="308"/>
                  <a:pt x="167" y="308"/>
                  <a:pt x="167" y="308"/>
                </a:cubicBezTo>
                <a:cubicBezTo>
                  <a:pt x="168" y="313"/>
                  <a:pt x="168" y="313"/>
                  <a:pt x="168" y="313"/>
                </a:cubicBezTo>
                <a:cubicBezTo>
                  <a:pt x="168" y="314"/>
                  <a:pt x="168" y="314"/>
                  <a:pt x="168" y="314"/>
                </a:cubicBezTo>
                <a:cubicBezTo>
                  <a:pt x="169" y="314"/>
                  <a:pt x="169" y="314"/>
                  <a:pt x="169" y="314"/>
                </a:cubicBezTo>
                <a:cubicBezTo>
                  <a:pt x="169" y="314"/>
                  <a:pt x="169" y="314"/>
                  <a:pt x="169" y="314"/>
                </a:cubicBezTo>
                <a:cubicBezTo>
                  <a:pt x="171" y="314"/>
                  <a:pt x="171" y="314"/>
                  <a:pt x="171" y="314"/>
                </a:cubicBezTo>
                <a:cubicBezTo>
                  <a:pt x="174" y="311"/>
                  <a:pt x="174" y="311"/>
                  <a:pt x="174" y="311"/>
                </a:cubicBezTo>
                <a:cubicBezTo>
                  <a:pt x="176" y="296"/>
                  <a:pt x="176" y="296"/>
                  <a:pt x="176" y="296"/>
                </a:cubicBezTo>
                <a:cubicBezTo>
                  <a:pt x="175" y="294"/>
                  <a:pt x="175" y="294"/>
                  <a:pt x="175" y="294"/>
                </a:cubicBezTo>
                <a:cubicBezTo>
                  <a:pt x="174" y="295"/>
                  <a:pt x="174" y="295"/>
                  <a:pt x="174" y="295"/>
                </a:cubicBezTo>
                <a:lnTo>
                  <a:pt x="173" y="295"/>
                </a:lnTo>
                <a:close/>
                <a:moveTo>
                  <a:pt x="91" y="157"/>
                </a:moveTo>
                <a:cubicBezTo>
                  <a:pt x="92" y="157"/>
                  <a:pt x="92" y="157"/>
                  <a:pt x="92" y="157"/>
                </a:cubicBezTo>
                <a:cubicBezTo>
                  <a:pt x="97" y="156"/>
                  <a:pt x="97" y="156"/>
                  <a:pt x="97" y="156"/>
                </a:cubicBezTo>
                <a:cubicBezTo>
                  <a:pt x="117" y="154"/>
                  <a:pt x="117" y="154"/>
                  <a:pt x="117" y="154"/>
                </a:cubicBezTo>
                <a:cubicBezTo>
                  <a:pt x="131" y="151"/>
                  <a:pt x="131" y="151"/>
                  <a:pt x="131" y="151"/>
                </a:cubicBezTo>
                <a:cubicBezTo>
                  <a:pt x="155" y="147"/>
                  <a:pt x="155" y="147"/>
                  <a:pt x="155" y="147"/>
                </a:cubicBezTo>
                <a:cubicBezTo>
                  <a:pt x="159" y="147"/>
                  <a:pt x="159" y="147"/>
                  <a:pt x="159" y="147"/>
                </a:cubicBezTo>
                <a:cubicBezTo>
                  <a:pt x="160" y="147"/>
                  <a:pt x="160" y="147"/>
                  <a:pt x="160" y="147"/>
                </a:cubicBezTo>
                <a:cubicBezTo>
                  <a:pt x="166" y="145"/>
                  <a:pt x="166" y="145"/>
                  <a:pt x="166" y="145"/>
                </a:cubicBezTo>
                <a:cubicBezTo>
                  <a:pt x="173" y="141"/>
                  <a:pt x="173" y="141"/>
                  <a:pt x="173" y="141"/>
                </a:cubicBezTo>
                <a:cubicBezTo>
                  <a:pt x="178" y="137"/>
                  <a:pt x="178" y="137"/>
                  <a:pt x="178" y="137"/>
                </a:cubicBezTo>
                <a:cubicBezTo>
                  <a:pt x="180" y="134"/>
                  <a:pt x="180" y="134"/>
                  <a:pt x="180" y="134"/>
                </a:cubicBezTo>
                <a:cubicBezTo>
                  <a:pt x="184" y="128"/>
                  <a:pt x="184" y="128"/>
                  <a:pt x="184" y="128"/>
                </a:cubicBezTo>
                <a:cubicBezTo>
                  <a:pt x="185" y="124"/>
                  <a:pt x="185" y="124"/>
                  <a:pt x="185" y="124"/>
                </a:cubicBezTo>
                <a:cubicBezTo>
                  <a:pt x="186" y="119"/>
                  <a:pt x="186" y="119"/>
                  <a:pt x="186" y="119"/>
                </a:cubicBezTo>
                <a:cubicBezTo>
                  <a:pt x="186" y="116"/>
                  <a:pt x="186" y="116"/>
                  <a:pt x="186" y="116"/>
                </a:cubicBezTo>
                <a:cubicBezTo>
                  <a:pt x="186" y="114"/>
                  <a:pt x="186" y="114"/>
                  <a:pt x="186" y="114"/>
                </a:cubicBezTo>
                <a:cubicBezTo>
                  <a:pt x="185" y="112"/>
                  <a:pt x="185" y="112"/>
                  <a:pt x="185" y="112"/>
                </a:cubicBezTo>
                <a:cubicBezTo>
                  <a:pt x="177" y="105"/>
                  <a:pt x="177" y="105"/>
                  <a:pt x="177" y="105"/>
                </a:cubicBezTo>
                <a:cubicBezTo>
                  <a:pt x="167" y="97"/>
                  <a:pt x="167" y="97"/>
                  <a:pt x="167" y="97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59" y="95"/>
                  <a:pt x="159" y="95"/>
                  <a:pt x="159" y="95"/>
                </a:cubicBezTo>
                <a:cubicBezTo>
                  <a:pt x="153" y="94"/>
                  <a:pt x="153" y="94"/>
                  <a:pt x="153" y="94"/>
                </a:cubicBezTo>
                <a:cubicBezTo>
                  <a:pt x="151" y="94"/>
                  <a:pt x="151" y="94"/>
                  <a:pt x="151" y="94"/>
                </a:cubicBezTo>
                <a:cubicBezTo>
                  <a:pt x="139" y="82"/>
                  <a:pt x="139" y="82"/>
                  <a:pt x="139" y="82"/>
                </a:cubicBezTo>
                <a:cubicBezTo>
                  <a:pt x="134" y="72"/>
                  <a:pt x="134" y="72"/>
                  <a:pt x="134" y="72"/>
                </a:cubicBezTo>
                <a:cubicBezTo>
                  <a:pt x="127" y="64"/>
                  <a:pt x="127" y="64"/>
                  <a:pt x="127" y="64"/>
                </a:cubicBezTo>
                <a:cubicBezTo>
                  <a:pt x="120" y="60"/>
                  <a:pt x="120" y="60"/>
                  <a:pt x="120" y="60"/>
                </a:cubicBezTo>
                <a:cubicBezTo>
                  <a:pt x="120" y="60"/>
                  <a:pt x="120" y="60"/>
                  <a:pt x="120" y="60"/>
                </a:cubicBezTo>
                <a:cubicBezTo>
                  <a:pt x="116" y="61"/>
                  <a:pt x="116" y="61"/>
                  <a:pt x="116" y="61"/>
                </a:cubicBezTo>
                <a:cubicBezTo>
                  <a:pt x="110" y="64"/>
                  <a:pt x="110" y="64"/>
                  <a:pt x="110" y="64"/>
                </a:cubicBezTo>
                <a:cubicBezTo>
                  <a:pt x="95" y="73"/>
                  <a:pt x="95" y="73"/>
                  <a:pt x="95" y="73"/>
                </a:cubicBezTo>
                <a:cubicBezTo>
                  <a:pt x="91" y="87"/>
                  <a:pt x="91" y="87"/>
                  <a:pt x="91" y="87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1" y="91"/>
                  <a:pt x="91" y="91"/>
                  <a:pt x="91" y="91"/>
                </a:cubicBezTo>
                <a:cubicBezTo>
                  <a:pt x="117" y="103"/>
                  <a:pt x="117" y="103"/>
                  <a:pt x="117" y="103"/>
                </a:cubicBezTo>
                <a:cubicBezTo>
                  <a:pt x="137" y="101"/>
                  <a:pt x="137" y="101"/>
                  <a:pt x="137" y="101"/>
                </a:cubicBezTo>
                <a:cubicBezTo>
                  <a:pt x="137" y="101"/>
                  <a:pt x="137" y="101"/>
                  <a:pt x="137" y="101"/>
                </a:cubicBezTo>
                <a:cubicBezTo>
                  <a:pt x="138" y="102"/>
                  <a:pt x="138" y="102"/>
                  <a:pt x="138" y="102"/>
                </a:cubicBezTo>
                <a:cubicBezTo>
                  <a:pt x="138" y="104"/>
                  <a:pt x="138" y="104"/>
                  <a:pt x="138" y="104"/>
                </a:cubicBezTo>
                <a:cubicBezTo>
                  <a:pt x="138" y="105"/>
                  <a:pt x="138" y="105"/>
                  <a:pt x="138" y="105"/>
                </a:cubicBezTo>
                <a:cubicBezTo>
                  <a:pt x="137" y="106"/>
                  <a:pt x="137" y="106"/>
                  <a:pt x="137" y="106"/>
                </a:cubicBezTo>
                <a:cubicBezTo>
                  <a:pt x="135" y="107"/>
                  <a:pt x="135" y="107"/>
                  <a:pt x="135" y="107"/>
                </a:cubicBezTo>
                <a:cubicBezTo>
                  <a:pt x="125" y="114"/>
                  <a:pt x="125" y="114"/>
                  <a:pt x="125" y="114"/>
                </a:cubicBezTo>
                <a:cubicBezTo>
                  <a:pt x="123" y="113"/>
                  <a:pt x="123" y="113"/>
                  <a:pt x="123" y="113"/>
                </a:cubicBezTo>
                <a:cubicBezTo>
                  <a:pt x="122" y="113"/>
                  <a:pt x="122" y="113"/>
                  <a:pt x="122" y="113"/>
                </a:cubicBezTo>
                <a:cubicBezTo>
                  <a:pt x="120" y="113"/>
                  <a:pt x="120" y="113"/>
                  <a:pt x="120" y="113"/>
                </a:cubicBezTo>
                <a:cubicBezTo>
                  <a:pt x="108" y="129"/>
                  <a:pt x="108" y="129"/>
                  <a:pt x="108" y="129"/>
                </a:cubicBezTo>
                <a:cubicBezTo>
                  <a:pt x="108" y="129"/>
                  <a:pt x="108" y="129"/>
                  <a:pt x="108" y="129"/>
                </a:cubicBezTo>
                <a:cubicBezTo>
                  <a:pt x="107" y="132"/>
                  <a:pt x="107" y="132"/>
                  <a:pt x="107" y="132"/>
                </a:cubicBezTo>
                <a:cubicBezTo>
                  <a:pt x="108" y="133"/>
                  <a:pt x="108" y="133"/>
                  <a:pt x="108" y="133"/>
                </a:cubicBezTo>
                <a:cubicBezTo>
                  <a:pt x="109" y="135"/>
                  <a:pt x="109" y="135"/>
                  <a:pt x="109" y="135"/>
                </a:cubicBezTo>
                <a:cubicBezTo>
                  <a:pt x="110" y="136"/>
                  <a:pt x="110" y="136"/>
                  <a:pt x="110" y="136"/>
                </a:cubicBezTo>
                <a:cubicBezTo>
                  <a:pt x="112" y="136"/>
                  <a:pt x="112" y="136"/>
                  <a:pt x="112" y="136"/>
                </a:cubicBezTo>
                <a:cubicBezTo>
                  <a:pt x="114" y="135"/>
                  <a:pt x="114" y="135"/>
                  <a:pt x="114" y="135"/>
                </a:cubicBezTo>
                <a:cubicBezTo>
                  <a:pt x="123" y="133"/>
                  <a:pt x="123" y="133"/>
                  <a:pt x="123" y="133"/>
                </a:cubicBezTo>
                <a:cubicBezTo>
                  <a:pt x="129" y="130"/>
                  <a:pt x="129" y="130"/>
                  <a:pt x="129" y="130"/>
                </a:cubicBezTo>
                <a:cubicBezTo>
                  <a:pt x="130" y="130"/>
                  <a:pt x="130" y="130"/>
                  <a:pt x="130" y="130"/>
                </a:cubicBezTo>
                <a:cubicBezTo>
                  <a:pt x="133" y="128"/>
                  <a:pt x="133" y="128"/>
                  <a:pt x="133" y="128"/>
                </a:cubicBezTo>
                <a:cubicBezTo>
                  <a:pt x="135" y="128"/>
                  <a:pt x="135" y="128"/>
                  <a:pt x="135" y="128"/>
                </a:cubicBezTo>
                <a:cubicBezTo>
                  <a:pt x="136" y="131"/>
                  <a:pt x="136" y="131"/>
                  <a:pt x="136" y="131"/>
                </a:cubicBezTo>
                <a:cubicBezTo>
                  <a:pt x="134" y="133"/>
                  <a:pt x="134" y="133"/>
                  <a:pt x="134" y="133"/>
                </a:cubicBezTo>
                <a:cubicBezTo>
                  <a:pt x="126" y="137"/>
                  <a:pt x="126" y="137"/>
                  <a:pt x="126" y="137"/>
                </a:cubicBezTo>
                <a:cubicBezTo>
                  <a:pt x="122" y="138"/>
                  <a:pt x="122" y="138"/>
                  <a:pt x="122" y="138"/>
                </a:cubicBezTo>
                <a:cubicBezTo>
                  <a:pt x="104" y="145"/>
                  <a:pt x="104" y="145"/>
                  <a:pt x="104" y="145"/>
                </a:cubicBezTo>
                <a:cubicBezTo>
                  <a:pt x="97" y="141"/>
                  <a:pt x="97" y="141"/>
                  <a:pt x="97" y="141"/>
                </a:cubicBezTo>
                <a:cubicBezTo>
                  <a:pt x="97" y="141"/>
                  <a:pt x="97" y="141"/>
                  <a:pt x="97" y="141"/>
                </a:cubicBezTo>
                <a:cubicBezTo>
                  <a:pt x="94" y="139"/>
                  <a:pt x="94" y="139"/>
                  <a:pt x="94" y="139"/>
                </a:cubicBezTo>
                <a:cubicBezTo>
                  <a:pt x="93" y="138"/>
                  <a:pt x="93" y="138"/>
                  <a:pt x="93" y="138"/>
                </a:cubicBezTo>
                <a:cubicBezTo>
                  <a:pt x="90" y="138"/>
                  <a:pt x="90" y="138"/>
                  <a:pt x="90" y="138"/>
                </a:cubicBezTo>
                <a:cubicBezTo>
                  <a:pt x="89" y="138"/>
                  <a:pt x="89" y="138"/>
                  <a:pt x="89" y="138"/>
                </a:cubicBezTo>
                <a:cubicBezTo>
                  <a:pt x="88" y="139"/>
                  <a:pt x="88" y="139"/>
                  <a:pt x="88" y="139"/>
                </a:cubicBezTo>
                <a:cubicBezTo>
                  <a:pt x="85" y="144"/>
                  <a:pt x="85" y="144"/>
                  <a:pt x="85" y="144"/>
                </a:cubicBezTo>
                <a:cubicBezTo>
                  <a:pt x="85" y="147"/>
                  <a:pt x="85" y="147"/>
                  <a:pt x="85" y="147"/>
                </a:cubicBezTo>
                <a:cubicBezTo>
                  <a:pt x="85" y="147"/>
                  <a:pt x="85" y="147"/>
                  <a:pt x="85" y="147"/>
                </a:cubicBezTo>
                <a:lnTo>
                  <a:pt x="91" y="157"/>
                </a:lnTo>
                <a:close/>
                <a:moveTo>
                  <a:pt x="191" y="157"/>
                </a:moveTo>
                <a:cubicBezTo>
                  <a:pt x="193" y="156"/>
                  <a:pt x="193" y="156"/>
                  <a:pt x="193" y="156"/>
                </a:cubicBezTo>
                <a:cubicBezTo>
                  <a:pt x="194" y="154"/>
                  <a:pt x="194" y="154"/>
                  <a:pt x="194" y="154"/>
                </a:cubicBezTo>
                <a:cubicBezTo>
                  <a:pt x="195" y="147"/>
                  <a:pt x="195" y="147"/>
                  <a:pt x="195" y="147"/>
                </a:cubicBezTo>
                <a:cubicBezTo>
                  <a:pt x="194" y="146"/>
                  <a:pt x="194" y="146"/>
                  <a:pt x="194" y="146"/>
                </a:cubicBezTo>
                <a:cubicBezTo>
                  <a:pt x="194" y="146"/>
                  <a:pt x="194" y="146"/>
                  <a:pt x="194" y="146"/>
                </a:cubicBezTo>
                <a:cubicBezTo>
                  <a:pt x="194" y="145"/>
                  <a:pt x="194" y="145"/>
                  <a:pt x="194" y="145"/>
                </a:cubicBezTo>
                <a:cubicBezTo>
                  <a:pt x="189" y="146"/>
                  <a:pt x="189" y="146"/>
                  <a:pt x="189" y="146"/>
                </a:cubicBezTo>
                <a:cubicBezTo>
                  <a:pt x="185" y="151"/>
                  <a:pt x="185" y="151"/>
                  <a:pt x="185" y="151"/>
                </a:cubicBezTo>
                <a:cubicBezTo>
                  <a:pt x="184" y="152"/>
                  <a:pt x="184" y="152"/>
                  <a:pt x="184" y="152"/>
                </a:cubicBezTo>
                <a:cubicBezTo>
                  <a:pt x="189" y="157"/>
                  <a:pt x="189" y="157"/>
                  <a:pt x="189" y="157"/>
                </a:cubicBezTo>
                <a:lnTo>
                  <a:pt x="191" y="157"/>
                </a:lnTo>
                <a:close/>
                <a:moveTo>
                  <a:pt x="187" y="158"/>
                </a:moveTo>
                <a:cubicBezTo>
                  <a:pt x="186" y="158"/>
                  <a:pt x="186" y="158"/>
                  <a:pt x="186" y="158"/>
                </a:cubicBezTo>
                <a:cubicBezTo>
                  <a:pt x="185" y="160"/>
                  <a:pt x="185" y="160"/>
                  <a:pt x="185" y="160"/>
                </a:cubicBezTo>
                <a:cubicBezTo>
                  <a:pt x="184" y="170"/>
                  <a:pt x="184" y="170"/>
                  <a:pt x="184" y="170"/>
                </a:cubicBezTo>
                <a:cubicBezTo>
                  <a:pt x="184" y="172"/>
                  <a:pt x="184" y="172"/>
                  <a:pt x="184" y="172"/>
                </a:cubicBezTo>
                <a:cubicBezTo>
                  <a:pt x="185" y="177"/>
                  <a:pt x="185" y="177"/>
                  <a:pt x="185" y="177"/>
                </a:cubicBezTo>
                <a:cubicBezTo>
                  <a:pt x="187" y="178"/>
                  <a:pt x="187" y="178"/>
                  <a:pt x="187" y="178"/>
                </a:cubicBezTo>
                <a:cubicBezTo>
                  <a:pt x="188" y="178"/>
                  <a:pt x="188" y="178"/>
                  <a:pt x="188" y="178"/>
                </a:cubicBezTo>
                <a:cubicBezTo>
                  <a:pt x="189" y="163"/>
                  <a:pt x="189" y="163"/>
                  <a:pt x="189" y="163"/>
                </a:cubicBezTo>
                <a:cubicBezTo>
                  <a:pt x="188" y="160"/>
                  <a:pt x="188" y="160"/>
                  <a:pt x="188" y="160"/>
                </a:cubicBezTo>
                <a:cubicBezTo>
                  <a:pt x="187" y="159"/>
                  <a:pt x="187" y="159"/>
                  <a:pt x="187" y="159"/>
                </a:cubicBezTo>
                <a:lnTo>
                  <a:pt x="187" y="158"/>
                </a:lnTo>
                <a:close/>
                <a:moveTo>
                  <a:pt x="198" y="124"/>
                </a:moveTo>
                <a:cubicBezTo>
                  <a:pt x="195" y="128"/>
                  <a:pt x="195" y="128"/>
                  <a:pt x="195" y="128"/>
                </a:cubicBezTo>
                <a:cubicBezTo>
                  <a:pt x="195" y="129"/>
                  <a:pt x="195" y="129"/>
                  <a:pt x="195" y="129"/>
                </a:cubicBezTo>
                <a:cubicBezTo>
                  <a:pt x="196" y="130"/>
                  <a:pt x="196" y="130"/>
                  <a:pt x="196" y="130"/>
                </a:cubicBezTo>
                <a:cubicBezTo>
                  <a:pt x="199" y="132"/>
                  <a:pt x="199" y="132"/>
                  <a:pt x="199" y="132"/>
                </a:cubicBezTo>
                <a:cubicBezTo>
                  <a:pt x="200" y="133"/>
                  <a:pt x="200" y="133"/>
                  <a:pt x="200" y="133"/>
                </a:cubicBezTo>
                <a:cubicBezTo>
                  <a:pt x="200" y="132"/>
                  <a:pt x="200" y="132"/>
                  <a:pt x="200" y="132"/>
                </a:cubicBezTo>
                <a:cubicBezTo>
                  <a:pt x="206" y="124"/>
                  <a:pt x="206" y="124"/>
                  <a:pt x="206" y="124"/>
                </a:cubicBezTo>
                <a:cubicBezTo>
                  <a:pt x="207" y="123"/>
                  <a:pt x="207" y="123"/>
                  <a:pt x="207" y="123"/>
                </a:cubicBezTo>
                <a:cubicBezTo>
                  <a:pt x="206" y="123"/>
                  <a:pt x="206" y="123"/>
                  <a:pt x="206" y="123"/>
                </a:cubicBezTo>
                <a:cubicBezTo>
                  <a:pt x="205" y="122"/>
                  <a:pt x="205" y="122"/>
                  <a:pt x="205" y="122"/>
                </a:cubicBezTo>
                <a:lnTo>
                  <a:pt x="198" y="124"/>
                </a:lnTo>
                <a:close/>
                <a:moveTo>
                  <a:pt x="74" y="145"/>
                </a:moveTo>
                <a:cubicBezTo>
                  <a:pt x="74" y="146"/>
                  <a:pt x="74" y="146"/>
                  <a:pt x="74" y="146"/>
                </a:cubicBezTo>
                <a:cubicBezTo>
                  <a:pt x="76" y="148"/>
                  <a:pt x="76" y="148"/>
                  <a:pt x="76" y="148"/>
                </a:cubicBezTo>
                <a:cubicBezTo>
                  <a:pt x="77" y="148"/>
                  <a:pt x="77" y="148"/>
                  <a:pt x="77" y="148"/>
                </a:cubicBezTo>
                <a:cubicBezTo>
                  <a:pt x="79" y="146"/>
                  <a:pt x="79" y="146"/>
                  <a:pt x="79" y="146"/>
                </a:cubicBezTo>
                <a:cubicBezTo>
                  <a:pt x="80" y="145"/>
                  <a:pt x="80" y="145"/>
                  <a:pt x="80" y="145"/>
                </a:cubicBezTo>
                <a:cubicBezTo>
                  <a:pt x="82" y="143"/>
                  <a:pt x="82" y="143"/>
                  <a:pt x="82" y="143"/>
                </a:cubicBezTo>
                <a:cubicBezTo>
                  <a:pt x="82" y="142"/>
                  <a:pt x="82" y="142"/>
                  <a:pt x="82" y="142"/>
                </a:cubicBezTo>
                <a:cubicBezTo>
                  <a:pt x="83" y="140"/>
                  <a:pt x="83" y="140"/>
                  <a:pt x="83" y="140"/>
                </a:cubicBezTo>
                <a:cubicBezTo>
                  <a:pt x="83" y="139"/>
                  <a:pt x="83" y="139"/>
                  <a:pt x="83" y="139"/>
                </a:cubicBezTo>
                <a:cubicBezTo>
                  <a:pt x="83" y="139"/>
                  <a:pt x="83" y="139"/>
                  <a:pt x="83" y="139"/>
                </a:cubicBezTo>
                <a:cubicBezTo>
                  <a:pt x="82" y="138"/>
                  <a:pt x="82" y="138"/>
                  <a:pt x="82" y="138"/>
                </a:cubicBezTo>
                <a:cubicBezTo>
                  <a:pt x="78" y="138"/>
                  <a:pt x="78" y="138"/>
                  <a:pt x="78" y="138"/>
                </a:cubicBezTo>
                <a:cubicBezTo>
                  <a:pt x="76" y="141"/>
                  <a:pt x="76" y="141"/>
                  <a:pt x="76" y="141"/>
                </a:cubicBezTo>
                <a:lnTo>
                  <a:pt x="74" y="145"/>
                </a:lnTo>
                <a:close/>
                <a:moveTo>
                  <a:pt x="115" y="192"/>
                </a:moveTo>
                <a:cubicBezTo>
                  <a:pt x="103" y="202"/>
                  <a:pt x="103" y="202"/>
                  <a:pt x="103" y="202"/>
                </a:cubicBezTo>
                <a:cubicBezTo>
                  <a:pt x="100" y="205"/>
                  <a:pt x="100" y="205"/>
                  <a:pt x="100" y="205"/>
                </a:cubicBezTo>
                <a:cubicBezTo>
                  <a:pt x="98" y="213"/>
                  <a:pt x="98" y="213"/>
                  <a:pt x="98" y="213"/>
                </a:cubicBezTo>
                <a:cubicBezTo>
                  <a:pt x="101" y="216"/>
                  <a:pt x="101" y="216"/>
                  <a:pt x="101" y="216"/>
                </a:cubicBezTo>
                <a:cubicBezTo>
                  <a:pt x="101" y="216"/>
                  <a:pt x="101" y="216"/>
                  <a:pt x="101" y="216"/>
                </a:cubicBezTo>
                <a:cubicBezTo>
                  <a:pt x="106" y="217"/>
                  <a:pt x="106" y="217"/>
                  <a:pt x="106" y="217"/>
                </a:cubicBezTo>
                <a:cubicBezTo>
                  <a:pt x="108" y="217"/>
                  <a:pt x="108" y="217"/>
                  <a:pt x="108" y="217"/>
                </a:cubicBezTo>
                <a:cubicBezTo>
                  <a:pt x="108" y="217"/>
                  <a:pt x="108" y="217"/>
                  <a:pt x="108" y="217"/>
                </a:cubicBezTo>
                <a:cubicBezTo>
                  <a:pt x="109" y="215"/>
                  <a:pt x="109" y="215"/>
                  <a:pt x="109" y="215"/>
                </a:cubicBezTo>
                <a:cubicBezTo>
                  <a:pt x="109" y="214"/>
                  <a:pt x="109" y="214"/>
                  <a:pt x="109" y="214"/>
                </a:cubicBezTo>
                <a:cubicBezTo>
                  <a:pt x="117" y="195"/>
                  <a:pt x="117" y="195"/>
                  <a:pt x="117" y="195"/>
                </a:cubicBezTo>
                <a:cubicBezTo>
                  <a:pt x="117" y="194"/>
                  <a:pt x="117" y="194"/>
                  <a:pt x="117" y="194"/>
                </a:cubicBezTo>
                <a:cubicBezTo>
                  <a:pt x="117" y="194"/>
                  <a:pt x="117" y="194"/>
                  <a:pt x="117" y="194"/>
                </a:cubicBezTo>
                <a:cubicBezTo>
                  <a:pt x="116" y="192"/>
                  <a:pt x="116" y="192"/>
                  <a:pt x="116" y="192"/>
                </a:cubicBezTo>
                <a:lnTo>
                  <a:pt x="115" y="19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Freeform 63">
            <a:extLst>
              <a:ext uri="{FF2B5EF4-FFF2-40B4-BE49-F238E27FC236}">
                <a16:creationId xmlns:a16="http://schemas.microsoft.com/office/drawing/2014/main" id="{B8F2CF28-26F3-43DB-AD11-2D28BBC9331E}"/>
              </a:ext>
            </a:extLst>
          </p:cNvPr>
          <p:cNvSpPr>
            <a:spLocks/>
          </p:cNvSpPr>
          <p:nvPr/>
        </p:nvSpPr>
        <p:spPr bwMode="auto">
          <a:xfrm>
            <a:off x="4139022" y="5554191"/>
            <a:ext cx="588169" cy="541338"/>
          </a:xfrm>
          <a:custGeom>
            <a:avLst/>
            <a:gdLst>
              <a:gd name="T0" fmla="*/ 236 w 243"/>
              <a:gd name="T1" fmla="*/ 130 h 243"/>
              <a:gd name="T2" fmla="*/ 241 w 243"/>
              <a:gd name="T3" fmla="*/ 124 h 243"/>
              <a:gd name="T4" fmla="*/ 243 w 243"/>
              <a:gd name="T5" fmla="*/ 119 h 243"/>
              <a:gd name="T6" fmla="*/ 237 w 243"/>
              <a:gd name="T7" fmla="*/ 112 h 243"/>
              <a:gd name="T8" fmla="*/ 241 w 243"/>
              <a:gd name="T9" fmla="*/ 107 h 243"/>
              <a:gd name="T10" fmla="*/ 240 w 243"/>
              <a:gd name="T11" fmla="*/ 104 h 243"/>
              <a:gd name="T12" fmla="*/ 238 w 243"/>
              <a:gd name="T13" fmla="*/ 99 h 243"/>
              <a:gd name="T14" fmla="*/ 226 w 243"/>
              <a:gd name="T15" fmla="*/ 86 h 243"/>
              <a:gd name="T16" fmla="*/ 224 w 243"/>
              <a:gd name="T17" fmla="*/ 78 h 243"/>
              <a:gd name="T18" fmla="*/ 226 w 243"/>
              <a:gd name="T19" fmla="*/ 75 h 243"/>
              <a:gd name="T20" fmla="*/ 220 w 243"/>
              <a:gd name="T21" fmla="*/ 72 h 243"/>
              <a:gd name="T22" fmla="*/ 217 w 243"/>
              <a:gd name="T23" fmla="*/ 65 h 243"/>
              <a:gd name="T24" fmla="*/ 199 w 243"/>
              <a:gd name="T25" fmla="*/ 61 h 243"/>
              <a:gd name="T26" fmla="*/ 189 w 243"/>
              <a:gd name="T27" fmla="*/ 55 h 243"/>
              <a:gd name="T28" fmla="*/ 195 w 243"/>
              <a:gd name="T29" fmla="*/ 48 h 243"/>
              <a:gd name="T30" fmla="*/ 203 w 243"/>
              <a:gd name="T31" fmla="*/ 50 h 243"/>
              <a:gd name="T32" fmla="*/ 209 w 243"/>
              <a:gd name="T33" fmla="*/ 55 h 243"/>
              <a:gd name="T34" fmla="*/ 215 w 243"/>
              <a:gd name="T35" fmla="*/ 52 h 243"/>
              <a:gd name="T36" fmla="*/ 213 w 243"/>
              <a:gd name="T37" fmla="*/ 49 h 243"/>
              <a:gd name="T38" fmla="*/ 211 w 243"/>
              <a:gd name="T39" fmla="*/ 39 h 243"/>
              <a:gd name="T40" fmla="*/ 205 w 243"/>
              <a:gd name="T41" fmla="*/ 32 h 243"/>
              <a:gd name="T42" fmla="*/ 204 w 243"/>
              <a:gd name="T43" fmla="*/ 13 h 243"/>
              <a:gd name="T44" fmla="*/ 203 w 243"/>
              <a:gd name="T45" fmla="*/ 10 h 243"/>
              <a:gd name="T46" fmla="*/ 199 w 243"/>
              <a:gd name="T47" fmla="*/ 2 h 243"/>
              <a:gd name="T48" fmla="*/ 192 w 243"/>
              <a:gd name="T49" fmla="*/ 0 h 243"/>
              <a:gd name="T50" fmla="*/ 183 w 243"/>
              <a:gd name="T51" fmla="*/ 38 h 243"/>
              <a:gd name="T52" fmla="*/ 155 w 243"/>
              <a:gd name="T53" fmla="*/ 72 h 243"/>
              <a:gd name="T54" fmla="*/ 148 w 243"/>
              <a:gd name="T55" fmla="*/ 83 h 243"/>
              <a:gd name="T56" fmla="*/ 114 w 243"/>
              <a:gd name="T57" fmla="*/ 94 h 243"/>
              <a:gd name="T58" fmla="*/ 110 w 243"/>
              <a:gd name="T59" fmla="*/ 107 h 243"/>
              <a:gd name="T60" fmla="*/ 109 w 243"/>
              <a:gd name="T61" fmla="*/ 123 h 243"/>
              <a:gd name="T62" fmla="*/ 51 w 243"/>
              <a:gd name="T63" fmla="*/ 178 h 243"/>
              <a:gd name="T64" fmla="*/ 33 w 243"/>
              <a:gd name="T65" fmla="*/ 177 h 243"/>
              <a:gd name="T66" fmla="*/ 1 w 243"/>
              <a:gd name="T67" fmla="*/ 199 h 243"/>
              <a:gd name="T68" fmla="*/ 1 w 243"/>
              <a:gd name="T69" fmla="*/ 218 h 243"/>
              <a:gd name="T70" fmla="*/ 8 w 243"/>
              <a:gd name="T71" fmla="*/ 222 h 243"/>
              <a:gd name="T72" fmla="*/ 27 w 243"/>
              <a:gd name="T73" fmla="*/ 216 h 243"/>
              <a:gd name="T74" fmla="*/ 29 w 243"/>
              <a:gd name="T75" fmla="*/ 210 h 243"/>
              <a:gd name="T76" fmla="*/ 30 w 243"/>
              <a:gd name="T77" fmla="*/ 202 h 243"/>
              <a:gd name="T78" fmla="*/ 39 w 243"/>
              <a:gd name="T79" fmla="*/ 200 h 243"/>
              <a:gd name="T80" fmla="*/ 69 w 243"/>
              <a:gd name="T81" fmla="*/ 214 h 243"/>
              <a:gd name="T82" fmla="*/ 76 w 243"/>
              <a:gd name="T83" fmla="*/ 227 h 243"/>
              <a:gd name="T84" fmla="*/ 75 w 243"/>
              <a:gd name="T85" fmla="*/ 231 h 243"/>
              <a:gd name="T86" fmla="*/ 84 w 243"/>
              <a:gd name="T87" fmla="*/ 243 h 243"/>
              <a:gd name="T88" fmla="*/ 107 w 243"/>
              <a:gd name="T89" fmla="*/ 221 h 243"/>
              <a:gd name="T90" fmla="*/ 105 w 243"/>
              <a:gd name="T91" fmla="*/ 211 h 243"/>
              <a:gd name="T92" fmla="*/ 112 w 243"/>
              <a:gd name="T93" fmla="*/ 176 h 243"/>
              <a:gd name="T94" fmla="*/ 113 w 243"/>
              <a:gd name="T95" fmla="*/ 182 h 243"/>
              <a:gd name="T96" fmla="*/ 118 w 243"/>
              <a:gd name="T97" fmla="*/ 194 h 243"/>
              <a:gd name="T98" fmla="*/ 121 w 243"/>
              <a:gd name="T99" fmla="*/ 187 h 243"/>
              <a:gd name="T100" fmla="*/ 151 w 243"/>
              <a:gd name="T101" fmla="*/ 164 h 243"/>
              <a:gd name="T102" fmla="*/ 165 w 243"/>
              <a:gd name="T103" fmla="*/ 146 h 243"/>
              <a:gd name="T104" fmla="*/ 200 w 243"/>
              <a:gd name="T105" fmla="*/ 149 h 243"/>
              <a:gd name="T106" fmla="*/ 206 w 243"/>
              <a:gd name="T107" fmla="*/ 145 h 243"/>
              <a:gd name="T108" fmla="*/ 241 w 243"/>
              <a:gd name="T109" fmla="*/ 138 h 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43" h="243">
                <a:moveTo>
                  <a:pt x="240" y="135"/>
                </a:moveTo>
                <a:cubicBezTo>
                  <a:pt x="240" y="135"/>
                  <a:pt x="240" y="135"/>
                  <a:pt x="240" y="135"/>
                </a:cubicBezTo>
                <a:cubicBezTo>
                  <a:pt x="238" y="135"/>
                  <a:pt x="238" y="135"/>
                  <a:pt x="238" y="135"/>
                </a:cubicBezTo>
                <a:cubicBezTo>
                  <a:pt x="236" y="130"/>
                  <a:pt x="236" y="130"/>
                  <a:pt x="236" y="130"/>
                </a:cubicBezTo>
                <a:cubicBezTo>
                  <a:pt x="237" y="129"/>
                  <a:pt x="237" y="129"/>
                  <a:pt x="237" y="129"/>
                </a:cubicBezTo>
                <a:cubicBezTo>
                  <a:pt x="238" y="129"/>
                  <a:pt x="239" y="128"/>
                  <a:pt x="239" y="127"/>
                </a:cubicBezTo>
                <a:cubicBezTo>
                  <a:pt x="239" y="126"/>
                  <a:pt x="239" y="126"/>
                  <a:pt x="239" y="126"/>
                </a:cubicBezTo>
                <a:cubicBezTo>
                  <a:pt x="241" y="124"/>
                  <a:pt x="241" y="124"/>
                  <a:pt x="241" y="124"/>
                </a:cubicBezTo>
                <a:cubicBezTo>
                  <a:pt x="242" y="122"/>
                  <a:pt x="242" y="122"/>
                  <a:pt x="242" y="122"/>
                </a:cubicBezTo>
                <a:cubicBezTo>
                  <a:pt x="243" y="122"/>
                  <a:pt x="243" y="122"/>
                  <a:pt x="243" y="121"/>
                </a:cubicBezTo>
                <a:cubicBezTo>
                  <a:pt x="243" y="121"/>
                  <a:pt x="243" y="121"/>
                  <a:pt x="243" y="121"/>
                </a:cubicBezTo>
                <a:cubicBezTo>
                  <a:pt x="243" y="119"/>
                  <a:pt x="243" y="119"/>
                  <a:pt x="243" y="119"/>
                </a:cubicBezTo>
                <a:cubicBezTo>
                  <a:pt x="242" y="119"/>
                  <a:pt x="242" y="119"/>
                  <a:pt x="242" y="119"/>
                </a:cubicBezTo>
                <a:cubicBezTo>
                  <a:pt x="237" y="119"/>
                  <a:pt x="237" y="119"/>
                  <a:pt x="237" y="119"/>
                </a:cubicBezTo>
                <a:cubicBezTo>
                  <a:pt x="236" y="115"/>
                  <a:pt x="236" y="115"/>
                  <a:pt x="236" y="115"/>
                </a:cubicBezTo>
                <a:cubicBezTo>
                  <a:pt x="237" y="112"/>
                  <a:pt x="237" y="112"/>
                  <a:pt x="237" y="112"/>
                </a:cubicBezTo>
                <a:cubicBezTo>
                  <a:pt x="238" y="111"/>
                  <a:pt x="238" y="111"/>
                  <a:pt x="238" y="111"/>
                </a:cubicBezTo>
                <a:cubicBezTo>
                  <a:pt x="239" y="110"/>
                  <a:pt x="239" y="110"/>
                  <a:pt x="239" y="110"/>
                </a:cubicBezTo>
                <a:cubicBezTo>
                  <a:pt x="240" y="107"/>
                  <a:pt x="240" y="107"/>
                  <a:pt x="240" y="107"/>
                </a:cubicBezTo>
                <a:cubicBezTo>
                  <a:pt x="241" y="107"/>
                  <a:pt x="241" y="107"/>
                  <a:pt x="241" y="107"/>
                </a:cubicBezTo>
                <a:cubicBezTo>
                  <a:pt x="241" y="107"/>
                  <a:pt x="241" y="106"/>
                  <a:pt x="242" y="106"/>
                </a:cubicBezTo>
                <a:cubicBezTo>
                  <a:pt x="242" y="106"/>
                  <a:pt x="242" y="106"/>
                  <a:pt x="242" y="105"/>
                </a:cubicBezTo>
                <a:cubicBezTo>
                  <a:pt x="242" y="105"/>
                  <a:pt x="242" y="105"/>
                  <a:pt x="242" y="104"/>
                </a:cubicBezTo>
                <a:cubicBezTo>
                  <a:pt x="240" y="104"/>
                  <a:pt x="240" y="104"/>
                  <a:pt x="240" y="104"/>
                </a:cubicBezTo>
                <a:cubicBezTo>
                  <a:pt x="241" y="102"/>
                  <a:pt x="241" y="102"/>
                  <a:pt x="241" y="102"/>
                </a:cubicBezTo>
                <a:cubicBezTo>
                  <a:pt x="241" y="101"/>
                  <a:pt x="241" y="101"/>
                  <a:pt x="241" y="101"/>
                </a:cubicBezTo>
                <a:cubicBezTo>
                  <a:pt x="239" y="99"/>
                  <a:pt x="239" y="99"/>
                  <a:pt x="239" y="99"/>
                </a:cubicBezTo>
                <a:cubicBezTo>
                  <a:pt x="239" y="99"/>
                  <a:pt x="239" y="99"/>
                  <a:pt x="238" y="99"/>
                </a:cubicBezTo>
                <a:cubicBezTo>
                  <a:pt x="238" y="98"/>
                  <a:pt x="237" y="98"/>
                  <a:pt x="236" y="97"/>
                </a:cubicBezTo>
                <a:cubicBezTo>
                  <a:pt x="229" y="97"/>
                  <a:pt x="229" y="97"/>
                  <a:pt x="229" y="97"/>
                </a:cubicBezTo>
                <a:cubicBezTo>
                  <a:pt x="229" y="86"/>
                  <a:pt x="229" y="86"/>
                  <a:pt x="229" y="86"/>
                </a:cubicBezTo>
                <a:cubicBezTo>
                  <a:pt x="226" y="86"/>
                  <a:pt x="226" y="86"/>
                  <a:pt x="226" y="86"/>
                </a:cubicBezTo>
                <a:cubicBezTo>
                  <a:pt x="225" y="85"/>
                  <a:pt x="225" y="85"/>
                  <a:pt x="225" y="85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2" y="81"/>
                  <a:pt x="222" y="81"/>
                  <a:pt x="222" y="81"/>
                </a:cubicBezTo>
                <a:cubicBezTo>
                  <a:pt x="224" y="78"/>
                  <a:pt x="224" y="78"/>
                  <a:pt x="224" y="78"/>
                </a:cubicBezTo>
                <a:cubicBezTo>
                  <a:pt x="225" y="78"/>
                  <a:pt x="225" y="78"/>
                  <a:pt x="225" y="78"/>
                </a:cubicBezTo>
                <a:cubicBezTo>
                  <a:pt x="225" y="75"/>
                  <a:pt x="225" y="75"/>
                  <a:pt x="225" y="75"/>
                </a:cubicBezTo>
                <a:cubicBezTo>
                  <a:pt x="226" y="75"/>
                  <a:pt x="226" y="75"/>
                  <a:pt x="226" y="75"/>
                </a:cubicBezTo>
                <a:cubicBezTo>
                  <a:pt x="226" y="75"/>
                  <a:pt x="226" y="75"/>
                  <a:pt x="226" y="75"/>
                </a:cubicBezTo>
                <a:cubicBezTo>
                  <a:pt x="225" y="75"/>
                  <a:pt x="225" y="75"/>
                  <a:pt x="225" y="75"/>
                </a:cubicBezTo>
                <a:cubicBezTo>
                  <a:pt x="225" y="73"/>
                  <a:pt x="225" y="73"/>
                  <a:pt x="225" y="73"/>
                </a:cubicBezTo>
                <a:cubicBezTo>
                  <a:pt x="223" y="72"/>
                  <a:pt x="223" y="72"/>
                  <a:pt x="223" y="72"/>
                </a:cubicBezTo>
                <a:cubicBezTo>
                  <a:pt x="220" y="72"/>
                  <a:pt x="220" y="72"/>
                  <a:pt x="220" y="72"/>
                </a:cubicBezTo>
                <a:cubicBezTo>
                  <a:pt x="220" y="69"/>
                  <a:pt x="220" y="69"/>
                  <a:pt x="220" y="69"/>
                </a:cubicBezTo>
                <a:cubicBezTo>
                  <a:pt x="218" y="69"/>
                  <a:pt x="218" y="69"/>
                  <a:pt x="218" y="69"/>
                </a:cubicBezTo>
                <a:cubicBezTo>
                  <a:pt x="218" y="66"/>
                  <a:pt x="218" y="66"/>
                  <a:pt x="218" y="66"/>
                </a:cubicBezTo>
                <a:cubicBezTo>
                  <a:pt x="217" y="65"/>
                  <a:pt x="217" y="65"/>
                  <a:pt x="217" y="65"/>
                </a:cubicBezTo>
                <a:cubicBezTo>
                  <a:pt x="212" y="64"/>
                  <a:pt x="212" y="64"/>
                  <a:pt x="212" y="64"/>
                </a:cubicBezTo>
                <a:cubicBezTo>
                  <a:pt x="207" y="64"/>
                  <a:pt x="207" y="64"/>
                  <a:pt x="207" y="64"/>
                </a:cubicBezTo>
                <a:cubicBezTo>
                  <a:pt x="202" y="62"/>
                  <a:pt x="202" y="62"/>
                  <a:pt x="202" y="62"/>
                </a:cubicBezTo>
                <a:cubicBezTo>
                  <a:pt x="199" y="61"/>
                  <a:pt x="199" y="61"/>
                  <a:pt x="199" y="61"/>
                </a:cubicBezTo>
                <a:cubicBezTo>
                  <a:pt x="197" y="59"/>
                  <a:pt x="197" y="59"/>
                  <a:pt x="197" y="59"/>
                </a:cubicBezTo>
                <a:cubicBezTo>
                  <a:pt x="195" y="59"/>
                  <a:pt x="195" y="59"/>
                  <a:pt x="195" y="59"/>
                </a:cubicBezTo>
                <a:cubicBezTo>
                  <a:pt x="192" y="56"/>
                  <a:pt x="192" y="56"/>
                  <a:pt x="192" y="56"/>
                </a:cubicBezTo>
                <a:cubicBezTo>
                  <a:pt x="189" y="55"/>
                  <a:pt x="189" y="55"/>
                  <a:pt x="189" y="55"/>
                </a:cubicBezTo>
                <a:cubicBezTo>
                  <a:pt x="189" y="52"/>
                  <a:pt x="189" y="52"/>
                  <a:pt x="189" y="52"/>
                </a:cubicBezTo>
                <a:cubicBezTo>
                  <a:pt x="190" y="51"/>
                  <a:pt x="191" y="48"/>
                  <a:pt x="193" y="48"/>
                </a:cubicBezTo>
                <a:cubicBezTo>
                  <a:pt x="194" y="48"/>
                  <a:pt x="194" y="47"/>
                  <a:pt x="195" y="48"/>
                </a:cubicBezTo>
                <a:cubicBezTo>
                  <a:pt x="195" y="48"/>
                  <a:pt x="195" y="48"/>
                  <a:pt x="195" y="48"/>
                </a:cubicBezTo>
                <a:cubicBezTo>
                  <a:pt x="196" y="48"/>
                  <a:pt x="197" y="48"/>
                  <a:pt x="197" y="48"/>
                </a:cubicBezTo>
                <a:cubicBezTo>
                  <a:pt x="199" y="48"/>
                  <a:pt x="200" y="49"/>
                  <a:pt x="201" y="49"/>
                </a:cubicBezTo>
                <a:cubicBezTo>
                  <a:pt x="201" y="49"/>
                  <a:pt x="201" y="49"/>
                  <a:pt x="201" y="49"/>
                </a:cubicBezTo>
                <a:cubicBezTo>
                  <a:pt x="202" y="50"/>
                  <a:pt x="203" y="50"/>
                  <a:pt x="203" y="50"/>
                </a:cubicBezTo>
                <a:cubicBezTo>
                  <a:pt x="205" y="51"/>
                  <a:pt x="205" y="51"/>
                  <a:pt x="205" y="51"/>
                </a:cubicBezTo>
                <a:cubicBezTo>
                  <a:pt x="206" y="52"/>
                  <a:pt x="207" y="52"/>
                  <a:pt x="207" y="53"/>
                </a:cubicBezTo>
                <a:cubicBezTo>
                  <a:pt x="208" y="53"/>
                  <a:pt x="208" y="53"/>
                  <a:pt x="208" y="53"/>
                </a:cubicBezTo>
                <a:cubicBezTo>
                  <a:pt x="209" y="55"/>
                  <a:pt x="209" y="55"/>
                  <a:pt x="209" y="55"/>
                </a:cubicBezTo>
                <a:cubicBezTo>
                  <a:pt x="212" y="55"/>
                  <a:pt x="212" y="55"/>
                  <a:pt x="212" y="55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4" y="53"/>
                  <a:pt x="214" y="53"/>
                  <a:pt x="214" y="53"/>
                </a:cubicBezTo>
                <a:cubicBezTo>
                  <a:pt x="215" y="52"/>
                  <a:pt x="215" y="52"/>
                  <a:pt x="215" y="52"/>
                </a:cubicBezTo>
                <a:cubicBezTo>
                  <a:pt x="215" y="52"/>
                  <a:pt x="215" y="52"/>
                  <a:pt x="215" y="52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4" y="49"/>
                  <a:pt x="214" y="49"/>
                  <a:pt x="214" y="49"/>
                </a:cubicBezTo>
                <a:cubicBezTo>
                  <a:pt x="213" y="49"/>
                  <a:pt x="213" y="49"/>
                  <a:pt x="213" y="49"/>
                </a:cubicBezTo>
                <a:cubicBezTo>
                  <a:pt x="213" y="43"/>
                  <a:pt x="213" y="43"/>
                  <a:pt x="213" y="43"/>
                </a:cubicBezTo>
                <a:cubicBezTo>
                  <a:pt x="212" y="41"/>
                  <a:pt x="212" y="41"/>
                  <a:pt x="212" y="41"/>
                </a:cubicBezTo>
                <a:cubicBezTo>
                  <a:pt x="212" y="40"/>
                  <a:pt x="212" y="40"/>
                  <a:pt x="212" y="40"/>
                </a:cubicBezTo>
                <a:cubicBezTo>
                  <a:pt x="211" y="39"/>
                  <a:pt x="211" y="39"/>
                  <a:pt x="211" y="39"/>
                </a:cubicBezTo>
                <a:cubicBezTo>
                  <a:pt x="209" y="37"/>
                  <a:pt x="209" y="37"/>
                  <a:pt x="209" y="37"/>
                </a:cubicBezTo>
                <a:cubicBezTo>
                  <a:pt x="208" y="36"/>
                  <a:pt x="208" y="36"/>
                  <a:pt x="208" y="36"/>
                </a:cubicBezTo>
                <a:cubicBezTo>
                  <a:pt x="207" y="36"/>
                  <a:pt x="207" y="36"/>
                  <a:pt x="207" y="36"/>
                </a:cubicBezTo>
                <a:cubicBezTo>
                  <a:pt x="205" y="32"/>
                  <a:pt x="205" y="32"/>
                  <a:pt x="205" y="32"/>
                </a:cubicBezTo>
                <a:cubicBezTo>
                  <a:pt x="205" y="26"/>
                  <a:pt x="205" y="26"/>
                  <a:pt x="205" y="26"/>
                </a:cubicBezTo>
                <a:cubicBezTo>
                  <a:pt x="204" y="25"/>
                  <a:pt x="204" y="25"/>
                  <a:pt x="204" y="25"/>
                </a:cubicBezTo>
                <a:cubicBezTo>
                  <a:pt x="202" y="22"/>
                  <a:pt x="202" y="22"/>
                  <a:pt x="202" y="22"/>
                </a:cubicBezTo>
                <a:cubicBezTo>
                  <a:pt x="204" y="13"/>
                  <a:pt x="204" y="13"/>
                  <a:pt x="204" y="13"/>
                </a:cubicBezTo>
                <a:cubicBezTo>
                  <a:pt x="205" y="13"/>
                  <a:pt x="205" y="13"/>
                  <a:pt x="205" y="13"/>
                </a:cubicBezTo>
                <a:cubicBezTo>
                  <a:pt x="205" y="12"/>
                  <a:pt x="205" y="12"/>
                  <a:pt x="205" y="12"/>
                </a:cubicBezTo>
                <a:cubicBezTo>
                  <a:pt x="204" y="10"/>
                  <a:pt x="204" y="10"/>
                  <a:pt x="204" y="10"/>
                </a:cubicBezTo>
                <a:cubicBezTo>
                  <a:pt x="203" y="10"/>
                  <a:pt x="203" y="10"/>
                  <a:pt x="203" y="10"/>
                </a:cubicBezTo>
                <a:cubicBezTo>
                  <a:pt x="203" y="9"/>
                  <a:pt x="203" y="9"/>
                  <a:pt x="203" y="9"/>
                </a:cubicBezTo>
                <a:cubicBezTo>
                  <a:pt x="202" y="9"/>
                  <a:pt x="202" y="9"/>
                  <a:pt x="202" y="9"/>
                </a:cubicBezTo>
                <a:cubicBezTo>
                  <a:pt x="202" y="4"/>
                  <a:pt x="202" y="4"/>
                  <a:pt x="202" y="4"/>
                </a:cubicBezTo>
                <a:cubicBezTo>
                  <a:pt x="199" y="2"/>
                  <a:pt x="199" y="2"/>
                  <a:pt x="199" y="2"/>
                </a:cubicBezTo>
                <a:cubicBezTo>
                  <a:pt x="199" y="1"/>
                  <a:pt x="199" y="1"/>
                  <a:pt x="199" y="1"/>
                </a:cubicBezTo>
                <a:cubicBezTo>
                  <a:pt x="197" y="1"/>
                  <a:pt x="197" y="1"/>
                  <a:pt x="197" y="1"/>
                </a:cubicBezTo>
                <a:cubicBezTo>
                  <a:pt x="197" y="0"/>
                  <a:pt x="197" y="0"/>
                  <a:pt x="197" y="0"/>
                </a:cubicBezTo>
                <a:cubicBezTo>
                  <a:pt x="192" y="0"/>
                  <a:pt x="192" y="0"/>
                  <a:pt x="192" y="0"/>
                </a:cubicBezTo>
                <a:cubicBezTo>
                  <a:pt x="191" y="0"/>
                  <a:pt x="191" y="0"/>
                  <a:pt x="191" y="0"/>
                </a:cubicBezTo>
                <a:cubicBezTo>
                  <a:pt x="189" y="0"/>
                  <a:pt x="189" y="0"/>
                  <a:pt x="189" y="0"/>
                </a:cubicBezTo>
                <a:cubicBezTo>
                  <a:pt x="189" y="14"/>
                  <a:pt x="189" y="14"/>
                  <a:pt x="189" y="14"/>
                </a:cubicBezTo>
                <a:cubicBezTo>
                  <a:pt x="183" y="38"/>
                  <a:pt x="183" y="38"/>
                  <a:pt x="183" y="38"/>
                </a:cubicBezTo>
                <a:cubicBezTo>
                  <a:pt x="179" y="41"/>
                  <a:pt x="179" y="41"/>
                  <a:pt x="179" y="41"/>
                </a:cubicBezTo>
                <a:cubicBezTo>
                  <a:pt x="162" y="60"/>
                  <a:pt x="162" y="60"/>
                  <a:pt x="162" y="60"/>
                </a:cubicBezTo>
                <a:cubicBezTo>
                  <a:pt x="156" y="68"/>
                  <a:pt x="156" y="68"/>
                  <a:pt x="156" y="68"/>
                </a:cubicBezTo>
                <a:cubicBezTo>
                  <a:pt x="155" y="72"/>
                  <a:pt x="155" y="72"/>
                  <a:pt x="155" y="72"/>
                </a:cubicBezTo>
                <a:cubicBezTo>
                  <a:pt x="155" y="77"/>
                  <a:pt x="155" y="77"/>
                  <a:pt x="155" y="77"/>
                </a:cubicBezTo>
                <a:cubicBezTo>
                  <a:pt x="153" y="80"/>
                  <a:pt x="153" y="80"/>
                  <a:pt x="153" y="80"/>
                </a:cubicBezTo>
                <a:cubicBezTo>
                  <a:pt x="151" y="82"/>
                  <a:pt x="151" y="82"/>
                  <a:pt x="151" y="82"/>
                </a:cubicBezTo>
                <a:cubicBezTo>
                  <a:pt x="148" y="83"/>
                  <a:pt x="148" y="83"/>
                  <a:pt x="148" y="83"/>
                </a:cubicBezTo>
                <a:cubicBezTo>
                  <a:pt x="136" y="86"/>
                  <a:pt x="136" y="86"/>
                  <a:pt x="136" y="86"/>
                </a:cubicBezTo>
                <a:cubicBezTo>
                  <a:pt x="131" y="87"/>
                  <a:pt x="131" y="87"/>
                  <a:pt x="131" y="87"/>
                </a:cubicBezTo>
                <a:cubicBezTo>
                  <a:pt x="115" y="94"/>
                  <a:pt x="115" y="94"/>
                  <a:pt x="115" y="94"/>
                </a:cubicBezTo>
                <a:cubicBezTo>
                  <a:pt x="114" y="94"/>
                  <a:pt x="114" y="94"/>
                  <a:pt x="114" y="94"/>
                </a:cubicBezTo>
                <a:cubicBezTo>
                  <a:pt x="114" y="95"/>
                  <a:pt x="114" y="95"/>
                  <a:pt x="114" y="95"/>
                </a:cubicBezTo>
                <a:cubicBezTo>
                  <a:pt x="113" y="96"/>
                  <a:pt x="113" y="96"/>
                  <a:pt x="113" y="96"/>
                </a:cubicBezTo>
                <a:cubicBezTo>
                  <a:pt x="110" y="105"/>
                  <a:pt x="110" y="105"/>
                  <a:pt x="110" y="105"/>
                </a:cubicBezTo>
                <a:cubicBezTo>
                  <a:pt x="110" y="107"/>
                  <a:pt x="110" y="107"/>
                  <a:pt x="110" y="107"/>
                </a:cubicBezTo>
                <a:cubicBezTo>
                  <a:pt x="112" y="110"/>
                  <a:pt x="112" y="110"/>
                  <a:pt x="112" y="110"/>
                </a:cubicBezTo>
                <a:cubicBezTo>
                  <a:pt x="113" y="113"/>
                  <a:pt x="113" y="113"/>
                  <a:pt x="113" y="113"/>
                </a:cubicBezTo>
                <a:cubicBezTo>
                  <a:pt x="113" y="114"/>
                  <a:pt x="113" y="114"/>
                  <a:pt x="113" y="114"/>
                </a:cubicBezTo>
                <a:cubicBezTo>
                  <a:pt x="109" y="123"/>
                  <a:pt x="109" y="123"/>
                  <a:pt x="109" y="123"/>
                </a:cubicBezTo>
                <a:cubicBezTo>
                  <a:pt x="109" y="125"/>
                  <a:pt x="109" y="125"/>
                  <a:pt x="109" y="125"/>
                </a:cubicBezTo>
                <a:cubicBezTo>
                  <a:pt x="92" y="145"/>
                  <a:pt x="92" y="145"/>
                  <a:pt x="92" y="145"/>
                </a:cubicBezTo>
                <a:cubicBezTo>
                  <a:pt x="72" y="163"/>
                  <a:pt x="72" y="163"/>
                  <a:pt x="72" y="163"/>
                </a:cubicBezTo>
                <a:cubicBezTo>
                  <a:pt x="51" y="178"/>
                  <a:pt x="51" y="178"/>
                  <a:pt x="51" y="178"/>
                </a:cubicBezTo>
                <a:cubicBezTo>
                  <a:pt x="39" y="178"/>
                  <a:pt x="39" y="178"/>
                  <a:pt x="39" y="178"/>
                </a:cubicBezTo>
                <a:cubicBezTo>
                  <a:pt x="37" y="177"/>
                  <a:pt x="37" y="177"/>
                  <a:pt x="37" y="177"/>
                </a:cubicBezTo>
                <a:cubicBezTo>
                  <a:pt x="35" y="177"/>
                  <a:pt x="35" y="177"/>
                  <a:pt x="35" y="177"/>
                </a:cubicBezTo>
                <a:cubicBezTo>
                  <a:pt x="33" y="177"/>
                  <a:pt x="33" y="177"/>
                  <a:pt x="33" y="177"/>
                </a:cubicBezTo>
                <a:cubicBezTo>
                  <a:pt x="28" y="180"/>
                  <a:pt x="28" y="180"/>
                  <a:pt x="28" y="180"/>
                </a:cubicBezTo>
                <a:cubicBezTo>
                  <a:pt x="5" y="191"/>
                  <a:pt x="5" y="191"/>
                  <a:pt x="5" y="191"/>
                </a:cubicBezTo>
                <a:cubicBezTo>
                  <a:pt x="4" y="193"/>
                  <a:pt x="4" y="193"/>
                  <a:pt x="4" y="193"/>
                </a:cubicBezTo>
                <a:cubicBezTo>
                  <a:pt x="1" y="199"/>
                  <a:pt x="1" y="199"/>
                  <a:pt x="1" y="199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16"/>
                  <a:pt x="0" y="216"/>
                  <a:pt x="0" y="216"/>
                </a:cubicBezTo>
                <a:cubicBezTo>
                  <a:pt x="0" y="216"/>
                  <a:pt x="0" y="216"/>
                  <a:pt x="0" y="216"/>
                </a:cubicBezTo>
                <a:cubicBezTo>
                  <a:pt x="1" y="218"/>
                  <a:pt x="1" y="218"/>
                  <a:pt x="1" y="218"/>
                </a:cubicBezTo>
                <a:cubicBezTo>
                  <a:pt x="1" y="218"/>
                  <a:pt x="1" y="218"/>
                  <a:pt x="1" y="218"/>
                </a:cubicBezTo>
                <a:cubicBezTo>
                  <a:pt x="5" y="221"/>
                  <a:pt x="5" y="221"/>
                  <a:pt x="5" y="221"/>
                </a:cubicBezTo>
                <a:cubicBezTo>
                  <a:pt x="6" y="221"/>
                  <a:pt x="6" y="221"/>
                  <a:pt x="6" y="221"/>
                </a:cubicBezTo>
                <a:cubicBezTo>
                  <a:pt x="8" y="222"/>
                  <a:pt x="8" y="222"/>
                  <a:pt x="8" y="222"/>
                </a:cubicBezTo>
                <a:cubicBezTo>
                  <a:pt x="10" y="222"/>
                  <a:pt x="10" y="222"/>
                  <a:pt x="10" y="222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5" y="218"/>
                  <a:pt x="25" y="218"/>
                  <a:pt x="25" y="218"/>
                </a:cubicBezTo>
                <a:cubicBezTo>
                  <a:pt x="27" y="216"/>
                  <a:pt x="27" y="216"/>
                  <a:pt x="27" y="216"/>
                </a:cubicBezTo>
                <a:cubicBezTo>
                  <a:pt x="28" y="215"/>
                  <a:pt x="28" y="215"/>
                  <a:pt x="28" y="215"/>
                </a:cubicBezTo>
                <a:cubicBezTo>
                  <a:pt x="29" y="213"/>
                  <a:pt x="29" y="213"/>
                  <a:pt x="29" y="213"/>
                </a:cubicBezTo>
                <a:cubicBezTo>
                  <a:pt x="29" y="211"/>
                  <a:pt x="29" y="211"/>
                  <a:pt x="29" y="211"/>
                </a:cubicBezTo>
                <a:cubicBezTo>
                  <a:pt x="29" y="210"/>
                  <a:pt x="29" y="210"/>
                  <a:pt x="29" y="210"/>
                </a:cubicBezTo>
                <a:cubicBezTo>
                  <a:pt x="29" y="207"/>
                  <a:pt x="29" y="207"/>
                  <a:pt x="29" y="207"/>
                </a:cubicBezTo>
                <a:cubicBezTo>
                  <a:pt x="29" y="205"/>
                  <a:pt x="29" y="205"/>
                  <a:pt x="29" y="205"/>
                </a:cubicBezTo>
                <a:cubicBezTo>
                  <a:pt x="29" y="203"/>
                  <a:pt x="29" y="203"/>
                  <a:pt x="29" y="203"/>
                </a:cubicBezTo>
                <a:cubicBezTo>
                  <a:pt x="30" y="202"/>
                  <a:pt x="30" y="202"/>
                  <a:pt x="30" y="202"/>
                </a:cubicBezTo>
                <a:cubicBezTo>
                  <a:pt x="31" y="201"/>
                  <a:pt x="31" y="201"/>
                  <a:pt x="31" y="201"/>
                </a:cubicBezTo>
                <a:cubicBezTo>
                  <a:pt x="35" y="200"/>
                  <a:pt x="35" y="200"/>
                  <a:pt x="35" y="200"/>
                </a:cubicBezTo>
                <a:cubicBezTo>
                  <a:pt x="37" y="199"/>
                  <a:pt x="37" y="199"/>
                  <a:pt x="37" y="199"/>
                </a:cubicBezTo>
                <a:cubicBezTo>
                  <a:pt x="39" y="200"/>
                  <a:pt x="39" y="200"/>
                  <a:pt x="39" y="200"/>
                </a:cubicBezTo>
                <a:cubicBezTo>
                  <a:pt x="55" y="206"/>
                  <a:pt x="55" y="206"/>
                  <a:pt x="55" y="206"/>
                </a:cubicBezTo>
                <a:cubicBezTo>
                  <a:pt x="63" y="209"/>
                  <a:pt x="63" y="209"/>
                  <a:pt x="63" y="209"/>
                </a:cubicBezTo>
                <a:cubicBezTo>
                  <a:pt x="65" y="211"/>
                  <a:pt x="65" y="211"/>
                  <a:pt x="65" y="211"/>
                </a:cubicBezTo>
                <a:cubicBezTo>
                  <a:pt x="69" y="214"/>
                  <a:pt x="69" y="214"/>
                  <a:pt x="69" y="214"/>
                </a:cubicBezTo>
                <a:cubicBezTo>
                  <a:pt x="72" y="217"/>
                  <a:pt x="72" y="217"/>
                  <a:pt x="72" y="217"/>
                </a:cubicBezTo>
                <a:cubicBezTo>
                  <a:pt x="75" y="224"/>
                  <a:pt x="75" y="224"/>
                  <a:pt x="75" y="224"/>
                </a:cubicBezTo>
                <a:cubicBezTo>
                  <a:pt x="76" y="226"/>
                  <a:pt x="76" y="226"/>
                  <a:pt x="76" y="226"/>
                </a:cubicBezTo>
                <a:cubicBezTo>
                  <a:pt x="76" y="227"/>
                  <a:pt x="76" y="227"/>
                  <a:pt x="76" y="227"/>
                </a:cubicBezTo>
                <a:cubicBezTo>
                  <a:pt x="76" y="228"/>
                  <a:pt x="76" y="228"/>
                  <a:pt x="76" y="228"/>
                </a:cubicBezTo>
                <a:cubicBezTo>
                  <a:pt x="75" y="230"/>
                  <a:pt x="75" y="230"/>
                  <a:pt x="75" y="230"/>
                </a:cubicBezTo>
                <a:cubicBezTo>
                  <a:pt x="75" y="231"/>
                  <a:pt x="75" y="231"/>
                  <a:pt x="75" y="231"/>
                </a:cubicBezTo>
                <a:cubicBezTo>
                  <a:pt x="75" y="231"/>
                  <a:pt x="75" y="231"/>
                  <a:pt x="75" y="231"/>
                </a:cubicBezTo>
                <a:cubicBezTo>
                  <a:pt x="78" y="236"/>
                  <a:pt x="78" y="236"/>
                  <a:pt x="78" y="236"/>
                </a:cubicBezTo>
                <a:cubicBezTo>
                  <a:pt x="80" y="239"/>
                  <a:pt x="80" y="239"/>
                  <a:pt x="80" y="239"/>
                </a:cubicBezTo>
                <a:cubicBezTo>
                  <a:pt x="83" y="242"/>
                  <a:pt x="83" y="242"/>
                  <a:pt x="83" y="242"/>
                </a:cubicBezTo>
                <a:cubicBezTo>
                  <a:pt x="84" y="243"/>
                  <a:pt x="84" y="243"/>
                  <a:pt x="84" y="243"/>
                </a:cubicBezTo>
                <a:cubicBezTo>
                  <a:pt x="85" y="243"/>
                  <a:pt x="85" y="243"/>
                  <a:pt x="85" y="243"/>
                </a:cubicBezTo>
                <a:cubicBezTo>
                  <a:pt x="101" y="230"/>
                  <a:pt x="101" y="230"/>
                  <a:pt x="101" y="230"/>
                </a:cubicBezTo>
                <a:cubicBezTo>
                  <a:pt x="102" y="229"/>
                  <a:pt x="102" y="229"/>
                  <a:pt x="102" y="229"/>
                </a:cubicBezTo>
                <a:cubicBezTo>
                  <a:pt x="107" y="221"/>
                  <a:pt x="107" y="221"/>
                  <a:pt x="107" y="221"/>
                </a:cubicBezTo>
                <a:cubicBezTo>
                  <a:pt x="108" y="218"/>
                  <a:pt x="108" y="218"/>
                  <a:pt x="108" y="218"/>
                </a:cubicBezTo>
                <a:cubicBezTo>
                  <a:pt x="108" y="216"/>
                  <a:pt x="108" y="216"/>
                  <a:pt x="108" y="216"/>
                </a:cubicBezTo>
                <a:cubicBezTo>
                  <a:pt x="105" y="212"/>
                  <a:pt x="105" y="212"/>
                  <a:pt x="105" y="212"/>
                </a:cubicBezTo>
                <a:cubicBezTo>
                  <a:pt x="105" y="211"/>
                  <a:pt x="105" y="211"/>
                  <a:pt x="105" y="211"/>
                </a:cubicBezTo>
                <a:cubicBezTo>
                  <a:pt x="104" y="211"/>
                  <a:pt x="104" y="211"/>
                  <a:pt x="104" y="211"/>
                </a:cubicBezTo>
                <a:cubicBezTo>
                  <a:pt x="105" y="197"/>
                  <a:pt x="105" y="197"/>
                  <a:pt x="105" y="197"/>
                </a:cubicBezTo>
                <a:cubicBezTo>
                  <a:pt x="109" y="182"/>
                  <a:pt x="109" y="182"/>
                  <a:pt x="109" y="182"/>
                </a:cubicBezTo>
                <a:cubicBezTo>
                  <a:pt x="112" y="176"/>
                  <a:pt x="112" y="176"/>
                  <a:pt x="112" y="176"/>
                </a:cubicBezTo>
                <a:cubicBezTo>
                  <a:pt x="113" y="176"/>
                  <a:pt x="113" y="176"/>
                  <a:pt x="113" y="176"/>
                </a:cubicBezTo>
                <a:cubicBezTo>
                  <a:pt x="114" y="177"/>
                  <a:pt x="114" y="177"/>
                  <a:pt x="114" y="177"/>
                </a:cubicBezTo>
                <a:cubicBezTo>
                  <a:pt x="114" y="177"/>
                  <a:pt x="114" y="177"/>
                  <a:pt x="114" y="177"/>
                </a:cubicBezTo>
                <a:cubicBezTo>
                  <a:pt x="113" y="182"/>
                  <a:pt x="113" y="182"/>
                  <a:pt x="113" y="182"/>
                </a:cubicBezTo>
                <a:cubicBezTo>
                  <a:pt x="113" y="183"/>
                  <a:pt x="113" y="183"/>
                  <a:pt x="113" y="183"/>
                </a:cubicBezTo>
                <a:cubicBezTo>
                  <a:pt x="114" y="197"/>
                  <a:pt x="114" y="197"/>
                  <a:pt x="114" y="197"/>
                </a:cubicBezTo>
                <a:cubicBezTo>
                  <a:pt x="115" y="197"/>
                  <a:pt x="115" y="197"/>
                  <a:pt x="115" y="197"/>
                </a:cubicBezTo>
                <a:cubicBezTo>
                  <a:pt x="118" y="194"/>
                  <a:pt x="118" y="194"/>
                  <a:pt x="118" y="194"/>
                </a:cubicBezTo>
                <a:cubicBezTo>
                  <a:pt x="120" y="193"/>
                  <a:pt x="120" y="193"/>
                  <a:pt x="120" y="193"/>
                </a:cubicBezTo>
                <a:cubicBezTo>
                  <a:pt x="121" y="192"/>
                  <a:pt x="121" y="192"/>
                  <a:pt x="121" y="192"/>
                </a:cubicBezTo>
                <a:cubicBezTo>
                  <a:pt x="121" y="188"/>
                  <a:pt x="121" y="188"/>
                  <a:pt x="121" y="188"/>
                </a:cubicBezTo>
                <a:cubicBezTo>
                  <a:pt x="121" y="187"/>
                  <a:pt x="121" y="187"/>
                  <a:pt x="121" y="187"/>
                </a:cubicBezTo>
                <a:cubicBezTo>
                  <a:pt x="122" y="184"/>
                  <a:pt x="122" y="184"/>
                  <a:pt x="122" y="184"/>
                </a:cubicBezTo>
                <a:cubicBezTo>
                  <a:pt x="125" y="182"/>
                  <a:pt x="125" y="182"/>
                  <a:pt x="125" y="182"/>
                </a:cubicBezTo>
                <a:cubicBezTo>
                  <a:pt x="140" y="173"/>
                  <a:pt x="140" y="173"/>
                  <a:pt x="140" y="173"/>
                </a:cubicBezTo>
                <a:cubicBezTo>
                  <a:pt x="151" y="164"/>
                  <a:pt x="151" y="164"/>
                  <a:pt x="151" y="164"/>
                </a:cubicBezTo>
                <a:cubicBezTo>
                  <a:pt x="152" y="162"/>
                  <a:pt x="152" y="162"/>
                  <a:pt x="152" y="162"/>
                </a:cubicBezTo>
                <a:cubicBezTo>
                  <a:pt x="155" y="150"/>
                  <a:pt x="155" y="150"/>
                  <a:pt x="155" y="150"/>
                </a:cubicBezTo>
                <a:cubicBezTo>
                  <a:pt x="156" y="149"/>
                  <a:pt x="156" y="149"/>
                  <a:pt x="156" y="149"/>
                </a:cubicBezTo>
                <a:cubicBezTo>
                  <a:pt x="165" y="146"/>
                  <a:pt x="165" y="146"/>
                  <a:pt x="165" y="146"/>
                </a:cubicBezTo>
                <a:cubicBezTo>
                  <a:pt x="167" y="146"/>
                  <a:pt x="167" y="146"/>
                  <a:pt x="167" y="146"/>
                </a:cubicBezTo>
                <a:cubicBezTo>
                  <a:pt x="173" y="150"/>
                  <a:pt x="173" y="150"/>
                  <a:pt x="173" y="150"/>
                </a:cubicBezTo>
                <a:cubicBezTo>
                  <a:pt x="194" y="150"/>
                  <a:pt x="194" y="150"/>
                  <a:pt x="194" y="150"/>
                </a:cubicBezTo>
                <a:cubicBezTo>
                  <a:pt x="200" y="149"/>
                  <a:pt x="200" y="149"/>
                  <a:pt x="200" y="149"/>
                </a:cubicBezTo>
                <a:cubicBezTo>
                  <a:pt x="202" y="149"/>
                  <a:pt x="202" y="149"/>
                  <a:pt x="202" y="149"/>
                </a:cubicBezTo>
                <a:cubicBezTo>
                  <a:pt x="204" y="148"/>
                  <a:pt x="204" y="148"/>
                  <a:pt x="204" y="148"/>
                </a:cubicBezTo>
                <a:cubicBezTo>
                  <a:pt x="205" y="146"/>
                  <a:pt x="205" y="146"/>
                  <a:pt x="205" y="146"/>
                </a:cubicBezTo>
                <a:cubicBezTo>
                  <a:pt x="206" y="145"/>
                  <a:pt x="206" y="145"/>
                  <a:pt x="206" y="145"/>
                </a:cubicBezTo>
                <a:cubicBezTo>
                  <a:pt x="208" y="143"/>
                  <a:pt x="208" y="143"/>
                  <a:pt x="208" y="143"/>
                </a:cubicBezTo>
                <a:cubicBezTo>
                  <a:pt x="210" y="142"/>
                  <a:pt x="210" y="142"/>
                  <a:pt x="210" y="142"/>
                </a:cubicBezTo>
                <a:cubicBezTo>
                  <a:pt x="242" y="139"/>
                  <a:pt x="242" y="139"/>
                  <a:pt x="242" y="139"/>
                </a:cubicBezTo>
                <a:cubicBezTo>
                  <a:pt x="241" y="138"/>
                  <a:pt x="241" y="138"/>
                  <a:pt x="241" y="138"/>
                </a:cubicBezTo>
                <a:lnTo>
                  <a:pt x="240" y="13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Freeform 64">
            <a:extLst>
              <a:ext uri="{FF2B5EF4-FFF2-40B4-BE49-F238E27FC236}">
                <a16:creationId xmlns:a16="http://schemas.microsoft.com/office/drawing/2014/main" id="{881B450E-D417-45D5-862A-F418A2D0BCD3}"/>
              </a:ext>
            </a:extLst>
          </p:cNvPr>
          <p:cNvSpPr>
            <a:spLocks/>
          </p:cNvSpPr>
          <p:nvPr/>
        </p:nvSpPr>
        <p:spPr bwMode="auto">
          <a:xfrm>
            <a:off x="4598207" y="5374807"/>
            <a:ext cx="658681" cy="576263"/>
          </a:xfrm>
          <a:custGeom>
            <a:avLst/>
            <a:gdLst>
              <a:gd name="T0" fmla="*/ 269 w 272"/>
              <a:gd name="T1" fmla="*/ 112 h 258"/>
              <a:gd name="T2" fmla="*/ 264 w 272"/>
              <a:gd name="T3" fmla="*/ 104 h 258"/>
              <a:gd name="T4" fmla="*/ 257 w 272"/>
              <a:gd name="T5" fmla="*/ 94 h 258"/>
              <a:gd name="T6" fmla="*/ 253 w 272"/>
              <a:gd name="T7" fmla="*/ 82 h 258"/>
              <a:gd name="T8" fmla="*/ 242 w 272"/>
              <a:gd name="T9" fmla="*/ 77 h 258"/>
              <a:gd name="T10" fmla="*/ 232 w 272"/>
              <a:gd name="T11" fmla="*/ 74 h 258"/>
              <a:gd name="T12" fmla="*/ 218 w 272"/>
              <a:gd name="T13" fmla="*/ 72 h 258"/>
              <a:gd name="T14" fmla="*/ 206 w 272"/>
              <a:gd name="T15" fmla="*/ 63 h 258"/>
              <a:gd name="T16" fmla="*/ 195 w 272"/>
              <a:gd name="T17" fmla="*/ 52 h 258"/>
              <a:gd name="T18" fmla="*/ 181 w 272"/>
              <a:gd name="T19" fmla="*/ 50 h 258"/>
              <a:gd name="T20" fmla="*/ 178 w 272"/>
              <a:gd name="T21" fmla="*/ 53 h 258"/>
              <a:gd name="T22" fmla="*/ 166 w 272"/>
              <a:gd name="T23" fmla="*/ 56 h 258"/>
              <a:gd name="T24" fmla="*/ 161 w 272"/>
              <a:gd name="T25" fmla="*/ 48 h 258"/>
              <a:gd name="T26" fmla="*/ 156 w 272"/>
              <a:gd name="T27" fmla="*/ 42 h 258"/>
              <a:gd name="T28" fmla="*/ 143 w 272"/>
              <a:gd name="T29" fmla="*/ 37 h 258"/>
              <a:gd name="T30" fmla="*/ 137 w 272"/>
              <a:gd name="T31" fmla="*/ 33 h 258"/>
              <a:gd name="T32" fmla="*/ 129 w 272"/>
              <a:gd name="T33" fmla="*/ 29 h 258"/>
              <a:gd name="T34" fmla="*/ 126 w 272"/>
              <a:gd name="T35" fmla="*/ 26 h 258"/>
              <a:gd name="T36" fmla="*/ 120 w 272"/>
              <a:gd name="T37" fmla="*/ 17 h 258"/>
              <a:gd name="T38" fmla="*/ 128 w 272"/>
              <a:gd name="T39" fmla="*/ 9 h 258"/>
              <a:gd name="T40" fmla="*/ 139 w 272"/>
              <a:gd name="T41" fmla="*/ 9 h 258"/>
              <a:gd name="T42" fmla="*/ 142 w 272"/>
              <a:gd name="T43" fmla="*/ 1 h 258"/>
              <a:gd name="T44" fmla="*/ 54 w 272"/>
              <a:gd name="T45" fmla="*/ 11 h 258"/>
              <a:gd name="T46" fmla="*/ 52 w 272"/>
              <a:gd name="T47" fmla="*/ 43 h 258"/>
              <a:gd name="T48" fmla="*/ 31 w 272"/>
              <a:gd name="T49" fmla="*/ 64 h 258"/>
              <a:gd name="T50" fmla="*/ 15 w 272"/>
              <a:gd name="T51" fmla="*/ 57 h 258"/>
              <a:gd name="T52" fmla="*/ 2 w 272"/>
              <a:gd name="T53" fmla="*/ 57 h 258"/>
              <a:gd name="T54" fmla="*/ 13 w 272"/>
              <a:gd name="T55" fmla="*/ 77 h 258"/>
              <a:gd name="T56" fmla="*/ 17 w 272"/>
              <a:gd name="T57" fmla="*/ 85 h 258"/>
              <a:gd name="T58" fmla="*/ 17 w 272"/>
              <a:gd name="T59" fmla="*/ 97 h 258"/>
              <a:gd name="T60" fmla="*/ 20 w 272"/>
              <a:gd name="T61" fmla="*/ 112 h 258"/>
              <a:gd name="T62" fmla="*/ 26 w 272"/>
              <a:gd name="T63" fmla="*/ 120 h 258"/>
              <a:gd name="T64" fmla="*/ 29 w 272"/>
              <a:gd name="T65" fmla="*/ 131 h 258"/>
              <a:gd name="T66" fmla="*/ 25 w 272"/>
              <a:gd name="T67" fmla="*/ 137 h 258"/>
              <a:gd name="T68" fmla="*/ 16 w 272"/>
              <a:gd name="T69" fmla="*/ 137 h 258"/>
              <a:gd name="T70" fmla="*/ 8 w 272"/>
              <a:gd name="T71" fmla="*/ 133 h 258"/>
              <a:gd name="T72" fmla="*/ 3 w 272"/>
              <a:gd name="T73" fmla="*/ 132 h 258"/>
              <a:gd name="T74" fmla="*/ 14 w 272"/>
              <a:gd name="T75" fmla="*/ 139 h 258"/>
              <a:gd name="T76" fmla="*/ 32 w 272"/>
              <a:gd name="T77" fmla="*/ 145 h 258"/>
              <a:gd name="T78" fmla="*/ 39 w 272"/>
              <a:gd name="T79" fmla="*/ 151 h 258"/>
              <a:gd name="T80" fmla="*/ 37 w 272"/>
              <a:gd name="T81" fmla="*/ 162 h 258"/>
              <a:gd name="T82" fmla="*/ 48 w 272"/>
              <a:gd name="T83" fmla="*/ 174 h 258"/>
              <a:gd name="T84" fmla="*/ 56 w 272"/>
              <a:gd name="T85" fmla="*/ 185 h 258"/>
              <a:gd name="T86" fmla="*/ 50 w 272"/>
              <a:gd name="T87" fmla="*/ 195 h 258"/>
              <a:gd name="T88" fmla="*/ 58 w 272"/>
              <a:gd name="T89" fmla="*/ 197 h 258"/>
              <a:gd name="T90" fmla="*/ 56 w 272"/>
              <a:gd name="T91" fmla="*/ 205 h 258"/>
              <a:gd name="T92" fmla="*/ 54 w 272"/>
              <a:gd name="T93" fmla="*/ 214 h 258"/>
              <a:gd name="T94" fmla="*/ 106 w 272"/>
              <a:gd name="T95" fmla="*/ 239 h 258"/>
              <a:gd name="T96" fmla="*/ 113 w 272"/>
              <a:gd name="T97" fmla="*/ 252 h 258"/>
              <a:gd name="T98" fmla="*/ 133 w 272"/>
              <a:gd name="T99" fmla="*/ 258 h 258"/>
              <a:gd name="T100" fmla="*/ 144 w 272"/>
              <a:gd name="T101" fmla="*/ 248 h 258"/>
              <a:gd name="T102" fmla="*/ 150 w 272"/>
              <a:gd name="T103" fmla="*/ 232 h 258"/>
              <a:gd name="T104" fmla="*/ 168 w 272"/>
              <a:gd name="T105" fmla="*/ 214 h 258"/>
              <a:gd name="T106" fmla="*/ 161 w 272"/>
              <a:gd name="T107" fmla="*/ 205 h 258"/>
              <a:gd name="T108" fmla="*/ 177 w 272"/>
              <a:gd name="T109" fmla="*/ 159 h 258"/>
              <a:gd name="T110" fmla="*/ 219 w 272"/>
              <a:gd name="T111" fmla="*/ 136 h 258"/>
              <a:gd name="T112" fmla="*/ 256 w 272"/>
              <a:gd name="T113" fmla="*/ 126 h 258"/>
              <a:gd name="T114" fmla="*/ 272 w 272"/>
              <a:gd name="T115" fmla="*/ 126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72" h="258">
                <a:moveTo>
                  <a:pt x="271" y="120"/>
                </a:moveTo>
                <a:cubicBezTo>
                  <a:pt x="271" y="120"/>
                  <a:pt x="271" y="120"/>
                  <a:pt x="271" y="120"/>
                </a:cubicBezTo>
                <a:cubicBezTo>
                  <a:pt x="271" y="119"/>
                  <a:pt x="271" y="119"/>
                  <a:pt x="271" y="119"/>
                </a:cubicBezTo>
                <a:cubicBezTo>
                  <a:pt x="271" y="117"/>
                  <a:pt x="270" y="115"/>
                  <a:pt x="270" y="114"/>
                </a:cubicBezTo>
                <a:cubicBezTo>
                  <a:pt x="270" y="113"/>
                  <a:pt x="270" y="112"/>
                  <a:pt x="269" y="112"/>
                </a:cubicBezTo>
                <a:cubicBezTo>
                  <a:pt x="268" y="111"/>
                  <a:pt x="268" y="110"/>
                  <a:pt x="268" y="109"/>
                </a:cubicBezTo>
                <a:cubicBezTo>
                  <a:pt x="268" y="108"/>
                  <a:pt x="268" y="108"/>
                  <a:pt x="268" y="108"/>
                </a:cubicBezTo>
                <a:cubicBezTo>
                  <a:pt x="267" y="107"/>
                  <a:pt x="265" y="106"/>
                  <a:pt x="265" y="104"/>
                </a:cubicBezTo>
                <a:cubicBezTo>
                  <a:pt x="265" y="104"/>
                  <a:pt x="265" y="104"/>
                  <a:pt x="265" y="104"/>
                </a:cubicBezTo>
                <a:cubicBezTo>
                  <a:pt x="264" y="104"/>
                  <a:pt x="264" y="104"/>
                  <a:pt x="264" y="104"/>
                </a:cubicBezTo>
                <a:cubicBezTo>
                  <a:pt x="264" y="104"/>
                  <a:pt x="264" y="104"/>
                  <a:pt x="264" y="104"/>
                </a:cubicBezTo>
                <a:cubicBezTo>
                  <a:pt x="264" y="103"/>
                  <a:pt x="263" y="102"/>
                  <a:pt x="263" y="102"/>
                </a:cubicBezTo>
                <a:cubicBezTo>
                  <a:pt x="262" y="102"/>
                  <a:pt x="262" y="102"/>
                  <a:pt x="261" y="102"/>
                </a:cubicBezTo>
                <a:cubicBezTo>
                  <a:pt x="260" y="101"/>
                  <a:pt x="260" y="101"/>
                  <a:pt x="260" y="101"/>
                </a:cubicBezTo>
                <a:cubicBezTo>
                  <a:pt x="260" y="100"/>
                  <a:pt x="258" y="97"/>
                  <a:pt x="257" y="94"/>
                </a:cubicBezTo>
                <a:cubicBezTo>
                  <a:pt x="255" y="91"/>
                  <a:pt x="255" y="91"/>
                  <a:pt x="255" y="91"/>
                </a:cubicBezTo>
                <a:cubicBezTo>
                  <a:pt x="254" y="90"/>
                  <a:pt x="254" y="90"/>
                  <a:pt x="254" y="90"/>
                </a:cubicBezTo>
                <a:cubicBezTo>
                  <a:pt x="254" y="89"/>
                  <a:pt x="254" y="89"/>
                  <a:pt x="254" y="89"/>
                </a:cubicBezTo>
                <a:cubicBezTo>
                  <a:pt x="254" y="82"/>
                  <a:pt x="254" y="82"/>
                  <a:pt x="254" y="82"/>
                </a:cubicBezTo>
                <a:cubicBezTo>
                  <a:pt x="253" y="82"/>
                  <a:pt x="253" y="82"/>
                  <a:pt x="253" y="82"/>
                </a:cubicBezTo>
                <a:cubicBezTo>
                  <a:pt x="252" y="82"/>
                  <a:pt x="251" y="81"/>
                  <a:pt x="251" y="81"/>
                </a:cubicBezTo>
                <a:cubicBezTo>
                  <a:pt x="248" y="80"/>
                  <a:pt x="248" y="80"/>
                  <a:pt x="248" y="80"/>
                </a:cubicBezTo>
                <a:cubicBezTo>
                  <a:pt x="246" y="80"/>
                  <a:pt x="246" y="80"/>
                  <a:pt x="246" y="80"/>
                </a:cubicBezTo>
                <a:cubicBezTo>
                  <a:pt x="246" y="80"/>
                  <a:pt x="246" y="79"/>
                  <a:pt x="245" y="79"/>
                </a:cubicBezTo>
                <a:cubicBezTo>
                  <a:pt x="242" y="77"/>
                  <a:pt x="242" y="77"/>
                  <a:pt x="242" y="77"/>
                </a:cubicBezTo>
                <a:cubicBezTo>
                  <a:pt x="240" y="76"/>
                  <a:pt x="240" y="76"/>
                  <a:pt x="240" y="76"/>
                </a:cubicBezTo>
                <a:cubicBezTo>
                  <a:pt x="237" y="74"/>
                  <a:pt x="237" y="74"/>
                  <a:pt x="237" y="74"/>
                </a:cubicBezTo>
                <a:cubicBezTo>
                  <a:pt x="237" y="74"/>
                  <a:pt x="236" y="73"/>
                  <a:pt x="234" y="73"/>
                </a:cubicBezTo>
                <a:cubicBezTo>
                  <a:pt x="234" y="73"/>
                  <a:pt x="234" y="73"/>
                  <a:pt x="233" y="73"/>
                </a:cubicBezTo>
                <a:cubicBezTo>
                  <a:pt x="233" y="73"/>
                  <a:pt x="233" y="73"/>
                  <a:pt x="232" y="74"/>
                </a:cubicBezTo>
                <a:cubicBezTo>
                  <a:pt x="231" y="75"/>
                  <a:pt x="230" y="74"/>
                  <a:pt x="229" y="74"/>
                </a:cubicBezTo>
                <a:cubicBezTo>
                  <a:pt x="227" y="74"/>
                  <a:pt x="226" y="74"/>
                  <a:pt x="225" y="74"/>
                </a:cubicBezTo>
                <a:cubicBezTo>
                  <a:pt x="222" y="74"/>
                  <a:pt x="222" y="74"/>
                  <a:pt x="222" y="74"/>
                </a:cubicBezTo>
                <a:cubicBezTo>
                  <a:pt x="221" y="74"/>
                  <a:pt x="220" y="73"/>
                  <a:pt x="220" y="72"/>
                </a:cubicBezTo>
                <a:cubicBezTo>
                  <a:pt x="218" y="72"/>
                  <a:pt x="218" y="72"/>
                  <a:pt x="218" y="72"/>
                </a:cubicBezTo>
                <a:cubicBezTo>
                  <a:pt x="218" y="72"/>
                  <a:pt x="218" y="72"/>
                  <a:pt x="217" y="72"/>
                </a:cubicBezTo>
                <a:cubicBezTo>
                  <a:pt x="211" y="68"/>
                  <a:pt x="211" y="68"/>
                  <a:pt x="211" y="68"/>
                </a:cubicBezTo>
                <a:cubicBezTo>
                  <a:pt x="209" y="66"/>
                  <a:pt x="209" y="66"/>
                  <a:pt x="209" y="66"/>
                </a:cubicBezTo>
                <a:cubicBezTo>
                  <a:pt x="207" y="64"/>
                  <a:pt x="207" y="64"/>
                  <a:pt x="207" y="64"/>
                </a:cubicBezTo>
                <a:cubicBezTo>
                  <a:pt x="207" y="64"/>
                  <a:pt x="206" y="64"/>
                  <a:pt x="206" y="63"/>
                </a:cubicBezTo>
                <a:cubicBezTo>
                  <a:pt x="200" y="63"/>
                  <a:pt x="200" y="63"/>
                  <a:pt x="200" y="63"/>
                </a:cubicBezTo>
                <a:cubicBezTo>
                  <a:pt x="199" y="63"/>
                  <a:pt x="198" y="63"/>
                  <a:pt x="198" y="61"/>
                </a:cubicBezTo>
                <a:cubicBezTo>
                  <a:pt x="198" y="54"/>
                  <a:pt x="198" y="54"/>
                  <a:pt x="198" y="54"/>
                </a:cubicBezTo>
                <a:cubicBezTo>
                  <a:pt x="197" y="53"/>
                  <a:pt x="197" y="53"/>
                  <a:pt x="197" y="53"/>
                </a:cubicBezTo>
                <a:cubicBezTo>
                  <a:pt x="196" y="52"/>
                  <a:pt x="196" y="52"/>
                  <a:pt x="195" y="52"/>
                </a:cubicBezTo>
                <a:cubicBezTo>
                  <a:pt x="195" y="51"/>
                  <a:pt x="195" y="51"/>
                  <a:pt x="195" y="51"/>
                </a:cubicBezTo>
                <a:cubicBezTo>
                  <a:pt x="193" y="51"/>
                  <a:pt x="193" y="51"/>
                  <a:pt x="193" y="51"/>
                </a:cubicBezTo>
                <a:cubicBezTo>
                  <a:pt x="187" y="51"/>
                  <a:pt x="187" y="51"/>
                  <a:pt x="187" y="51"/>
                </a:cubicBezTo>
                <a:cubicBezTo>
                  <a:pt x="183" y="50"/>
                  <a:pt x="183" y="50"/>
                  <a:pt x="183" y="50"/>
                </a:cubicBezTo>
                <a:cubicBezTo>
                  <a:pt x="183" y="50"/>
                  <a:pt x="182" y="50"/>
                  <a:pt x="181" y="50"/>
                </a:cubicBezTo>
                <a:cubicBezTo>
                  <a:pt x="180" y="50"/>
                  <a:pt x="180" y="50"/>
                  <a:pt x="179" y="50"/>
                </a:cubicBezTo>
                <a:cubicBezTo>
                  <a:pt x="179" y="50"/>
                  <a:pt x="179" y="50"/>
                  <a:pt x="179" y="51"/>
                </a:cubicBezTo>
                <a:cubicBezTo>
                  <a:pt x="179" y="51"/>
                  <a:pt x="179" y="51"/>
                  <a:pt x="179" y="51"/>
                </a:cubicBezTo>
                <a:cubicBezTo>
                  <a:pt x="179" y="51"/>
                  <a:pt x="179" y="52"/>
                  <a:pt x="178" y="52"/>
                </a:cubicBezTo>
                <a:cubicBezTo>
                  <a:pt x="178" y="53"/>
                  <a:pt x="178" y="53"/>
                  <a:pt x="178" y="53"/>
                </a:cubicBezTo>
                <a:cubicBezTo>
                  <a:pt x="178" y="53"/>
                  <a:pt x="178" y="54"/>
                  <a:pt x="178" y="55"/>
                </a:cubicBezTo>
                <a:cubicBezTo>
                  <a:pt x="178" y="56"/>
                  <a:pt x="178" y="57"/>
                  <a:pt x="177" y="57"/>
                </a:cubicBezTo>
                <a:cubicBezTo>
                  <a:pt x="177" y="57"/>
                  <a:pt x="175" y="58"/>
                  <a:pt x="173" y="57"/>
                </a:cubicBezTo>
                <a:cubicBezTo>
                  <a:pt x="173" y="57"/>
                  <a:pt x="172" y="57"/>
                  <a:pt x="171" y="57"/>
                </a:cubicBezTo>
                <a:cubicBezTo>
                  <a:pt x="170" y="58"/>
                  <a:pt x="168" y="58"/>
                  <a:pt x="166" y="56"/>
                </a:cubicBezTo>
                <a:cubicBezTo>
                  <a:pt x="165" y="57"/>
                  <a:pt x="165" y="57"/>
                  <a:pt x="165" y="57"/>
                </a:cubicBezTo>
                <a:cubicBezTo>
                  <a:pt x="164" y="57"/>
                  <a:pt x="164" y="57"/>
                  <a:pt x="164" y="57"/>
                </a:cubicBezTo>
                <a:cubicBezTo>
                  <a:pt x="164" y="57"/>
                  <a:pt x="162" y="57"/>
                  <a:pt x="159" y="56"/>
                </a:cubicBezTo>
                <a:cubicBezTo>
                  <a:pt x="159" y="55"/>
                  <a:pt x="158" y="55"/>
                  <a:pt x="158" y="54"/>
                </a:cubicBezTo>
                <a:cubicBezTo>
                  <a:pt x="158" y="53"/>
                  <a:pt x="158" y="50"/>
                  <a:pt x="161" y="48"/>
                </a:cubicBezTo>
                <a:cubicBezTo>
                  <a:pt x="162" y="48"/>
                  <a:pt x="162" y="48"/>
                  <a:pt x="162" y="48"/>
                </a:cubicBezTo>
                <a:cubicBezTo>
                  <a:pt x="162" y="45"/>
                  <a:pt x="162" y="45"/>
                  <a:pt x="162" y="45"/>
                </a:cubicBezTo>
                <a:cubicBezTo>
                  <a:pt x="160" y="45"/>
                  <a:pt x="160" y="45"/>
                  <a:pt x="160" y="45"/>
                </a:cubicBezTo>
                <a:cubicBezTo>
                  <a:pt x="159" y="45"/>
                  <a:pt x="159" y="45"/>
                  <a:pt x="159" y="45"/>
                </a:cubicBezTo>
                <a:cubicBezTo>
                  <a:pt x="156" y="42"/>
                  <a:pt x="156" y="42"/>
                  <a:pt x="156" y="42"/>
                </a:cubicBezTo>
                <a:cubicBezTo>
                  <a:pt x="155" y="42"/>
                  <a:pt x="153" y="43"/>
                  <a:pt x="152" y="42"/>
                </a:cubicBezTo>
                <a:cubicBezTo>
                  <a:pt x="149" y="41"/>
                  <a:pt x="149" y="41"/>
                  <a:pt x="149" y="41"/>
                </a:cubicBezTo>
                <a:cubicBezTo>
                  <a:pt x="148" y="41"/>
                  <a:pt x="148" y="40"/>
                  <a:pt x="148" y="40"/>
                </a:cubicBezTo>
                <a:cubicBezTo>
                  <a:pt x="147" y="39"/>
                  <a:pt x="146" y="38"/>
                  <a:pt x="145" y="38"/>
                </a:cubicBezTo>
                <a:cubicBezTo>
                  <a:pt x="144" y="37"/>
                  <a:pt x="144" y="37"/>
                  <a:pt x="143" y="37"/>
                </a:cubicBezTo>
                <a:cubicBezTo>
                  <a:pt x="143" y="37"/>
                  <a:pt x="143" y="37"/>
                  <a:pt x="143" y="37"/>
                </a:cubicBezTo>
                <a:cubicBezTo>
                  <a:pt x="142" y="37"/>
                  <a:pt x="141" y="36"/>
                  <a:pt x="141" y="35"/>
                </a:cubicBezTo>
                <a:cubicBezTo>
                  <a:pt x="139" y="35"/>
                  <a:pt x="139" y="35"/>
                  <a:pt x="139" y="35"/>
                </a:cubicBezTo>
                <a:cubicBezTo>
                  <a:pt x="139" y="35"/>
                  <a:pt x="138" y="35"/>
                  <a:pt x="138" y="34"/>
                </a:cubicBezTo>
                <a:cubicBezTo>
                  <a:pt x="137" y="33"/>
                  <a:pt x="137" y="33"/>
                  <a:pt x="137" y="33"/>
                </a:cubicBezTo>
                <a:cubicBezTo>
                  <a:pt x="136" y="34"/>
                  <a:pt x="134" y="34"/>
                  <a:pt x="133" y="33"/>
                </a:cubicBezTo>
                <a:cubicBezTo>
                  <a:pt x="133" y="33"/>
                  <a:pt x="133" y="33"/>
                  <a:pt x="132" y="33"/>
                </a:cubicBezTo>
                <a:cubicBezTo>
                  <a:pt x="132" y="33"/>
                  <a:pt x="131" y="33"/>
                  <a:pt x="130" y="33"/>
                </a:cubicBezTo>
                <a:cubicBezTo>
                  <a:pt x="130" y="33"/>
                  <a:pt x="129" y="32"/>
                  <a:pt x="129" y="31"/>
                </a:cubicBezTo>
                <a:cubicBezTo>
                  <a:pt x="129" y="29"/>
                  <a:pt x="129" y="29"/>
                  <a:pt x="129" y="29"/>
                </a:cubicBezTo>
                <a:cubicBezTo>
                  <a:pt x="128" y="28"/>
                  <a:pt x="128" y="28"/>
                  <a:pt x="128" y="28"/>
                </a:cubicBezTo>
                <a:cubicBezTo>
                  <a:pt x="128" y="28"/>
                  <a:pt x="128" y="28"/>
                  <a:pt x="128" y="28"/>
                </a:cubicBezTo>
                <a:cubicBezTo>
                  <a:pt x="127" y="27"/>
                  <a:pt x="127" y="27"/>
                  <a:pt x="127" y="27"/>
                </a:cubicBezTo>
                <a:cubicBezTo>
                  <a:pt x="126" y="26"/>
                  <a:pt x="126" y="26"/>
                  <a:pt x="126" y="26"/>
                </a:cubicBezTo>
                <a:cubicBezTo>
                  <a:pt x="126" y="26"/>
                  <a:pt x="126" y="26"/>
                  <a:pt x="126" y="26"/>
                </a:cubicBezTo>
                <a:cubicBezTo>
                  <a:pt x="125" y="26"/>
                  <a:pt x="124" y="26"/>
                  <a:pt x="124" y="25"/>
                </a:cubicBezTo>
                <a:cubicBezTo>
                  <a:pt x="122" y="23"/>
                  <a:pt x="122" y="23"/>
                  <a:pt x="122" y="23"/>
                </a:cubicBezTo>
                <a:cubicBezTo>
                  <a:pt x="120" y="20"/>
                  <a:pt x="120" y="20"/>
                  <a:pt x="120" y="20"/>
                </a:cubicBezTo>
                <a:cubicBezTo>
                  <a:pt x="120" y="19"/>
                  <a:pt x="120" y="19"/>
                  <a:pt x="120" y="19"/>
                </a:cubicBezTo>
                <a:cubicBezTo>
                  <a:pt x="120" y="17"/>
                  <a:pt x="120" y="17"/>
                  <a:pt x="120" y="17"/>
                </a:cubicBezTo>
                <a:cubicBezTo>
                  <a:pt x="120" y="16"/>
                  <a:pt x="120" y="16"/>
                  <a:pt x="120" y="16"/>
                </a:cubicBezTo>
                <a:cubicBezTo>
                  <a:pt x="121" y="13"/>
                  <a:pt x="121" y="13"/>
                  <a:pt x="121" y="13"/>
                </a:cubicBezTo>
                <a:cubicBezTo>
                  <a:pt x="121" y="12"/>
                  <a:pt x="121" y="12"/>
                  <a:pt x="122" y="11"/>
                </a:cubicBezTo>
                <a:cubicBezTo>
                  <a:pt x="125" y="10"/>
                  <a:pt x="125" y="10"/>
                  <a:pt x="125" y="10"/>
                </a:cubicBezTo>
                <a:cubicBezTo>
                  <a:pt x="126" y="9"/>
                  <a:pt x="127" y="9"/>
                  <a:pt x="128" y="9"/>
                </a:cubicBezTo>
                <a:cubicBezTo>
                  <a:pt x="129" y="9"/>
                  <a:pt x="129" y="9"/>
                  <a:pt x="130" y="9"/>
                </a:cubicBezTo>
                <a:cubicBezTo>
                  <a:pt x="132" y="9"/>
                  <a:pt x="133" y="9"/>
                  <a:pt x="133" y="9"/>
                </a:cubicBezTo>
                <a:cubicBezTo>
                  <a:pt x="135" y="9"/>
                  <a:pt x="135" y="9"/>
                  <a:pt x="135" y="9"/>
                </a:cubicBezTo>
                <a:cubicBezTo>
                  <a:pt x="136" y="9"/>
                  <a:pt x="136" y="9"/>
                  <a:pt x="136" y="9"/>
                </a:cubicBezTo>
                <a:cubicBezTo>
                  <a:pt x="138" y="8"/>
                  <a:pt x="138" y="9"/>
                  <a:pt x="139" y="9"/>
                </a:cubicBezTo>
                <a:cubicBezTo>
                  <a:pt x="139" y="9"/>
                  <a:pt x="139" y="9"/>
                  <a:pt x="139" y="9"/>
                </a:cubicBezTo>
                <a:cubicBezTo>
                  <a:pt x="139" y="3"/>
                  <a:pt x="139" y="3"/>
                  <a:pt x="139" y="3"/>
                </a:cubicBezTo>
                <a:cubicBezTo>
                  <a:pt x="138" y="2"/>
                  <a:pt x="138" y="2"/>
                  <a:pt x="138" y="2"/>
                </a:cubicBezTo>
                <a:cubicBezTo>
                  <a:pt x="138" y="1"/>
                  <a:pt x="138" y="1"/>
                  <a:pt x="138" y="1"/>
                </a:cubicBezTo>
                <a:cubicBezTo>
                  <a:pt x="142" y="1"/>
                  <a:pt x="142" y="1"/>
                  <a:pt x="142" y="1"/>
                </a:cubicBezTo>
                <a:cubicBezTo>
                  <a:pt x="120" y="0"/>
                  <a:pt x="120" y="0"/>
                  <a:pt x="120" y="0"/>
                </a:cubicBezTo>
                <a:cubicBezTo>
                  <a:pt x="119" y="0"/>
                  <a:pt x="119" y="0"/>
                  <a:pt x="119" y="0"/>
                </a:cubicBezTo>
                <a:cubicBezTo>
                  <a:pt x="64" y="8"/>
                  <a:pt x="64" y="8"/>
                  <a:pt x="64" y="8"/>
                </a:cubicBezTo>
                <a:cubicBezTo>
                  <a:pt x="54" y="10"/>
                  <a:pt x="54" y="10"/>
                  <a:pt x="54" y="10"/>
                </a:cubicBezTo>
                <a:cubicBezTo>
                  <a:pt x="54" y="11"/>
                  <a:pt x="54" y="11"/>
                  <a:pt x="54" y="11"/>
                </a:cubicBezTo>
                <a:cubicBezTo>
                  <a:pt x="50" y="14"/>
                  <a:pt x="50" y="14"/>
                  <a:pt x="50" y="14"/>
                </a:cubicBezTo>
                <a:cubicBezTo>
                  <a:pt x="50" y="14"/>
                  <a:pt x="50" y="14"/>
                  <a:pt x="50" y="14"/>
                </a:cubicBezTo>
                <a:cubicBezTo>
                  <a:pt x="51" y="23"/>
                  <a:pt x="51" y="23"/>
                  <a:pt x="51" y="23"/>
                </a:cubicBezTo>
                <a:cubicBezTo>
                  <a:pt x="52" y="40"/>
                  <a:pt x="52" y="40"/>
                  <a:pt x="52" y="40"/>
                </a:cubicBezTo>
                <a:cubicBezTo>
                  <a:pt x="52" y="43"/>
                  <a:pt x="52" y="43"/>
                  <a:pt x="52" y="43"/>
                </a:cubicBezTo>
                <a:cubicBezTo>
                  <a:pt x="49" y="49"/>
                  <a:pt x="49" y="49"/>
                  <a:pt x="49" y="49"/>
                </a:cubicBezTo>
                <a:cubicBezTo>
                  <a:pt x="49" y="50"/>
                  <a:pt x="49" y="50"/>
                  <a:pt x="49" y="50"/>
                </a:cubicBezTo>
                <a:cubicBezTo>
                  <a:pt x="37" y="61"/>
                  <a:pt x="37" y="61"/>
                  <a:pt x="37" y="61"/>
                </a:cubicBezTo>
                <a:cubicBezTo>
                  <a:pt x="35" y="63"/>
                  <a:pt x="35" y="63"/>
                  <a:pt x="35" y="63"/>
                </a:cubicBezTo>
                <a:cubicBezTo>
                  <a:pt x="31" y="64"/>
                  <a:pt x="31" y="64"/>
                  <a:pt x="31" y="64"/>
                </a:cubicBezTo>
                <a:cubicBezTo>
                  <a:pt x="29" y="63"/>
                  <a:pt x="29" y="63"/>
                  <a:pt x="29" y="63"/>
                </a:cubicBezTo>
                <a:cubicBezTo>
                  <a:pt x="26" y="63"/>
                  <a:pt x="26" y="63"/>
                  <a:pt x="26" y="63"/>
                </a:cubicBezTo>
                <a:cubicBezTo>
                  <a:pt x="21" y="61"/>
                  <a:pt x="21" y="61"/>
                  <a:pt x="21" y="61"/>
                </a:cubicBezTo>
                <a:cubicBezTo>
                  <a:pt x="19" y="59"/>
                  <a:pt x="19" y="59"/>
                  <a:pt x="19" y="59"/>
                </a:cubicBezTo>
                <a:cubicBezTo>
                  <a:pt x="15" y="57"/>
                  <a:pt x="15" y="57"/>
                  <a:pt x="15" y="57"/>
                </a:cubicBezTo>
                <a:cubicBezTo>
                  <a:pt x="11" y="55"/>
                  <a:pt x="11" y="55"/>
                  <a:pt x="11" y="55"/>
                </a:cubicBezTo>
                <a:cubicBezTo>
                  <a:pt x="3" y="55"/>
                  <a:pt x="3" y="55"/>
                  <a:pt x="3" y="55"/>
                </a:cubicBezTo>
                <a:cubicBezTo>
                  <a:pt x="3" y="55"/>
                  <a:pt x="3" y="55"/>
                  <a:pt x="3" y="55"/>
                </a:cubicBezTo>
                <a:cubicBezTo>
                  <a:pt x="2" y="56"/>
                  <a:pt x="2" y="56"/>
                  <a:pt x="2" y="56"/>
                </a:cubicBezTo>
                <a:cubicBezTo>
                  <a:pt x="2" y="57"/>
                  <a:pt x="2" y="57"/>
                  <a:pt x="2" y="57"/>
                </a:cubicBezTo>
                <a:cubicBezTo>
                  <a:pt x="0" y="75"/>
                  <a:pt x="0" y="75"/>
                  <a:pt x="0" y="75"/>
                </a:cubicBezTo>
                <a:cubicBezTo>
                  <a:pt x="2" y="76"/>
                  <a:pt x="2" y="76"/>
                  <a:pt x="2" y="76"/>
                </a:cubicBezTo>
                <a:cubicBezTo>
                  <a:pt x="11" y="76"/>
                  <a:pt x="11" y="76"/>
                  <a:pt x="11" y="76"/>
                </a:cubicBezTo>
                <a:cubicBezTo>
                  <a:pt x="11" y="77"/>
                  <a:pt x="11" y="77"/>
                  <a:pt x="11" y="77"/>
                </a:cubicBezTo>
                <a:cubicBezTo>
                  <a:pt x="13" y="77"/>
                  <a:pt x="13" y="77"/>
                  <a:pt x="13" y="77"/>
                </a:cubicBezTo>
                <a:cubicBezTo>
                  <a:pt x="13" y="80"/>
                  <a:pt x="13" y="80"/>
                  <a:pt x="13" y="80"/>
                </a:cubicBezTo>
                <a:cubicBezTo>
                  <a:pt x="13" y="80"/>
                  <a:pt x="13" y="80"/>
                  <a:pt x="13" y="80"/>
                </a:cubicBezTo>
                <a:cubicBezTo>
                  <a:pt x="16" y="80"/>
                  <a:pt x="16" y="80"/>
                  <a:pt x="16" y="80"/>
                </a:cubicBezTo>
                <a:cubicBezTo>
                  <a:pt x="16" y="85"/>
                  <a:pt x="16" y="85"/>
                  <a:pt x="16" y="85"/>
                </a:cubicBezTo>
                <a:cubicBezTo>
                  <a:pt x="17" y="85"/>
                  <a:pt x="17" y="85"/>
                  <a:pt x="17" y="85"/>
                </a:cubicBezTo>
                <a:cubicBezTo>
                  <a:pt x="17" y="86"/>
                  <a:pt x="17" y="86"/>
                  <a:pt x="17" y="86"/>
                </a:cubicBezTo>
                <a:cubicBezTo>
                  <a:pt x="17" y="86"/>
                  <a:pt x="17" y="86"/>
                  <a:pt x="17" y="86"/>
                </a:cubicBezTo>
                <a:cubicBezTo>
                  <a:pt x="19" y="91"/>
                  <a:pt x="19" y="91"/>
                  <a:pt x="19" y="91"/>
                </a:cubicBezTo>
                <a:cubicBezTo>
                  <a:pt x="19" y="97"/>
                  <a:pt x="19" y="97"/>
                  <a:pt x="19" y="97"/>
                </a:cubicBezTo>
                <a:cubicBezTo>
                  <a:pt x="17" y="97"/>
                  <a:pt x="17" y="97"/>
                  <a:pt x="17" y="97"/>
                </a:cubicBezTo>
                <a:cubicBezTo>
                  <a:pt x="17" y="101"/>
                  <a:pt x="17" y="101"/>
                  <a:pt x="17" y="101"/>
                </a:cubicBezTo>
                <a:cubicBezTo>
                  <a:pt x="17" y="102"/>
                  <a:pt x="17" y="102"/>
                  <a:pt x="17" y="102"/>
                </a:cubicBezTo>
                <a:cubicBezTo>
                  <a:pt x="19" y="104"/>
                  <a:pt x="19" y="104"/>
                  <a:pt x="19" y="104"/>
                </a:cubicBezTo>
                <a:cubicBezTo>
                  <a:pt x="19" y="111"/>
                  <a:pt x="19" y="111"/>
                  <a:pt x="19" y="111"/>
                </a:cubicBezTo>
                <a:cubicBezTo>
                  <a:pt x="20" y="112"/>
                  <a:pt x="20" y="112"/>
                  <a:pt x="20" y="112"/>
                </a:cubicBezTo>
                <a:cubicBezTo>
                  <a:pt x="21" y="112"/>
                  <a:pt x="21" y="112"/>
                  <a:pt x="21" y="112"/>
                </a:cubicBezTo>
                <a:cubicBezTo>
                  <a:pt x="22" y="115"/>
                  <a:pt x="22" y="115"/>
                  <a:pt x="22" y="115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6" y="118"/>
                  <a:pt x="26" y="118"/>
                  <a:pt x="26" y="118"/>
                </a:cubicBezTo>
                <a:cubicBezTo>
                  <a:pt x="26" y="120"/>
                  <a:pt x="26" y="120"/>
                  <a:pt x="26" y="120"/>
                </a:cubicBezTo>
                <a:cubicBezTo>
                  <a:pt x="27" y="122"/>
                  <a:pt x="27" y="122"/>
                  <a:pt x="27" y="122"/>
                </a:cubicBezTo>
                <a:cubicBezTo>
                  <a:pt x="27" y="125"/>
                  <a:pt x="27" y="125"/>
                  <a:pt x="27" y="125"/>
                </a:cubicBezTo>
                <a:cubicBezTo>
                  <a:pt x="28" y="125"/>
                  <a:pt x="28" y="125"/>
                  <a:pt x="28" y="125"/>
                </a:cubicBezTo>
                <a:cubicBezTo>
                  <a:pt x="28" y="128"/>
                  <a:pt x="28" y="128"/>
                  <a:pt x="28" y="128"/>
                </a:cubicBezTo>
                <a:cubicBezTo>
                  <a:pt x="29" y="131"/>
                  <a:pt x="29" y="131"/>
                  <a:pt x="29" y="131"/>
                </a:cubicBezTo>
                <a:cubicBezTo>
                  <a:pt x="29" y="131"/>
                  <a:pt x="29" y="131"/>
                  <a:pt x="30" y="131"/>
                </a:cubicBezTo>
                <a:cubicBezTo>
                  <a:pt x="29" y="131"/>
                  <a:pt x="29" y="131"/>
                  <a:pt x="29" y="131"/>
                </a:cubicBezTo>
                <a:cubicBezTo>
                  <a:pt x="30" y="133"/>
                  <a:pt x="29" y="134"/>
                  <a:pt x="28" y="135"/>
                </a:cubicBezTo>
                <a:cubicBezTo>
                  <a:pt x="26" y="137"/>
                  <a:pt x="26" y="137"/>
                  <a:pt x="26" y="137"/>
                </a:cubicBezTo>
                <a:cubicBezTo>
                  <a:pt x="25" y="137"/>
                  <a:pt x="25" y="137"/>
                  <a:pt x="25" y="137"/>
                </a:cubicBezTo>
                <a:cubicBezTo>
                  <a:pt x="24" y="139"/>
                  <a:pt x="24" y="139"/>
                  <a:pt x="24" y="139"/>
                </a:cubicBezTo>
                <a:cubicBezTo>
                  <a:pt x="21" y="139"/>
                  <a:pt x="21" y="139"/>
                  <a:pt x="21" y="139"/>
                </a:cubicBezTo>
                <a:cubicBezTo>
                  <a:pt x="20" y="139"/>
                  <a:pt x="19" y="140"/>
                  <a:pt x="18" y="139"/>
                </a:cubicBezTo>
                <a:cubicBezTo>
                  <a:pt x="18" y="139"/>
                  <a:pt x="17" y="139"/>
                  <a:pt x="16" y="138"/>
                </a:cubicBezTo>
                <a:cubicBezTo>
                  <a:pt x="16" y="137"/>
                  <a:pt x="16" y="137"/>
                  <a:pt x="16" y="137"/>
                </a:cubicBezTo>
                <a:cubicBezTo>
                  <a:pt x="14" y="137"/>
                  <a:pt x="13" y="136"/>
                  <a:pt x="12" y="135"/>
                </a:cubicBezTo>
                <a:cubicBezTo>
                  <a:pt x="12" y="134"/>
                  <a:pt x="12" y="134"/>
                  <a:pt x="12" y="134"/>
                </a:cubicBezTo>
                <a:cubicBezTo>
                  <a:pt x="11" y="134"/>
                  <a:pt x="11" y="134"/>
                  <a:pt x="11" y="134"/>
                </a:cubicBezTo>
                <a:cubicBezTo>
                  <a:pt x="10" y="133"/>
                  <a:pt x="10" y="133"/>
                  <a:pt x="10" y="133"/>
                </a:cubicBezTo>
                <a:cubicBezTo>
                  <a:pt x="8" y="133"/>
                  <a:pt x="8" y="133"/>
                  <a:pt x="8" y="133"/>
                </a:cubicBezTo>
                <a:cubicBezTo>
                  <a:pt x="8" y="132"/>
                  <a:pt x="8" y="132"/>
                  <a:pt x="7" y="132"/>
                </a:cubicBezTo>
                <a:cubicBezTo>
                  <a:pt x="6" y="132"/>
                  <a:pt x="6" y="132"/>
                  <a:pt x="6" y="132"/>
                </a:cubicBezTo>
                <a:cubicBezTo>
                  <a:pt x="5" y="132"/>
                  <a:pt x="5" y="132"/>
                  <a:pt x="4" y="132"/>
                </a:cubicBezTo>
                <a:cubicBezTo>
                  <a:pt x="4" y="132"/>
                  <a:pt x="4" y="132"/>
                  <a:pt x="4" y="132"/>
                </a:cubicBezTo>
                <a:cubicBezTo>
                  <a:pt x="4" y="132"/>
                  <a:pt x="4" y="132"/>
                  <a:pt x="3" y="132"/>
                </a:cubicBezTo>
                <a:cubicBezTo>
                  <a:pt x="4" y="132"/>
                  <a:pt x="4" y="132"/>
                  <a:pt x="4" y="132"/>
                </a:cubicBezTo>
                <a:cubicBezTo>
                  <a:pt x="7" y="135"/>
                  <a:pt x="7" y="135"/>
                  <a:pt x="7" y="135"/>
                </a:cubicBezTo>
                <a:cubicBezTo>
                  <a:pt x="8" y="135"/>
                  <a:pt x="8" y="135"/>
                  <a:pt x="8" y="135"/>
                </a:cubicBezTo>
                <a:cubicBezTo>
                  <a:pt x="11" y="138"/>
                  <a:pt x="11" y="138"/>
                  <a:pt x="11" y="138"/>
                </a:cubicBezTo>
                <a:cubicBezTo>
                  <a:pt x="14" y="139"/>
                  <a:pt x="14" y="139"/>
                  <a:pt x="14" y="139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4" y="140"/>
                  <a:pt x="24" y="140"/>
                  <a:pt x="24" y="140"/>
                </a:cubicBezTo>
                <a:cubicBezTo>
                  <a:pt x="28" y="142"/>
                  <a:pt x="28" y="142"/>
                  <a:pt x="28" y="142"/>
                </a:cubicBezTo>
                <a:cubicBezTo>
                  <a:pt x="32" y="142"/>
                  <a:pt x="32" y="142"/>
                  <a:pt x="32" y="142"/>
                </a:cubicBezTo>
                <a:cubicBezTo>
                  <a:pt x="32" y="145"/>
                  <a:pt x="32" y="145"/>
                  <a:pt x="32" y="145"/>
                </a:cubicBezTo>
                <a:cubicBezTo>
                  <a:pt x="34" y="145"/>
                  <a:pt x="34" y="145"/>
                  <a:pt x="34" y="145"/>
                </a:cubicBezTo>
                <a:cubicBezTo>
                  <a:pt x="34" y="148"/>
                  <a:pt x="34" y="148"/>
                  <a:pt x="34" y="148"/>
                </a:cubicBezTo>
                <a:cubicBezTo>
                  <a:pt x="36" y="149"/>
                  <a:pt x="36" y="149"/>
                  <a:pt x="36" y="149"/>
                </a:cubicBezTo>
                <a:cubicBezTo>
                  <a:pt x="39" y="149"/>
                  <a:pt x="39" y="149"/>
                  <a:pt x="39" y="149"/>
                </a:cubicBezTo>
                <a:cubicBezTo>
                  <a:pt x="39" y="151"/>
                  <a:pt x="39" y="151"/>
                  <a:pt x="39" y="151"/>
                </a:cubicBezTo>
                <a:cubicBezTo>
                  <a:pt x="40" y="151"/>
                  <a:pt x="40" y="151"/>
                  <a:pt x="40" y="151"/>
                </a:cubicBezTo>
                <a:cubicBezTo>
                  <a:pt x="40" y="159"/>
                  <a:pt x="40" y="159"/>
                  <a:pt x="40" y="159"/>
                </a:cubicBezTo>
                <a:cubicBezTo>
                  <a:pt x="38" y="159"/>
                  <a:pt x="38" y="159"/>
                  <a:pt x="38" y="159"/>
                </a:cubicBezTo>
                <a:cubicBezTo>
                  <a:pt x="38" y="162"/>
                  <a:pt x="38" y="162"/>
                  <a:pt x="38" y="162"/>
                </a:cubicBezTo>
                <a:cubicBezTo>
                  <a:pt x="37" y="162"/>
                  <a:pt x="37" y="162"/>
                  <a:pt x="37" y="162"/>
                </a:cubicBezTo>
                <a:cubicBezTo>
                  <a:pt x="38" y="162"/>
                  <a:pt x="38" y="162"/>
                  <a:pt x="38" y="162"/>
                </a:cubicBezTo>
                <a:cubicBezTo>
                  <a:pt x="43" y="162"/>
                  <a:pt x="43" y="162"/>
                  <a:pt x="43" y="162"/>
                </a:cubicBezTo>
                <a:cubicBezTo>
                  <a:pt x="43" y="173"/>
                  <a:pt x="43" y="173"/>
                  <a:pt x="43" y="173"/>
                </a:cubicBezTo>
                <a:cubicBezTo>
                  <a:pt x="48" y="173"/>
                  <a:pt x="48" y="173"/>
                  <a:pt x="48" y="173"/>
                </a:cubicBezTo>
                <a:cubicBezTo>
                  <a:pt x="48" y="174"/>
                  <a:pt x="48" y="174"/>
                  <a:pt x="48" y="174"/>
                </a:cubicBezTo>
                <a:cubicBezTo>
                  <a:pt x="49" y="175"/>
                  <a:pt x="49" y="175"/>
                  <a:pt x="50" y="175"/>
                </a:cubicBezTo>
                <a:cubicBezTo>
                  <a:pt x="51" y="175"/>
                  <a:pt x="51" y="176"/>
                  <a:pt x="52" y="176"/>
                </a:cubicBezTo>
                <a:cubicBezTo>
                  <a:pt x="55" y="179"/>
                  <a:pt x="55" y="179"/>
                  <a:pt x="55" y="179"/>
                </a:cubicBezTo>
                <a:cubicBezTo>
                  <a:pt x="55" y="181"/>
                  <a:pt x="55" y="181"/>
                  <a:pt x="55" y="181"/>
                </a:cubicBezTo>
                <a:cubicBezTo>
                  <a:pt x="56" y="182"/>
                  <a:pt x="57" y="183"/>
                  <a:pt x="56" y="185"/>
                </a:cubicBezTo>
                <a:cubicBezTo>
                  <a:pt x="56" y="186"/>
                  <a:pt x="56" y="187"/>
                  <a:pt x="55" y="188"/>
                </a:cubicBezTo>
                <a:cubicBezTo>
                  <a:pt x="54" y="189"/>
                  <a:pt x="53" y="190"/>
                  <a:pt x="53" y="190"/>
                </a:cubicBezTo>
                <a:cubicBezTo>
                  <a:pt x="52" y="191"/>
                  <a:pt x="52" y="191"/>
                  <a:pt x="52" y="191"/>
                </a:cubicBezTo>
                <a:cubicBezTo>
                  <a:pt x="52" y="193"/>
                  <a:pt x="52" y="193"/>
                  <a:pt x="52" y="193"/>
                </a:cubicBezTo>
                <a:cubicBezTo>
                  <a:pt x="50" y="195"/>
                  <a:pt x="50" y="195"/>
                  <a:pt x="50" y="195"/>
                </a:cubicBezTo>
                <a:cubicBezTo>
                  <a:pt x="50" y="195"/>
                  <a:pt x="50" y="195"/>
                  <a:pt x="50" y="195"/>
                </a:cubicBezTo>
                <a:cubicBezTo>
                  <a:pt x="53" y="195"/>
                  <a:pt x="53" y="195"/>
                  <a:pt x="53" y="195"/>
                </a:cubicBezTo>
                <a:cubicBezTo>
                  <a:pt x="57" y="197"/>
                  <a:pt x="57" y="197"/>
                  <a:pt x="57" y="197"/>
                </a:cubicBezTo>
                <a:cubicBezTo>
                  <a:pt x="57" y="197"/>
                  <a:pt x="57" y="197"/>
                  <a:pt x="57" y="197"/>
                </a:cubicBezTo>
                <a:cubicBezTo>
                  <a:pt x="58" y="197"/>
                  <a:pt x="58" y="197"/>
                  <a:pt x="58" y="197"/>
                </a:cubicBezTo>
                <a:cubicBezTo>
                  <a:pt x="58" y="199"/>
                  <a:pt x="58" y="199"/>
                  <a:pt x="58" y="199"/>
                </a:cubicBezTo>
                <a:cubicBezTo>
                  <a:pt x="58" y="199"/>
                  <a:pt x="58" y="201"/>
                  <a:pt x="58" y="202"/>
                </a:cubicBezTo>
                <a:cubicBezTo>
                  <a:pt x="58" y="203"/>
                  <a:pt x="57" y="204"/>
                  <a:pt x="56" y="204"/>
                </a:cubicBezTo>
                <a:cubicBezTo>
                  <a:pt x="56" y="204"/>
                  <a:pt x="56" y="204"/>
                  <a:pt x="56" y="204"/>
                </a:cubicBezTo>
                <a:cubicBezTo>
                  <a:pt x="56" y="205"/>
                  <a:pt x="56" y="205"/>
                  <a:pt x="56" y="205"/>
                </a:cubicBezTo>
                <a:cubicBezTo>
                  <a:pt x="53" y="207"/>
                  <a:pt x="53" y="207"/>
                  <a:pt x="53" y="207"/>
                </a:cubicBezTo>
                <a:cubicBezTo>
                  <a:pt x="53" y="208"/>
                  <a:pt x="53" y="208"/>
                  <a:pt x="53" y="208"/>
                </a:cubicBezTo>
                <a:cubicBezTo>
                  <a:pt x="52" y="209"/>
                  <a:pt x="52" y="210"/>
                  <a:pt x="51" y="211"/>
                </a:cubicBezTo>
                <a:cubicBezTo>
                  <a:pt x="53" y="211"/>
                  <a:pt x="53" y="211"/>
                  <a:pt x="53" y="211"/>
                </a:cubicBezTo>
                <a:cubicBezTo>
                  <a:pt x="54" y="214"/>
                  <a:pt x="54" y="214"/>
                  <a:pt x="54" y="214"/>
                </a:cubicBezTo>
                <a:cubicBezTo>
                  <a:pt x="55" y="217"/>
                  <a:pt x="55" y="217"/>
                  <a:pt x="55" y="217"/>
                </a:cubicBezTo>
                <a:cubicBezTo>
                  <a:pt x="55" y="219"/>
                  <a:pt x="55" y="219"/>
                  <a:pt x="55" y="219"/>
                </a:cubicBezTo>
                <a:cubicBezTo>
                  <a:pt x="56" y="219"/>
                  <a:pt x="56" y="219"/>
                  <a:pt x="56" y="219"/>
                </a:cubicBezTo>
                <a:cubicBezTo>
                  <a:pt x="67" y="221"/>
                  <a:pt x="67" y="221"/>
                  <a:pt x="67" y="221"/>
                </a:cubicBezTo>
                <a:cubicBezTo>
                  <a:pt x="106" y="239"/>
                  <a:pt x="106" y="239"/>
                  <a:pt x="106" y="239"/>
                </a:cubicBezTo>
                <a:cubicBezTo>
                  <a:pt x="108" y="241"/>
                  <a:pt x="108" y="241"/>
                  <a:pt x="108" y="241"/>
                </a:cubicBezTo>
                <a:cubicBezTo>
                  <a:pt x="111" y="244"/>
                  <a:pt x="111" y="244"/>
                  <a:pt x="111" y="244"/>
                </a:cubicBezTo>
                <a:cubicBezTo>
                  <a:pt x="112" y="247"/>
                  <a:pt x="112" y="247"/>
                  <a:pt x="112" y="247"/>
                </a:cubicBezTo>
                <a:cubicBezTo>
                  <a:pt x="113" y="250"/>
                  <a:pt x="113" y="250"/>
                  <a:pt x="113" y="250"/>
                </a:cubicBezTo>
                <a:cubicBezTo>
                  <a:pt x="113" y="252"/>
                  <a:pt x="113" y="252"/>
                  <a:pt x="113" y="252"/>
                </a:cubicBezTo>
                <a:cubicBezTo>
                  <a:pt x="115" y="253"/>
                  <a:pt x="115" y="253"/>
                  <a:pt x="115" y="253"/>
                </a:cubicBezTo>
                <a:cubicBezTo>
                  <a:pt x="116" y="254"/>
                  <a:pt x="116" y="254"/>
                  <a:pt x="116" y="254"/>
                </a:cubicBezTo>
                <a:cubicBezTo>
                  <a:pt x="121" y="256"/>
                  <a:pt x="121" y="256"/>
                  <a:pt x="121" y="256"/>
                </a:cubicBezTo>
                <a:cubicBezTo>
                  <a:pt x="123" y="257"/>
                  <a:pt x="123" y="257"/>
                  <a:pt x="123" y="257"/>
                </a:cubicBezTo>
                <a:cubicBezTo>
                  <a:pt x="133" y="258"/>
                  <a:pt x="133" y="258"/>
                  <a:pt x="133" y="258"/>
                </a:cubicBezTo>
                <a:cubicBezTo>
                  <a:pt x="135" y="257"/>
                  <a:pt x="135" y="257"/>
                  <a:pt x="135" y="257"/>
                </a:cubicBezTo>
                <a:cubicBezTo>
                  <a:pt x="140" y="254"/>
                  <a:pt x="140" y="254"/>
                  <a:pt x="140" y="254"/>
                </a:cubicBezTo>
                <a:cubicBezTo>
                  <a:pt x="145" y="252"/>
                  <a:pt x="145" y="252"/>
                  <a:pt x="145" y="252"/>
                </a:cubicBezTo>
                <a:cubicBezTo>
                  <a:pt x="144" y="250"/>
                  <a:pt x="144" y="250"/>
                  <a:pt x="144" y="250"/>
                </a:cubicBezTo>
                <a:cubicBezTo>
                  <a:pt x="144" y="248"/>
                  <a:pt x="144" y="248"/>
                  <a:pt x="144" y="248"/>
                </a:cubicBezTo>
                <a:cubicBezTo>
                  <a:pt x="144" y="244"/>
                  <a:pt x="144" y="244"/>
                  <a:pt x="144" y="244"/>
                </a:cubicBezTo>
                <a:cubicBezTo>
                  <a:pt x="145" y="239"/>
                  <a:pt x="145" y="239"/>
                  <a:pt x="145" y="239"/>
                </a:cubicBezTo>
                <a:cubicBezTo>
                  <a:pt x="147" y="237"/>
                  <a:pt x="147" y="237"/>
                  <a:pt x="147" y="237"/>
                </a:cubicBezTo>
                <a:cubicBezTo>
                  <a:pt x="148" y="234"/>
                  <a:pt x="148" y="234"/>
                  <a:pt x="148" y="234"/>
                </a:cubicBezTo>
                <a:cubicBezTo>
                  <a:pt x="150" y="232"/>
                  <a:pt x="150" y="232"/>
                  <a:pt x="150" y="232"/>
                </a:cubicBezTo>
                <a:cubicBezTo>
                  <a:pt x="151" y="231"/>
                  <a:pt x="151" y="231"/>
                  <a:pt x="151" y="231"/>
                </a:cubicBezTo>
                <a:cubicBezTo>
                  <a:pt x="155" y="229"/>
                  <a:pt x="155" y="229"/>
                  <a:pt x="155" y="229"/>
                </a:cubicBezTo>
                <a:cubicBezTo>
                  <a:pt x="159" y="228"/>
                  <a:pt x="159" y="228"/>
                  <a:pt x="159" y="228"/>
                </a:cubicBezTo>
                <a:cubicBezTo>
                  <a:pt x="167" y="223"/>
                  <a:pt x="167" y="223"/>
                  <a:pt x="167" y="223"/>
                </a:cubicBezTo>
                <a:cubicBezTo>
                  <a:pt x="168" y="214"/>
                  <a:pt x="168" y="214"/>
                  <a:pt x="168" y="214"/>
                </a:cubicBezTo>
                <a:cubicBezTo>
                  <a:pt x="168" y="210"/>
                  <a:pt x="168" y="210"/>
                  <a:pt x="168" y="210"/>
                </a:cubicBezTo>
                <a:cubicBezTo>
                  <a:pt x="167" y="210"/>
                  <a:pt x="167" y="210"/>
                  <a:pt x="167" y="210"/>
                </a:cubicBezTo>
                <a:cubicBezTo>
                  <a:pt x="162" y="207"/>
                  <a:pt x="162" y="207"/>
                  <a:pt x="162" y="207"/>
                </a:cubicBezTo>
                <a:cubicBezTo>
                  <a:pt x="161" y="206"/>
                  <a:pt x="161" y="206"/>
                  <a:pt x="161" y="206"/>
                </a:cubicBezTo>
                <a:cubicBezTo>
                  <a:pt x="161" y="205"/>
                  <a:pt x="161" y="205"/>
                  <a:pt x="161" y="205"/>
                </a:cubicBezTo>
                <a:cubicBezTo>
                  <a:pt x="160" y="199"/>
                  <a:pt x="160" y="199"/>
                  <a:pt x="160" y="199"/>
                </a:cubicBezTo>
                <a:cubicBezTo>
                  <a:pt x="161" y="197"/>
                  <a:pt x="161" y="197"/>
                  <a:pt x="161" y="197"/>
                </a:cubicBezTo>
                <a:cubicBezTo>
                  <a:pt x="168" y="177"/>
                  <a:pt x="168" y="177"/>
                  <a:pt x="168" y="177"/>
                </a:cubicBezTo>
                <a:cubicBezTo>
                  <a:pt x="169" y="174"/>
                  <a:pt x="169" y="174"/>
                  <a:pt x="169" y="174"/>
                </a:cubicBezTo>
                <a:cubicBezTo>
                  <a:pt x="177" y="159"/>
                  <a:pt x="177" y="159"/>
                  <a:pt x="177" y="159"/>
                </a:cubicBezTo>
                <a:cubicBezTo>
                  <a:pt x="181" y="155"/>
                  <a:pt x="181" y="155"/>
                  <a:pt x="181" y="155"/>
                </a:cubicBezTo>
                <a:cubicBezTo>
                  <a:pt x="208" y="139"/>
                  <a:pt x="208" y="139"/>
                  <a:pt x="208" y="139"/>
                </a:cubicBezTo>
                <a:cubicBezTo>
                  <a:pt x="211" y="137"/>
                  <a:pt x="211" y="137"/>
                  <a:pt x="211" y="137"/>
                </a:cubicBezTo>
                <a:cubicBezTo>
                  <a:pt x="214" y="136"/>
                  <a:pt x="214" y="136"/>
                  <a:pt x="214" y="136"/>
                </a:cubicBezTo>
                <a:cubicBezTo>
                  <a:pt x="219" y="136"/>
                  <a:pt x="219" y="136"/>
                  <a:pt x="219" y="136"/>
                </a:cubicBezTo>
                <a:cubicBezTo>
                  <a:pt x="221" y="136"/>
                  <a:pt x="221" y="136"/>
                  <a:pt x="221" y="136"/>
                </a:cubicBezTo>
                <a:cubicBezTo>
                  <a:pt x="228" y="136"/>
                  <a:pt x="228" y="136"/>
                  <a:pt x="228" y="136"/>
                </a:cubicBezTo>
                <a:cubicBezTo>
                  <a:pt x="246" y="133"/>
                  <a:pt x="246" y="133"/>
                  <a:pt x="246" y="133"/>
                </a:cubicBezTo>
                <a:cubicBezTo>
                  <a:pt x="251" y="130"/>
                  <a:pt x="251" y="130"/>
                  <a:pt x="251" y="130"/>
                </a:cubicBezTo>
                <a:cubicBezTo>
                  <a:pt x="256" y="126"/>
                  <a:pt x="256" y="126"/>
                  <a:pt x="256" y="126"/>
                </a:cubicBezTo>
                <a:cubicBezTo>
                  <a:pt x="258" y="125"/>
                  <a:pt x="258" y="125"/>
                  <a:pt x="258" y="125"/>
                </a:cubicBezTo>
                <a:cubicBezTo>
                  <a:pt x="261" y="124"/>
                  <a:pt x="261" y="124"/>
                  <a:pt x="261" y="124"/>
                </a:cubicBezTo>
                <a:cubicBezTo>
                  <a:pt x="264" y="124"/>
                  <a:pt x="264" y="124"/>
                  <a:pt x="264" y="124"/>
                </a:cubicBezTo>
                <a:cubicBezTo>
                  <a:pt x="267" y="125"/>
                  <a:pt x="267" y="125"/>
                  <a:pt x="267" y="125"/>
                </a:cubicBezTo>
                <a:cubicBezTo>
                  <a:pt x="272" y="126"/>
                  <a:pt x="272" y="126"/>
                  <a:pt x="272" y="126"/>
                </a:cubicBezTo>
                <a:cubicBezTo>
                  <a:pt x="272" y="124"/>
                  <a:pt x="272" y="124"/>
                  <a:pt x="272" y="124"/>
                </a:cubicBezTo>
                <a:lnTo>
                  <a:pt x="271" y="12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Rectangle 65">
            <a:extLst>
              <a:ext uri="{FF2B5EF4-FFF2-40B4-BE49-F238E27FC236}">
                <a16:creationId xmlns:a16="http://schemas.microsoft.com/office/drawing/2014/main" id="{A85118FC-C8B3-4357-B4FE-71F1F028DF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8208" y="5543079"/>
            <a:ext cx="1720" cy="158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Freeform 66">
            <a:extLst>
              <a:ext uri="{FF2B5EF4-FFF2-40B4-BE49-F238E27FC236}">
                <a16:creationId xmlns:a16="http://schemas.microsoft.com/office/drawing/2014/main" id="{ACA6CD68-CC9E-4496-A3BC-414F4D31C769}"/>
              </a:ext>
            </a:extLst>
          </p:cNvPr>
          <p:cNvSpPr>
            <a:spLocks/>
          </p:cNvSpPr>
          <p:nvPr/>
        </p:nvSpPr>
        <p:spPr bwMode="auto">
          <a:xfrm>
            <a:off x="4548332" y="4614391"/>
            <a:ext cx="350838" cy="311150"/>
          </a:xfrm>
          <a:custGeom>
            <a:avLst/>
            <a:gdLst>
              <a:gd name="T0" fmla="*/ 144 w 145"/>
              <a:gd name="T1" fmla="*/ 114 h 139"/>
              <a:gd name="T2" fmla="*/ 143 w 145"/>
              <a:gd name="T3" fmla="*/ 105 h 139"/>
              <a:gd name="T4" fmla="*/ 142 w 145"/>
              <a:gd name="T5" fmla="*/ 100 h 139"/>
              <a:gd name="T6" fmla="*/ 140 w 145"/>
              <a:gd name="T7" fmla="*/ 90 h 139"/>
              <a:gd name="T8" fmla="*/ 140 w 145"/>
              <a:gd name="T9" fmla="*/ 82 h 139"/>
              <a:gd name="T10" fmla="*/ 139 w 145"/>
              <a:gd name="T11" fmla="*/ 71 h 139"/>
              <a:gd name="T12" fmla="*/ 138 w 145"/>
              <a:gd name="T13" fmla="*/ 60 h 139"/>
              <a:gd name="T14" fmla="*/ 133 w 145"/>
              <a:gd name="T15" fmla="*/ 52 h 139"/>
              <a:gd name="T16" fmla="*/ 130 w 145"/>
              <a:gd name="T17" fmla="*/ 50 h 139"/>
              <a:gd name="T18" fmla="*/ 130 w 145"/>
              <a:gd name="T19" fmla="*/ 45 h 139"/>
              <a:gd name="T20" fmla="*/ 129 w 145"/>
              <a:gd name="T21" fmla="*/ 40 h 139"/>
              <a:gd name="T22" fmla="*/ 127 w 145"/>
              <a:gd name="T23" fmla="*/ 38 h 139"/>
              <a:gd name="T24" fmla="*/ 120 w 145"/>
              <a:gd name="T25" fmla="*/ 31 h 139"/>
              <a:gd name="T26" fmla="*/ 120 w 145"/>
              <a:gd name="T27" fmla="*/ 23 h 139"/>
              <a:gd name="T28" fmla="*/ 124 w 145"/>
              <a:gd name="T29" fmla="*/ 20 h 139"/>
              <a:gd name="T30" fmla="*/ 123 w 145"/>
              <a:gd name="T31" fmla="*/ 18 h 139"/>
              <a:gd name="T32" fmla="*/ 119 w 145"/>
              <a:gd name="T33" fmla="*/ 21 h 139"/>
              <a:gd name="T34" fmla="*/ 113 w 145"/>
              <a:gd name="T35" fmla="*/ 22 h 139"/>
              <a:gd name="T36" fmla="*/ 109 w 145"/>
              <a:gd name="T37" fmla="*/ 17 h 139"/>
              <a:gd name="T38" fmla="*/ 109 w 145"/>
              <a:gd name="T39" fmla="*/ 8 h 139"/>
              <a:gd name="T40" fmla="*/ 109 w 145"/>
              <a:gd name="T41" fmla="*/ 3 h 139"/>
              <a:gd name="T42" fmla="*/ 107 w 145"/>
              <a:gd name="T43" fmla="*/ 0 h 139"/>
              <a:gd name="T44" fmla="*/ 101 w 145"/>
              <a:gd name="T45" fmla="*/ 4 h 139"/>
              <a:gd name="T46" fmla="*/ 96 w 145"/>
              <a:gd name="T47" fmla="*/ 7 h 139"/>
              <a:gd name="T48" fmla="*/ 89 w 145"/>
              <a:gd name="T49" fmla="*/ 8 h 139"/>
              <a:gd name="T50" fmla="*/ 90 w 145"/>
              <a:gd name="T51" fmla="*/ 10 h 139"/>
              <a:gd name="T52" fmla="*/ 88 w 145"/>
              <a:gd name="T53" fmla="*/ 47 h 139"/>
              <a:gd name="T54" fmla="*/ 80 w 145"/>
              <a:gd name="T55" fmla="*/ 67 h 139"/>
              <a:gd name="T56" fmla="*/ 58 w 145"/>
              <a:gd name="T57" fmla="*/ 91 h 139"/>
              <a:gd name="T58" fmla="*/ 21 w 145"/>
              <a:gd name="T59" fmla="*/ 115 h 139"/>
              <a:gd name="T60" fmla="*/ 15 w 145"/>
              <a:gd name="T61" fmla="*/ 113 h 139"/>
              <a:gd name="T62" fmla="*/ 2 w 145"/>
              <a:gd name="T63" fmla="*/ 114 h 139"/>
              <a:gd name="T64" fmla="*/ 2 w 145"/>
              <a:gd name="T65" fmla="*/ 120 h 139"/>
              <a:gd name="T66" fmla="*/ 0 w 145"/>
              <a:gd name="T67" fmla="*/ 134 h 139"/>
              <a:gd name="T68" fmla="*/ 21 w 145"/>
              <a:gd name="T69" fmla="*/ 135 h 139"/>
              <a:gd name="T70" fmla="*/ 29 w 145"/>
              <a:gd name="T71" fmla="*/ 136 h 139"/>
              <a:gd name="T72" fmla="*/ 34 w 145"/>
              <a:gd name="T73" fmla="*/ 137 h 139"/>
              <a:gd name="T74" fmla="*/ 43 w 145"/>
              <a:gd name="T75" fmla="*/ 139 h 139"/>
              <a:gd name="T76" fmla="*/ 51 w 145"/>
              <a:gd name="T77" fmla="*/ 139 h 139"/>
              <a:gd name="T78" fmla="*/ 59 w 145"/>
              <a:gd name="T79" fmla="*/ 137 h 139"/>
              <a:gd name="T80" fmla="*/ 68 w 145"/>
              <a:gd name="T81" fmla="*/ 139 h 139"/>
              <a:gd name="T82" fmla="*/ 73 w 145"/>
              <a:gd name="T83" fmla="*/ 136 h 139"/>
              <a:gd name="T84" fmla="*/ 78 w 145"/>
              <a:gd name="T85" fmla="*/ 133 h 139"/>
              <a:gd name="T86" fmla="*/ 78 w 145"/>
              <a:gd name="T87" fmla="*/ 131 h 139"/>
              <a:gd name="T88" fmla="*/ 84 w 145"/>
              <a:gd name="T89" fmla="*/ 127 h 139"/>
              <a:gd name="T90" fmla="*/ 84 w 145"/>
              <a:gd name="T91" fmla="*/ 126 h 139"/>
              <a:gd name="T92" fmla="*/ 89 w 145"/>
              <a:gd name="T93" fmla="*/ 126 h 139"/>
              <a:gd name="T94" fmla="*/ 97 w 145"/>
              <a:gd name="T95" fmla="*/ 121 h 139"/>
              <a:gd name="T96" fmla="*/ 106 w 145"/>
              <a:gd name="T97" fmla="*/ 123 h 139"/>
              <a:gd name="T98" fmla="*/ 108 w 145"/>
              <a:gd name="T99" fmla="*/ 123 h 139"/>
              <a:gd name="T100" fmla="*/ 114 w 145"/>
              <a:gd name="T101" fmla="*/ 117 h 139"/>
              <a:gd name="T102" fmla="*/ 122 w 145"/>
              <a:gd name="T103" fmla="*/ 119 h 139"/>
              <a:gd name="T104" fmla="*/ 124 w 145"/>
              <a:gd name="T105" fmla="*/ 120 h 139"/>
              <a:gd name="T106" fmla="*/ 126 w 145"/>
              <a:gd name="T107" fmla="*/ 117 h 139"/>
              <a:gd name="T108" fmla="*/ 130 w 145"/>
              <a:gd name="T109" fmla="*/ 115 h 139"/>
              <a:gd name="T110" fmla="*/ 137 w 145"/>
              <a:gd name="T111" fmla="*/ 117 h 139"/>
              <a:gd name="T112" fmla="*/ 140 w 145"/>
              <a:gd name="T113" fmla="*/ 122 h 139"/>
              <a:gd name="T114" fmla="*/ 145 w 145"/>
              <a:gd name="T115" fmla="*/ 122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45" h="139">
                <a:moveTo>
                  <a:pt x="145" y="117"/>
                </a:moveTo>
                <a:cubicBezTo>
                  <a:pt x="145" y="116"/>
                  <a:pt x="145" y="115"/>
                  <a:pt x="145" y="115"/>
                </a:cubicBezTo>
                <a:cubicBezTo>
                  <a:pt x="144" y="114"/>
                  <a:pt x="144" y="114"/>
                  <a:pt x="144" y="114"/>
                </a:cubicBezTo>
                <a:cubicBezTo>
                  <a:pt x="143" y="113"/>
                  <a:pt x="143" y="112"/>
                  <a:pt x="143" y="112"/>
                </a:cubicBezTo>
                <a:cubicBezTo>
                  <a:pt x="143" y="112"/>
                  <a:pt x="143" y="111"/>
                  <a:pt x="143" y="109"/>
                </a:cubicBezTo>
                <a:cubicBezTo>
                  <a:pt x="142" y="108"/>
                  <a:pt x="142" y="106"/>
                  <a:pt x="143" y="105"/>
                </a:cubicBezTo>
                <a:cubicBezTo>
                  <a:pt x="143" y="104"/>
                  <a:pt x="143" y="103"/>
                  <a:pt x="143" y="103"/>
                </a:cubicBezTo>
                <a:cubicBezTo>
                  <a:pt x="142" y="101"/>
                  <a:pt x="142" y="101"/>
                  <a:pt x="142" y="101"/>
                </a:cubicBezTo>
                <a:cubicBezTo>
                  <a:pt x="142" y="101"/>
                  <a:pt x="142" y="101"/>
                  <a:pt x="142" y="100"/>
                </a:cubicBezTo>
                <a:cubicBezTo>
                  <a:pt x="142" y="98"/>
                  <a:pt x="142" y="98"/>
                  <a:pt x="142" y="98"/>
                </a:cubicBezTo>
                <a:cubicBezTo>
                  <a:pt x="140" y="92"/>
                  <a:pt x="140" y="92"/>
                  <a:pt x="140" y="92"/>
                </a:cubicBezTo>
                <a:cubicBezTo>
                  <a:pt x="140" y="91"/>
                  <a:pt x="140" y="91"/>
                  <a:pt x="140" y="90"/>
                </a:cubicBezTo>
                <a:cubicBezTo>
                  <a:pt x="140" y="90"/>
                  <a:pt x="140" y="90"/>
                  <a:pt x="140" y="89"/>
                </a:cubicBezTo>
                <a:cubicBezTo>
                  <a:pt x="139" y="88"/>
                  <a:pt x="139" y="86"/>
                  <a:pt x="140" y="84"/>
                </a:cubicBezTo>
                <a:cubicBezTo>
                  <a:pt x="140" y="83"/>
                  <a:pt x="140" y="83"/>
                  <a:pt x="140" y="82"/>
                </a:cubicBezTo>
                <a:cubicBezTo>
                  <a:pt x="139" y="81"/>
                  <a:pt x="139" y="80"/>
                  <a:pt x="140" y="77"/>
                </a:cubicBezTo>
                <a:cubicBezTo>
                  <a:pt x="140" y="76"/>
                  <a:pt x="140" y="76"/>
                  <a:pt x="140" y="76"/>
                </a:cubicBezTo>
                <a:cubicBezTo>
                  <a:pt x="139" y="75"/>
                  <a:pt x="139" y="74"/>
                  <a:pt x="139" y="71"/>
                </a:cubicBezTo>
                <a:cubicBezTo>
                  <a:pt x="139" y="68"/>
                  <a:pt x="140" y="67"/>
                  <a:pt x="140" y="66"/>
                </a:cubicBezTo>
                <a:cubicBezTo>
                  <a:pt x="140" y="66"/>
                  <a:pt x="140" y="66"/>
                  <a:pt x="139" y="64"/>
                </a:cubicBezTo>
                <a:cubicBezTo>
                  <a:pt x="138" y="62"/>
                  <a:pt x="138" y="61"/>
                  <a:pt x="138" y="60"/>
                </a:cubicBezTo>
                <a:cubicBezTo>
                  <a:pt x="138" y="60"/>
                  <a:pt x="138" y="60"/>
                  <a:pt x="137" y="59"/>
                </a:cubicBezTo>
                <a:cubicBezTo>
                  <a:pt x="136" y="56"/>
                  <a:pt x="135" y="54"/>
                  <a:pt x="135" y="53"/>
                </a:cubicBezTo>
                <a:cubicBezTo>
                  <a:pt x="134" y="53"/>
                  <a:pt x="134" y="52"/>
                  <a:pt x="133" y="52"/>
                </a:cubicBezTo>
                <a:cubicBezTo>
                  <a:pt x="133" y="52"/>
                  <a:pt x="132" y="51"/>
                  <a:pt x="131" y="51"/>
                </a:cubicBezTo>
                <a:cubicBezTo>
                  <a:pt x="130" y="50"/>
                  <a:pt x="130" y="50"/>
                  <a:pt x="130" y="50"/>
                </a:cubicBezTo>
                <a:cubicBezTo>
                  <a:pt x="130" y="50"/>
                  <a:pt x="130" y="50"/>
                  <a:pt x="130" y="50"/>
                </a:cubicBezTo>
                <a:cubicBezTo>
                  <a:pt x="129" y="49"/>
                  <a:pt x="129" y="48"/>
                  <a:pt x="129" y="48"/>
                </a:cubicBezTo>
                <a:cubicBezTo>
                  <a:pt x="129" y="47"/>
                  <a:pt x="129" y="47"/>
                  <a:pt x="129" y="47"/>
                </a:cubicBezTo>
                <a:cubicBezTo>
                  <a:pt x="129" y="47"/>
                  <a:pt x="129" y="46"/>
                  <a:pt x="130" y="45"/>
                </a:cubicBezTo>
                <a:cubicBezTo>
                  <a:pt x="129" y="45"/>
                  <a:pt x="129" y="45"/>
                  <a:pt x="129" y="45"/>
                </a:cubicBezTo>
                <a:cubicBezTo>
                  <a:pt x="129" y="41"/>
                  <a:pt x="129" y="41"/>
                  <a:pt x="129" y="41"/>
                </a:cubicBezTo>
                <a:cubicBezTo>
                  <a:pt x="129" y="40"/>
                  <a:pt x="129" y="40"/>
                  <a:pt x="129" y="40"/>
                </a:cubicBezTo>
                <a:cubicBezTo>
                  <a:pt x="128" y="39"/>
                  <a:pt x="128" y="39"/>
                  <a:pt x="128" y="39"/>
                </a:cubicBezTo>
                <a:cubicBezTo>
                  <a:pt x="128" y="39"/>
                  <a:pt x="128" y="39"/>
                  <a:pt x="127" y="38"/>
                </a:cubicBezTo>
                <a:cubicBezTo>
                  <a:pt x="127" y="38"/>
                  <a:pt x="127" y="38"/>
                  <a:pt x="127" y="38"/>
                </a:cubicBezTo>
                <a:cubicBezTo>
                  <a:pt x="126" y="38"/>
                  <a:pt x="126" y="37"/>
                  <a:pt x="125" y="37"/>
                </a:cubicBezTo>
                <a:cubicBezTo>
                  <a:pt x="124" y="35"/>
                  <a:pt x="123" y="34"/>
                  <a:pt x="122" y="33"/>
                </a:cubicBezTo>
                <a:cubicBezTo>
                  <a:pt x="120" y="31"/>
                  <a:pt x="120" y="31"/>
                  <a:pt x="120" y="31"/>
                </a:cubicBezTo>
                <a:cubicBezTo>
                  <a:pt x="119" y="30"/>
                  <a:pt x="119" y="30"/>
                  <a:pt x="119" y="30"/>
                </a:cubicBezTo>
                <a:cubicBezTo>
                  <a:pt x="119" y="24"/>
                  <a:pt x="119" y="24"/>
                  <a:pt x="119" y="24"/>
                </a:cubicBezTo>
                <a:cubicBezTo>
                  <a:pt x="120" y="23"/>
                  <a:pt x="120" y="23"/>
                  <a:pt x="120" y="23"/>
                </a:cubicBezTo>
                <a:cubicBezTo>
                  <a:pt x="122" y="21"/>
                  <a:pt x="122" y="21"/>
                  <a:pt x="122" y="21"/>
                </a:cubicBezTo>
                <a:cubicBezTo>
                  <a:pt x="123" y="21"/>
                  <a:pt x="123" y="21"/>
                  <a:pt x="123" y="20"/>
                </a:cubicBezTo>
                <a:cubicBezTo>
                  <a:pt x="124" y="20"/>
                  <a:pt x="124" y="20"/>
                  <a:pt x="124" y="20"/>
                </a:cubicBezTo>
                <a:cubicBezTo>
                  <a:pt x="126" y="18"/>
                  <a:pt x="126" y="18"/>
                  <a:pt x="126" y="18"/>
                </a:cubicBezTo>
                <a:cubicBezTo>
                  <a:pt x="124" y="18"/>
                  <a:pt x="124" y="18"/>
                  <a:pt x="124" y="18"/>
                </a:cubicBezTo>
                <a:cubicBezTo>
                  <a:pt x="123" y="18"/>
                  <a:pt x="123" y="18"/>
                  <a:pt x="123" y="18"/>
                </a:cubicBezTo>
                <a:cubicBezTo>
                  <a:pt x="123" y="18"/>
                  <a:pt x="123" y="18"/>
                  <a:pt x="122" y="18"/>
                </a:cubicBezTo>
                <a:cubicBezTo>
                  <a:pt x="121" y="19"/>
                  <a:pt x="119" y="21"/>
                  <a:pt x="119" y="21"/>
                </a:cubicBezTo>
                <a:cubicBezTo>
                  <a:pt x="119" y="21"/>
                  <a:pt x="119" y="21"/>
                  <a:pt x="119" y="21"/>
                </a:cubicBezTo>
                <a:cubicBezTo>
                  <a:pt x="116" y="22"/>
                  <a:pt x="116" y="22"/>
                  <a:pt x="116" y="22"/>
                </a:cubicBezTo>
                <a:cubicBezTo>
                  <a:pt x="115" y="22"/>
                  <a:pt x="115" y="22"/>
                  <a:pt x="115" y="22"/>
                </a:cubicBezTo>
                <a:cubicBezTo>
                  <a:pt x="113" y="22"/>
                  <a:pt x="113" y="22"/>
                  <a:pt x="113" y="22"/>
                </a:cubicBezTo>
                <a:cubicBezTo>
                  <a:pt x="112" y="22"/>
                  <a:pt x="110" y="22"/>
                  <a:pt x="109" y="20"/>
                </a:cubicBezTo>
                <a:cubicBezTo>
                  <a:pt x="108" y="19"/>
                  <a:pt x="108" y="18"/>
                  <a:pt x="109" y="17"/>
                </a:cubicBezTo>
                <a:cubicBezTo>
                  <a:pt x="109" y="17"/>
                  <a:pt x="109" y="17"/>
                  <a:pt x="109" y="17"/>
                </a:cubicBezTo>
                <a:cubicBezTo>
                  <a:pt x="108" y="16"/>
                  <a:pt x="108" y="14"/>
                  <a:pt x="109" y="13"/>
                </a:cubicBezTo>
                <a:cubicBezTo>
                  <a:pt x="109" y="13"/>
                  <a:pt x="109" y="12"/>
                  <a:pt x="109" y="11"/>
                </a:cubicBezTo>
                <a:cubicBezTo>
                  <a:pt x="109" y="10"/>
                  <a:pt x="108" y="9"/>
                  <a:pt x="109" y="8"/>
                </a:cubicBezTo>
                <a:cubicBezTo>
                  <a:pt x="108" y="7"/>
                  <a:pt x="108" y="6"/>
                  <a:pt x="109" y="6"/>
                </a:cubicBezTo>
                <a:cubicBezTo>
                  <a:pt x="109" y="5"/>
                  <a:pt x="109" y="5"/>
                  <a:pt x="110" y="4"/>
                </a:cubicBezTo>
                <a:cubicBezTo>
                  <a:pt x="109" y="4"/>
                  <a:pt x="109" y="3"/>
                  <a:pt x="109" y="3"/>
                </a:cubicBezTo>
                <a:cubicBezTo>
                  <a:pt x="109" y="3"/>
                  <a:pt x="109" y="3"/>
                  <a:pt x="109" y="2"/>
                </a:cubicBezTo>
                <a:cubicBezTo>
                  <a:pt x="109" y="2"/>
                  <a:pt x="109" y="2"/>
                  <a:pt x="109" y="2"/>
                </a:cubicBezTo>
                <a:cubicBezTo>
                  <a:pt x="108" y="1"/>
                  <a:pt x="108" y="1"/>
                  <a:pt x="107" y="0"/>
                </a:cubicBezTo>
                <a:cubicBezTo>
                  <a:pt x="107" y="1"/>
                  <a:pt x="106" y="1"/>
                  <a:pt x="105" y="1"/>
                </a:cubicBezTo>
                <a:cubicBezTo>
                  <a:pt x="104" y="2"/>
                  <a:pt x="103" y="2"/>
                  <a:pt x="102" y="2"/>
                </a:cubicBezTo>
                <a:cubicBezTo>
                  <a:pt x="101" y="4"/>
                  <a:pt x="101" y="4"/>
                  <a:pt x="101" y="4"/>
                </a:cubicBezTo>
                <a:cubicBezTo>
                  <a:pt x="100" y="5"/>
                  <a:pt x="100" y="5"/>
                  <a:pt x="99" y="5"/>
                </a:cubicBezTo>
                <a:cubicBezTo>
                  <a:pt x="99" y="5"/>
                  <a:pt x="99" y="5"/>
                  <a:pt x="99" y="5"/>
                </a:cubicBezTo>
                <a:cubicBezTo>
                  <a:pt x="98" y="6"/>
                  <a:pt x="97" y="7"/>
                  <a:pt x="96" y="7"/>
                </a:cubicBezTo>
                <a:cubicBezTo>
                  <a:pt x="93" y="7"/>
                  <a:pt x="92" y="7"/>
                  <a:pt x="91" y="7"/>
                </a:cubicBezTo>
                <a:cubicBezTo>
                  <a:pt x="90" y="7"/>
                  <a:pt x="90" y="7"/>
                  <a:pt x="90" y="7"/>
                </a:cubicBezTo>
                <a:cubicBezTo>
                  <a:pt x="89" y="8"/>
                  <a:pt x="89" y="8"/>
                  <a:pt x="89" y="8"/>
                </a:cubicBezTo>
                <a:cubicBezTo>
                  <a:pt x="89" y="8"/>
                  <a:pt x="89" y="8"/>
                  <a:pt x="89" y="8"/>
                </a:cubicBezTo>
                <a:cubicBezTo>
                  <a:pt x="89" y="9"/>
                  <a:pt x="89" y="9"/>
                  <a:pt x="89" y="9"/>
                </a:cubicBezTo>
                <a:cubicBezTo>
                  <a:pt x="90" y="10"/>
                  <a:pt x="90" y="10"/>
                  <a:pt x="90" y="10"/>
                </a:cubicBezTo>
                <a:cubicBezTo>
                  <a:pt x="92" y="11"/>
                  <a:pt x="92" y="11"/>
                  <a:pt x="92" y="11"/>
                </a:cubicBezTo>
                <a:cubicBezTo>
                  <a:pt x="92" y="24"/>
                  <a:pt x="92" y="24"/>
                  <a:pt x="92" y="24"/>
                </a:cubicBezTo>
                <a:cubicBezTo>
                  <a:pt x="88" y="47"/>
                  <a:pt x="88" y="47"/>
                  <a:pt x="88" y="47"/>
                </a:cubicBezTo>
                <a:cubicBezTo>
                  <a:pt x="87" y="52"/>
                  <a:pt x="87" y="52"/>
                  <a:pt x="87" y="52"/>
                </a:cubicBezTo>
                <a:cubicBezTo>
                  <a:pt x="82" y="63"/>
                  <a:pt x="82" y="63"/>
                  <a:pt x="82" y="63"/>
                </a:cubicBezTo>
                <a:cubicBezTo>
                  <a:pt x="80" y="67"/>
                  <a:pt x="80" y="67"/>
                  <a:pt x="80" y="67"/>
                </a:cubicBezTo>
                <a:cubicBezTo>
                  <a:pt x="72" y="77"/>
                  <a:pt x="72" y="77"/>
                  <a:pt x="72" y="77"/>
                </a:cubicBezTo>
                <a:cubicBezTo>
                  <a:pt x="66" y="85"/>
                  <a:pt x="66" y="85"/>
                  <a:pt x="66" y="85"/>
                </a:cubicBezTo>
                <a:cubicBezTo>
                  <a:pt x="58" y="91"/>
                  <a:pt x="58" y="91"/>
                  <a:pt x="58" y="91"/>
                </a:cubicBezTo>
                <a:cubicBezTo>
                  <a:pt x="26" y="113"/>
                  <a:pt x="26" y="113"/>
                  <a:pt x="26" y="113"/>
                </a:cubicBezTo>
                <a:cubicBezTo>
                  <a:pt x="25" y="114"/>
                  <a:pt x="25" y="114"/>
                  <a:pt x="25" y="114"/>
                </a:cubicBezTo>
                <a:cubicBezTo>
                  <a:pt x="21" y="115"/>
                  <a:pt x="21" y="115"/>
                  <a:pt x="21" y="115"/>
                </a:cubicBezTo>
                <a:cubicBezTo>
                  <a:pt x="20" y="115"/>
                  <a:pt x="20" y="115"/>
                  <a:pt x="20" y="115"/>
                </a:cubicBezTo>
                <a:cubicBezTo>
                  <a:pt x="18" y="115"/>
                  <a:pt x="18" y="115"/>
                  <a:pt x="18" y="115"/>
                </a:cubicBezTo>
                <a:cubicBezTo>
                  <a:pt x="15" y="113"/>
                  <a:pt x="15" y="113"/>
                  <a:pt x="15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" y="114"/>
                  <a:pt x="2" y="114"/>
                  <a:pt x="2" y="114"/>
                </a:cubicBezTo>
                <a:cubicBezTo>
                  <a:pt x="2" y="114"/>
                  <a:pt x="2" y="114"/>
                  <a:pt x="2" y="114"/>
                </a:cubicBezTo>
                <a:cubicBezTo>
                  <a:pt x="2" y="114"/>
                  <a:pt x="2" y="114"/>
                  <a:pt x="2" y="114"/>
                </a:cubicBezTo>
                <a:cubicBezTo>
                  <a:pt x="2" y="115"/>
                  <a:pt x="1" y="116"/>
                  <a:pt x="1" y="117"/>
                </a:cubicBezTo>
                <a:cubicBezTo>
                  <a:pt x="1" y="117"/>
                  <a:pt x="1" y="118"/>
                  <a:pt x="2" y="120"/>
                </a:cubicBezTo>
                <a:cubicBezTo>
                  <a:pt x="2" y="121"/>
                  <a:pt x="2" y="121"/>
                  <a:pt x="2" y="121"/>
                </a:cubicBezTo>
                <a:cubicBezTo>
                  <a:pt x="2" y="121"/>
                  <a:pt x="2" y="126"/>
                  <a:pt x="1" y="129"/>
                </a:cubicBezTo>
                <a:cubicBezTo>
                  <a:pt x="0" y="134"/>
                  <a:pt x="0" y="134"/>
                  <a:pt x="0" y="134"/>
                </a:cubicBezTo>
                <a:cubicBezTo>
                  <a:pt x="1" y="135"/>
                  <a:pt x="1" y="135"/>
                  <a:pt x="1" y="135"/>
                </a:cubicBezTo>
                <a:cubicBezTo>
                  <a:pt x="18" y="135"/>
                  <a:pt x="18" y="135"/>
                  <a:pt x="18" y="135"/>
                </a:cubicBezTo>
                <a:cubicBezTo>
                  <a:pt x="20" y="135"/>
                  <a:pt x="21" y="135"/>
                  <a:pt x="21" y="135"/>
                </a:cubicBezTo>
                <a:cubicBezTo>
                  <a:pt x="22" y="135"/>
                  <a:pt x="22" y="135"/>
                  <a:pt x="22" y="135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8" y="135"/>
                  <a:pt x="28" y="135"/>
                  <a:pt x="29" y="136"/>
                </a:cubicBezTo>
                <a:cubicBezTo>
                  <a:pt x="29" y="136"/>
                  <a:pt x="30" y="136"/>
                  <a:pt x="31" y="136"/>
                </a:cubicBezTo>
                <a:cubicBezTo>
                  <a:pt x="31" y="136"/>
                  <a:pt x="31" y="136"/>
                  <a:pt x="31" y="136"/>
                </a:cubicBezTo>
                <a:cubicBezTo>
                  <a:pt x="32" y="136"/>
                  <a:pt x="33" y="136"/>
                  <a:pt x="34" y="137"/>
                </a:cubicBezTo>
                <a:cubicBezTo>
                  <a:pt x="34" y="136"/>
                  <a:pt x="35" y="136"/>
                  <a:pt x="36" y="136"/>
                </a:cubicBezTo>
                <a:cubicBezTo>
                  <a:pt x="37" y="136"/>
                  <a:pt x="39" y="135"/>
                  <a:pt x="41" y="137"/>
                </a:cubicBezTo>
                <a:cubicBezTo>
                  <a:pt x="42" y="138"/>
                  <a:pt x="43" y="138"/>
                  <a:pt x="43" y="139"/>
                </a:cubicBezTo>
                <a:cubicBezTo>
                  <a:pt x="47" y="139"/>
                  <a:pt x="47" y="139"/>
                  <a:pt x="47" y="139"/>
                </a:cubicBezTo>
                <a:cubicBezTo>
                  <a:pt x="48" y="139"/>
                  <a:pt x="48" y="139"/>
                  <a:pt x="49" y="139"/>
                </a:cubicBezTo>
                <a:cubicBezTo>
                  <a:pt x="49" y="138"/>
                  <a:pt x="50" y="139"/>
                  <a:pt x="51" y="139"/>
                </a:cubicBezTo>
                <a:cubicBezTo>
                  <a:pt x="52" y="139"/>
                  <a:pt x="52" y="139"/>
                  <a:pt x="52" y="139"/>
                </a:cubicBezTo>
                <a:cubicBezTo>
                  <a:pt x="53" y="139"/>
                  <a:pt x="54" y="139"/>
                  <a:pt x="55" y="139"/>
                </a:cubicBezTo>
                <a:cubicBezTo>
                  <a:pt x="56" y="138"/>
                  <a:pt x="58" y="138"/>
                  <a:pt x="59" y="137"/>
                </a:cubicBezTo>
                <a:cubicBezTo>
                  <a:pt x="60" y="137"/>
                  <a:pt x="60" y="137"/>
                  <a:pt x="61" y="138"/>
                </a:cubicBezTo>
                <a:cubicBezTo>
                  <a:pt x="63" y="139"/>
                  <a:pt x="63" y="139"/>
                  <a:pt x="63" y="139"/>
                </a:cubicBezTo>
                <a:cubicBezTo>
                  <a:pt x="65" y="139"/>
                  <a:pt x="67" y="139"/>
                  <a:pt x="68" y="139"/>
                </a:cubicBezTo>
                <a:cubicBezTo>
                  <a:pt x="69" y="139"/>
                  <a:pt x="69" y="139"/>
                  <a:pt x="70" y="139"/>
                </a:cubicBezTo>
                <a:cubicBezTo>
                  <a:pt x="71" y="139"/>
                  <a:pt x="71" y="139"/>
                  <a:pt x="71" y="139"/>
                </a:cubicBezTo>
                <a:cubicBezTo>
                  <a:pt x="71" y="137"/>
                  <a:pt x="71" y="137"/>
                  <a:pt x="73" y="136"/>
                </a:cubicBezTo>
                <a:cubicBezTo>
                  <a:pt x="73" y="136"/>
                  <a:pt x="73" y="136"/>
                  <a:pt x="73" y="135"/>
                </a:cubicBezTo>
                <a:cubicBezTo>
                  <a:pt x="74" y="135"/>
                  <a:pt x="74" y="135"/>
                  <a:pt x="75" y="134"/>
                </a:cubicBezTo>
                <a:cubicBezTo>
                  <a:pt x="75" y="134"/>
                  <a:pt x="76" y="133"/>
                  <a:pt x="78" y="133"/>
                </a:cubicBezTo>
                <a:cubicBezTo>
                  <a:pt x="78" y="133"/>
                  <a:pt x="78" y="133"/>
                  <a:pt x="78" y="133"/>
                </a:cubicBezTo>
                <a:cubicBezTo>
                  <a:pt x="78" y="133"/>
                  <a:pt x="78" y="132"/>
                  <a:pt x="79" y="132"/>
                </a:cubicBezTo>
                <a:cubicBezTo>
                  <a:pt x="78" y="132"/>
                  <a:pt x="78" y="131"/>
                  <a:pt x="78" y="131"/>
                </a:cubicBezTo>
                <a:cubicBezTo>
                  <a:pt x="78" y="129"/>
                  <a:pt x="80" y="128"/>
                  <a:pt x="80" y="128"/>
                </a:cubicBezTo>
                <a:cubicBezTo>
                  <a:pt x="81" y="128"/>
                  <a:pt x="81" y="128"/>
                  <a:pt x="81" y="128"/>
                </a:cubicBezTo>
                <a:cubicBezTo>
                  <a:pt x="83" y="127"/>
                  <a:pt x="83" y="127"/>
                  <a:pt x="84" y="127"/>
                </a:cubicBezTo>
                <a:cubicBezTo>
                  <a:pt x="84" y="127"/>
                  <a:pt x="84" y="127"/>
                  <a:pt x="84" y="127"/>
                </a:cubicBezTo>
                <a:cubicBezTo>
                  <a:pt x="84" y="126"/>
                  <a:pt x="84" y="126"/>
                  <a:pt x="84" y="126"/>
                </a:cubicBezTo>
                <a:cubicBezTo>
                  <a:pt x="84" y="126"/>
                  <a:pt x="84" y="126"/>
                  <a:pt x="84" y="126"/>
                </a:cubicBezTo>
                <a:cubicBezTo>
                  <a:pt x="84" y="126"/>
                  <a:pt x="84" y="126"/>
                  <a:pt x="84" y="126"/>
                </a:cubicBezTo>
                <a:cubicBezTo>
                  <a:pt x="85" y="126"/>
                  <a:pt x="85" y="126"/>
                  <a:pt x="85" y="126"/>
                </a:cubicBezTo>
                <a:cubicBezTo>
                  <a:pt x="87" y="125"/>
                  <a:pt x="88" y="126"/>
                  <a:pt x="89" y="126"/>
                </a:cubicBezTo>
                <a:cubicBezTo>
                  <a:pt x="89" y="125"/>
                  <a:pt x="90" y="125"/>
                  <a:pt x="90" y="125"/>
                </a:cubicBezTo>
                <a:cubicBezTo>
                  <a:pt x="96" y="122"/>
                  <a:pt x="96" y="122"/>
                  <a:pt x="96" y="122"/>
                </a:cubicBezTo>
                <a:cubicBezTo>
                  <a:pt x="96" y="122"/>
                  <a:pt x="96" y="121"/>
                  <a:pt x="97" y="121"/>
                </a:cubicBezTo>
                <a:cubicBezTo>
                  <a:pt x="101" y="121"/>
                  <a:pt x="101" y="121"/>
                  <a:pt x="101" y="121"/>
                </a:cubicBezTo>
                <a:cubicBezTo>
                  <a:pt x="102" y="121"/>
                  <a:pt x="103" y="122"/>
                  <a:pt x="103" y="123"/>
                </a:cubicBezTo>
                <a:cubicBezTo>
                  <a:pt x="106" y="123"/>
                  <a:pt x="106" y="123"/>
                  <a:pt x="106" y="123"/>
                </a:cubicBezTo>
                <a:cubicBezTo>
                  <a:pt x="106" y="123"/>
                  <a:pt x="106" y="123"/>
                  <a:pt x="106" y="124"/>
                </a:cubicBezTo>
                <a:cubicBezTo>
                  <a:pt x="107" y="123"/>
                  <a:pt x="107" y="123"/>
                  <a:pt x="107" y="123"/>
                </a:cubicBezTo>
                <a:cubicBezTo>
                  <a:pt x="107" y="123"/>
                  <a:pt x="107" y="123"/>
                  <a:pt x="108" y="123"/>
                </a:cubicBezTo>
                <a:cubicBezTo>
                  <a:pt x="108" y="122"/>
                  <a:pt x="108" y="122"/>
                  <a:pt x="108" y="122"/>
                </a:cubicBezTo>
                <a:cubicBezTo>
                  <a:pt x="108" y="121"/>
                  <a:pt x="108" y="120"/>
                  <a:pt x="110" y="119"/>
                </a:cubicBezTo>
                <a:cubicBezTo>
                  <a:pt x="114" y="117"/>
                  <a:pt x="114" y="117"/>
                  <a:pt x="114" y="117"/>
                </a:cubicBezTo>
                <a:cubicBezTo>
                  <a:pt x="115" y="117"/>
                  <a:pt x="115" y="117"/>
                  <a:pt x="115" y="117"/>
                </a:cubicBezTo>
                <a:cubicBezTo>
                  <a:pt x="120" y="117"/>
                  <a:pt x="120" y="117"/>
                  <a:pt x="120" y="117"/>
                </a:cubicBezTo>
                <a:cubicBezTo>
                  <a:pt x="121" y="117"/>
                  <a:pt x="122" y="118"/>
                  <a:pt x="122" y="119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3" y="119"/>
                  <a:pt x="123" y="119"/>
                  <a:pt x="123" y="119"/>
                </a:cubicBezTo>
                <a:cubicBezTo>
                  <a:pt x="123" y="119"/>
                  <a:pt x="123" y="119"/>
                  <a:pt x="124" y="120"/>
                </a:cubicBezTo>
                <a:cubicBezTo>
                  <a:pt x="124" y="120"/>
                  <a:pt x="124" y="120"/>
                  <a:pt x="124" y="120"/>
                </a:cubicBezTo>
                <a:cubicBezTo>
                  <a:pt x="124" y="119"/>
                  <a:pt x="124" y="118"/>
                  <a:pt x="125" y="118"/>
                </a:cubicBezTo>
                <a:cubicBezTo>
                  <a:pt x="125" y="117"/>
                  <a:pt x="126" y="117"/>
                  <a:pt x="126" y="117"/>
                </a:cubicBezTo>
                <a:cubicBezTo>
                  <a:pt x="128" y="117"/>
                  <a:pt x="128" y="117"/>
                  <a:pt x="128" y="117"/>
                </a:cubicBezTo>
                <a:cubicBezTo>
                  <a:pt x="129" y="116"/>
                  <a:pt x="129" y="116"/>
                  <a:pt x="129" y="116"/>
                </a:cubicBezTo>
                <a:cubicBezTo>
                  <a:pt x="129" y="115"/>
                  <a:pt x="130" y="115"/>
                  <a:pt x="130" y="115"/>
                </a:cubicBezTo>
                <a:cubicBezTo>
                  <a:pt x="133" y="115"/>
                  <a:pt x="133" y="115"/>
                  <a:pt x="133" y="115"/>
                </a:cubicBezTo>
                <a:cubicBezTo>
                  <a:pt x="134" y="115"/>
                  <a:pt x="134" y="115"/>
                  <a:pt x="134" y="116"/>
                </a:cubicBezTo>
                <a:cubicBezTo>
                  <a:pt x="137" y="117"/>
                  <a:pt x="137" y="117"/>
                  <a:pt x="137" y="117"/>
                </a:cubicBezTo>
                <a:cubicBezTo>
                  <a:pt x="139" y="119"/>
                  <a:pt x="139" y="119"/>
                  <a:pt x="139" y="119"/>
                </a:cubicBezTo>
                <a:cubicBezTo>
                  <a:pt x="139" y="120"/>
                  <a:pt x="140" y="120"/>
                  <a:pt x="140" y="121"/>
                </a:cubicBezTo>
                <a:cubicBezTo>
                  <a:pt x="140" y="122"/>
                  <a:pt x="140" y="122"/>
                  <a:pt x="140" y="122"/>
                </a:cubicBezTo>
                <a:cubicBezTo>
                  <a:pt x="143" y="123"/>
                  <a:pt x="143" y="123"/>
                  <a:pt x="143" y="123"/>
                </a:cubicBezTo>
                <a:cubicBezTo>
                  <a:pt x="143" y="123"/>
                  <a:pt x="143" y="123"/>
                  <a:pt x="144" y="123"/>
                </a:cubicBezTo>
                <a:cubicBezTo>
                  <a:pt x="145" y="122"/>
                  <a:pt x="145" y="122"/>
                  <a:pt x="145" y="122"/>
                </a:cubicBezTo>
                <a:cubicBezTo>
                  <a:pt x="145" y="118"/>
                  <a:pt x="145" y="118"/>
                  <a:pt x="145" y="118"/>
                </a:cubicBezTo>
                <a:cubicBezTo>
                  <a:pt x="145" y="117"/>
                  <a:pt x="145" y="117"/>
                  <a:pt x="145" y="11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Freeform 67">
            <a:extLst>
              <a:ext uri="{FF2B5EF4-FFF2-40B4-BE49-F238E27FC236}">
                <a16:creationId xmlns:a16="http://schemas.microsoft.com/office/drawing/2014/main" id="{23B200AB-C0B4-47B4-9892-4108D627D2DC}"/>
              </a:ext>
            </a:extLst>
          </p:cNvPr>
          <p:cNvSpPr>
            <a:spLocks/>
          </p:cNvSpPr>
          <p:nvPr/>
        </p:nvSpPr>
        <p:spPr bwMode="auto">
          <a:xfrm>
            <a:off x="4734070" y="4349279"/>
            <a:ext cx="345679" cy="280988"/>
          </a:xfrm>
          <a:custGeom>
            <a:avLst/>
            <a:gdLst>
              <a:gd name="T0" fmla="*/ 138 w 143"/>
              <a:gd name="T1" fmla="*/ 18 h 126"/>
              <a:gd name="T2" fmla="*/ 131 w 143"/>
              <a:gd name="T3" fmla="*/ 14 h 126"/>
              <a:gd name="T4" fmla="*/ 125 w 143"/>
              <a:gd name="T5" fmla="*/ 11 h 126"/>
              <a:gd name="T6" fmla="*/ 112 w 143"/>
              <a:gd name="T7" fmla="*/ 6 h 126"/>
              <a:gd name="T8" fmla="*/ 99 w 143"/>
              <a:gd name="T9" fmla="*/ 1 h 126"/>
              <a:gd name="T10" fmla="*/ 104 w 143"/>
              <a:gd name="T11" fmla="*/ 6 h 126"/>
              <a:gd name="T12" fmla="*/ 109 w 143"/>
              <a:gd name="T13" fmla="*/ 16 h 126"/>
              <a:gd name="T14" fmla="*/ 108 w 143"/>
              <a:gd name="T15" fmla="*/ 22 h 126"/>
              <a:gd name="T16" fmla="*/ 93 w 143"/>
              <a:gd name="T17" fmla="*/ 21 h 126"/>
              <a:gd name="T18" fmla="*/ 85 w 143"/>
              <a:gd name="T19" fmla="*/ 21 h 126"/>
              <a:gd name="T20" fmla="*/ 80 w 143"/>
              <a:gd name="T21" fmla="*/ 12 h 126"/>
              <a:gd name="T22" fmla="*/ 74 w 143"/>
              <a:gd name="T23" fmla="*/ 16 h 126"/>
              <a:gd name="T24" fmla="*/ 69 w 143"/>
              <a:gd name="T25" fmla="*/ 16 h 126"/>
              <a:gd name="T26" fmla="*/ 65 w 143"/>
              <a:gd name="T27" fmla="*/ 20 h 126"/>
              <a:gd name="T28" fmla="*/ 59 w 143"/>
              <a:gd name="T29" fmla="*/ 23 h 126"/>
              <a:gd name="T30" fmla="*/ 57 w 143"/>
              <a:gd name="T31" fmla="*/ 26 h 126"/>
              <a:gd name="T32" fmla="*/ 56 w 143"/>
              <a:gd name="T33" fmla="*/ 31 h 126"/>
              <a:gd name="T34" fmla="*/ 49 w 143"/>
              <a:gd name="T35" fmla="*/ 33 h 126"/>
              <a:gd name="T36" fmla="*/ 41 w 143"/>
              <a:gd name="T37" fmla="*/ 27 h 126"/>
              <a:gd name="T38" fmla="*/ 35 w 143"/>
              <a:gd name="T39" fmla="*/ 21 h 126"/>
              <a:gd name="T40" fmla="*/ 31 w 143"/>
              <a:gd name="T41" fmla="*/ 20 h 126"/>
              <a:gd name="T42" fmla="*/ 21 w 143"/>
              <a:gd name="T43" fmla="*/ 20 h 126"/>
              <a:gd name="T44" fmla="*/ 16 w 143"/>
              <a:gd name="T45" fmla="*/ 17 h 126"/>
              <a:gd name="T46" fmla="*/ 9 w 143"/>
              <a:gd name="T47" fmla="*/ 15 h 126"/>
              <a:gd name="T48" fmla="*/ 7 w 143"/>
              <a:gd name="T49" fmla="*/ 17 h 126"/>
              <a:gd name="T50" fmla="*/ 7 w 143"/>
              <a:gd name="T51" fmla="*/ 18 h 126"/>
              <a:gd name="T52" fmla="*/ 5 w 143"/>
              <a:gd name="T53" fmla="*/ 21 h 126"/>
              <a:gd name="T54" fmla="*/ 8 w 143"/>
              <a:gd name="T55" fmla="*/ 26 h 126"/>
              <a:gd name="T56" fmla="*/ 7 w 143"/>
              <a:gd name="T57" fmla="*/ 33 h 126"/>
              <a:gd name="T58" fmla="*/ 6 w 143"/>
              <a:gd name="T59" fmla="*/ 38 h 126"/>
              <a:gd name="T60" fmla="*/ 3 w 143"/>
              <a:gd name="T61" fmla="*/ 46 h 126"/>
              <a:gd name="T62" fmla="*/ 6 w 143"/>
              <a:gd name="T63" fmla="*/ 109 h 126"/>
              <a:gd name="T64" fmla="*/ 5 w 143"/>
              <a:gd name="T65" fmla="*/ 115 h 126"/>
              <a:gd name="T66" fmla="*/ 12 w 143"/>
              <a:gd name="T67" fmla="*/ 122 h 126"/>
              <a:gd name="T68" fmla="*/ 17 w 143"/>
              <a:gd name="T69" fmla="*/ 121 h 126"/>
              <a:gd name="T70" fmla="*/ 22 w 143"/>
              <a:gd name="T71" fmla="*/ 118 h 126"/>
              <a:gd name="T72" fmla="*/ 26 w 143"/>
              <a:gd name="T73" fmla="*/ 117 h 126"/>
              <a:gd name="T74" fmla="*/ 30 w 143"/>
              <a:gd name="T75" fmla="*/ 113 h 126"/>
              <a:gd name="T76" fmla="*/ 35 w 143"/>
              <a:gd name="T77" fmla="*/ 110 h 126"/>
              <a:gd name="T78" fmla="*/ 40 w 143"/>
              <a:gd name="T79" fmla="*/ 106 h 126"/>
              <a:gd name="T80" fmla="*/ 45 w 143"/>
              <a:gd name="T81" fmla="*/ 93 h 126"/>
              <a:gd name="T82" fmla="*/ 51 w 143"/>
              <a:gd name="T83" fmla="*/ 90 h 126"/>
              <a:gd name="T84" fmla="*/ 63 w 143"/>
              <a:gd name="T85" fmla="*/ 87 h 126"/>
              <a:gd name="T86" fmla="*/ 76 w 143"/>
              <a:gd name="T87" fmla="*/ 83 h 126"/>
              <a:gd name="T88" fmla="*/ 79 w 143"/>
              <a:gd name="T89" fmla="*/ 68 h 126"/>
              <a:gd name="T90" fmla="*/ 79 w 143"/>
              <a:gd name="T91" fmla="*/ 60 h 126"/>
              <a:gd name="T92" fmla="*/ 86 w 143"/>
              <a:gd name="T93" fmla="*/ 53 h 126"/>
              <a:gd name="T94" fmla="*/ 95 w 143"/>
              <a:gd name="T95" fmla="*/ 51 h 126"/>
              <a:gd name="T96" fmla="*/ 99 w 143"/>
              <a:gd name="T97" fmla="*/ 46 h 126"/>
              <a:gd name="T98" fmla="*/ 108 w 143"/>
              <a:gd name="T99" fmla="*/ 43 h 126"/>
              <a:gd name="T100" fmla="*/ 116 w 143"/>
              <a:gd name="T101" fmla="*/ 42 h 126"/>
              <a:gd name="T102" fmla="*/ 125 w 143"/>
              <a:gd name="T103" fmla="*/ 28 h 126"/>
              <a:gd name="T104" fmla="*/ 134 w 143"/>
              <a:gd name="T105" fmla="*/ 25 h 126"/>
              <a:gd name="T106" fmla="*/ 141 w 143"/>
              <a:gd name="T107" fmla="*/ 24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3" h="126">
                <a:moveTo>
                  <a:pt x="143" y="23"/>
                </a:moveTo>
                <a:cubicBezTo>
                  <a:pt x="142" y="23"/>
                  <a:pt x="141" y="22"/>
                  <a:pt x="141" y="22"/>
                </a:cubicBezTo>
                <a:cubicBezTo>
                  <a:pt x="139" y="19"/>
                  <a:pt x="139" y="19"/>
                  <a:pt x="139" y="19"/>
                </a:cubicBezTo>
                <a:cubicBezTo>
                  <a:pt x="138" y="18"/>
                  <a:pt x="138" y="18"/>
                  <a:pt x="138" y="18"/>
                </a:cubicBezTo>
                <a:cubicBezTo>
                  <a:pt x="137" y="17"/>
                  <a:pt x="137" y="17"/>
                  <a:pt x="137" y="17"/>
                </a:cubicBezTo>
                <a:cubicBezTo>
                  <a:pt x="136" y="17"/>
                  <a:pt x="134" y="16"/>
                  <a:pt x="134" y="16"/>
                </a:cubicBezTo>
                <a:cubicBezTo>
                  <a:pt x="133" y="15"/>
                  <a:pt x="133" y="15"/>
                  <a:pt x="133" y="15"/>
                </a:cubicBezTo>
                <a:cubicBezTo>
                  <a:pt x="132" y="15"/>
                  <a:pt x="132" y="15"/>
                  <a:pt x="131" y="14"/>
                </a:cubicBezTo>
                <a:cubicBezTo>
                  <a:pt x="129" y="13"/>
                  <a:pt x="129" y="13"/>
                  <a:pt x="129" y="13"/>
                </a:cubicBezTo>
                <a:cubicBezTo>
                  <a:pt x="128" y="13"/>
                  <a:pt x="128" y="13"/>
                  <a:pt x="128" y="13"/>
                </a:cubicBezTo>
                <a:cubicBezTo>
                  <a:pt x="127" y="11"/>
                  <a:pt x="127" y="11"/>
                  <a:pt x="127" y="11"/>
                </a:cubicBezTo>
                <a:cubicBezTo>
                  <a:pt x="125" y="11"/>
                  <a:pt x="125" y="11"/>
                  <a:pt x="125" y="11"/>
                </a:cubicBezTo>
                <a:cubicBezTo>
                  <a:pt x="124" y="11"/>
                  <a:pt x="124" y="11"/>
                  <a:pt x="123" y="10"/>
                </a:cubicBezTo>
                <a:cubicBezTo>
                  <a:pt x="121" y="7"/>
                  <a:pt x="121" y="7"/>
                  <a:pt x="121" y="7"/>
                </a:cubicBezTo>
                <a:cubicBezTo>
                  <a:pt x="121" y="7"/>
                  <a:pt x="121" y="7"/>
                  <a:pt x="121" y="7"/>
                </a:cubicBezTo>
                <a:cubicBezTo>
                  <a:pt x="112" y="6"/>
                  <a:pt x="112" y="6"/>
                  <a:pt x="112" y="6"/>
                </a:cubicBezTo>
                <a:cubicBezTo>
                  <a:pt x="111" y="6"/>
                  <a:pt x="110" y="5"/>
                  <a:pt x="110" y="4"/>
                </a:cubicBezTo>
                <a:cubicBezTo>
                  <a:pt x="110" y="0"/>
                  <a:pt x="110" y="0"/>
                  <a:pt x="110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99" y="1"/>
                  <a:pt x="99" y="1"/>
                  <a:pt x="99" y="1"/>
                </a:cubicBezTo>
                <a:cubicBezTo>
                  <a:pt x="99" y="1"/>
                  <a:pt x="99" y="2"/>
                  <a:pt x="100" y="3"/>
                </a:cubicBezTo>
                <a:cubicBezTo>
                  <a:pt x="101" y="4"/>
                  <a:pt x="101" y="4"/>
                  <a:pt x="101" y="4"/>
                </a:cubicBezTo>
                <a:cubicBezTo>
                  <a:pt x="101" y="4"/>
                  <a:pt x="102" y="5"/>
                  <a:pt x="103" y="5"/>
                </a:cubicBezTo>
                <a:cubicBezTo>
                  <a:pt x="103" y="5"/>
                  <a:pt x="104" y="5"/>
                  <a:pt x="104" y="6"/>
                </a:cubicBezTo>
                <a:cubicBezTo>
                  <a:pt x="106" y="8"/>
                  <a:pt x="106" y="8"/>
                  <a:pt x="106" y="8"/>
                </a:cubicBezTo>
                <a:cubicBezTo>
                  <a:pt x="106" y="8"/>
                  <a:pt x="106" y="8"/>
                  <a:pt x="106" y="8"/>
                </a:cubicBezTo>
                <a:cubicBezTo>
                  <a:pt x="106" y="8"/>
                  <a:pt x="107" y="11"/>
                  <a:pt x="109" y="13"/>
                </a:cubicBezTo>
                <a:cubicBezTo>
                  <a:pt x="109" y="15"/>
                  <a:pt x="110" y="15"/>
                  <a:pt x="109" y="16"/>
                </a:cubicBezTo>
                <a:cubicBezTo>
                  <a:pt x="109" y="18"/>
                  <a:pt x="109" y="18"/>
                  <a:pt x="108" y="19"/>
                </a:cubicBezTo>
                <a:cubicBezTo>
                  <a:pt x="108" y="19"/>
                  <a:pt x="108" y="19"/>
                  <a:pt x="108" y="19"/>
                </a:cubicBezTo>
                <a:cubicBezTo>
                  <a:pt x="108" y="20"/>
                  <a:pt x="108" y="20"/>
                  <a:pt x="108" y="20"/>
                </a:cubicBezTo>
                <a:cubicBezTo>
                  <a:pt x="108" y="20"/>
                  <a:pt x="108" y="21"/>
                  <a:pt x="108" y="22"/>
                </a:cubicBezTo>
                <a:cubicBezTo>
                  <a:pt x="108" y="22"/>
                  <a:pt x="107" y="23"/>
                  <a:pt x="106" y="23"/>
                </a:cubicBezTo>
                <a:cubicBezTo>
                  <a:pt x="97" y="23"/>
                  <a:pt x="97" y="23"/>
                  <a:pt x="97" y="23"/>
                </a:cubicBezTo>
                <a:cubicBezTo>
                  <a:pt x="96" y="23"/>
                  <a:pt x="96" y="23"/>
                  <a:pt x="96" y="23"/>
                </a:cubicBezTo>
                <a:cubicBezTo>
                  <a:pt x="93" y="21"/>
                  <a:pt x="93" y="21"/>
                  <a:pt x="93" y="21"/>
                </a:cubicBezTo>
                <a:cubicBezTo>
                  <a:pt x="91" y="21"/>
                  <a:pt x="91" y="21"/>
                  <a:pt x="91" y="21"/>
                </a:cubicBezTo>
                <a:cubicBezTo>
                  <a:pt x="89" y="21"/>
                  <a:pt x="89" y="21"/>
                  <a:pt x="89" y="21"/>
                </a:cubicBezTo>
                <a:cubicBezTo>
                  <a:pt x="89" y="21"/>
                  <a:pt x="87" y="22"/>
                  <a:pt x="85" y="21"/>
                </a:cubicBezTo>
                <a:cubicBezTo>
                  <a:pt x="85" y="21"/>
                  <a:pt x="85" y="21"/>
                  <a:pt x="85" y="21"/>
                </a:cubicBezTo>
                <a:cubicBezTo>
                  <a:pt x="84" y="21"/>
                  <a:pt x="84" y="21"/>
                  <a:pt x="83" y="21"/>
                </a:cubicBezTo>
                <a:cubicBezTo>
                  <a:pt x="81" y="19"/>
                  <a:pt x="81" y="19"/>
                  <a:pt x="81" y="19"/>
                </a:cubicBezTo>
                <a:cubicBezTo>
                  <a:pt x="80" y="19"/>
                  <a:pt x="80" y="18"/>
                  <a:pt x="80" y="17"/>
                </a:cubicBezTo>
                <a:cubicBezTo>
                  <a:pt x="80" y="12"/>
                  <a:pt x="80" y="12"/>
                  <a:pt x="80" y="12"/>
                </a:cubicBezTo>
                <a:cubicBezTo>
                  <a:pt x="80" y="11"/>
                  <a:pt x="80" y="11"/>
                  <a:pt x="80" y="11"/>
                </a:cubicBezTo>
                <a:cubicBezTo>
                  <a:pt x="79" y="11"/>
                  <a:pt x="79" y="11"/>
                  <a:pt x="79" y="11"/>
                </a:cubicBezTo>
                <a:cubicBezTo>
                  <a:pt x="76" y="15"/>
                  <a:pt x="76" y="15"/>
                  <a:pt x="76" y="15"/>
                </a:cubicBezTo>
                <a:cubicBezTo>
                  <a:pt x="76" y="16"/>
                  <a:pt x="74" y="16"/>
                  <a:pt x="74" y="16"/>
                </a:cubicBezTo>
                <a:cubicBezTo>
                  <a:pt x="73" y="16"/>
                  <a:pt x="72" y="16"/>
                  <a:pt x="72" y="15"/>
                </a:cubicBezTo>
                <a:cubicBezTo>
                  <a:pt x="69" y="15"/>
                  <a:pt x="69" y="15"/>
                  <a:pt x="69" y="15"/>
                </a:cubicBezTo>
                <a:cubicBezTo>
                  <a:pt x="69" y="16"/>
                  <a:pt x="69" y="16"/>
                  <a:pt x="69" y="16"/>
                </a:cubicBezTo>
                <a:cubicBezTo>
                  <a:pt x="69" y="16"/>
                  <a:pt x="69" y="16"/>
                  <a:pt x="69" y="16"/>
                </a:cubicBezTo>
                <a:cubicBezTo>
                  <a:pt x="69" y="16"/>
                  <a:pt x="69" y="16"/>
                  <a:pt x="69" y="16"/>
                </a:cubicBezTo>
                <a:cubicBezTo>
                  <a:pt x="69" y="17"/>
                  <a:pt x="69" y="17"/>
                  <a:pt x="69" y="17"/>
                </a:cubicBezTo>
                <a:cubicBezTo>
                  <a:pt x="69" y="18"/>
                  <a:pt x="69" y="18"/>
                  <a:pt x="68" y="19"/>
                </a:cubicBezTo>
                <a:cubicBezTo>
                  <a:pt x="68" y="19"/>
                  <a:pt x="66" y="20"/>
                  <a:pt x="65" y="20"/>
                </a:cubicBezTo>
                <a:cubicBezTo>
                  <a:pt x="65" y="21"/>
                  <a:pt x="65" y="21"/>
                  <a:pt x="65" y="21"/>
                </a:cubicBezTo>
                <a:cubicBezTo>
                  <a:pt x="64" y="21"/>
                  <a:pt x="63" y="22"/>
                  <a:pt x="62" y="22"/>
                </a:cubicBezTo>
                <a:cubicBezTo>
                  <a:pt x="61" y="23"/>
                  <a:pt x="61" y="24"/>
                  <a:pt x="59" y="23"/>
                </a:cubicBezTo>
                <a:cubicBezTo>
                  <a:pt x="59" y="23"/>
                  <a:pt x="59" y="23"/>
                  <a:pt x="59" y="23"/>
                </a:cubicBezTo>
                <a:cubicBezTo>
                  <a:pt x="59" y="23"/>
                  <a:pt x="59" y="23"/>
                  <a:pt x="59" y="23"/>
                </a:cubicBezTo>
                <a:cubicBezTo>
                  <a:pt x="59" y="23"/>
                  <a:pt x="59" y="23"/>
                  <a:pt x="59" y="23"/>
                </a:cubicBezTo>
                <a:cubicBezTo>
                  <a:pt x="59" y="24"/>
                  <a:pt x="59" y="25"/>
                  <a:pt x="58" y="25"/>
                </a:cubicBezTo>
                <a:cubicBezTo>
                  <a:pt x="57" y="26"/>
                  <a:pt x="57" y="26"/>
                  <a:pt x="57" y="26"/>
                </a:cubicBezTo>
                <a:cubicBezTo>
                  <a:pt x="57" y="26"/>
                  <a:pt x="57" y="26"/>
                  <a:pt x="57" y="26"/>
                </a:cubicBezTo>
                <a:cubicBezTo>
                  <a:pt x="57" y="27"/>
                  <a:pt x="57" y="27"/>
                  <a:pt x="56" y="28"/>
                </a:cubicBezTo>
                <a:cubicBezTo>
                  <a:pt x="56" y="28"/>
                  <a:pt x="56" y="28"/>
                  <a:pt x="56" y="29"/>
                </a:cubicBezTo>
                <a:cubicBezTo>
                  <a:pt x="57" y="29"/>
                  <a:pt x="57" y="30"/>
                  <a:pt x="56" y="31"/>
                </a:cubicBezTo>
                <a:cubicBezTo>
                  <a:pt x="56" y="32"/>
                  <a:pt x="56" y="34"/>
                  <a:pt x="55" y="34"/>
                </a:cubicBezTo>
                <a:cubicBezTo>
                  <a:pt x="54" y="34"/>
                  <a:pt x="53" y="34"/>
                  <a:pt x="53" y="33"/>
                </a:cubicBezTo>
                <a:cubicBezTo>
                  <a:pt x="52" y="33"/>
                  <a:pt x="52" y="33"/>
                  <a:pt x="52" y="33"/>
                </a:cubicBezTo>
                <a:cubicBezTo>
                  <a:pt x="51" y="33"/>
                  <a:pt x="50" y="33"/>
                  <a:pt x="49" y="33"/>
                </a:cubicBezTo>
                <a:cubicBezTo>
                  <a:pt x="47" y="33"/>
                  <a:pt x="46" y="32"/>
                  <a:pt x="46" y="31"/>
                </a:cubicBezTo>
                <a:cubicBezTo>
                  <a:pt x="46" y="31"/>
                  <a:pt x="46" y="31"/>
                  <a:pt x="46" y="30"/>
                </a:cubicBezTo>
                <a:cubicBezTo>
                  <a:pt x="44" y="27"/>
                  <a:pt x="44" y="27"/>
                  <a:pt x="44" y="27"/>
                </a:cubicBezTo>
                <a:cubicBezTo>
                  <a:pt x="41" y="27"/>
                  <a:pt x="41" y="27"/>
                  <a:pt x="41" y="27"/>
                </a:cubicBezTo>
                <a:cubicBezTo>
                  <a:pt x="40" y="27"/>
                  <a:pt x="39" y="27"/>
                  <a:pt x="39" y="26"/>
                </a:cubicBezTo>
                <a:cubicBezTo>
                  <a:pt x="38" y="23"/>
                  <a:pt x="38" y="23"/>
                  <a:pt x="38" y="23"/>
                </a:cubicBezTo>
                <a:cubicBezTo>
                  <a:pt x="37" y="23"/>
                  <a:pt x="37" y="23"/>
                  <a:pt x="37" y="23"/>
                </a:cubicBezTo>
                <a:cubicBezTo>
                  <a:pt x="36" y="23"/>
                  <a:pt x="35" y="22"/>
                  <a:pt x="35" y="21"/>
                </a:cubicBezTo>
                <a:cubicBezTo>
                  <a:pt x="35" y="20"/>
                  <a:pt x="35" y="20"/>
                  <a:pt x="35" y="20"/>
                </a:cubicBezTo>
                <a:cubicBezTo>
                  <a:pt x="35" y="20"/>
                  <a:pt x="35" y="20"/>
                  <a:pt x="35" y="20"/>
                </a:cubicBezTo>
                <a:cubicBezTo>
                  <a:pt x="32" y="19"/>
                  <a:pt x="32" y="19"/>
                  <a:pt x="32" y="19"/>
                </a:cubicBezTo>
                <a:cubicBezTo>
                  <a:pt x="31" y="20"/>
                  <a:pt x="31" y="20"/>
                  <a:pt x="31" y="20"/>
                </a:cubicBezTo>
                <a:cubicBezTo>
                  <a:pt x="30" y="20"/>
                  <a:pt x="28" y="21"/>
                  <a:pt x="26" y="21"/>
                </a:cubicBezTo>
                <a:cubicBezTo>
                  <a:pt x="25" y="21"/>
                  <a:pt x="24" y="21"/>
                  <a:pt x="23" y="21"/>
                </a:cubicBezTo>
                <a:cubicBezTo>
                  <a:pt x="22" y="21"/>
                  <a:pt x="22" y="21"/>
                  <a:pt x="22" y="21"/>
                </a:cubicBezTo>
                <a:cubicBezTo>
                  <a:pt x="22" y="21"/>
                  <a:pt x="22" y="20"/>
                  <a:pt x="21" y="20"/>
                </a:cubicBezTo>
                <a:cubicBezTo>
                  <a:pt x="20" y="18"/>
                  <a:pt x="20" y="18"/>
                  <a:pt x="20" y="18"/>
                </a:cubicBezTo>
                <a:cubicBezTo>
                  <a:pt x="20" y="18"/>
                  <a:pt x="20" y="18"/>
                  <a:pt x="20" y="18"/>
                </a:cubicBezTo>
                <a:cubicBezTo>
                  <a:pt x="19" y="18"/>
                  <a:pt x="17" y="18"/>
                  <a:pt x="17" y="17"/>
                </a:cubicBezTo>
                <a:cubicBezTo>
                  <a:pt x="16" y="17"/>
                  <a:pt x="16" y="17"/>
                  <a:pt x="16" y="17"/>
                </a:cubicBezTo>
                <a:cubicBezTo>
                  <a:pt x="14" y="17"/>
                  <a:pt x="14" y="17"/>
                  <a:pt x="14" y="17"/>
                </a:cubicBezTo>
                <a:cubicBezTo>
                  <a:pt x="14" y="17"/>
                  <a:pt x="14" y="17"/>
                  <a:pt x="13" y="17"/>
                </a:cubicBezTo>
                <a:cubicBezTo>
                  <a:pt x="10" y="15"/>
                  <a:pt x="10" y="15"/>
                  <a:pt x="10" y="15"/>
                </a:cubicBezTo>
                <a:cubicBezTo>
                  <a:pt x="9" y="15"/>
                  <a:pt x="9" y="15"/>
                  <a:pt x="9" y="15"/>
                </a:cubicBezTo>
                <a:cubicBezTo>
                  <a:pt x="9" y="15"/>
                  <a:pt x="9" y="15"/>
                  <a:pt x="9" y="16"/>
                </a:cubicBezTo>
                <a:cubicBezTo>
                  <a:pt x="9" y="16"/>
                  <a:pt x="8" y="17"/>
                  <a:pt x="7" y="17"/>
                </a:cubicBezTo>
                <a:cubicBezTo>
                  <a:pt x="7" y="17"/>
                  <a:pt x="7" y="17"/>
                  <a:pt x="7" y="17"/>
                </a:cubicBezTo>
                <a:cubicBezTo>
                  <a:pt x="7" y="17"/>
                  <a:pt x="7" y="17"/>
                  <a:pt x="7" y="17"/>
                </a:cubicBezTo>
                <a:cubicBezTo>
                  <a:pt x="7" y="17"/>
                  <a:pt x="7" y="17"/>
                  <a:pt x="7" y="17"/>
                </a:cubicBezTo>
                <a:cubicBezTo>
                  <a:pt x="7" y="17"/>
                  <a:pt x="7" y="17"/>
                  <a:pt x="7" y="17"/>
                </a:cubicBezTo>
                <a:cubicBezTo>
                  <a:pt x="7" y="17"/>
                  <a:pt x="7" y="17"/>
                  <a:pt x="7" y="17"/>
                </a:cubicBezTo>
                <a:cubicBezTo>
                  <a:pt x="7" y="18"/>
                  <a:pt x="7" y="18"/>
                  <a:pt x="7" y="18"/>
                </a:cubicBezTo>
                <a:cubicBezTo>
                  <a:pt x="6" y="18"/>
                  <a:pt x="6" y="18"/>
                  <a:pt x="6" y="18"/>
                </a:cubicBezTo>
                <a:cubicBezTo>
                  <a:pt x="6" y="18"/>
                  <a:pt x="6" y="18"/>
                  <a:pt x="6" y="18"/>
                </a:cubicBezTo>
                <a:cubicBezTo>
                  <a:pt x="6" y="19"/>
                  <a:pt x="6" y="19"/>
                  <a:pt x="6" y="19"/>
                </a:cubicBezTo>
                <a:cubicBezTo>
                  <a:pt x="6" y="19"/>
                  <a:pt x="5" y="20"/>
                  <a:pt x="5" y="21"/>
                </a:cubicBezTo>
                <a:cubicBezTo>
                  <a:pt x="5" y="21"/>
                  <a:pt x="5" y="21"/>
                  <a:pt x="5" y="22"/>
                </a:cubicBezTo>
                <a:cubicBezTo>
                  <a:pt x="6" y="22"/>
                  <a:pt x="6" y="22"/>
                  <a:pt x="6" y="22"/>
                </a:cubicBezTo>
                <a:cubicBezTo>
                  <a:pt x="7" y="24"/>
                  <a:pt x="7" y="25"/>
                  <a:pt x="7" y="25"/>
                </a:cubicBezTo>
                <a:cubicBezTo>
                  <a:pt x="7" y="25"/>
                  <a:pt x="8" y="25"/>
                  <a:pt x="8" y="26"/>
                </a:cubicBezTo>
                <a:cubicBezTo>
                  <a:pt x="8" y="28"/>
                  <a:pt x="8" y="28"/>
                  <a:pt x="8" y="28"/>
                </a:cubicBezTo>
                <a:cubicBezTo>
                  <a:pt x="8" y="29"/>
                  <a:pt x="8" y="29"/>
                  <a:pt x="7" y="30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31"/>
                  <a:pt x="7" y="32"/>
                  <a:pt x="7" y="33"/>
                </a:cubicBezTo>
                <a:cubicBezTo>
                  <a:pt x="7" y="33"/>
                  <a:pt x="7" y="33"/>
                  <a:pt x="7" y="33"/>
                </a:cubicBezTo>
                <a:cubicBezTo>
                  <a:pt x="7" y="34"/>
                  <a:pt x="7" y="34"/>
                  <a:pt x="7" y="34"/>
                </a:cubicBezTo>
                <a:cubicBezTo>
                  <a:pt x="7" y="35"/>
                  <a:pt x="7" y="36"/>
                  <a:pt x="6" y="37"/>
                </a:cubicBezTo>
                <a:cubicBezTo>
                  <a:pt x="6" y="38"/>
                  <a:pt x="6" y="38"/>
                  <a:pt x="6" y="38"/>
                </a:cubicBezTo>
                <a:cubicBezTo>
                  <a:pt x="6" y="39"/>
                  <a:pt x="5" y="40"/>
                  <a:pt x="4" y="40"/>
                </a:cubicBezTo>
                <a:cubicBezTo>
                  <a:pt x="2" y="40"/>
                  <a:pt x="2" y="40"/>
                  <a:pt x="2" y="40"/>
                </a:cubicBezTo>
                <a:cubicBezTo>
                  <a:pt x="0" y="41"/>
                  <a:pt x="0" y="41"/>
                  <a:pt x="0" y="41"/>
                </a:cubicBezTo>
                <a:cubicBezTo>
                  <a:pt x="3" y="46"/>
                  <a:pt x="3" y="46"/>
                  <a:pt x="3" y="46"/>
                </a:cubicBezTo>
                <a:cubicBezTo>
                  <a:pt x="5" y="52"/>
                  <a:pt x="5" y="52"/>
                  <a:pt x="5" y="52"/>
                </a:cubicBezTo>
                <a:cubicBezTo>
                  <a:pt x="14" y="83"/>
                  <a:pt x="14" y="83"/>
                  <a:pt x="14" y="83"/>
                </a:cubicBezTo>
                <a:cubicBezTo>
                  <a:pt x="7" y="102"/>
                  <a:pt x="7" y="102"/>
                  <a:pt x="7" y="102"/>
                </a:cubicBezTo>
                <a:cubicBezTo>
                  <a:pt x="6" y="109"/>
                  <a:pt x="6" y="109"/>
                  <a:pt x="6" y="109"/>
                </a:cubicBezTo>
                <a:cubicBezTo>
                  <a:pt x="5" y="113"/>
                  <a:pt x="5" y="113"/>
                  <a:pt x="5" y="113"/>
                </a:cubicBezTo>
                <a:cubicBezTo>
                  <a:pt x="4" y="114"/>
                  <a:pt x="4" y="114"/>
                  <a:pt x="4" y="114"/>
                </a:cubicBezTo>
                <a:cubicBezTo>
                  <a:pt x="5" y="114"/>
                  <a:pt x="5" y="114"/>
                  <a:pt x="5" y="114"/>
                </a:cubicBezTo>
                <a:cubicBezTo>
                  <a:pt x="5" y="115"/>
                  <a:pt x="5" y="115"/>
                  <a:pt x="5" y="115"/>
                </a:cubicBezTo>
                <a:cubicBezTo>
                  <a:pt x="11" y="126"/>
                  <a:pt x="11" y="126"/>
                  <a:pt x="11" y="126"/>
                </a:cubicBezTo>
                <a:cubicBezTo>
                  <a:pt x="10" y="124"/>
                  <a:pt x="10" y="124"/>
                  <a:pt x="10" y="124"/>
                </a:cubicBezTo>
                <a:cubicBezTo>
                  <a:pt x="12" y="122"/>
                  <a:pt x="12" y="122"/>
                  <a:pt x="12" y="122"/>
                </a:cubicBezTo>
                <a:cubicBezTo>
                  <a:pt x="12" y="122"/>
                  <a:pt x="12" y="122"/>
                  <a:pt x="12" y="122"/>
                </a:cubicBezTo>
                <a:cubicBezTo>
                  <a:pt x="14" y="122"/>
                  <a:pt x="14" y="122"/>
                  <a:pt x="14" y="122"/>
                </a:cubicBezTo>
                <a:cubicBezTo>
                  <a:pt x="15" y="122"/>
                  <a:pt x="15" y="122"/>
                  <a:pt x="15" y="122"/>
                </a:cubicBezTo>
                <a:cubicBezTo>
                  <a:pt x="15" y="122"/>
                  <a:pt x="15" y="122"/>
                  <a:pt x="17" y="122"/>
                </a:cubicBezTo>
                <a:cubicBezTo>
                  <a:pt x="17" y="122"/>
                  <a:pt x="17" y="122"/>
                  <a:pt x="17" y="121"/>
                </a:cubicBezTo>
                <a:cubicBezTo>
                  <a:pt x="17" y="120"/>
                  <a:pt x="19" y="120"/>
                  <a:pt x="20" y="120"/>
                </a:cubicBezTo>
                <a:cubicBezTo>
                  <a:pt x="20" y="120"/>
                  <a:pt x="20" y="120"/>
                  <a:pt x="20" y="120"/>
                </a:cubicBezTo>
                <a:cubicBezTo>
                  <a:pt x="20" y="121"/>
                  <a:pt x="20" y="121"/>
                  <a:pt x="20" y="121"/>
                </a:cubicBezTo>
                <a:cubicBezTo>
                  <a:pt x="22" y="118"/>
                  <a:pt x="22" y="118"/>
                  <a:pt x="22" y="118"/>
                </a:cubicBezTo>
                <a:cubicBezTo>
                  <a:pt x="22" y="117"/>
                  <a:pt x="22" y="117"/>
                  <a:pt x="23" y="117"/>
                </a:cubicBezTo>
                <a:cubicBezTo>
                  <a:pt x="24" y="116"/>
                  <a:pt x="24" y="117"/>
                  <a:pt x="25" y="117"/>
                </a:cubicBezTo>
                <a:cubicBezTo>
                  <a:pt x="25" y="117"/>
                  <a:pt x="25" y="117"/>
                  <a:pt x="25" y="117"/>
                </a:cubicBezTo>
                <a:cubicBezTo>
                  <a:pt x="26" y="117"/>
                  <a:pt x="26" y="117"/>
                  <a:pt x="26" y="117"/>
                </a:cubicBezTo>
                <a:cubicBezTo>
                  <a:pt x="26" y="116"/>
                  <a:pt x="26" y="116"/>
                  <a:pt x="26" y="116"/>
                </a:cubicBezTo>
                <a:cubicBezTo>
                  <a:pt x="26" y="115"/>
                  <a:pt x="27" y="114"/>
                  <a:pt x="28" y="115"/>
                </a:cubicBezTo>
                <a:cubicBezTo>
                  <a:pt x="29" y="115"/>
                  <a:pt x="29" y="115"/>
                  <a:pt x="30" y="115"/>
                </a:cubicBezTo>
                <a:cubicBezTo>
                  <a:pt x="30" y="115"/>
                  <a:pt x="30" y="114"/>
                  <a:pt x="30" y="113"/>
                </a:cubicBezTo>
                <a:cubicBezTo>
                  <a:pt x="31" y="112"/>
                  <a:pt x="31" y="112"/>
                  <a:pt x="32" y="112"/>
                </a:cubicBezTo>
                <a:cubicBezTo>
                  <a:pt x="33" y="112"/>
                  <a:pt x="33" y="112"/>
                  <a:pt x="33" y="112"/>
                </a:cubicBezTo>
                <a:cubicBezTo>
                  <a:pt x="35" y="111"/>
                  <a:pt x="35" y="111"/>
                  <a:pt x="35" y="111"/>
                </a:cubicBezTo>
                <a:cubicBezTo>
                  <a:pt x="35" y="110"/>
                  <a:pt x="35" y="110"/>
                  <a:pt x="35" y="110"/>
                </a:cubicBezTo>
                <a:cubicBezTo>
                  <a:pt x="35" y="109"/>
                  <a:pt x="36" y="108"/>
                  <a:pt x="37" y="108"/>
                </a:cubicBezTo>
                <a:cubicBezTo>
                  <a:pt x="38" y="108"/>
                  <a:pt x="38" y="108"/>
                  <a:pt x="38" y="108"/>
                </a:cubicBezTo>
                <a:cubicBezTo>
                  <a:pt x="40" y="107"/>
                  <a:pt x="40" y="107"/>
                  <a:pt x="40" y="107"/>
                </a:cubicBezTo>
                <a:cubicBezTo>
                  <a:pt x="40" y="106"/>
                  <a:pt x="40" y="106"/>
                  <a:pt x="40" y="106"/>
                </a:cubicBezTo>
                <a:cubicBezTo>
                  <a:pt x="40" y="100"/>
                  <a:pt x="40" y="100"/>
                  <a:pt x="40" y="100"/>
                </a:cubicBezTo>
                <a:cubicBezTo>
                  <a:pt x="40" y="100"/>
                  <a:pt x="40" y="100"/>
                  <a:pt x="40" y="99"/>
                </a:cubicBezTo>
                <a:cubicBezTo>
                  <a:pt x="43" y="94"/>
                  <a:pt x="43" y="94"/>
                  <a:pt x="43" y="94"/>
                </a:cubicBezTo>
                <a:cubicBezTo>
                  <a:pt x="44" y="93"/>
                  <a:pt x="44" y="93"/>
                  <a:pt x="45" y="93"/>
                </a:cubicBezTo>
                <a:cubicBezTo>
                  <a:pt x="45" y="93"/>
                  <a:pt x="45" y="93"/>
                  <a:pt x="45" y="93"/>
                </a:cubicBezTo>
                <a:cubicBezTo>
                  <a:pt x="45" y="92"/>
                  <a:pt x="46" y="91"/>
                  <a:pt x="47" y="91"/>
                </a:cubicBezTo>
                <a:cubicBezTo>
                  <a:pt x="49" y="91"/>
                  <a:pt x="49" y="91"/>
                  <a:pt x="49" y="91"/>
                </a:cubicBezTo>
                <a:cubicBezTo>
                  <a:pt x="51" y="90"/>
                  <a:pt x="51" y="90"/>
                  <a:pt x="51" y="90"/>
                </a:cubicBezTo>
                <a:cubicBezTo>
                  <a:pt x="51" y="89"/>
                  <a:pt x="52" y="89"/>
                  <a:pt x="52" y="89"/>
                </a:cubicBezTo>
                <a:cubicBezTo>
                  <a:pt x="61" y="89"/>
                  <a:pt x="61" y="89"/>
                  <a:pt x="61" y="89"/>
                </a:cubicBezTo>
                <a:cubicBezTo>
                  <a:pt x="63" y="88"/>
                  <a:pt x="63" y="88"/>
                  <a:pt x="63" y="88"/>
                </a:cubicBezTo>
                <a:cubicBezTo>
                  <a:pt x="63" y="87"/>
                  <a:pt x="63" y="87"/>
                  <a:pt x="63" y="87"/>
                </a:cubicBezTo>
                <a:cubicBezTo>
                  <a:pt x="63" y="86"/>
                  <a:pt x="64" y="85"/>
                  <a:pt x="65" y="85"/>
                </a:cubicBezTo>
                <a:cubicBezTo>
                  <a:pt x="68" y="85"/>
                  <a:pt x="68" y="85"/>
                  <a:pt x="68" y="85"/>
                </a:cubicBezTo>
                <a:cubicBezTo>
                  <a:pt x="68" y="85"/>
                  <a:pt x="70" y="85"/>
                  <a:pt x="73" y="84"/>
                </a:cubicBezTo>
                <a:cubicBezTo>
                  <a:pt x="73" y="83"/>
                  <a:pt x="75" y="83"/>
                  <a:pt x="76" y="83"/>
                </a:cubicBezTo>
                <a:cubicBezTo>
                  <a:pt x="77" y="82"/>
                  <a:pt x="77" y="82"/>
                  <a:pt x="77" y="82"/>
                </a:cubicBezTo>
                <a:cubicBezTo>
                  <a:pt x="78" y="81"/>
                  <a:pt x="78" y="81"/>
                  <a:pt x="79" y="81"/>
                </a:cubicBezTo>
                <a:cubicBezTo>
                  <a:pt x="79" y="77"/>
                  <a:pt x="79" y="77"/>
                  <a:pt x="79" y="77"/>
                </a:cubicBezTo>
                <a:cubicBezTo>
                  <a:pt x="79" y="68"/>
                  <a:pt x="79" y="68"/>
                  <a:pt x="79" y="68"/>
                </a:cubicBezTo>
                <a:cubicBezTo>
                  <a:pt x="78" y="67"/>
                  <a:pt x="78" y="67"/>
                  <a:pt x="78" y="67"/>
                </a:cubicBezTo>
                <a:cubicBezTo>
                  <a:pt x="78" y="66"/>
                  <a:pt x="78" y="66"/>
                  <a:pt x="78" y="66"/>
                </a:cubicBezTo>
                <a:cubicBezTo>
                  <a:pt x="78" y="61"/>
                  <a:pt x="78" y="61"/>
                  <a:pt x="78" y="61"/>
                </a:cubicBezTo>
                <a:cubicBezTo>
                  <a:pt x="78" y="61"/>
                  <a:pt x="78" y="60"/>
                  <a:pt x="79" y="60"/>
                </a:cubicBezTo>
                <a:cubicBezTo>
                  <a:pt x="79" y="60"/>
                  <a:pt x="80" y="58"/>
                  <a:pt x="81" y="56"/>
                </a:cubicBezTo>
                <a:cubicBezTo>
                  <a:pt x="81" y="56"/>
                  <a:pt x="82" y="54"/>
                  <a:pt x="84" y="54"/>
                </a:cubicBezTo>
                <a:cubicBezTo>
                  <a:pt x="84" y="54"/>
                  <a:pt x="84" y="54"/>
                  <a:pt x="84" y="54"/>
                </a:cubicBezTo>
                <a:cubicBezTo>
                  <a:pt x="84" y="53"/>
                  <a:pt x="85" y="53"/>
                  <a:pt x="86" y="53"/>
                </a:cubicBezTo>
                <a:cubicBezTo>
                  <a:pt x="86" y="53"/>
                  <a:pt x="86" y="53"/>
                  <a:pt x="86" y="53"/>
                </a:cubicBezTo>
                <a:cubicBezTo>
                  <a:pt x="87" y="52"/>
                  <a:pt x="87" y="52"/>
                  <a:pt x="87" y="52"/>
                </a:cubicBezTo>
                <a:cubicBezTo>
                  <a:pt x="87" y="52"/>
                  <a:pt x="88" y="51"/>
                  <a:pt x="89" y="51"/>
                </a:cubicBezTo>
                <a:cubicBezTo>
                  <a:pt x="95" y="51"/>
                  <a:pt x="95" y="51"/>
                  <a:pt x="95" y="51"/>
                </a:cubicBezTo>
                <a:cubicBezTo>
                  <a:pt x="96" y="51"/>
                  <a:pt x="96" y="50"/>
                  <a:pt x="96" y="50"/>
                </a:cubicBezTo>
                <a:cubicBezTo>
                  <a:pt x="97" y="48"/>
                  <a:pt x="97" y="48"/>
                  <a:pt x="97" y="48"/>
                </a:cubicBezTo>
                <a:cubicBezTo>
                  <a:pt x="97" y="47"/>
                  <a:pt x="98" y="46"/>
                  <a:pt x="99" y="46"/>
                </a:cubicBezTo>
                <a:cubicBezTo>
                  <a:pt x="99" y="46"/>
                  <a:pt x="99" y="46"/>
                  <a:pt x="99" y="46"/>
                </a:cubicBezTo>
                <a:cubicBezTo>
                  <a:pt x="100" y="46"/>
                  <a:pt x="100" y="45"/>
                  <a:pt x="101" y="44"/>
                </a:cubicBezTo>
                <a:cubicBezTo>
                  <a:pt x="102" y="42"/>
                  <a:pt x="103" y="42"/>
                  <a:pt x="104" y="42"/>
                </a:cubicBezTo>
                <a:cubicBezTo>
                  <a:pt x="105" y="43"/>
                  <a:pt x="105" y="43"/>
                  <a:pt x="105" y="43"/>
                </a:cubicBezTo>
                <a:cubicBezTo>
                  <a:pt x="108" y="43"/>
                  <a:pt x="108" y="43"/>
                  <a:pt x="108" y="43"/>
                </a:cubicBezTo>
                <a:cubicBezTo>
                  <a:pt x="109" y="43"/>
                  <a:pt x="109" y="43"/>
                  <a:pt x="109" y="43"/>
                </a:cubicBezTo>
                <a:cubicBezTo>
                  <a:pt x="110" y="41"/>
                  <a:pt x="112" y="41"/>
                  <a:pt x="114" y="42"/>
                </a:cubicBezTo>
                <a:cubicBezTo>
                  <a:pt x="116" y="42"/>
                  <a:pt x="116" y="42"/>
                  <a:pt x="116" y="42"/>
                </a:cubicBezTo>
                <a:cubicBezTo>
                  <a:pt x="116" y="42"/>
                  <a:pt x="116" y="42"/>
                  <a:pt x="116" y="42"/>
                </a:cubicBezTo>
                <a:cubicBezTo>
                  <a:pt x="119" y="37"/>
                  <a:pt x="119" y="37"/>
                  <a:pt x="119" y="37"/>
                </a:cubicBezTo>
                <a:cubicBezTo>
                  <a:pt x="123" y="32"/>
                  <a:pt x="123" y="32"/>
                  <a:pt x="123" y="32"/>
                </a:cubicBezTo>
                <a:cubicBezTo>
                  <a:pt x="124" y="29"/>
                  <a:pt x="124" y="29"/>
                  <a:pt x="124" y="29"/>
                </a:cubicBezTo>
                <a:cubicBezTo>
                  <a:pt x="125" y="29"/>
                  <a:pt x="125" y="28"/>
                  <a:pt x="125" y="28"/>
                </a:cubicBezTo>
                <a:cubicBezTo>
                  <a:pt x="127" y="27"/>
                  <a:pt x="127" y="27"/>
                  <a:pt x="127" y="27"/>
                </a:cubicBezTo>
                <a:cubicBezTo>
                  <a:pt x="127" y="26"/>
                  <a:pt x="128" y="25"/>
                  <a:pt x="129" y="25"/>
                </a:cubicBezTo>
                <a:cubicBezTo>
                  <a:pt x="132" y="25"/>
                  <a:pt x="132" y="25"/>
                  <a:pt x="132" y="25"/>
                </a:cubicBezTo>
                <a:cubicBezTo>
                  <a:pt x="134" y="25"/>
                  <a:pt x="134" y="25"/>
                  <a:pt x="134" y="25"/>
                </a:cubicBezTo>
                <a:cubicBezTo>
                  <a:pt x="135" y="24"/>
                  <a:pt x="136" y="24"/>
                  <a:pt x="137" y="24"/>
                </a:cubicBezTo>
                <a:cubicBezTo>
                  <a:pt x="138" y="24"/>
                  <a:pt x="138" y="24"/>
                  <a:pt x="139" y="24"/>
                </a:cubicBezTo>
                <a:cubicBezTo>
                  <a:pt x="141" y="24"/>
                  <a:pt x="141" y="24"/>
                  <a:pt x="141" y="24"/>
                </a:cubicBezTo>
                <a:cubicBezTo>
                  <a:pt x="141" y="24"/>
                  <a:pt x="141" y="24"/>
                  <a:pt x="141" y="24"/>
                </a:cubicBezTo>
                <a:cubicBezTo>
                  <a:pt x="142" y="24"/>
                  <a:pt x="142" y="23"/>
                  <a:pt x="143" y="2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Freeform 68">
            <a:extLst>
              <a:ext uri="{FF2B5EF4-FFF2-40B4-BE49-F238E27FC236}">
                <a16:creationId xmlns:a16="http://schemas.microsoft.com/office/drawing/2014/main" id="{738EEC2D-50E1-4AEF-B47D-B2DC39082E9E}"/>
              </a:ext>
            </a:extLst>
          </p:cNvPr>
          <p:cNvSpPr>
            <a:spLocks/>
          </p:cNvSpPr>
          <p:nvPr/>
        </p:nvSpPr>
        <p:spPr bwMode="auto">
          <a:xfrm>
            <a:off x="4508779" y="4195294"/>
            <a:ext cx="385233" cy="309563"/>
          </a:xfrm>
          <a:custGeom>
            <a:avLst/>
            <a:gdLst>
              <a:gd name="T0" fmla="*/ 90 w 159"/>
              <a:gd name="T1" fmla="*/ 107 h 139"/>
              <a:gd name="T2" fmla="*/ 96 w 159"/>
              <a:gd name="T3" fmla="*/ 103 h 139"/>
              <a:gd name="T4" fmla="*/ 96 w 159"/>
              <a:gd name="T5" fmla="*/ 97 h 139"/>
              <a:gd name="T6" fmla="*/ 96 w 159"/>
              <a:gd name="T7" fmla="*/ 94 h 139"/>
              <a:gd name="T8" fmla="*/ 94 w 159"/>
              <a:gd name="T9" fmla="*/ 89 h 139"/>
              <a:gd name="T10" fmla="*/ 96 w 159"/>
              <a:gd name="T11" fmla="*/ 84 h 139"/>
              <a:gd name="T12" fmla="*/ 98 w 159"/>
              <a:gd name="T13" fmla="*/ 82 h 139"/>
              <a:gd name="T14" fmla="*/ 104 w 159"/>
              <a:gd name="T15" fmla="*/ 80 h 139"/>
              <a:gd name="T16" fmla="*/ 109 w 159"/>
              <a:gd name="T17" fmla="*/ 82 h 139"/>
              <a:gd name="T18" fmla="*/ 116 w 159"/>
              <a:gd name="T19" fmla="*/ 85 h 139"/>
              <a:gd name="T20" fmla="*/ 118 w 159"/>
              <a:gd name="T21" fmla="*/ 86 h 139"/>
              <a:gd name="T22" fmla="*/ 123 w 159"/>
              <a:gd name="T23" fmla="*/ 84 h 139"/>
              <a:gd name="T24" fmla="*/ 130 w 159"/>
              <a:gd name="T25" fmla="*/ 85 h 139"/>
              <a:gd name="T26" fmla="*/ 132 w 159"/>
              <a:gd name="T27" fmla="*/ 88 h 139"/>
              <a:gd name="T28" fmla="*/ 134 w 159"/>
              <a:gd name="T29" fmla="*/ 90 h 139"/>
              <a:gd name="T30" fmla="*/ 140 w 159"/>
              <a:gd name="T31" fmla="*/ 93 h 139"/>
              <a:gd name="T32" fmla="*/ 145 w 159"/>
              <a:gd name="T33" fmla="*/ 98 h 139"/>
              <a:gd name="T34" fmla="*/ 146 w 159"/>
              <a:gd name="T35" fmla="*/ 93 h 139"/>
              <a:gd name="T36" fmla="*/ 152 w 159"/>
              <a:gd name="T37" fmla="*/ 88 h 139"/>
              <a:gd name="T38" fmla="*/ 156 w 159"/>
              <a:gd name="T39" fmla="*/ 86 h 139"/>
              <a:gd name="T40" fmla="*/ 159 w 159"/>
              <a:gd name="T41" fmla="*/ 82 h 139"/>
              <a:gd name="T42" fmla="*/ 159 w 159"/>
              <a:gd name="T43" fmla="*/ 81 h 139"/>
              <a:gd name="T44" fmla="*/ 158 w 159"/>
              <a:gd name="T45" fmla="*/ 80 h 139"/>
              <a:gd name="T46" fmla="*/ 153 w 159"/>
              <a:gd name="T47" fmla="*/ 76 h 139"/>
              <a:gd name="T48" fmla="*/ 146 w 159"/>
              <a:gd name="T49" fmla="*/ 72 h 139"/>
              <a:gd name="T50" fmla="*/ 145 w 159"/>
              <a:gd name="T51" fmla="*/ 64 h 139"/>
              <a:gd name="T52" fmla="*/ 145 w 159"/>
              <a:gd name="T53" fmla="*/ 59 h 139"/>
              <a:gd name="T54" fmla="*/ 144 w 159"/>
              <a:gd name="T55" fmla="*/ 55 h 139"/>
              <a:gd name="T56" fmla="*/ 146 w 159"/>
              <a:gd name="T57" fmla="*/ 48 h 139"/>
              <a:gd name="T58" fmla="*/ 151 w 159"/>
              <a:gd name="T59" fmla="*/ 47 h 139"/>
              <a:gd name="T60" fmla="*/ 147 w 159"/>
              <a:gd name="T61" fmla="*/ 44 h 139"/>
              <a:gd name="T62" fmla="*/ 142 w 159"/>
              <a:gd name="T63" fmla="*/ 40 h 139"/>
              <a:gd name="T64" fmla="*/ 143 w 159"/>
              <a:gd name="T65" fmla="*/ 36 h 139"/>
              <a:gd name="T66" fmla="*/ 145 w 159"/>
              <a:gd name="T67" fmla="*/ 34 h 139"/>
              <a:gd name="T68" fmla="*/ 145 w 159"/>
              <a:gd name="T69" fmla="*/ 29 h 139"/>
              <a:gd name="T70" fmla="*/ 145 w 159"/>
              <a:gd name="T71" fmla="*/ 21 h 139"/>
              <a:gd name="T72" fmla="*/ 151 w 159"/>
              <a:gd name="T73" fmla="*/ 18 h 139"/>
              <a:gd name="T74" fmla="*/ 153 w 159"/>
              <a:gd name="T75" fmla="*/ 16 h 139"/>
              <a:gd name="T76" fmla="*/ 154 w 159"/>
              <a:gd name="T77" fmla="*/ 13 h 139"/>
              <a:gd name="T78" fmla="*/ 133 w 159"/>
              <a:gd name="T79" fmla="*/ 0 h 139"/>
              <a:gd name="T80" fmla="*/ 104 w 159"/>
              <a:gd name="T81" fmla="*/ 26 h 139"/>
              <a:gd name="T82" fmla="*/ 94 w 159"/>
              <a:gd name="T83" fmla="*/ 25 h 139"/>
              <a:gd name="T84" fmla="*/ 85 w 159"/>
              <a:gd name="T85" fmla="*/ 31 h 139"/>
              <a:gd name="T86" fmla="*/ 83 w 159"/>
              <a:gd name="T87" fmla="*/ 39 h 139"/>
              <a:gd name="T88" fmla="*/ 70 w 159"/>
              <a:gd name="T89" fmla="*/ 51 h 139"/>
              <a:gd name="T90" fmla="*/ 69 w 159"/>
              <a:gd name="T91" fmla="*/ 55 h 139"/>
              <a:gd name="T92" fmla="*/ 68 w 159"/>
              <a:gd name="T93" fmla="*/ 58 h 139"/>
              <a:gd name="T94" fmla="*/ 66 w 159"/>
              <a:gd name="T95" fmla="*/ 56 h 139"/>
              <a:gd name="T96" fmla="*/ 62 w 159"/>
              <a:gd name="T97" fmla="*/ 73 h 139"/>
              <a:gd name="T98" fmla="*/ 48 w 159"/>
              <a:gd name="T99" fmla="*/ 88 h 139"/>
              <a:gd name="T100" fmla="*/ 34 w 159"/>
              <a:gd name="T101" fmla="*/ 101 h 139"/>
              <a:gd name="T102" fmla="*/ 17 w 159"/>
              <a:gd name="T103" fmla="*/ 110 h 139"/>
              <a:gd name="T104" fmla="*/ 0 w 159"/>
              <a:gd name="T105" fmla="*/ 137 h 139"/>
              <a:gd name="T106" fmla="*/ 5 w 159"/>
              <a:gd name="T107" fmla="*/ 139 h 139"/>
              <a:gd name="T108" fmla="*/ 42 w 159"/>
              <a:gd name="T109" fmla="*/ 127 h 139"/>
              <a:gd name="T110" fmla="*/ 47 w 159"/>
              <a:gd name="T111" fmla="*/ 118 h 139"/>
              <a:gd name="T112" fmla="*/ 78 w 159"/>
              <a:gd name="T113" fmla="*/ 107 h 139"/>
              <a:gd name="T114" fmla="*/ 86 w 159"/>
              <a:gd name="T115" fmla="*/ 107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59" h="139">
                <a:moveTo>
                  <a:pt x="90" y="108"/>
                </a:moveTo>
                <a:cubicBezTo>
                  <a:pt x="90" y="108"/>
                  <a:pt x="90" y="108"/>
                  <a:pt x="90" y="108"/>
                </a:cubicBezTo>
                <a:cubicBezTo>
                  <a:pt x="90" y="107"/>
                  <a:pt x="90" y="107"/>
                  <a:pt x="90" y="107"/>
                </a:cubicBezTo>
                <a:cubicBezTo>
                  <a:pt x="90" y="106"/>
                  <a:pt x="95" y="105"/>
                  <a:pt x="95" y="105"/>
                </a:cubicBezTo>
                <a:cubicBezTo>
                  <a:pt x="95" y="104"/>
                  <a:pt x="95" y="104"/>
                  <a:pt x="96" y="103"/>
                </a:cubicBezTo>
                <a:cubicBezTo>
                  <a:pt x="96" y="103"/>
                  <a:pt x="96" y="103"/>
                  <a:pt x="96" y="103"/>
                </a:cubicBezTo>
                <a:cubicBezTo>
                  <a:pt x="96" y="102"/>
                  <a:pt x="96" y="102"/>
                  <a:pt x="96" y="101"/>
                </a:cubicBezTo>
                <a:cubicBezTo>
                  <a:pt x="96" y="100"/>
                  <a:pt x="96" y="100"/>
                  <a:pt x="96" y="100"/>
                </a:cubicBezTo>
                <a:cubicBezTo>
                  <a:pt x="96" y="99"/>
                  <a:pt x="96" y="98"/>
                  <a:pt x="96" y="97"/>
                </a:cubicBezTo>
                <a:cubicBezTo>
                  <a:pt x="97" y="97"/>
                  <a:pt x="97" y="97"/>
                  <a:pt x="97" y="97"/>
                </a:cubicBezTo>
                <a:cubicBezTo>
                  <a:pt x="97" y="95"/>
                  <a:pt x="97" y="95"/>
                  <a:pt x="97" y="95"/>
                </a:cubicBezTo>
                <a:cubicBezTo>
                  <a:pt x="96" y="95"/>
                  <a:pt x="96" y="94"/>
                  <a:pt x="96" y="94"/>
                </a:cubicBezTo>
                <a:cubicBezTo>
                  <a:pt x="95" y="93"/>
                  <a:pt x="95" y="93"/>
                  <a:pt x="95" y="93"/>
                </a:cubicBezTo>
                <a:cubicBezTo>
                  <a:pt x="95" y="93"/>
                  <a:pt x="95" y="93"/>
                  <a:pt x="95" y="92"/>
                </a:cubicBezTo>
                <a:cubicBezTo>
                  <a:pt x="94" y="92"/>
                  <a:pt x="94" y="90"/>
                  <a:pt x="94" y="89"/>
                </a:cubicBezTo>
                <a:cubicBezTo>
                  <a:pt x="95" y="88"/>
                  <a:pt x="95" y="87"/>
                  <a:pt x="95" y="87"/>
                </a:cubicBezTo>
                <a:cubicBezTo>
                  <a:pt x="95" y="85"/>
                  <a:pt x="95" y="85"/>
                  <a:pt x="95" y="85"/>
                </a:cubicBezTo>
                <a:cubicBezTo>
                  <a:pt x="95" y="85"/>
                  <a:pt x="96" y="85"/>
                  <a:pt x="96" y="84"/>
                </a:cubicBezTo>
                <a:cubicBezTo>
                  <a:pt x="97" y="83"/>
                  <a:pt x="97" y="83"/>
                  <a:pt x="97" y="83"/>
                </a:cubicBezTo>
                <a:cubicBezTo>
                  <a:pt x="97" y="83"/>
                  <a:pt x="97" y="83"/>
                  <a:pt x="98" y="83"/>
                </a:cubicBezTo>
                <a:cubicBezTo>
                  <a:pt x="98" y="82"/>
                  <a:pt x="98" y="82"/>
                  <a:pt x="98" y="82"/>
                </a:cubicBezTo>
                <a:cubicBezTo>
                  <a:pt x="98" y="81"/>
                  <a:pt x="99" y="81"/>
                  <a:pt x="100" y="81"/>
                </a:cubicBezTo>
                <a:cubicBezTo>
                  <a:pt x="102" y="80"/>
                  <a:pt x="102" y="80"/>
                  <a:pt x="102" y="80"/>
                </a:cubicBezTo>
                <a:cubicBezTo>
                  <a:pt x="104" y="80"/>
                  <a:pt x="104" y="80"/>
                  <a:pt x="104" y="80"/>
                </a:cubicBezTo>
                <a:cubicBezTo>
                  <a:pt x="105" y="80"/>
                  <a:pt x="105" y="80"/>
                  <a:pt x="105" y="80"/>
                </a:cubicBezTo>
                <a:cubicBezTo>
                  <a:pt x="108" y="82"/>
                  <a:pt x="108" y="82"/>
                  <a:pt x="108" y="82"/>
                </a:cubicBezTo>
                <a:cubicBezTo>
                  <a:pt x="109" y="82"/>
                  <a:pt x="109" y="82"/>
                  <a:pt x="109" y="82"/>
                </a:cubicBezTo>
                <a:cubicBezTo>
                  <a:pt x="110" y="82"/>
                  <a:pt x="111" y="82"/>
                  <a:pt x="111" y="83"/>
                </a:cubicBezTo>
                <a:cubicBezTo>
                  <a:pt x="112" y="83"/>
                  <a:pt x="113" y="83"/>
                  <a:pt x="113" y="83"/>
                </a:cubicBezTo>
                <a:cubicBezTo>
                  <a:pt x="114" y="83"/>
                  <a:pt x="116" y="84"/>
                  <a:pt x="116" y="85"/>
                </a:cubicBezTo>
                <a:cubicBezTo>
                  <a:pt x="117" y="86"/>
                  <a:pt x="117" y="86"/>
                  <a:pt x="117" y="86"/>
                </a:cubicBezTo>
                <a:cubicBezTo>
                  <a:pt x="117" y="86"/>
                  <a:pt x="117" y="86"/>
                  <a:pt x="117" y="86"/>
                </a:cubicBezTo>
                <a:cubicBezTo>
                  <a:pt x="118" y="86"/>
                  <a:pt x="118" y="86"/>
                  <a:pt x="118" y="86"/>
                </a:cubicBezTo>
                <a:cubicBezTo>
                  <a:pt x="118" y="86"/>
                  <a:pt x="118" y="86"/>
                  <a:pt x="119" y="86"/>
                </a:cubicBezTo>
                <a:cubicBezTo>
                  <a:pt x="120" y="86"/>
                  <a:pt x="121" y="86"/>
                  <a:pt x="121" y="85"/>
                </a:cubicBezTo>
                <a:cubicBezTo>
                  <a:pt x="123" y="84"/>
                  <a:pt x="123" y="84"/>
                  <a:pt x="123" y="84"/>
                </a:cubicBezTo>
                <a:cubicBezTo>
                  <a:pt x="124" y="84"/>
                  <a:pt x="124" y="84"/>
                  <a:pt x="125" y="84"/>
                </a:cubicBezTo>
                <a:cubicBezTo>
                  <a:pt x="128" y="85"/>
                  <a:pt x="128" y="85"/>
                  <a:pt x="128" y="85"/>
                </a:cubicBezTo>
                <a:cubicBezTo>
                  <a:pt x="130" y="85"/>
                  <a:pt x="130" y="85"/>
                  <a:pt x="130" y="85"/>
                </a:cubicBezTo>
                <a:cubicBezTo>
                  <a:pt x="130" y="86"/>
                  <a:pt x="130" y="86"/>
                  <a:pt x="130" y="86"/>
                </a:cubicBezTo>
                <a:cubicBezTo>
                  <a:pt x="132" y="87"/>
                  <a:pt x="132" y="87"/>
                  <a:pt x="132" y="87"/>
                </a:cubicBezTo>
                <a:cubicBezTo>
                  <a:pt x="132" y="88"/>
                  <a:pt x="132" y="88"/>
                  <a:pt x="132" y="88"/>
                </a:cubicBezTo>
                <a:cubicBezTo>
                  <a:pt x="132" y="89"/>
                  <a:pt x="132" y="89"/>
                  <a:pt x="132" y="89"/>
                </a:cubicBezTo>
                <a:cubicBezTo>
                  <a:pt x="133" y="89"/>
                  <a:pt x="133" y="89"/>
                  <a:pt x="133" y="89"/>
                </a:cubicBezTo>
                <a:cubicBezTo>
                  <a:pt x="134" y="89"/>
                  <a:pt x="134" y="90"/>
                  <a:pt x="134" y="90"/>
                </a:cubicBezTo>
                <a:cubicBezTo>
                  <a:pt x="135" y="92"/>
                  <a:pt x="135" y="92"/>
                  <a:pt x="135" y="92"/>
                </a:cubicBezTo>
                <a:cubicBezTo>
                  <a:pt x="138" y="92"/>
                  <a:pt x="138" y="92"/>
                  <a:pt x="138" y="92"/>
                </a:cubicBezTo>
                <a:cubicBezTo>
                  <a:pt x="139" y="92"/>
                  <a:pt x="140" y="93"/>
                  <a:pt x="140" y="93"/>
                </a:cubicBezTo>
                <a:cubicBezTo>
                  <a:pt x="143" y="98"/>
                  <a:pt x="143" y="98"/>
                  <a:pt x="143" y="98"/>
                </a:cubicBezTo>
                <a:cubicBezTo>
                  <a:pt x="144" y="98"/>
                  <a:pt x="145" y="98"/>
                  <a:pt x="145" y="98"/>
                </a:cubicBezTo>
                <a:cubicBezTo>
                  <a:pt x="145" y="98"/>
                  <a:pt x="145" y="98"/>
                  <a:pt x="145" y="98"/>
                </a:cubicBezTo>
                <a:cubicBezTo>
                  <a:pt x="145" y="98"/>
                  <a:pt x="145" y="97"/>
                  <a:pt x="145" y="96"/>
                </a:cubicBezTo>
                <a:cubicBezTo>
                  <a:pt x="146" y="95"/>
                  <a:pt x="146" y="95"/>
                  <a:pt x="146" y="95"/>
                </a:cubicBezTo>
                <a:cubicBezTo>
                  <a:pt x="145" y="94"/>
                  <a:pt x="146" y="94"/>
                  <a:pt x="146" y="93"/>
                </a:cubicBezTo>
                <a:cubicBezTo>
                  <a:pt x="146" y="93"/>
                  <a:pt x="147" y="92"/>
                  <a:pt x="148" y="91"/>
                </a:cubicBezTo>
                <a:cubicBezTo>
                  <a:pt x="148" y="91"/>
                  <a:pt x="148" y="90"/>
                  <a:pt x="149" y="90"/>
                </a:cubicBezTo>
                <a:cubicBezTo>
                  <a:pt x="149" y="90"/>
                  <a:pt x="150" y="89"/>
                  <a:pt x="152" y="88"/>
                </a:cubicBezTo>
                <a:cubicBezTo>
                  <a:pt x="153" y="88"/>
                  <a:pt x="153" y="88"/>
                  <a:pt x="153" y="88"/>
                </a:cubicBezTo>
                <a:cubicBezTo>
                  <a:pt x="154" y="87"/>
                  <a:pt x="155" y="87"/>
                  <a:pt x="156" y="86"/>
                </a:cubicBezTo>
                <a:cubicBezTo>
                  <a:pt x="156" y="86"/>
                  <a:pt x="156" y="86"/>
                  <a:pt x="156" y="86"/>
                </a:cubicBezTo>
                <a:cubicBezTo>
                  <a:pt x="157" y="86"/>
                  <a:pt x="157" y="85"/>
                  <a:pt x="158" y="85"/>
                </a:cubicBezTo>
                <a:cubicBezTo>
                  <a:pt x="158" y="84"/>
                  <a:pt x="158" y="84"/>
                  <a:pt x="159" y="83"/>
                </a:cubicBezTo>
                <a:cubicBezTo>
                  <a:pt x="159" y="82"/>
                  <a:pt x="159" y="82"/>
                  <a:pt x="159" y="82"/>
                </a:cubicBezTo>
                <a:cubicBezTo>
                  <a:pt x="159" y="82"/>
                  <a:pt x="159" y="82"/>
                  <a:pt x="159" y="81"/>
                </a:cubicBezTo>
                <a:cubicBezTo>
                  <a:pt x="159" y="81"/>
                  <a:pt x="159" y="81"/>
                  <a:pt x="159" y="81"/>
                </a:cubicBezTo>
                <a:cubicBezTo>
                  <a:pt x="159" y="81"/>
                  <a:pt x="159" y="81"/>
                  <a:pt x="159" y="81"/>
                </a:cubicBezTo>
                <a:cubicBezTo>
                  <a:pt x="159" y="80"/>
                  <a:pt x="159" y="80"/>
                  <a:pt x="159" y="80"/>
                </a:cubicBezTo>
                <a:cubicBezTo>
                  <a:pt x="158" y="80"/>
                  <a:pt x="158" y="80"/>
                  <a:pt x="158" y="80"/>
                </a:cubicBezTo>
                <a:cubicBezTo>
                  <a:pt x="158" y="80"/>
                  <a:pt x="158" y="80"/>
                  <a:pt x="158" y="80"/>
                </a:cubicBezTo>
                <a:cubicBezTo>
                  <a:pt x="157" y="80"/>
                  <a:pt x="156" y="80"/>
                  <a:pt x="155" y="78"/>
                </a:cubicBezTo>
                <a:cubicBezTo>
                  <a:pt x="155" y="77"/>
                  <a:pt x="154" y="76"/>
                  <a:pt x="153" y="76"/>
                </a:cubicBezTo>
                <a:cubicBezTo>
                  <a:pt x="153" y="76"/>
                  <a:pt x="153" y="76"/>
                  <a:pt x="153" y="76"/>
                </a:cubicBezTo>
                <a:cubicBezTo>
                  <a:pt x="152" y="76"/>
                  <a:pt x="151" y="76"/>
                  <a:pt x="149" y="75"/>
                </a:cubicBezTo>
                <a:cubicBezTo>
                  <a:pt x="148" y="75"/>
                  <a:pt x="148" y="75"/>
                  <a:pt x="148" y="75"/>
                </a:cubicBezTo>
                <a:cubicBezTo>
                  <a:pt x="147" y="75"/>
                  <a:pt x="146" y="73"/>
                  <a:pt x="146" y="72"/>
                </a:cubicBezTo>
                <a:cubicBezTo>
                  <a:pt x="146" y="72"/>
                  <a:pt x="146" y="72"/>
                  <a:pt x="146" y="72"/>
                </a:cubicBezTo>
                <a:cubicBezTo>
                  <a:pt x="145" y="71"/>
                  <a:pt x="145" y="71"/>
                  <a:pt x="145" y="69"/>
                </a:cubicBezTo>
                <a:cubicBezTo>
                  <a:pt x="145" y="64"/>
                  <a:pt x="145" y="64"/>
                  <a:pt x="145" y="64"/>
                </a:cubicBezTo>
                <a:cubicBezTo>
                  <a:pt x="145" y="63"/>
                  <a:pt x="145" y="63"/>
                  <a:pt x="145" y="62"/>
                </a:cubicBezTo>
                <a:cubicBezTo>
                  <a:pt x="145" y="62"/>
                  <a:pt x="145" y="61"/>
                  <a:pt x="145" y="60"/>
                </a:cubicBezTo>
                <a:cubicBezTo>
                  <a:pt x="145" y="59"/>
                  <a:pt x="145" y="59"/>
                  <a:pt x="145" y="59"/>
                </a:cubicBezTo>
                <a:cubicBezTo>
                  <a:pt x="146" y="58"/>
                  <a:pt x="146" y="58"/>
                  <a:pt x="146" y="58"/>
                </a:cubicBezTo>
                <a:cubicBezTo>
                  <a:pt x="146" y="58"/>
                  <a:pt x="146" y="57"/>
                  <a:pt x="145" y="57"/>
                </a:cubicBezTo>
                <a:cubicBezTo>
                  <a:pt x="145" y="56"/>
                  <a:pt x="144" y="55"/>
                  <a:pt x="144" y="55"/>
                </a:cubicBezTo>
                <a:cubicBezTo>
                  <a:pt x="143" y="54"/>
                  <a:pt x="143" y="54"/>
                  <a:pt x="143" y="53"/>
                </a:cubicBezTo>
                <a:cubicBezTo>
                  <a:pt x="143" y="53"/>
                  <a:pt x="143" y="52"/>
                  <a:pt x="143" y="51"/>
                </a:cubicBezTo>
                <a:cubicBezTo>
                  <a:pt x="143" y="49"/>
                  <a:pt x="145" y="48"/>
                  <a:pt x="146" y="48"/>
                </a:cubicBezTo>
                <a:cubicBezTo>
                  <a:pt x="146" y="48"/>
                  <a:pt x="146" y="48"/>
                  <a:pt x="146" y="48"/>
                </a:cubicBezTo>
                <a:cubicBezTo>
                  <a:pt x="154" y="48"/>
                  <a:pt x="154" y="48"/>
                  <a:pt x="154" y="48"/>
                </a:cubicBezTo>
                <a:cubicBezTo>
                  <a:pt x="153" y="48"/>
                  <a:pt x="153" y="47"/>
                  <a:pt x="151" y="47"/>
                </a:cubicBezTo>
                <a:cubicBezTo>
                  <a:pt x="150" y="46"/>
                  <a:pt x="150" y="46"/>
                  <a:pt x="150" y="46"/>
                </a:cubicBezTo>
                <a:cubicBezTo>
                  <a:pt x="149" y="45"/>
                  <a:pt x="149" y="45"/>
                  <a:pt x="148" y="45"/>
                </a:cubicBezTo>
                <a:cubicBezTo>
                  <a:pt x="148" y="45"/>
                  <a:pt x="148" y="45"/>
                  <a:pt x="147" y="44"/>
                </a:cubicBezTo>
                <a:cubicBezTo>
                  <a:pt x="147" y="44"/>
                  <a:pt x="147" y="44"/>
                  <a:pt x="146" y="44"/>
                </a:cubicBezTo>
                <a:cubicBezTo>
                  <a:pt x="144" y="43"/>
                  <a:pt x="143" y="42"/>
                  <a:pt x="143" y="42"/>
                </a:cubicBezTo>
                <a:cubicBezTo>
                  <a:pt x="142" y="42"/>
                  <a:pt x="142" y="41"/>
                  <a:pt x="142" y="40"/>
                </a:cubicBezTo>
                <a:cubicBezTo>
                  <a:pt x="142" y="40"/>
                  <a:pt x="142" y="40"/>
                  <a:pt x="142" y="40"/>
                </a:cubicBezTo>
                <a:cubicBezTo>
                  <a:pt x="142" y="39"/>
                  <a:pt x="142" y="39"/>
                  <a:pt x="141" y="39"/>
                </a:cubicBezTo>
                <a:cubicBezTo>
                  <a:pt x="141" y="38"/>
                  <a:pt x="141" y="37"/>
                  <a:pt x="143" y="36"/>
                </a:cubicBezTo>
                <a:cubicBezTo>
                  <a:pt x="143" y="36"/>
                  <a:pt x="143" y="36"/>
                  <a:pt x="143" y="36"/>
                </a:cubicBezTo>
                <a:cubicBezTo>
                  <a:pt x="143" y="36"/>
                  <a:pt x="143" y="36"/>
                  <a:pt x="143" y="36"/>
                </a:cubicBezTo>
                <a:cubicBezTo>
                  <a:pt x="145" y="34"/>
                  <a:pt x="145" y="34"/>
                  <a:pt x="145" y="34"/>
                </a:cubicBezTo>
                <a:cubicBezTo>
                  <a:pt x="145" y="33"/>
                  <a:pt x="145" y="33"/>
                  <a:pt x="145" y="32"/>
                </a:cubicBezTo>
                <a:cubicBezTo>
                  <a:pt x="145" y="31"/>
                  <a:pt x="145" y="31"/>
                  <a:pt x="145" y="31"/>
                </a:cubicBezTo>
                <a:cubicBezTo>
                  <a:pt x="145" y="30"/>
                  <a:pt x="145" y="30"/>
                  <a:pt x="145" y="29"/>
                </a:cubicBezTo>
                <a:cubicBezTo>
                  <a:pt x="145" y="29"/>
                  <a:pt x="145" y="29"/>
                  <a:pt x="145" y="29"/>
                </a:cubicBezTo>
                <a:cubicBezTo>
                  <a:pt x="145" y="28"/>
                  <a:pt x="145" y="27"/>
                  <a:pt x="145" y="26"/>
                </a:cubicBezTo>
                <a:cubicBezTo>
                  <a:pt x="145" y="21"/>
                  <a:pt x="145" y="21"/>
                  <a:pt x="145" y="21"/>
                </a:cubicBezTo>
                <a:cubicBezTo>
                  <a:pt x="145" y="21"/>
                  <a:pt x="145" y="21"/>
                  <a:pt x="145" y="20"/>
                </a:cubicBezTo>
                <a:cubicBezTo>
                  <a:pt x="146" y="20"/>
                  <a:pt x="147" y="19"/>
                  <a:pt x="149" y="18"/>
                </a:cubicBezTo>
                <a:cubicBezTo>
                  <a:pt x="151" y="18"/>
                  <a:pt x="151" y="18"/>
                  <a:pt x="151" y="18"/>
                </a:cubicBezTo>
                <a:cubicBezTo>
                  <a:pt x="151" y="18"/>
                  <a:pt x="151" y="18"/>
                  <a:pt x="152" y="18"/>
                </a:cubicBezTo>
                <a:cubicBezTo>
                  <a:pt x="152" y="18"/>
                  <a:pt x="152" y="17"/>
                  <a:pt x="153" y="17"/>
                </a:cubicBezTo>
                <a:cubicBezTo>
                  <a:pt x="153" y="17"/>
                  <a:pt x="153" y="17"/>
                  <a:pt x="153" y="16"/>
                </a:cubicBezTo>
                <a:cubicBezTo>
                  <a:pt x="153" y="16"/>
                  <a:pt x="153" y="16"/>
                  <a:pt x="153" y="16"/>
                </a:cubicBezTo>
                <a:cubicBezTo>
                  <a:pt x="153" y="14"/>
                  <a:pt x="154" y="14"/>
                  <a:pt x="154" y="14"/>
                </a:cubicBezTo>
                <a:cubicBezTo>
                  <a:pt x="154" y="13"/>
                  <a:pt x="154" y="13"/>
                  <a:pt x="154" y="13"/>
                </a:cubicBezTo>
                <a:cubicBezTo>
                  <a:pt x="154" y="12"/>
                  <a:pt x="154" y="12"/>
                  <a:pt x="154" y="12"/>
                </a:cubicBezTo>
                <a:cubicBezTo>
                  <a:pt x="154" y="8"/>
                  <a:pt x="154" y="8"/>
                  <a:pt x="154" y="8"/>
                </a:cubicBezTo>
                <a:cubicBezTo>
                  <a:pt x="133" y="0"/>
                  <a:pt x="133" y="0"/>
                  <a:pt x="133" y="0"/>
                </a:cubicBezTo>
                <a:cubicBezTo>
                  <a:pt x="132" y="12"/>
                  <a:pt x="132" y="12"/>
                  <a:pt x="132" y="12"/>
                </a:cubicBezTo>
                <a:cubicBezTo>
                  <a:pt x="116" y="20"/>
                  <a:pt x="116" y="20"/>
                  <a:pt x="116" y="20"/>
                </a:cubicBezTo>
                <a:cubicBezTo>
                  <a:pt x="104" y="26"/>
                  <a:pt x="104" y="26"/>
                  <a:pt x="104" y="26"/>
                </a:cubicBezTo>
                <a:cubicBezTo>
                  <a:pt x="99" y="26"/>
                  <a:pt x="99" y="26"/>
                  <a:pt x="99" y="26"/>
                </a:cubicBezTo>
                <a:cubicBezTo>
                  <a:pt x="95" y="25"/>
                  <a:pt x="95" y="25"/>
                  <a:pt x="95" y="25"/>
                </a:cubicBezTo>
                <a:cubicBezTo>
                  <a:pt x="94" y="25"/>
                  <a:pt x="94" y="25"/>
                  <a:pt x="94" y="25"/>
                </a:cubicBezTo>
                <a:cubicBezTo>
                  <a:pt x="92" y="26"/>
                  <a:pt x="92" y="26"/>
                  <a:pt x="92" y="26"/>
                </a:cubicBezTo>
                <a:cubicBezTo>
                  <a:pt x="86" y="31"/>
                  <a:pt x="86" y="31"/>
                  <a:pt x="86" y="31"/>
                </a:cubicBezTo>
                <a:cubicBezTo>
                  <a:pt x="85" y="31"/>
                  <a:pt x="85" y="31"/>
                  <a:pt x="85" y="31"/>
                </a:cubicBezTo>
                <a:cubicBezTo>
                  <a:pt x="84" y="37"/>
                  <a:pt x="84" y="37"/>
                  <a:pt x="84" y="37"/>
                </a:cubicBezTo>
                <a:cubicBezTo>
                  <a:pt x="83" y="38"/>
                  <a:pt x="83" y="38"/>
                  <a:pt x="83" y="38"/>
                </a:cubicBezTo>
                <a:cubicBezTo>
                  <a:pt x="83" y="39"/>
                  <a:pt x="83" y="39"/>
                  <a:pt x="83" y="39"/>
                </a:cubicBezTo>
                <a:cubicBezTo>
                  <a:pt x="82" y="40"/>
                  <a:pt x="82" y="40"/>
                  <a:pt x="82" y="40"/>
                </a:cubicBezTo>
                <a:cubicBezTo>
                  <a:pt x="78" y="43"/>
                  <a:pt x="78" y="43"/>
                  <a:pt x="78" y="43"/>
                </a:cubicBezTo>
                <a:cubicBezTo>
                  <a:pt x="70" y="51"/>
                  <a:pt x="70" y="51"/>
                  <a:pt x="70" y="51"/>
                </a:cubicBezTo>
                <a:cubicBezTo>
                  <a:pt x="70" y="52"/>
                  <a:pt x="70" y="52"/>
                  <a:pt x="70" y="52"/>
                </a:cubicBezTo>
                <a:cubicBezTo>
                  <a:pt x="69" y="53"/>
                  <a:pt x="69" y="53"/>
                  <a:pt x="69" y="53"/>
                </a:cubicBezTo>
                <a:cubicBezTo>
                  <a:pt x="69" y="55"/>
                  <a:pt x="69" y="55"/>
                  <a:pt x="69" y="55"/>
                </a:cubicBezTo>
                <a:cubicBezTo>
                  <a:pt x="69" y="57"/>
                  <a:pt x="69" y="57"/>
                  <a:pt x="69" y="57"/>
                </a:cubicBezTo>
                <a:cubicBezTo>
                  <a:pt x="68" y="58"/>
                  <a:pt x="68" y="58"/>
                  <a:pt x="68" y="58"/>
                </a:cubicBezTo>
                <a:cubicBezTo>
                  <a:pt x="68" y="58"/>
                  <a:pt x="68" y="58"/>
                  <a:pt x="68" y="58"/>
                </a:cubicBezTo>
                <a:cubicBezTo>
                  <a:pt x="67" y="58"/>
                  <a:pt x="67" y="58"/>
                  <a:pt x="67" y="58"/>
                </a:cubicBezTo>
                <a:cubicBezTo>
                  <a:pt x="66" y="57"/>
                  <a:pt x="66" y="57"/>
                  <a:pt x="66" y="57"/>
                </a:cubicBezTo>
                <a:cubicBezTo>
                  <a:pt x="66" y="56"/>
                  <a:pt x="66" y="56"/>
                  <a:pt x="66" y="56"/>
                </a:cubicBezTo>
                <a:cubicBezTo>
                  <a:pt x="63" y="66"/>
                  <a:pt x="63" y="66"/>
                  <a:pt x="63" y="66"/>
                </a:cubicBezTo>
                <a:cubicBezTo>
                  <a:pt x="63" y="69"/>
                  <a:pt x="63" y="69"/>
                  <a:pt x="63" y="69"/>
                </a:cubicBezTo>
                <a:cubicBezTo>
                  <a:pt x="62" y="73"/>
                  <a:pt x="62" y="73"/>
                  <a:pt x="62" y="73"/>
                </a:cubicBezTo>
                <a:cubicBezTo>
                  <a:pt x="62" y="75"/>
                  <a:pt x="62" y="75"/>
                  <a:pt x="62" y="75"/>
                </a:cubicBezTo>
                <a:cubicBezTo>
                  <a:pt x="60" y="77"/>
                  <a:pt x="60" y="77"/>
                  <a:pt x="60" y="77"/>
                </a:cubicBezTo>
                <a:cubicBezTo>
                  <a:pt x="48" y="88"/>
                  <a:pt x="48" y="88"/>
                  <a:pt x="48" y="88"/>
                </a:cubicBezTo>
                <a:cubicBezTo>
                  <a:pt x="39" y="97"/>
                  <a:pt x="39" y="97"/>
                  <a:pt x="39" y="97"/>
                </a:cubicBezTo>
                <a:cubicBezTo>
                  <a:pt x="36" y="100"/>
                  <a:pt x="36" y="100"/>
                  <a:pt x="36" y="100"/>
                </a:cubicBezTo>
                <a:cubicBezTo>
                  <a:pt x="34" y="101"/>
                  <a:pt x="34" y="101"/>
                  <a:pt x="34" y="101"/>
                </a:cubicBezTo>
                <a:cubicBezTo>
                  <a:pt x="32" y="102"/>
                  <a:pt x="32" y="102"/>
                  <a:pt x="32" y="102"/>
                </a:cubicBezTo>
                <a:cubicBezTo>
                  <a:pt x="25" y="104"/>
                  <a:pt x="25" y="104"/>
                  <a:pt x="25" y="104"/>
                </a:cubicBezTo>
                <a:cubicBezTo>
                  <a:pt x="17" y="110"/>
                  <a:pt x="17" y="110"/>
                  <a:pt x="17" y="110"/>
                </a:cubicBezTo>
                <a:cubicBezTo>
                  <a:pt x="6" y="123"/>
                  <a:pt x="6" y="123"/>
                  <a:pt x="6" y="123"/>
                </a:cubicBezTo>
                <a:cubicBezTo>
                  <a:pt x="1" y="133"/>
                  <a:pt x="1" y="133"/>
                  <a:pt x="1" y="133"/>
                </a:cubicBezTo>
                <a:cubicBezTo>
                  <a:pt x="0" y="137"/>
                  <a:pt x="0" y="137"/>
                  <a:pt x="0" y="137"/>
                </a:cubicBezTo>
                <a:cubicBezTo>
                  <a:pt x="1" y="138"/>
                  <a:pt x="1" y="138"/>
                  <a:pt x="1" y="138"/>
                </a:cubicBezTo>
                <a:cubicBezTo>
                  <a:pt x="2" y="139"/>
                  <a:pt x="2" y="139"/>
                  <a:pt x="2" y="139"/>
                </a:cubicBezTo>
                <a:cubicBezTo>
                  <a:pt x="5" y="139"/>
                  <a:pt x="5" y="139"/>
                  <a:pt x="5" y="139"/>
                </a:cubicBezTo>
                <a:cubicBezTo>
                  <a:pt x="34" y="135"/>
                  <a:pt x="34" y="135"/>
                  <a:pt x="34" y="135"/>
                </a:cubicBezTo>
                <a:cubicBezTo>
                  <a:pt x="41" y="130"/>
                  <a:pt x="41" y="130"/>
                  <a:pt x="41" y="130"/>
                </a:cubicBezTo>
                <a:cubicBezTo>
                  <a:pt x="42" y="127"/>
                  <a:pt x="42" y="127"/>
                  <a:pt x="42" y="127"/>
                </a:cubicBezTo>
                <a:cubicBezTo>
                  <a:pt x="43" y="125"/>
                  <a:pt x="43" y="125"/>
                  <a:pt x="43" y="125"/>
                </a:cubicBezTo>
                <a:cubicBezTo>
                  <a:pt x="45" y="121"/>
                  <a:pt x="45" y="121"/>
                  <a:pt x="45" y="121"/>
                </a:cubicBezTo>
                <a:cubicBezTo>
                  <a:pt x="47" y="118"/>
                  <a:pt x="47" y="118"/>
                  <a:pt x="47" y="118"/>
                </a:cubicBezTo>
                <a:cubicBezTo>
                  <a:pt x="47" y="118"/>
                  <a:pt x="47" y="118"/>
                  <a:pt x="47" y="118"/>
                </a:cubicBezTo>
                <a:cubicBezTo>
                  <a:pt x="57" y="111"/>
                  <a:pt x="57" y="111"/>
                  <a:pt x="57" y="111"/>
                </a:cubicBezTo>
                <a:cubicBezTo>
                  <a:pt x="78" y="107"/>
                  <a:pt x="78" y="107"/>
                  <a:pt x="78" y="107"/>
                </a:cubicBezTo>
                <a:cubicBezTo>
                  <a:pt x="83" y="106"/>
                  <a:pt x="83" y="106"/>
                  <a:pt x="83" y="106"/>
                </a:cubicBezTo>
                <a:cubicBezTo>
                  <a:pt x="84" y="106"/>
                  <a:pt x="84" y="106"/>
                  <a:pt x="84" y="106"/>
                </a:cubicBezTo>
                <a:cubicBezTo>
                  <a:pt x="86" y="107"/>
                  <a:pt x="86" y="107"/>
                  <a:pt x="86" y="107"/>
                </a:cubicBezTo>
                <a:cubicBezTo>
                  <a:pt x="90" y="107"/>
                  <a:pt x="90" y="107"/>
                  <a:pt x="90" y="107"/>
                </a:cubicBezTo>
                <a:lnTo>
                  <a:pt x="90" y="10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Freeform 69">
            <a:extLst>
              <a:ext uri="{FF2B5EF4-FFF2-40B4-BE49-F238E27FC236}">
                <a16:creationId xmlns:a16="http://schemas.microsoft.com/office/drawing/2014/main" id="{3562228A-3DE5-47EA-8D5E-34248AAFEEE9}"/>
              </a:ext>
            </a:extLst>
          </p:cNvPr>
          <p:cNvSpPr>
            <a:spLocks/>
          </p:cNvSpPr>
          <p:nvPr/>
        </p:nvSpPr>
        <p:spPr bwMode="auto">
          <a:xfrm>
            <a:off x="5102107" y="4977929"/>
            <a:ext cx="202935" cy="217488"/>
          </a:xfrm>
          <a:custGeom>
            <a:avLst/>
            <a:gdLst>
              <a:gd name="T0" fmla="*/ 82 w 84"/>
              <a:gd name="T1" fmla="*/ 78 h 97"/>
              <a:gd name="T2" fmla="*/ 81 w 84"/>
              <a:gd name="T3" fmla="*/ 77 h 97"/>
              <a:gd name="T4" fmla="*/ 80 w 84"/>
              <a:gd name="T5" fmla="*/ 75 h 97"/>
              <a:gd name="T6" fmla="*/ 79 w 84"/>
              <a:gd name="T7" fmla="*/ 65 h 97"/>
              <a:gd name="T8" fmla="*/ 79 w 84"/>
              <a:gd name="T9" fmla="*/ 60 h 97"/>
              <a:gd name="T10" fmla="*/ 79 w 84"/>
              <a:gd name="T11" fmla="*/ 56 h 97"/>
              <a:gd name="T12" fmla="*/ 79 w 84"/>
              <a:gd name="T13" fmla="*/ 52 h 97"/>
              <a:gd name="T14" fmla="*/ 79 w 84"/>
              <a:gd name="T15" fmla="*/ 44 h 97"/>
              <a:gd name="T16" fmla="*/ 80 w 84"/>
              <a:gd name="T17" fmla="*/ 31 h 97"/>
              <a:gd name="T18" fmla="*/ 84 w 84"/>
              <a:gd name="T19" fmla="*/ 26 h 97"/>
              <a:gd name="T20" fmla="*/ 79 w 84"/>
              <a:gd name="T21" fmla="*/ 23 h 97"/>
              <a:gd name="T22" fmla="*/ 76 w 84"/>
              <a:gd name="T23" fmla="*/ 22 h 97"/>
              <a:gd name="T24" fmla="*/ 74 w 84"/>
              <a:gd name="T25" fmla="*/ 22 h 97"/>
              <a:gd name="T26" fmla="*/ 68 w 84"/>
              <a:gd name="T27" fmla="*/ 20 h 97"/>
              <a:gd name="T28" fmla="*/ 66 w 84"/>
              <a:gd name="T29" fmla="*/ 15 h 97"/>
              <a:gd name="T30" fmla="*/ 63 w 84"/>
              <a:gd name="T31" fmla="*/ 10 h 97"/>
              <a:gd name="T32" fmla="*/ 57 w 84"/>
              <a:gd name="T33" fmla="*/ 5 h 97"/>
              <a:gd name="T34" fmla="*/ 55 w 84"/>
              <a:gd name="T35" fmla="*/ 4 h 97"/>
              <a:gd name="T36" fmla="*/ 55 w 84"/>
              <a:gd name="T37" fmla="*/ 3 h 97"/>
              <a:gd name="T38" fmla="*/ 55 w 84"/>
              <a:gd name="T39" fmla="*/ 3 h 97"/>
              <a:gd name="T40" fmla="*/ 51 w 84"/>
              <a:gd name="T41" fmla="*/ 1 h 97"/>
              <a:gd name="T42" fmla="*/ 45 w 84"/>
              <a:gd name="T43" fmla="*/ 2 h 97"/>
              <a:gd name="T44" fmla="*/ 40 w 84"/>
              <a:gd name="T45" fmla="*/ 4 h 97"/>
              <a:gd name="T46" fmla="*/ 33 w 84"/>
              <a:gd name="T47" fmla="*/ 3 h 97"/>
              <a:gd name="T48" fmla="*/ 32 w 84"/>
              <a:gd name="T49" fmla="*/ 1 h 97"/>
              <a:gd name="T50" fmla="*/ 26 w 84"/>
              <a:gd name="T51" fmla="*/ 0 h 97"/>
              <a:gd name="T52" fmla="*/ 26 w 84"/>
              <a:gd name="T53" fmla="*/ 1 h 97"/>
              <a:gd name="T54" fmla="*/ 26 w 84"/>
              <a:gd name="T55" fmla="*/ 5 h 97"/>
              <a:gd name="T56" fmla="*/ 27 w 84"/>
              <a:gd name="T57" fmla="*/ 11 h 97"/>
              <a:gd name="T58" fmla="*/ 24 w 84"/>
              <a:gd name="T59" fmla="*/ 15 h 97"/>
              <a:gd name="T60" fmla="*/ 23 w 84"/>
              <a:gd name="T61" fmla="*/ 24 h 97"/>
              <a:gd name="T62" fmla="*/ 21 w 84"/>
              <a:gd name="T63" fmla="*/ 30 h 97"/>
              <a:gd name="T64" fmla="*/ 18 w 84"/>
              <a:gd name="T65" fmla="*/ 34 h 97"/>
              <a:gd name="T66" fmla="*/ 12 w 84"/>
              <a:gd name="T67" fmla="*/ 36 h 97"/>
              <a:gd name="T68" fmla="*/ 9 w 84"/>
              <a:gd name="T69" fmla="*/ 39 h 97"/>
              <a:gd name="T70" fmla="*/ 0 w 84"/>
              <a:gd name="T71" fmla="*/ 41 h 97"/>
              <a:gd name="T72" fmla="*/ 0 w 84"/>
              <a:gd name="T73" fmla="*/ 41 h 97"/>
              <a:gd name="T74" fmla="*/ 1 w 84"/>
              <a:gd name="T75" fmla="*/ 44 h 97"/>
              <a:gd name="T76" fmla="*/ 1 w 84"/>
              <a:gd name="T77" fmla="*/ 47 h 97"/>
              <a:gd name="T78" fmla="*/ 3 w 84"/>
              <a:gd name="T79" fmla="*/ 48 h 97"/>
              <a:gd name="T80" fmla="*/ 5 w 84"/>
              <a:gd name="T81" fmla="*/ 50 h 97"/>
              <a:gd name="T82" fmla="*/ 7 w 84"/>
              <a:gd name="T83" fmla="*/ 55 h 97"/>
              <a:gd name="T84" fmla="*/ 10 w 84"/>
              <a:gd name="T85" fmla="*/ 57 h 97"/>
              <a:gd name="T86" fmla="*/ 11 w 84"/>
              <a:gd name="T87" fmla="*/ 66 h 97"/>
              <a:gd name="T88" fmla="*/ 11 w 84"/>
              <a:gd name="T89" fmla="*/ 70 h 97"/>
              <a:gd name="T90" fmla="*/ 11 w 84"/>
              <a:gd name="T91" fmla="*/ 72 h 97"/>
              <a:gd name="T92" fmla="*/ 9 w 84"/>
              <a:gd name="T93" fmla="*/ 77 h 97"/>
              <a:gd name="T94" fmla="*/ 11 w 84"/>
              <a:gd name="T95" fmla="*/ 85 h 97"/>
              <a:gd name="T96" fmla="*/ 14 w 84"/>
              <a:gd name="T97" fmla="*/ 89 h 97"/>
              <a:gd name="T98" fmla="*/ 17 w 84"/>
              <a:gd name="T99" fmla="*/ 90 h 97"/>
              <a:gd name="T100" fmla="*/ 21 w 84"/>
              <a:gd name="T101" fmla="*/ 90 h 97"/>
              <a:gd name="T102" fmla="*/ 25 w 84"/>
              <a:gd name="T103" fmla="*/ 91 h 97"/>
              <a:gd name="T104" fmla="*/ 29 w 84"/>
              <a:gd name="T105" fmla="*/ 92 h 97"/>
              <a:gd name="T106" fmla="*/ 34 w 84"/>
              <a:gd name="T107" fmla="*/ 93 h 97"/>
              <a:gd name="T108" fmla="*/ 38 w 84"/>
              <a:gd name="T109" fmla="*/ 96 h 97"/>
              <a:gd name="T110" fmla="*/ 46 w 84"/>
              <a:gd name="T111" fmla="*/ 97 h 97"/>
              <a:gd name="T112" fmla="*/ 54 w 84"/>
              <a:gd name="T113" fmla="*/ 96 h 97"/>
              <a:gd name="T114" fmla="*/ 77 w 84"/>
              <a:gd name="T115" fmla="*/ 86 h 97"/>
              <a:gd name="T116" fmla="*/ 84 w 84"/>
              <a:gd name="T117" fmla="*/ 79 h 97"/>
              <a:gd name="T118" fmla="*/ 83 w 84"/>
              <a:gd name="T119" fmla="*/ 78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4" h="97">
                <a:moveTo>
                  <a:pt x="83" y="78"/>
                </a:moveTo>
                <a:cubicBezTo>
                  <a:pt x="82" y="78"/>
                  <a:pt x="82" y="78"/>
                  <a:pt x="82" y="78"/>
                </a:cubicBezTo>
                <a:cubicBezTo>
                  <a:pt x="81" y="78"/>
                  <a:pt x="81" y="77"/>
                  <a:pt x="81" y="77"/>
                </a:cubicBezTo>
                <a:cubicBezTo>
                  <a:pt x="81" y="77"/>
                  <a:pt x="81" y="77"/>
                  <a:pt x="81" y="77"/>
                </a:cubicBezTo>
                <a:cubicBezTo>
                  <a:pt x="81" y="77"/>
                  <a:pt x="81" y="77"/>
                  <a:pt x="81" y="77"/>
                </a:cubicBezTo>
                <a:cubicBezTo>
                  <a:pt x="80" y="76"/>
                  <a:pt x="80" y="76"/>
                  <a:pt x="80" y="75"/>
                </a:cubicBezTo>
                <a:cubicBezTo>
                  <a:pt x="80" y="69"/>
                  <a:pt x="80" y="69"/>
                  <a:pt x="80" y="69"/>
                </a:cubicBezTo>
                <a:cubicBezTo>
                  <a:pt x="79" y="68"/>
                  <a:pt x="79" y="67"/>
                  <a:pt x="79" y="65"/>
                </a:cubicBezTo>
                <a:cubicBezTo>
                  <a:pt x="79" y="63"/>
                  <a:pt x="79" y="62"/>
                  <a:pt x="79" y="61"/>
                </a:cubicBezTo>
                <a:cubicBezTo>
                  <a:pt x="79" y="60"/>
                  <a:pt x="79" y="60"/>
                  <a:pt x="79" y="60"/>
                </a:cubicBezTo>
                <a:cubicBezTo>
                  <a:pt x="79" y="59"/>
                  <a:pt x="79" y="58"/>
                  <a:pt x="79" y="57"/>
                </a:cubicBezTo>
                <a:cubicBezTo>
                  <a:pt x="79" y="56"/>
                  <a:pt x="79" y="56"/>
                  <a:pt x="79" y="56"/>
                </a:cubicBezTo>
                <a:cubicBezTo>
                  <a:pt x="79" y="55"/>
                  <a:pt x="79" y="55"/>
                  <a:pt x="79" y="54"/>
                </a:cubicBezTo>
                <a:cubicBezTo>
                  <a:pt x="79" y="54"/>
                  <a:pt x="79" y="54"/>
                  <a:pt x="79" y="52"/>
                </a:cubicBezTo>
                <a:cubicBezTo>
                  <a:pt x="79" y="50"/>
                  <a:pt x="79" y="48"/>
                  <a:pt x="79" y="47"/>
                </a:cubicBezTo>
                <a:cubicBezTo>
                  <a:pt x="78" y="46"/>
                  <a:pt x="79" y="45"/>
                  <a:pt x="79" y="44"/>
                </a:cubicBezTo>
                <a:cubicBezTo>
                  <a:pt x="79" y="42"/>
                  <a:pt x="80" y="39"/>
                  <a:pt x="80" y="39"/>
                </a:cubicBezTo>
                <a:cubicBezTo>
                  <a:pt x="80" y="37"/>
                  <a:pt x="79" y="34"/>
                  <a:pt x="80" y="31"/>
                </a:cubicBezTo>
                <a:cubicBezTo>
                  <a:pt x="81" y="29"/>
                  <a:pt x="84" y="27"/>
                  <a:pt x="84" y="27"/>
                </a:cubicBezTo>
                <a:cubicBezTo>
                  <a:pt x="84" y="26"/>
                  <a:pt x="84" y="26"/>
                  <a:pt x="84" y="26"/>
                </a:cubicBezTo>
                <a:cubicBezTo>
                  <a:pt x="83" y="26"/>
                  <a:pt x="82" y="26"/>
                  <a:pt x="81" y="25"/>
                </a:cubicBezTo>
                <a:cubicBezTo>
                  <a:pt x="80" y="24"/>
                  <a:pt x="79" y="23"/>
                  <a:pt x="79" y="23"/>
                </a:cubicBezTo>
                <a:cubicBezTo>
                  <a:pt x="79" y="23"/>
                  <a:pt x="79" y="23"/>
                  <a:pt x="79" y="23"/>
                </a:cubicBezTo>
                <a:cubicBezTo>
                  <a:pt x="77" y="22"/>
                  <a:pt x="76" y="22"/>
                  <a:pt x="76" y="22"/>
                </a:cubicBezTo>
                <a:cubicBezTo>
                  <a:pt x="75" y="22"/>
                  <a:pt x="75" y="22"/>
                  <a:pt x="75" y="22"/>
                </a:cubicBezTo>
                <a:cubicBezTo>
                  <a:pt x="75" y="22"/>
                  <a:pt x="75" y="22"/>
                  <a:pt x="74" y="22"/>
                </a:cubicBezTo>
                <a:cubicBezTo>
                  <a:pt x="73" y="23"/>
                  <a:pt x="71" y="23"/>
                  <a:pt x="70" y="22"/>
                </a:cubicBezTo>
                <a:cubicBezTo>
                  <a:pt x="69" y="21"/>
                  <a:pt x="69" y="21"/>
                  <a:pt x="68" y="20"/>
                </a:cubicBezTo>
                <a:cubicBezTo>
                  <a:pt x="67" y="20"/>
                  <a:pt x="67" y="19"/>
                  <a:pt x="66" y="18"/>
                </a:cubicBezTo>
                <a:cubicBezTo>
                  <a:pt x="65" y="16"/>
                  <a:pt x="66" y="15"/>
                  <a:pt x="66" y="15"/>
                </a:cubicBezTo>
                <a:cubicBezTo>
                  <a:pt x="66" y="14"/>
                  <a:pt x="65" y="13"/>
                  <a:pt x="65" y="13"/>
                </a:cubicBezTo>
                <a:cubicBezTo>
                  <a:pt x="64" y="12"/>
                  <a:pt x="63" y="11"/>
                  <a:pt x="63" y="10"/>
                </a:cubicBezTo>
                <a:cubicBezTo>
                  <a:pt x="62" y="9"/>
                  <a:pt x="60" y="7"/>
                  <a:pt x="59" y="6"/>
                </a:cubicBezTo>
                <a:cubicBezTo>
                  <a:pt x="59" y="6"/>
                  <a:pt x="58" y="5"/>
                  <a:pt x="57" y="5"/>
                </a:cubicBezTo>
                <a:cubicBezTo>
                  <a:pt x="57" y="5"/>
                  <a:pt x="57" y="5"/>
                  <a:pt x="57" y="4"/>
                </a:cubicBezTo>
                <a:cubicBezTo>
                  <a:pt x="57" y="4"/>
                  <a:pt x="56" y="4"/>
                  <a:pt x="55" y="4"/>
                </a:cubicBezTo>
                <a:cubicBezTo>
                  <a:pt x="55" y="4"/>
                  <a:pt x="55" y="4"/>
                  <a:pt x="55" y="4"/>
                </a:cubicBezTo>
                <a:cubicBezTo>
                  <a:pt x="55" y="4"/>
                  <a:pt x="55" y="4"/>
                  <a:pt x="55" y="3"/>
                </a:cubicBezTo>
                <a:cubicBezTo>
                  <a:pt x="55" y="3"/>
                  <a:pt x="55" y="3"/>
                  <a:pt x="55" y="3"/>
                </a:cubicBezTo>
                <a:cubicBezTo>
                  <a:pt x="55" y="3"/>
                  <a:pt x="55" y="3"/>
                  <a:pt x="55" y="3"/>
                </a:cubicBezTo>
                <a:cubicBezTo>
                  <a:pt x="54" y="3"/>
                  <a:pt x="54" y="3"/>
                  <a:pt x="54" y="3"/>
                </a:cubicBezTo>
                <a:cubicBezTo>
                  <a:pt x="52" y="2"/>
                  <a:pt x="51" y="1"/>
                  <a:pt x="51" y="1"/>
                </a:cubicBezTo>
                <a:cubicBezTo>
                  <a:pt x="48" y="1"/>
                  <a:pt x="48" y="1"/>
                  <a:pt x="48" y="1"/>
                </a:cubicBezTo>
                <a:cubicBezTo>
                  <a:pt x="47" y="2"/>
                  <a:pt x="46" y="2"/>
                  <a:pt x="45" y="2"/>
                </a:cubicBezTo>
                <a:cubicBezTo>
                  <a:pt x="43" y="3"/>
                  <a:pt x="41" y="4"/>
                  <a:pt x="41" y="4"/>
                </a:cubicBezTo>
                <a:cubicBezTo>
                  <a:pt x="41" y="4"/>
                  <a:pt x="41" y="4"/>
                  <a:pt x="40" y="4"/>
                </a:cubicBezTo>
                <a:cubicBezTo>
                  <a:pt x="35" y="5"/>
                  <a:pt x="35" y="5"/>
                  <a:pt x="35" y="5"/>
                </a:cubicBezTo>
                <a:cubicBezTo>
                  <a:pt x="34" y="5"/>
                  <a:pt x="33" y="4"/>
                  <a:pt x="33" y="3"/>
                </a:cubicBezTo>
                <a:cubicBezTo>
                  <a:pt x="33" y="3"/>
                  <a:pt x="33" y="3"/>
                  <a:pt x="33" y="3"/>
                </a:cubicBezTo>
                <a:cubicBezTo>
                  <a:pt x="32" y="2"/>
                  <a:pt x="32" y="2"/>
                  <a:pt x="32" y="1"/>
                </a:cubicBezTo>
                <a:cubicBezTo>
                  <a:pt x="29" y="2"/>
                  <a:pt x="28" y="1"/>
                  <a:pt x="27" y="1"/>
                </a:cubicBezTo>
                <a:cubicBezTo>
                  <a:pt x="27" y="1"/>
                  <a:pt x="27" y="0"/>
                  <a:pt x="26" y="0"/>
                </a:cubicBezTo>
                <a:cubicBezTo>
                  <a:pt x="26" y="1"/>
                  <a:pt x="26" y="1"/>
                  <a:pt x="26" y="1"/>
                </a:cubicBezTo>
                <a:cubicBezTo>
                  <a:pt x="26" y="1"/>
                  <a:pt x="26" y="1"/>
                  <a:pt x="26" y="1"/>
                </a:cubicBezTo>
                <a:cubicBezTo>
                  <a:pt x="26" y="1"/>
                  <a:pt x="26" y="2"/>
                  <a:pt x="26" y="3"/>
                </a:cubicBezTo>
                <a:cubicBezTo>
                  <a:pt x="26" y="4"/>
                  <a:pt x="26" y="5"/>
                  <a:pt x="26" y="5"/>
                </a:cubicBezTo>
                <a:cubicBezTo>
                  <a:pt x="26" y="6"/>
                  <a:pt x="27" y="6"/>
                  <a:pt x="27" y="7"/>
                </a:cubicBezTo>
                <a:cubicBezTo>
                  <a:pt x="27" y="11"/>
                  <a:pt x="27" y="11"/>
                  <a:pt x="27" y="11"/>
                </a:cubicBezTo>
                <a:cubicBezTo>
                  <a:pt x="27" y="11"/>
                  <a:pt x="27" y="12"/>
                  <a:pt x="26" y="12"/>
                </a:cubicBezTo>
                <a:cubicBezTo>
                  <a:pt x="25" y="13"/>
                  <a:pt x="24" y="14"/>
                  <a:pt x="24" y="15"/>
                </a:cubicBezTo>
                <a:cubicBezTo>
                  <a:pt x="24" y="19"/>
                  <a:pt x="24" y="19"/>
                  <a:pt x="24" y="19"/>
                </a:cubicBezTo>
                <a:cubicBezTo>
                  <a:pt x="24" y="21"/>
                  <a:pt x="25" y="23"/>
                  <a:pt x="23" y="24"/>
                </a:cubicBezTo>
                <a:cubicBezTo>
                  <a:pt x="23" y="25"/>
                  <a:pt x="22" y="28"/>
                  <a:pt x="22" y="30"/>
                </a:cubicBezTo>
                <a:cubicBezTo>
                  <a:pt x="22" y="30"/>
                  <a:pt x="22" y="30"/>
                  <a:pt x="21" y="30"/>
                </a:cubicBezTo>
                <a:cubicBezTo>
                  <a:pt x="20" y="33"/>
                  <a:pt x="20" y="33"/>
                  <a:pt x="20" y="33"/>
                </a:cubicBezTo>
                <a:cubicBezTo>
                  <a:pt x="19" y="34"/>
                  <a:pt x="19" y="34"/>
                  <a:pt x="18" y="34"/>
                </a:cubicBezTo>
                <a:cubicBezTo>
                  <a:pt x="14" y="34"/>
                  <a:pt x="14" y="34"/>
                  <a:pt x="14" y="34"/>
                </a:cubicBezTo>
                <a:cubicBezTo>
                  <a:pt x="12" y="36"/>
                  <a:pt x="12" y="36"/>
                  <a:pt x="12" y="36"/>
                </a:cubicBezTo>
                <a:cubicBezTo>
                  <a:pt x="9" y="38"/>
                  <a:pt x="9" y="38"/>
                  <a:pt x="9" y="38"/>
                </a:cubicBezTo>
                <a:cubicBezTo>
                  <a:pt x="9" y="39"/>
                  <a:pt x="9" y="39"/>
                  <a:pt x="9" y="39"/>
                </a:cubicBezTo>
                <a:cubicBezTo>
                  <a:pt x="9" y="40"/>
                  <a:pt x="9" y="41"/>
                  <a:pt x="7" y="41"/>
                </a:cubicBezTo>
                <a:cubicBezTo>
                  <a:pt x="0" y="41"/>
                  <a:pt x="0" y="41"/>
                  <a:pt x="0" y="41"/>
                </a:cubicBezTo>
                <a:cubicBezTo>
                  <a:pt x="0" y="41"/>
                  <a:pt x="0" y="41"/>
                  <a:pt x="0" y="41"/>
                </a:cubicBezTo>
                <a:cubicBezTo>
                  <a:pt x="0" y="41"/>
                  <a:pt x="0" y="41"/>
                  <a:pt x="0" y="41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4"/>
                  <a:pt x="1" y="44"/>
                  <a:pt x="1" y="44"/>
                </a:cubicBezTo>
                <a:cubicBezTo>
                  <a:pt x="1" y="45"/>
                  <a:pt x="1" y="45"/>
                  <a:pt x="1" y="45"/>
                </a:cubicBezTo>
                <a:cubicBezTo>
                  <a:pt x="1" y="47"/>
                  <a:pt x="1" y="47"/>
                  <a:pt x="1" y="47"/>
                </a:cubicBezTo>
                <a:cubicBezTo>
                  <a:pt x="2" y="47"/>
                  <a:pt x="2" y="47"/>
                  <a:pt x="2" y="47"/>
                </a:cubicBezTo>
                <a:cubicBezTo>
                  <a:pt x="2" y="47"/>
                  <a:pt x="2" y="47"/>
                  <a:pt x="3" y="48"/>
                </a:cubicBezTo>
                <a:cubicBezTo>
                  <a:pt x="5" y="50"/>
                  <a:pt x="5" y="50"/>
                  <a:pt x="5" y="50"/>
                </a:cubicBezTo>
                <a:cubicBezTo>
                  <a:pt x="5" y="50"/>
                  <a:pt x="5" y="50"/>
                  <a:pt x="5" y="50"/>
                </a:cubicBezTo>
                <a:cubicBezTo>
                  <a:pt x="7" y="50"/>
                  <a:pt x="7" y="51"/>
                  <a:pt x="7" y="52"/>
                </a:cubicBezTo>
                <a:cubicBezTo>
                  <a:pt x="7" y="55"/>
                  <a:pt x="7" y="55"/>
                  <a:pt x="7" y="55"/>
                </a:cubicBezTo>
                <a:cubicBezTo>
                  <a:pt x="8" y="55"/>
                  <a:pt x="8" y="55"/>
                  <a:pt x="8" y="55"/>
                </a:cubicBezTo>
                <a:cubicBezTo>
                  <a:pt x="10" y="57"/>
                  <a:pt x="10" y="57"/>
                  <a:pt x="10" y="57"/>
                </a:cubicBezTo>
                <a:cubicBezTo>
                  <a:pt x="11" y="58"/>
                  <a:pt x="11" y="58"/>
                  <a:pt x="11" y="58"/>
                </a:cubicBezTo>
                <a:cubicBezTo>
                  <a:pt x="11" y="66"/>
                  <a:pt x="11" y="66"/>
                  <a:pt x="11" y="66"/>
                </a:cubicBezTo>
                <a:cubicBezTo>
                  <a:pt x="11" y="67"/>
                  <a:pt x="11" y="67"/>
                  <a:pt x="11" y="68"/>
                </a:cubicBezTo>
                <a:cubicBezTo>
                  <a:pt x="11" y="68"/>
                  <a:pt x="11" y="69"/>
                  <a:pt x="11" y="70"/>
                </a:cubicBezTo>
                <a:cubicBezTo>
                  <a:pt x="11" y="70"/>
                  <a:pt x="11" y="70"/>
                  <a:pt x="11" y="70"/>
                </a:cubicBezTo>
                <a:cubicBezTo>
                  <a:pt x="11" y="71"/>
                  <a:pt x="11" y="71"/>
                  <a:pt x="11" y="72"/>
                </a:cubicBezTo>
                <a:cubicBezTo>
                  <a:pt x="12" y="72"/>
                  <a:pt x="12" y="74"/>
                  <a:pt x="10" y="75"/>
                </a:cubicBezTo>
                <a:cubicBezTo>
                  <a:pt x="9" y="76"/>
                  <a:pt x="9" y="77"/>
                  <a:pt x="9" y="77"/>
                </a:cubicBezTo>
                <a:cubicBezTo>
                  <a:pt x="9" y="80"/>
                  <a:pt x="9" y="80"/>
                  <a:pt x="9" y="80"/>
                </a:cubicBezTo>
                <a:cubicBezTo>
                  <a:pt x="11" y="85"/>
                  <a:pt x="11" y="85"/>
                  <a:pt x="11" y="85"/>
                </a:cubicBezTo>
                <a:cubicBezTo>
                  <a:pt x="12" y="87"/>
                  <a:pt x="12" y="87"/>
                  <a:pt x="12" y="87"/>
                </a:cubicBezTo>
                <a:cubicBezTo>
                  <a:pt x="14" y="89"/>
                  <a:pt x="14" y="89"/>
                  <a:pt x="14" y="89"/>
                </a:cubicBezTo>
                <a:cubicBezTo>
                  <a:pt x="15" y="89"/>
                  <a:pt x="16" y="90"/>
                  <a:pt x="16" y="90"/>
                </a:cubicBezTo>
                <a:cubicBezTo>
                  <a:pt x="16" y="90"/>
                  <a:pt x="16" y="90"/>
                  <a:pt x="17" y="90"/>
                </a:cubicBezTo>
                <a:cubicBezTo>
                  <a:pt x="17" y="90"/>
                  <a:pt x="19" y="90"/>
                  <a:pt x="20" y="90"/>
                </a:cubicBezTo>
                <a:cubicBezTo>
                  <a:pt x="21" y="90"/>
                  <a:pt x="21" y="90"/>
                  <a:pt x="21" y="90"/>
                </a:cubicBezTo>
                <a:cubicBezTo>
                  <a:pt x="21" y="90"/>
                  <a:pt x="21" y="90"/>
                  <a:pt x="22" y="90"/>
                </a:cubicBezTo>
                <a:cubicBezTo>
                  <a:pt x="22" y="90"/>
                  <a:pt x="24" y="90"/>
                  <a:pt x="25" y="91"/>
                </a:cubicBezTo>
                <a:cubicBezTo>
                  <a:pt x="26" y="91"/>
                  <a:pt x="28" y="92"/>
                  <a:pt x="29" y="92"/>
                </a:cubicBezTo>
                <a:cubicBezTo>
                  <a:pt x="29" y="92"/>
                  <a:pt x="29" y="92"/>
                  <a:pt x="29" y="92"/>
                </a:cubicBezTo>
                <a:cubicBezTo>
                  <a:pt x="30" y="90"/>
                  <a:pt x="31" y="90"/>
                  <a:pt x="31" y="90"/>
                </a:cubicBezTo>
                <a:cubicBezTo>
                  <a:pt x="33" y="90"/>
                  <a:pt x="34" y="92"/>
                  <a:pt x="34" y="93"/>
                </a:cubicBezTo>
                <a:cubicBezTo>
                  <a:pt x="35" y="96"/>
                  <a:pt x="35" y="96"/>
                  <a:pt x="35" y="96"/>
                </a:cubicBezTo>
                <a:cubicBezTo>
                  <a:pt x="38" y="96"/>
                  <a:pt x="38" y="96"/>
                  <a:pt x="38" y="96"/>
                </a:cubicBezTo>
                <a:cubicBezTo>
                  <a:pt x="38" y="97"/>
                  <a:pt x="38" y="97"/>
                  <a:pt x="38" y="97"/>
                </a:cubicBezTo>
                <a:cubicBezTo>
                  <a:pt x="46" y="97"/>
                  <a:pt x="46" y="97"/>
                  <a:pt x="46" y="97"/>
                </a:cubicBezTo>
                <a:cubicBezTo>
                  <a:pt x="51" y="97"/>
                  <a:pt x="51" y="97"/>
                  <a:pt x="51" y="97"/>
                </a:cubicBezTo>
                <a:cubicBezTo>
                  <a:pt x="54" y="96"/>
                  <a:pt x="54" y="96"/>
                  <a:pt x="54" y="96"/>
                </a:cubicBezTo>
                <a:cubicBezTo>
                  <a:pt x="58" y="94"/>
                  <a:pt x="58" y="94"/>
                  <a:pt x="58" y="94"/>
                </a:cubicBezTo>
                <a:cubicBezTo>
                  <a:pt x="77" y="86"/>
                  <a:pt x="77" y="86"/>
                  <a:pt x="77" y="86"/>
                </a:cubicBezTo>
                <a:cubicBezTo>
                  <a:pt x="80" y="83"/>
                  <a:pt x="80" y="83"/>
                  <a:pt x="80" y="83"/>
                </a:cubicBezTo>
                <a:cubicBezTo>
                  <a:pt x="84" y="79"/>
                  <a:pt x="84" y="79"/>
                  <a:pt x="84" y="79"/>
                </a:cubicBezTo>
                <a:cubicBezTo>
                  <a:pt x="84" y="79"/>
                  <a:pt x="84" y="79"/>
                  <a:pt x="84" y="79"/>
                </a:cubicBezTo>
                <a:lnTo>
                  <a:pt x="83" y="7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Freeform 70">
            <a:extLst>
              <a:ext uri="{FF2B5EF4-FFF2-40B4-BE49-F238E27FC236}">
                <a16:creationId xmlns:a16="http://schemas.microsoft.com/office/drawing/2014/main" id="{F9638803-8719-4FA2-AE32-D350527D7046}"/>
              </a:ext>
            </a:extLst>
          </p:cNvPr>
          <p:cNvSpPr>
            <a:spLocks/>
          </p:cNvSpPr>
          <p:nvPr/>
        </p:nvSpPr>
        <p:spPr bwMode="auto">
          <a:xfrm>
            <a:off x="4887132" y="4685829"/>
            <a:ext cx="295804" cy="192088"/>
          </a:xfrm>
          <a:custGeom>
            <a:avLst/>
            <a:gdLst>
              <a:gd name="T0" fmla="*/ 118 w 123"/>
              <a:gd name="T1" fmla="*/ 27 h 86"/>
              <a:gd name="T2" fmla="*/ 104 w 123"/>
              <a:gd name="T3" fmla="*/ 27 h 86"/>
              <a:gd name="T4" fmla="*/ 95 w 123"/>
              <a:gd name="T5" fmla="*/ 22 h 86"/>
              <a:gd name="T6" fmla="*/ 90 w 123"/>
              <a:gd name="T7" fmla="*/ 18 h 86"/>
              <a:gd name="T8" fmla="*/ 86 w 123"/>
              <a:gd name="T9" fmla="*/ 14 h 86"/>
              <a:gd name="T10" fmla="*/ 81 w 123"/>
              <a:gd name="T11" fmla="*/ 11 h 86"/>
              <a:gd name="T12" fmla="*/ 77 w 123"/>
              <a:gd name="T13" fmla="*/ 9 h 86"/>
              <a:gd name="T14" fmla="*/ 74 w 123"/>
              <a:gd name="T15" fmla="*/ 5 h 86"/>
              <a:gd name="T16" fmla="*/ 72 w 123"/>
              <a:gd name="T17" fmla="*/ 2 h 86"/>
              <a:gd name="T18" fmla="*/ 66 w 123"/>
              <a:gd name="T19" fmla="*/ 0 h 86"/>
              <a:gd name="T20" fmla="*/ 63 w 123"/>
              <a:gd name="T21" fmla="*/ 0 h 86"/>
              <a:gd name="T22" fmla="*/ 55 w 123"/>
              <a:gd name="T23" fmla="*/ 1 h 86"/>
              <a:gd name="T24" fmla="*/ 50 w 123"/>
              <a:gd name="T25" fmla="*/ 6 h 86"/>
              <a:gd name="T26" fmla="*/ 43 w 123"/>
              <a:gd name="T27" fmla="*/ 7 h 86"/>
              <a:gd name="T28" fmla="*/ 34 w 123"/>
              <a:gd name="T29" fmla="*/ 14 h 86"/>
              <a:gd name="T30" fmla="*/ 25 w 123"/>
              <a:gd name="T31" fmla="*/ 13 h 86"/>
              <a:gd name="T32" fmla="*/ 23 w 123"/>
              <a:gd name="T33" fmla="*/ 9 h 86"/>
              <a:gd name="T34" fmla="*/ 20 w 123"/>
              <a:gd name="T35" fmla="*/ 11 h 86"/>
              <a:gd name="T36" fmla="*/ 11 w 123"/>
              <a:gd name="T37" fmla="*/ 18 h 86"/>
              <a:gd name="T38" fmla="*/ 7 w 123"/>
              <a:gd name="T39" fmla="*/ 23 h 86"/>
              <a:gd name="T40" fmla="*/ 2 w 123"/>
              <a:gd name="T41" fmla="*/ 23 h 86"/>
              <a:gd name="T42" fmla="*/ 2 w 123"/>
              <a:gd name="T43" fmla="*/ 28 h 86"/>
              <a:gd name="T44" fmla="*/ 4 w 123"/>
              <a:gd name="T45" fmla="*/ 36 h 86"/>
              <a:gd name="T46" fmla="*/ 3 w 123"/>
              <a:gd name="T47" fmla="*/ 45 h 86"/>
              <a:gd name="T48" fmla="*/ 4 w 123"/>
              <a:gd name="T49" fmla="*/ 52 h 86"/>
              <a:gd name="T50" fmla="*/ 14 w 123"/>
              <a:gd name="T51" fmla="*/ 50 h 86"/>
              <a:gd name="T52" fmla="*/ 22 w 123"/>
              <a:gd name="T53" fmla="*/ 46 h 86"/>
              <a:gd name="T54" fmla="*/ 26 w 123"/>
              <a:gd name="T55" fmla="*/ 38 h 86"/>
              <a:gd name="T56" fmla="*/ 43 w 123"/>
              <a:gd name="T57" fmla="*/ 45 h 86"/>
              <a:gd name="T58" fmla="*/ 53 w 123"/>
              <a:gd name="T59" fmla="*/ 65 h 86"/>
              <a:gd name="T60" fmla="*/ 66 w 123"/>
              <a:gd name="T61" fmla="*/ 76 h 86"/>
              <a:gd name="T62" fmla="*/ 76 w 123"/>
              <a:gd name="T63" fmla="*/ 85 h 86"/>
              <a:gd name="T64" fmla="*/ 94 w 123"/>
              <a:gd name="T65" fmla="*/ 77 h 86"/>
              <a:gd name="T66" fmla="*/ 101 w 123"/>
              <a:gd name="T67" fmla="*/ 75 h 86"/>
              <a:gd name="T68" fmla="*/ 102 w 123"/>
              <a:gd name="T69" fmla="*/ 72 h 86"/>
              <a:gd name="T70" fmla="*/ 99 w 123"/>
              <a:gd name="T71" fmla="*/ 68 h 86"/>
              <a:gd name="T72" fmla="*/ 102 w 123"/>
              <a:gd name="T73" fmla="*/ 58 h 86"/>
              <a:gd name="T74" fmla="*/ 105 w 123"/>
              <a:gd name="T75" fmla="*/ 53 h 86"/>
              <a:gd name="T76" fmla="*/ 112 w 123"/>
              <a:gd name="T77" fmla="*/ 47 h 86"/>
              <a:gd name="T78" fmla="*/ 121 w 123"/>
              <a:gd name="T79" fmla="*/ 45 h 86"/>
              <a:gd name="T80" fmla="*/ 116 w 123"/>
              <a:gd name="T81" fmla="*/ 41 h 86"/>
              <a:gd name="T82" fmla="*/ 117 w 123"/>
              <a:gd name="T83" fmla="*/ 34 h 86"/>
              <a:gd name="T84" fmla="*/ 123 w 123"/>
              <a:gd name="T85" fmla="*/ 29 h 86"/>
              <a:gd name="T86" fmla="*/ 122 w 123"/>
              <a:gd name="T87" fmla="*/ 27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23" h="86">
                <a:moveTo>
                  <a:pt x="122" y="27"/>
                </a:moveTo>
                <a:cubicBezTo>
                  <a:pt x="121" y="27"/>
                  <a:pt x="121" y="27"/>
                  <a:pt x="121" y="27"/>
                </a:cubicBezTo>
                <a:cubicBezTo>
                  <a:pt x="120" y="27"/>
                  <a:pt x="119" y="27"/>
                  <a:pt x="118" y="27"/>
                </a:cubicBezTo>
                <a:cubicBezTo>
                  <a:pt x="109" y="27"/>
                  <a:pt x="109" y="27"/>
                  <a:pt x="109" y="27"/>
                </a:cubicBezTo>
                <a:cubicBezTo>
                  <a:pt x="107" y="27"/>
                  <a:pt x="107" y="27"/>
                  <a:pt x="107" y="27"/>
                </a:cubicBezTo>
                <a:cubicBezTo>
                  <a:pt x="107" y="27"/>
                  <a:pt x="105" y="26"/>
                  <a:pt x="104" y="27"/>
                </a:cubicBezTo>
                <a:cubicBezTo>
                  <a:pt x="103" y="27"/>
                  <a:pt x="101" y="27"/>
                  <a:pt x="101" y="26"/>
                </a:cubicBezTo>
                <a:cubicBezTo>
                  <a:pt x="97" y="24"/>
                  <a:pt x="97" y="24"/>
                  <a:pt x="97" y="24"/>
                </a:cubicBezTo>
                <a:cubicBezTo>
                  <a:pt x="96" y="23"/>
                  <a:pt x="96" y="22"/>
                  <a:pt x="95" y="22"/>
                </a:cubicBezTo>
                <a:cubicBezTo>
                  <a:pt x="94" y="21"/>
                  <a:pt x="93" y="21"/>
                  <a:pt x="92" y="21"/>
                </a:cubicBezTo>
                <a:cubicBezTo>
                  <a:pt x="92" y="21"/>
                  <a:pt x="92" y="20"/>
                  <a:pt x="91" y="20"/>
                </a:cubicBezTo>
                <a:cubicBezTo>
                  <a:pt x="90" y="18"/>
                  <a:pt x="90" y="18"/>
                  <a:pt x="90" y="18"/>
                </a:cubicBezTo>
                <a:cubicBezTo>
                  <a:pt x="88" y="17"/>
                  <a:pt x="88" y="17"/>
                  <a:pt x="88" y="17"/>
                </a:cubicBezTo>
                <a:cubicBezTo>
                  <a:pt x="87" y="16"/>
                  <a:pt x="87" y="16"/>
                  <a:pt x="87" y="16"/>
                </a:cubicBezTo>
                <a:cubicBezTo>
                  <a:pt x="86" y="14"/>
                  <a:pt x="86" y="14"/>
                  <a:pt x="86" y="14"/>
                </a:cubicBezTo>
                <a:cubicBezTo>
                  <a:pt x="85" y="14"/>
                  <a:pt x="85" y="14"/>
                  <a:pt x="85" y="14"/>
                </a:cubicBezTo>
                <a:cubicBezTo>
                  <a:pt x="83" y="12"/>
                  <a:pt x="83" y="12"/>
                  <a:pt x="83" y="12"/>
                </a:cubicBezTo>
                <a:cubicBezTo>
                  <a:pt x="81" y="11"/>
                  <a:pt x="81" y="11"/>
                  <a:pt x="81" y="11"/>
                </a:cubicBezTo>
                <a:cubicBezTo>
                  <a:pt x="79" y="11"/>
                  <a:pt x="79" y="11"/>
                  <a:pt x="79" y="11"/>
                </a:cubicBezTo>
                <a:cubicBezTo>
                  <a:pt x="78" y="11"/>
                  <a:pt x="77" y="10"/>
                  <a:pt x="77" y="9"/>
                </a:cubicBezTo>
                <a:cubicBezTo>
                  <a:pt x="77" y="9"/>
                  <a:pt x="77" y="9"/>
                  <a:pt x="77" y="9"/>
                </a:cubicBezTo>
                <a:cubicBezTo>
                  <a:pt x="75" y="7"/>
                  <a:pt x="75" y="7"/>
                  <a:pt x="75" y="7"/>
                </a:cubicBezTo>
                <a:cubicBezTo>
                  <a:pt x="74" y="7"/>
                  <a:pt x="74" y="6"/>
                  <a:pt x="74" y="6"/>
                </a:cubicBezTo>
                <a:cubicBezTo>
                  <a:pt x="74" y="5"/>
                  <a:pt x="74" y="5"/>
                  <a:pt x="74" y="5"/>
                </a:cubicBezTo>
                <a:cubicBezTo>
                  <a:pt x="73" y="4"/>
                  <a:pt x="73" y="4"/>
                  <a:pt x="73" y="4"/>
                </a:cubicBezTo>
                <a:cubicBezTo>
                  <a:pt x="73" y="4"/>
                  <a:pt x="72" y="3"/>
                  <a:pt x="72" y="2"/>
                </a:cubicBezTo>
                <a:cubicBezTo>
                  <a:pt x="72" y="2"/>
                  <a:pt x="72" y="2"/>
                  <a:pt x="72" y="2"/>
                </a:cubicBezTo>
                <a:cubicBezTo>
                  <a:pt x="72" y="2"/>
                  <a:pt x="72" y="2"/>
                  <a:pt x="72" y="2"/>
                </a:cubicBezTo>
                <a:cubicBezTo>
                  <a:pt x="70" y="2"/>
                  <a:pt x="70" y="2"/>
                  <a:pt x="70" y="2"/>
                </a:cubicBezTo>
                <a:cubicBezTo>
                  <a:pt x="66" y="0"/>
                  <a:pt x="66" y="0"/>
                  <a:pt x="66" y="0"/>
                </a:cubicBezTo>
                <a:cubicBezTo>
                  <a:pt x="66" y="0"/>
                  <a:pt x="66" y="0"/>
                  <a:pt x="65" y="0"/>
                </a:cubicBezTo>
                <a:cubicBezTo>
                  <a:pt x="65" y="0"/>
                  <a:pt x="65" y="0"/>
                  <a:pt x="64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8" y="2"/>
                  <a:pt x="58" y="2"/>
                  <a:pt x="58" y="2"/>
                </a:cubicBezTo>
                <a:cubicBezTo>
                  <a:pt x="55" y="1"/>
                  <a:pt x="55" y="1"/>
                  <a:pt x="55" y="1"/>
                </a:cubicBezTo>
                <a:cubicBezTo>
                  <a:pt x="54" y="2"/>
                  <a:pt x="54" y="2"/>
                  <a:pt x="54" y="2"/>
                </a:cubicBezTo>
                <a:cubicBezTo>
                  <a:pt x="54" y="3"/>
                  <a:pt x="53" y="3"/>
                  <a:pt x="53" y="4"/>
                </a:cubicBezTo>
                <a:cubicBezTo>
                  <a:pt x="50" y="6"/>
                  <a:pt x="50" y="6"/>
                  <a:pt x="50" y="6"/>
                </a:cubicBezTo>
                <a:cubicBezTo>
                  <a:pt x="46" y="6"/>
                  <a:pt x="46" y="6"/>
                  <a:pt x="46" y="6"/>
                </a:cubicBezTo>
                <a:cubicBezTo>
                  <a:pt x="45" y="6"/>
                  <a:pt x="44" y="7"/>
                  <a:pt x="44" y="7"/>
                </a:cubicBezTo>
                <a:cubicBezTo>
                  <a:pt x="43" y="7"/>
                  <a:pt x="43" y="7"/>
                  <a:pt x="43" y="7"/>
                </a:cubicBezTo>
                <a:cubicBezTo>
                  <a:pt x="43" y="7"/>
                  <a:pt x="43" y="7"/>
                  <a:pt x="43" y="7"/>
                </a:cubicBezTo>
                <a:cubicBezTo>
                  <a:pt x="38" y="11"/>
                  <a:pt x="38" y="11"/>
                  <a:pt x="38" y="11"/>
                </a:cubicBezTo>
                <a:cubicBezTo>
                  <a:pt x="34" y="14"/>
                  <a:pt x="34" y="14"/>
                  <a:pt x="34" y="14"/>
                </a:cubicBezTo>
                <a:cubicBezTo>
                  <a:pt x="29" y="14"/>
                  <a:pt x="29" y="14"/>
                  <a:pt x="29" y="14"/>
                </a:cubicBezTo>
                <a:cubicBezTo>
                  <a:pt x="28" y="14"/>
                  <a:pt x="27" y="14"/>
                  <a:pt x="27" y="14"/>
                </a:cubicBezTo>
                <a:cubicBezTo>
                  <a:pt x="26" y="14"/>
                  <a:pt x="26" y="14"/>
                  <a:pt x="25" y="13"/>
                </a:cubicBezTo>
                <a:cubicBezTo>
                  <a:pt x="25" y="13"/>
                  <a:pt x="25" y="12"/>
                  <a:pt x="25" y="11"/>
                </a:cubicBezTo>
                <a:cubicBezTo>
                  <a:pt x="25" y="12"/>
                  <a:pt x="25" y="11"/>
                  <a:pt x="24" y="10"/>
                </a:cubicBezTo>
                <a:cubicBezTo>
                  <a:pt x="23" y="9"/>
                  <a:pt x="23" y="9"/>
                  <a:pt x="23" y="9"/>
                </a:cubicBezTo>
                <a:cubicBezTo>
                  <a:pt x="22" y="9"/>
                  <a:pt x="22" y="9"/>
                  <a:pt x="22" y="9"/>
                </a:cubicBezTo>
                <a:cubicBezTo>
                  <a:pt x="21" y="9"/>
                  <a:pt x="21" y="8"/>
                  <a:pt x="20" y="8"/>
                </a:cubicBezTo>
                <a:cubicBezTo>
                  <a:pt x="20" y="9"/>
                  <a:pt x="20" y="10"/>
                  <a:pt x="20" y="11"/>
                </a:cubicBezTo>
                <a:cubicBezTo>
                  <a:pt x="20" y="12"/>
                  <a:pt x="19" y="13"/>
                  <a:pt x="18" y="14"/>
                </a:cubicBezTo>
                <a:cubicBezTo>
                  <a:pt x="14" y="18"/>
                  <a:pt x="14" y="18"/>
                  <a:pt x="14" y="18"/>
                </a:cubicBezTo>
                <a:cubicBezTo>
                  <a:pt x="13" y="19"/>
                  <a:pt x="12" y="19"/>
                  <a:pt x="11" y="18"/>
                </a:cubicBezTo>
                <a:cubicBezTo>
                  <a:pt x="11" y="19"/>
                  <a:pt x="11" y="19"/>
                  <a:pt x="11" y="19"/>
                </a:cubicBezTo>
                <a:cubicBezTo>
                  <a:pt x="10" y="19"/>
                  <a:pt x="10" y="20"/>
                  <a:pt x="10" y="20"/>
                </a:cubicBezTo>
                <a:cubicBezTo>
                  <a:pt x="7" y="23"/>
                  <a:pt x="7" y="23"/>
                  <a:pt x="7" y="23"/>
                </a:cubicBezTo>
                <a:cubicBezTo>
                  <a:pt x="6" y="23"/>
                  <a:pt x="6" y="23"/>
                  <a:pt x="5" y="23"/>
                </a:cubicBezTo>
                <a:cubicBezTo>
                  <a:pt x="4" y="23"/>
                  <a:pt x="4" y="23"/>
                  <a:pt x="4" y="23"/>
                </a:cubicBezTo>
                <a:cubicBezTo>
                  <a:pt x="3" y="23"/>
                  <a:pt x="2" y="23"/>
                  <a:pt x="2" y="23"/>
                </a:cubicBezTo>
                <a:cubicBezTo>
                  <a:pt x="1" y="23"/>
                  <a:pt x="1" y="24"/>
                  <a:pt x="0" y="24"/>
                </a:cubicBezTo>
                <a:cubicBezTo>
                  <a:pt x="0" y="24"/>
                  <a:pt x="0" y="24"/>
                  <a:pt x="1" y="25"/>
                </a:cubicBezTo>
                <a:cubicBezTo>
                  <a:pt x="2" y="27"/>
                  <a:pt x="2" y="27"/>
                  <a:pt x="2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2" y="28"/>
                  <a:pt x="2" y="28"/>
                  <a:pt x="3" y="30"/>
                </a:cubicBezTo>
                <a:cubicBezTo>
                  <a:pt x="4" y="33"/>
                  <a:pt x="4" y="34"/>
                  <a:pt x="4" y="36"/>
                </a:cubicBezTo>
                <a:cubicBezTo>
                  <a:pt x="3" y="36"/>
                  <a:pt x="3" y="37"/>
                  <a:pt x="3" y="39"/>
                </a:cubicBezTo>
                <a:cubicBezTo>
                  <a:pt x="3" y="42"/>
                  <a:pt x="3" y="42"/>
                  <a:pt x="3" y="42"/>
                </a:cubicBezTo>
                <a:cubicBezTo>
                  <a:pt x="4" y="43"/>
                  <a:pt x="4" y="44"/>
                  <a:pt x="3" y="45"/>
                </a:cubicBezTo>
                <a:cubicBezTo>
                  <a:pt x="3" y="48"/>
                  <a:pt x="3" y="48"/>
                  <a:pt x="3" y="49"/>
                </a:cubicBezTo>
                <a:cubicBezTo>
                  <a:pt x="4" y="49"/>
                  <a:pt x="4" y="49"/>
                  <a:pt x="4" y="49"/>
                </a:cubicBezTo>
                <a:cubicBezTo>
                  <a:pt x="4" y="50"/>
                  <a:pt x="4" y="51"/>
                  <a:pt x="4" y="52"/>
                </a:cubicBezTo>
                <a:cubicBezTo>
                  <a:pt x="4" y="53"/>
                  <a:pt x="4" y="53"/>
                  <a:pt x="4" y="54"/>
                </a:cubicBezTo>
                <a:cubicBezTo>
                  <a:pt x="7" y="51"/>
                  <a:pt x="7" y="51"/>
                  <a:pt x="7" y="51"/>
                </a:cubicBezTo>
                <a:cubicBezTo>
                  <a:pt x="10" y="48"/>
                  <a:pt x="13" y="49"/>
                  <a:pt x="14" y="50"/>
                </a:cubicBezTo>
                <a:cubicBezTo>
                  <a:pt x="15" y="51"/>
                  <a:pt x="15" y="51"/>
                  <a:pt x="16" y="51"/>
                </a:cubicBezTo>
                <a:cubicBezTo>
                  <a:pt x="18" y="50"/>
                  <a:pt x="18" y="50"/>
                  <a:pt x="19" y="49"/>
                </a:cubicBezTo>
                <a:cubicBezTo>
                  <a:pt x="19" y="48"/>
                  <a:pt x="20" y="47"/>
                  <a:pt x="22" y="46"/>
                </a:cubicBezTo>
                <a:cubicBezTo>
                  <a:pt x="23" y="45"/>
                  <a:pt x="23" y="45"/>
                  <a:pt x="23" y="45"/>
                </a:cubicBezTo>
                <a:cubicBezTo>
                  <a:pt x="22" y="44"/>
                  <a:pt x="23" y="43"/>
                  <a:pt x="23" y="42"/>
                </a:cubicBezTo>
                <a:cubicBezTo>
                  <a:pt x="24" y="39"/>
                  <a:pt x="25" y="38"/>
                  <a:pt x="26" y="38"/>
                </a:cubicBezTo>
                <a:cubicBezTo>
                  <a:pt x="29" y="37"/>
                  <a:pt x="32" y="39"/>
                  <a:pt x="34" y="40"/>
                </a:cubicBezTo>
                <a:cubicBezTo>
                  <a:pt x="38" y="40"/>
                  <a:pt x="38" y="40"/>
                  <a:pt x="38" y="40"/>
                </a:cubicBezTo>
                <a:cubicBezTo>
                  <a:pt x="43" y="45"/>
                  <a:pt x="43" y="45"/>
                  <a:pt x="43" y="45"/>
                </a:cubicBezTo>
                <a:cubicBezTo>
                  <a:pt x="48" y="50"/>
                  <a:pt x="48" y="50"/>
                  <a:pt x="48" y="50"/>
                </a:cubicBezTo>
                <a:cubicBezTo>
                  <a:pt x="53" y="50"/>
                  <a:pt x="53" y="50"/>
                  <a:pt x="53" y="50"/>
                </a:cubicBezTo>
                <a:cubicBezTo>
                  <a:pt x="53" y="65"/>
                  <a:pt x="53" y="65"/>
                  <a:pt x="53" y="65"/>
                </a:cubicBezTo>
                <a:cubicBezTo>
                  <a:pt x="53" y="66"/>
                  <a:pt x="55" y="72"/>
                  <a:pt x="58" y="76"/>
                </a:cubicBezTo>
                <a:cubicBezTo>
                  <a:pt x="58" y="76"/>
                  <a:pt x="60" y="75"/>
                  <a:pt x="61" y="75"/>
                </a:cubicBezTo>
                <a:cubicBezTo>
                  <a:pt x="63" y="74"/>
                  <a:pt x="65" y="75"/>
                  <a:pt x="66" y="76"/>
                </a:cubicBezTo>
                <a:cubicBezTo>
                  <a:pt x="68" y="77"/>
                  <a:pt x="69" y="80"/>
                  <a:pt x="69" y="82"/>
                </a:cubicBezTo>
                <a:cubicBezTo>
                  <a:pt x="73" y="84"/>
                  <a:pt x="73" y="84"/>
                  <a:pt x="73" y="84"/>
                </a:cubicBezTo>
                <a:cubicBezTo>
                  <a:pt x="73" y="84"/>
                  <a:pt x="75" y="86"/>
                  <a:pt x="76" y="85"/>
                </a:cubicBezTo>
                <a:cubicBezTo>
                  <a:pt x="78" y="85"/>
                  <a:pt x="78" y="83"/>
                  <a:pt x="78" y="83"/>
                </a:cubicBezTo>
                <a:cubicBezTo>
                  <a:pt x="78" y="82"/>
                  <a:pt x="78" y="82"/>
                  <a:pt x="78" y="82"/>
                </a:cubicBezTo>
                <a:cubicBezTo>
                  <a:pt x="94" y="77"/>
                  <a:pt x="94" y="77"/>
                  <a:pt x="94" y="77"/>
                </a:cubicBezTo>
                <a:cubicBezTo>
                  <a:pt x="94" y="77"/>
                  <a:pt x="94" y="76"/>
                  <a:pt x="95" y="75"/>
                </a:cubicBezTo>
                <a:cubicBezTo>
                  <a:pt x="96" y="75"/>
                  <a:pt x="96" y="75"/>
                  <a:pt x="96" y="75"/>
                </a:cubicBezTo>
                <a:cubicBezTo>
                  <a:pt x="101" y="75"/>
                  <a:pt x="101" y="75"/>
                  <a:pt x="101" y="75"/>
                </a:cubicBezTo>
                <a:cubicBezTo>
                  <a:pt x="102" y="73"/>
                  <a:pt x="102" y="73"/>
                  <a:pt x="102" y="73"/>
                </a:cubicBezTo>
                <a:cubicBezTo>
                  <a:pt x="103" y="73"/>
                  <a:pt x="103" y="73"/>
                  <a:pt x="104" y="73"/>
                </a:cubicBezTo>
                <a:cubicBezTo>
                  <a:pt x="103" y="72"/>
                  <a:pt x="102" y="72"/>
                  <a:pt x="102" y="72"/>
                </a:cubicBezTo>
                <a:cubicBezTo>
                  <a:pt x="101" y="72"/>
                  <a:pt x="101" y="72"/>
                  <a:pt x="101" y="72"/>
                </a:cubicBezTo>
                <a:cubicBezTo>
                  <a:pt x="100" y="72"/>
                  <a:pt x="99" y="71"/>
                  <a:pt x="99" y="70"/>
                </a:cubicBezTo>
                <a:cubicBezTo>
                  <a:pt x="99" y="68"/>
                  <a:pt x="99" y="68"/>
                  <a:pt x="99" y="68"/>
                </a:cubicBezTo>
                <a:cubicBezTo>
                  <a:pt x="99" y="67"/>
                  <a:pt x="99" y="67"/>
                  <a:pt x="99" y="67"/>
                </a:cubicBezTo>
                <a:cubicBezTo>
                  <a:pt x="101" y="60"/>
                  <a:pt x="101" y="60"/>
                  <a:pt x="101" y="60"/>
                </a:cubicBezTo>
                <a:cubicBezTo>
                  <a:pt x="102" y="59"/>
                  <a:pt x="102" y="59"/>
                  <a:pt x="102" y="58"/>
                </a:cubicBezTo>
                <a:cubicBezTo>
                  <a:pt x="102" y="58"/>
                  <a:pt x="103" y="57"/>
                  <a:pt x="103" y="56"/>
                </a:cubicBezTo>
                <a:cubicBezTo>
                  <a:pt x="104" y="55"/>
                  <a:pt x="104" y="54"/>
                  <a:pt x="104" y="54"/>
                </a:cubicBezTo>
                <a:cubicBezTo>
                  <a:pt x="105" y="54"/>
                  <a:pt x="105" y="54"/>
                  <a:pt x="105" y="53"/>
                </a:cubicBezTo>
                <a:cubicBezTo>
                  <a:pt x="106" y="50"/>
                  <a:pt x="106" y="50"/>
                  <a:pt x="106" y="50"/>
                </a:cubicBezTo>
                <a:cubicBezTo>
                  <a:pt x="106" y="50"/>
                  <a:pt x="106" y="49"/>
                  <a:pt x="107" y="49"/>
                </a:cubicBezTo>
                <a:cubicBezTo>
                  <a:pt x="112" y="47"/>
                  <a:pt x="112" y="47"/>
                  <a:pt x="112" y="47"/>
                </a:cubicBezTo>
                <a:cubicBezTo>
                  <a:pt x="117" y="46"/>
                  <a:pt x="120" y="45"/>
                  <a:pt x="120" y="45"/>
                </a:cubicBezTo>
                <a:cubicBezTo>
                  <a:pt x="120" y="45"/>
                  <a:pt x="120" y="45"/>
                  <a:pt x="120" y="45"/>
                </a:cubicBezTo>
                <a:cubicBezTo>
                  <a:pt x="121" y="45"/>
                  <a:pt x="121" y="45"/>
                  <a:pt x="121" y="45"/>
                </a:cubicBezTo>
                <a:cubicBezTo>
                  <a:pt x="121" y="45"/>
                  <a:pt x="120" y="45"/>
                  <a:pt x="120" y="44"/>
                </a:cubicBezTo>
                <a:cubicBezTo>
                  <a:pt x="118" y="43"/>
                  <a:pt x="117" y="42"/>
                  <a:pt x="117" y="41"/>
                </a:cubicBezTo>
                <a:cubicBezTo>
                  <a:pt x="116" y="41"/>
                  <a:pt x="116" y="41"/>
                  <a:pt x="116" y="41"/>
                </a:cubicBezTo>
                <a:cubicBezTo>
                  <a:pt x="114" y="40"/>
                  <a:pt x="115" y="38"/>
                  <a:pt x="115" y="37"/>
                </a:cubicBezTo>
                <a:cubicBezTo>
                  <a:pt x="116" y="37"/>
                  <a:pt x="116" y="37"/>
                  <a:pt x="116" y="36"/>
                </a:cubicBezTo>
                <a:cubicBezTo>
                  <a:pt x="116" y="36"/>
                  <a:pt x="116" y="35"/>
                  <a:pt x="117" y="34"/>
                </a:cubicBezTo>
                <a:cubicBezTo>
                  <a:pt x="118" y="32"/>
                  <a:pt x="118" y="32"/>
                  <a:pt x="118" y="32"/>
                </a:cubicBezTo>
                <a:cubicBezTo>
                  <a:pt x="119" y="30"/>
                  <a:pt x="121" y="30"/>
                  <a:pt x="121" y="29"/>
                </a:cubicBezTo>
                <a:cubicBezTo>
                  <a:pt x="122" y="29"/>
                  <a:pt x="122" y="29"/>
                  <a:pt x="123" y="29"/>
                </a:cubicBezTo>
                <a:cubicBezTo>
                  <a:pt x="123" y="29"/>
                  <a:pt x="123" y="29"/>
                  <a:pt x="123" y="29"/>
                </a:cubicBezTo>
                <a:cubicBezTo>
                  <a:pt x="123" y="28"/>
                  <a:pt x="123" y="28"/>
                  <a:pt x="123" y="28"/>
                </a:cubicBezTo>
                <a:lnTo>
                  <a:pt x="122" y="2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Freeform 71">
            <a:extLst>
              <a:ext uri="{FF2B5EF4-FFF2-40B4-BE49-F238E27FC236}">
                <a16:creationId xmlns:a16="http://schemas.microsoft.com/office/drawing/2014/main" id="{AC878FD2-BE4D-44E2-84CB-7F7BA2BFE4E9}"/>
              </a:ext>
            </a:extLst>
          </p:cNvPr>
          <p:cNvSpPr>
            <a:spLocks/>
          </p:cNvSpPr>
          <p:nvPr/>
        </p:nvSpPr>
        <p:spPr bwMode="auto">
          <a:xfrm>
            <a:off x="4894012" y="4779491"/>
            <a:ext cx="268288" cy="311150"/>
          </a:xfrm>
          <a:custGeom>
            <a:avLst/>
            <a:gdLst>
              <a:gd name="T0" fmla="*/ 73 w 111"/>
              <a:gd name="T1" fmla="*/ 47 h 139"/>
              <a:gd name="T2" fmla="*/ 63 w 111"/>
              <a:gd name="T3" fmla="*/ 42 h 139"/>
              <a:gd name="T4" fmla="*/ 57 w 111"/>
              <a:gd name="T5" fmla="*/ 38 h 139"/>
              <a:gd name="T6" fmla="*/ 46 w 111"/>
              <a:gd name="T7" fmla="*/ 24 h 139"/>
              <a:gd name="T8" fmla="*/ 43 w 111"/>
              <a:gd name="T9" fmla="*/ 12 h 139"/>
              <a:gd name="T10" fmla="*/ 29 w 111"/>
              <a:gd name="T11" fmla="*/ 2 h 139"/>
              <a:gd name="T12" fmla="*/ 24 w 111"/>
              <a:gd name="T13" fmla="*/ 1 h 139"/>
              <a:gd name="T14" fmla="*/ 24 w 111"/>
              <a:gd name="T15" fmla="*/ 3 h 139"/>
              <a:gd name="T16" fmla="*/ 15 w 111"/>
              <a:gd name="T17" fmla="*/ 12 h 139"/>
              <a:gd name="T18" fmla="*/ 2 w 111"/>
              <a:gd name="T19" fmla="*/ 16 h 139"/>
              <a:gd name="T20" fmla="*/ 3 w 111"/>
              <a:gd name="T21" fmla="*/ 23 h 139"/>
              <a:gd name="T22" fmla="*/ 3 w 111"/>
              <a:gd name="T23" fmla="*/ 27 h 139"/>
              <a:gd name="T24" fmla="*/ 4 w 111"/>
              <a:gd name="T25" fmla="*/ 37 h 139"/>
              <a:gd name="T26" fmla="*/ 6 w 111"/>
              <a:gd name="T27" fmla="*/ 46 h 139"/>
              <a:gd name="T28" fmla="*/ 13 w 111"/>
              <a:gd name="T29" fmla="*/ 47 h 139"/>
              <a:gd name="T30" fmla="*/ 15 w 111"/>
              <a:gd name="T31" fmla="*/ 50 h 139"/>
              <a:gd name="T32" fmla="*/ 21 w 111"/>
              <a:gd name="T33" fmla="*/ 60 h 139"/>
              <a:gd name="T34" fmla="*/ 25 w 111"/>
              <a:gd name="T35" fmla="*/ 66 h 139"/>
              <a:gd name="T36" fmla="*/ 25 w 111"/>
              <a:gd name="T37" fmla="*/ 74 h 139"/>
              <a:gd name="T38" fmla="*/ 22 w 111"/>
              <a:gd name="T39" fmla="*/ 80 h 139"/>
              <a:gd name="T40" fmla="*/ 20 w 111"/>
              <a:gd name="T41" fmla="*/ 83 h 139"/>
              <a:gd name="T42" fmla="*/ 15 w 111"/>
              <a:gd name="T43" fmla="*/ 89 h 139"/>
              <a:gd name="T44" fmla="*/ 8 w 111"/>
              <a:gd name="T45" fmla="*/ 91 h 139"/>
              <a:gd name="T46" fmla="*/ 7 w 111"/>
              <a:gd name="T47" fmla="*/ 95 h 139"/>
              <a:gd name="T48" fmla="*/ 9 w 111"/>
              <a:gd name="T49" fmla="*/ 98 h 139"/>
              <a:gd name="T50" fmla="*/ 12 w 111"/>
              <a:gd name="T51" fmla="*/ 101 h 139"/>
              <a:gd name="T52" fmla="*/ 14 w 111"/>
              <a:gd name="T53" fmla="*/ 108 h 139"/>
              <a:gd name="T54" fmla="*/ 12 w 111"/>
              <a:gd name="T55" fmla="*/ 112 h 139"/>
              <a:gd name="T56" fmla="*/ 6 w 111"/>
              <a:gd name="T57" fmla="*/ 117 h 139"/>
              <a:gd name="T58" fmla="*/ 2 w 111"/>
              <a:gd name="T59" fmla="*/ 126 h 139"/>
              <a:gd name="T60" fmla="*/ 4 w 111"/>
              <a:gd name="T61" fmla="*/ 129 h 139"/>
              <a:gd name="T62" fmla="*/ 7 w 111"/>
              <a:gd name="T63" fmla="*/ 132 h 139"/>
              <a:gd name="T64" fmla="*/ 12 w 111"/>
              <a:gd name="T65" fmla="*/ 129 h 139"/>
              <a:gd name="T66" fmla="*/ 17 w 111"/>
              <a:gd name="T67" fmla="*/ 127 h 139"/>
              <a:gd name="T68" fmla="*/ 24 w 111"/>
              <a:gd name="T69" fmla="*/ 128 h 139"/>
              <a:gd name="T70" fmla="*/ 32 w 111"/>
              <a:gd name="T71" fmla="*/ 130 h 139"/>
              <a:gd name="T72" fmla="*/ 34 w 111"/>
              <a:gd name="T73" fmla="*/ 134 h 139"/>
              <a:gd name="T74" fmla="*/ 38 w 111"/>
              <a:gd name="T75" fmla="*/ 134 h 139"/>
              <a:gd name="T76" fmla="*/ 44 w 111"/>
              <a:gd name="T77" fmla="*/ 135 h 139"/>
              <a:gd name="T78" fmla="*/ 50 w 111"/>
              <a:gd name="T79" fmla="*/ 138 h 139"/>
              <a:gd name="T80" fmla="*/ 53 w 111"/>
              <a:gd name="T81" fmla="*/ 136 h 139"/>
              <a:gd name="T82" fmla="*/ 56 w 111"/>
              <a:gd name="T83" fmla="*/ 132 h 139"/>
              <a:gd name="T84" fmla="*/ 62 w 111"/>
              <a:gd name="T85" fmla="*/ 130 h 139"/>
              <a:gd name="T86" fmla="*/ 71 w 111"/>
              <a:gd name="T87" fmla="*/ 128 h 139"/>
              <a:gd name="T88" fmla="*/ 78 w 111"/>
              <a:gd name="T89" fmla="*/ 127 h 139"/>
              <a:gd name="T90" fmla="*/ 83 w 111"/>
              <a:gd name="T91" fmla="*/ 127 h 139"/>
              <a:gd name="T92" fmla="*/ 91 w 111"/>
              <a:gd name="T93" fmla="*/ 126 h 139"/>
              <a:gd name="T94" fmla="*/ 98 w 111"/>
              <a:gd name="T95" fmla="*/ 120 h 139"/>
              <a:gd name="T96" fmla="*/ 104 w 111"/>
              <a:gd name="T97" fmla="*/ 118 h 139"/>
              <a:gd name="T98" fmla="*/ 106 w 111"/>
              <a:gd name="T99" fmla="*/ 109 h 139"/>
              <a:gd name="T100" fmla="*/ 109 w 111"/>
              <a:gd name="T101" fmla="*/ 99 h 139"/>
              <a:gd name="T102" fmla="*/ 108 w 111"/>
              <a:gd name="T103" fmla="*/ 95 h 139"/>
              <a:gd name="T104" fmla="*/ 108 w 111"/>
              <a:gd name="T105" fmla="*/ 89 h 139"/>
              <a:gd name="T106" fmla="*/ 111 w 111"/>
              <a:gd name="T107" fmla="*/ 84 h 139"/>
              <a:gd name="T108" fmla="*/ 107 w 111"/>
              <a:gd name="T109" fmla="*/ 79 h 139"/>
              <a:gd name="T110" fmla="*/ 98 w 111"/>
              <a:gd name="T111" fmla="*/ 65 h 139"/>
              <a:gd name="T112" fmla="*/ 97 w 111"/>
              <a:gd name="T113" fmla="*/ 58 h 139"/>
              <a:gd name="T114" fmla="*/ 93 w 111"/>
              <a:gd name="T115" fmla="*/ 51 h 139"/>
              <a:gd name="T116" fmla="*/ 93 w 111"/>
              <a:gd name="T117" fmla="*/ 41 h 139"/>
              <a:gd name="T118" fmla="*/ 92 w 111"/>
              <a:gd name="T119" fmla="*/ 39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11" h="139">
                <a:moveTo>
                  <a:pt x="79" y="43"/>
                </a:moveTo>
                <a:cubicBezTo>
                  <a:pt x="78" y="44"/>
                  <a:pt x="77" y="46"/>
                  <a:pt x="75" y="47"/>
                </a:cubicBezTo>
                <a:cubicBezTo>
                  <a:pt x="74" y="47"/>
                  <a:pt x="73" y="47"/>
                  <a:pt x="73" y="47"/>
                </a:cubicBezTo>
                <a:cubicBezTo>
                  <a:pt x="70" y="47"/>
                  <a:pt x="68" y="46"/>
                  <a:pt x="67" y="45"/>
                </a:cubicBezTo>
                <a:cubicBezTo>
                  <a:pt x="63" y="43"/>
                  <a:pt x="63" y="43"/>
                  <a:pt x="63" y="43"/>
                </a:cubicBezTo>
                <a:cubicBezTo>
                  <a:pt x="63" y="42"/>
                  <a:pt x="63" y="42"/>
                  <a:pt x="63" y="42"/>
                </a:cubicBezTo>
                <a:cubicBezTo>
                  <a:pt x="62" y="41"/>
                  <a:pt x="62" y="38"/>
                  <a:pt x="61" y="37"/>
                </a:cubicBezTo>
                <a:cubicBezTo>
                  <a:pt x="60" y="37"/>
                  <a:pt x="60" y="36"/>
                  <a:pt x="59" y="36"/>
                </a:cubicBezTo>
                <a:cubicBezTo>
                  <a:pt x="57" y="37"/>
                  <a:pt x="57" y="37"/>
                  <a:pt x="57" y="38"/>
                </a:cubicBezTo>
                <a:cubicBezTo>
                  <a:pt x="57" y="38"/>
                  <a:pt x="57" y="40"/>
                  <a:pt x="55" y="40"/>
                </a:cubicBezTo>
                <a:cubicBezTo>
                  <a:pt x="54" y="40"/>
                  <a:pt x="53" y="39"/>
                  <a:pt x="52" y="37"/>
                </a:cubicBezTo>
                <a:cubicBezTo>
                  <a:pt x="48" y="31"/>
                  <a:pt x="46" y="24"/>
                  <a:pt x="46" y="24"/>
                </a:cubicBezTo>
                <a:cubicBezTo>
                  <a:pt x="46" y="23"/>
                  <a:pt x="46" y="23"/>
                  <a:pt x="46" y="23"/>
                </a:cubicBezTo>
                <a:cubicBezTo>
                  <a:pt x="46" y="12"/>
                  <a:pt x="46" y="12"/>
                  <a:pt x="46" y="12"/>
                </a:cubicBezTo>
                <a:cubicBezTo>
                  <a:pt x="43" y="12"/>
                  <a:pt x="43" y="12"/>
                  <a:pt x="43" y="12"/>
                </a:cubicBezTo>
                <a:cubicBezTo>
                  <a:pt x="37" y="6"/>
                  <a:pt x="37" y="6"/>
                  <a:pt x="37" y="6"/>
                </a:cubicBezTo>
                <a:cubicBezTo>
                  <a:pt x="33" y="2"/>
                  <a:pt x="33" y="2"/>
                  <a:pt x="33" y="2"/>
                </a:cubicBezTo>
                <a:cubicBezTo>
                  <a:pt x="29" y="2"/>
                  <a:pt x="29" y="2"/>
                  <a:pt x="29" y="2"/>
                </a:cubicBezTo>
                <a:cubicBezTo>
                  <a:pt x="29" y="2"/>
                  <a:pt x="29" y="2"/>
                  <a:pt x="29" y="2"/>
                </a:cubicBezTo>
                <a:cubicBezTo>
                  <a:pt x="27" y="1"/>
                  <a:pt x="25" y="0"/>
                  <a:pt x="24" y="0"/>
                </a:cubicBezTo>
                <a:cubicBezTo>
                  <a:pt x="24" y="0"/>
                  <a:pt x="24" y="0"/>
                  <a:pt x="24" y="1"/>
                </a:cubicBezTo>
                <a:cubicBezTo>
                  <a:pt x="24" y="2"/>
                  <a:pt x="24" y="2"/>
                  <a:pt x="24" y="2"/>
                </a:cubicBezTo>
                <a:cubicBezTo>
                  <a:pt x="24" y="2"/>
                  <a:pt x="24" y="2"/>
                  <a:pt x="24" y="2"/>
                </a:cubicBezTo>
                <a:cubicBezTo>
                  <a:pt x="24" y="3"/>
                  <a:pt x="24" y="3"/>
                  <a:pt x="24" y="3"/>
                </a:cubicBezTo>
                <a:cubicBezTo>
                  <a:pt x="24" y="5"/>
                  <a:pt x="24" y="5"/>
                  <a:pt x="22" y="7"/>
                </a:cubicBezTo>
                <a:cubicBezTo>
                  <a:pt x="20" y="8"/>
                  <a:pt x="19" y="9"/>
                  <a:pt x="19" y="9"/>
                </a:cubicBezTo>
                <a:cubicBezTo>
                  <a:pt x="18" y="11"/>
                  <a:pt x="17" y="11"/>
                  <a:pt x="15" y="12"/>
                </a:cubicBezTo>
                <a:cubicBezTo>
                  <a:pt x="12" y="14"/>
                  <a:pt x="10" y="12"/>
                  <a:pt x="9" y="12"/>
                </a:cubicBezTo>
                <a:cubicBezTo>
                  <a:pt x="8" y="11"/>
                  <a:pt x="8" y="11"/>
                  <a:pt x="7" y="12"/>
                </a:cubicBezTo>
                <a:cubicBezTo>
                  <a:pt x="2" y="16"/>
                  <a:pt x="2" y="16"/>
                  <a:pt x="2" y="16"/>
                </a:cubicBezTo>
                <a:cubicBezTo>
                  <a:pt x="1" y="14"/>
                  <a:pt x="1" y="14"/>
                  <a:pt x="1" y="14"/>
                </a:cubicBezTo>
                <a:cubicBezTo>
                  <a:pt x="1" y="15"/>
                  <a:pt x="1" y="17"/>
                  <a:pt x="1" y="18"/>
                </a:cubicBezTo>
                <a:cubicBezTo>
                  <a:pt x="3" y="23"/>
                  <a:pt x="3" y="23"/>
                  <a:pt x="3" y="23"/>
                </a:cubicBezTo>
                <a:cubicBezTo>
                  <a:pt x="3" y="23"/>
                  <a:pt x="3" y="23"/>
                  <a:pt x="3" y="24"/>
                </a:cubicBezTo>
                <a:cubicBezTo>
                  <a:pt x="3" y="26"/>
                  <a:pt x="3" y="26"/>
                  <a:pt x="3" y="26"/>
                </a:cubicBezTo>
                <a:cubicBezTo>
                  <a:pt x="3" y="27"/>
                  <a:pt x="3" y="27"/>
                  <a:pt x="3" y="27"/>
                </a:cubicBezTo>
                <a:cubicBezTo>
                  <a:pt x="4" y="29"/>
                  <a:pt x="4" y="30"/>
                  <a:pt x="4" y="32"/>
                </a:cubicBezTo>
                <a:cubicBezTo>
                  <a:pt x="4" y="32"/>
                  <a:pt x="3" y="33"/>
                  <a:pt x="4" y="34"/>
                </a:cubicBezTo>
                <a:cubicBezTo>
                  <a:pt x="4" y="35"/>
                  <a:pt x="4" y="36"/>
                  <a:pt x="4" y="37"/>
                </a:cubicBezTo>
                <a:cubicBezTo>
                  <a:pt x="5" y="38"/>
                  <a:pt x="5" y="38"/>
                  <a:pt x="5" y="38"/>
                </a:cubicBezTo>
                <a:cubicBezTo>
                  <a:pt x="7" y="40"/>
                  <a:pt x="6" y="43"/>
                  <a:pt x="6" y="44"/>
                </a:cubicBezTo>
                <a:cubicBezTo>
                  <a:pt x="6" y="46"/>
                  <a:pt x="6" y="46"/>
                  <a:pt x="6" y="46"/>
                </a:cubicBezTo>
                <a:cubicBezTo>
                  <a:pt x="8" y="46"/>
                  <a:pt x="8" y="46"/>
                  <a:pt x="8" y="46"/>
                </a:cubicBezTo>
                <a:cubicBezTo>
                  <a:pt x="9" y="46"/>
                  <a:pt x="9" y="46"/>
                  <a:pt x="9" y="46"/>
                </a:cubicBezTo>
                <a:cubicBezTo>
                  <a:pt x="13" y="47"/>
                  <a:pt x="13" y="47"/>
                  <a:pt x="13" y="47"/>
                </a:cubicBezTo>
                <a:cubicBezTo>
                  <a:pt x="13" y="48"/>
                  <a:pt x="13" y="48"/>
                  <a:pt x="13" y="48"/>
                </a:cubicBezTo>
                <a:cubicBezTo>
                  <a:pt x="15" y="49"/>
                  <a:pt x="15" y="49"/>
                  <a:pt x="15" y="49"/>
                </a:cubicBezTo>
                <a:cubicBezTo>
                  <a:pt x="15" y="50"/>
                  <a:pt x="15" y="50"/>
                  <a:pt x="15" y="50"/>
                </a:cubicBezTo>
                <a:cubicBezTo>
                  <a:pt x="15" y="57"/>
                  <a:pt x="15" y="57"/>
                  <a:pt x="15" y="57"/>
                </a:cubicBezTo>
                <a:cubicBezTo>
                  <a:pt x="20" y="59"/>
                  <a:pt x="20" y="59"/>
                  <a:pt x="20" y="59"/>
                </a:cubicBezTo>
                <a:cubicBezTo>
                  <a:pt x="21" y="59"/>
                  <a:pt x="21" y="60"/>
                  <a:pt x="21" y="60"/>
                </a:cubicBezTo>
                <a:cubicBezTo>
                  <a:pt x="21" y="61"/>
                  <a:pt x="21" y="61"/>
                  <a:pt x="21" y="61"/>
                </a:cubicBezTo>
                <a:cubicBezTo>
                  <a:pt x="22" y="63"/>
                  <a:pt x="22" y="63"/>
                  <a:pt x="22" y="63"/>
                </a:cubicBezTo>
                <a:cubicBezTo>
                  <a:pt x="25" y="66"/>
                  <a:pt x="25" y="66"/>
                  <a:pt x="25" y="66"/>
                </a:cubicBezTo>
                <a:cubicBezTo>
                  <a:pt x="25" y="67"/>
                  <a:pt x="25" y="67"/>
                  <a:pt x="25" y="67"/>
                </a:cubicBezTo>
                <a:cubicBezTo>
                  <a:pt x="25" y="72"/>
                  <a:pt x="25" y="72"/>
                  <a:pt x="25" y="72"/>
                </a:cubicBezTo>
                <a:cubicBezTo>
                  <a:pt x="25" y="73"/>
                  <a:pt x="25" y="73"/>
                  <a:pt x="25" y="74"/>
                </a:cubicBezTo>
                <a:cubicBezTo>
                  <a:pt x="23" y="76"/>
                  <a:pt x="23" y="76"/>
                  <a:pt x="23" y="76"/>
                </a:cubicBezTo>
                <a:cubicBezTo>
                  <a:pt x="23" y="78"/>
                  <a:pt x="23" y="78"/>
                  <a:pt x="23" y="78"/>
                </a:cubicBezTo>
                <a:cubicBezTo>
                  <a:pt x="23" y="79"/>
                  <a:pt x="23" y="80"/>
                  <a:pt x="22" y="80"/>
                </a:cubicBezTo>
                <a:cubicBezTo>
                  <a:pt x="20" y="81"/>
                  <a:pt x="20" y="81"/>
                  <a:pt x="20" y="81"/>
                </a:cubicBezTo>
                <a:cubicBezTo>
                  <a:pt x="20" y="82"/>
                  <a:pt x="20" y="82"/>
                  <a:pt x="20" y="82"/>
                </a:cubicBezTo>
                <a:cubicBezTo>
                  <a:pt x="20" y="82"/>
                  <a:pt x="20" y="82"/>
                  <a:pt x="20" y="83"/>
                </a:cubicBezTo>
                <a:cubicBezTo>
                  <a:pt x="18" y="86"/>
                  <a:pt x="18" y="86"/>
                  <a:pt x="18" y="86"/>
                </a:cubicBezTo>
                <a:cubicBezTo>
                  <a:pt x="18" y="87"/>
                  <a:pt x="18" y="87"/>
                  <a:pt x="18" y="87"/>
                </a:cubicBezTo>
                <a:cubicBezTo>
                  <a:pt x="18" y="87"/>
                  <a:pt x="17" y="88"/>
                  <a:pt x="15" y="89"/>
                </a:cubicBezTo>
                <a:cubicBezTo>
                  <a:pt x="14" y="90"/>
                  <a:pt x="14" y="90"/>
                  <a:pt x="13" y="89"/>
                </a:cubicBezTo>
                <a:cubicBezTo>
                  <a:pt x="12" y="90"/>
                  <a:pt x="10" y="91"/>
                  <a:pt x="9" y="91"/>
                </a:cubicBezTo>
                <a:cubicBezTo>
                  <a:pt x="8" y="91"/>
                  <a:pt x="8" y="91"/>
                  <a:pt x="8" y="91"/>
                </a:cubicBezTo>
                <a:cubicBezTo>
                  <a:pt x="7" y="93"/>
                  <a:pt x="7" y="93"/>
                  <a:pt x="7" y="93"/>
                </a:cubicBezTo>
                <a:cubicBezTo>
                  <a:pt x="7" y="94"/>
                  <a:pt x="7" y="94"/>
                  <a:pt x="7" y="94"/>
                </a:cubicBezTo>
                <a:cubicBezTo>
                  <a:pt x="7" y="95"/>
                  <a:pt x="7" y="95"/>
                  <a:pt x="7" y="95"/>
                </a:cubicBezTo>
                <a:cubicBezTo>
                  <a:pt x="7" y="95"/>
                  <a:pt x="7" y="95"/>
                  <a:pt x="7" y="95"/>
                </a:cubicBezTo>
                <a:cubicBezTo>
                  <a:pt x="8" y="97"/>
                  <a:pt x="8" y="97"/>
                  <a:pt x="8" y="97"/>
                </a:cubicBezTo>
                <a:cubicBezTo>
                  <a:pt x="9" y="98"/>
                  <a:pt x="9" y="98"/>
                  <a:pt x="9" y="98"/>
                </a:cubicBezTo>
                <a:cubicBezTo>
                  <a:pt x="9" y="98"/>
                  <a:pt x="9" y="98"/>
                  <a:pt x="9" y="98"/>
                </a:cubicBezTo>
                <a:cubicBezTo>
                  <a:pt x="10" y="98"/>
                  <a:pt x="10" y="99"/>
                  <a:pt x="11" y="99"/>
                </a:cubicBezTo>
                <a:cubicBezTo>
                  <a:pt x="12" y="101"/>
                  <a:pt x="12" y="101"/>
                  <a:pt x="12" y="101"/>
                </a:cubicBezTo>
                <a:cubicBezTo>
                  <a:pt x="13" y="101"/>
                  <a:pt x="13" y="101"/>
                  <a:pt x="13" y="102"/>
                </a:cubicBezTo>
                <a:cubicBezTo>
                  <a:pt x="14" y="105"/>
                  <a:pt x="14" y="105"/>
                  <a:pt x="14" y="105"/>
                </a:cubicBezTo>
                <a:cubicBezTo>
                  <a:pt x="14" y="108"/>
                  <a:pt x="14" y="108"/>
                  <a:pt x="14" y="108"/>
                </a:cubicBezTo>
                <a:cubicBezTo>
                  <a:pt x="14" y="109"/>
                  <a:pt x="14" y="109"/>
                  <a:pt x="14" y="109"/>
                </a:cubicBezTo>
                <a:cubicBezTo>
                  <a:pt x="12" y="112"/>
                  <a:pt x="12" y="112"/>
                  <a:pt x="12" y="112"/>
                </a:cubicBezTo>
                <a:cubicBezTo>
                  <a:pt x="12" y="112"/>
                  <a:pt x="12" y="112"/>
                  <a:pt x="12" y="112"/>
                </a:cubicBezTo>
                <a:cubicBezTo>
                  <a:pt x="10" y="114"/>
                  <a:pt x="10" y="114"/>
                  <a:pt x="10" y="114"/>
                </a:cubicBezTo>
                <a:cubicBezTo>
                  <a:pt x="10" y="114"/>
                  <a:pt x="8" y="115"/>
                  <a:pt x="7" y="116"/>
                </a:cubicBezTo>
                <a:cubicBezTo>
                  <a:pt x="7" y="116"/>
                  <a:pt x="7" y="117"/>
                  <a:pt x="6" y="117"/>
                </a:cubicBezTo>
                <a:cubicBezTo>
                  <a:pt x="5" y="118"/>
                  <a:pt x="5" y="118"/>
                  <a:pt x="5" y="118"/>
                </a:cubicBezTo>
                <a:cubicBezTo>
                  <a:pt x="4" y="121"/>
                  <a:pt x="4" y="121"/>
                  <a:pt x="4" y="121"/>
                </a:cubicBezTo>
                <a:cubicBezTo>
                  <a:pt x="4" y="123"/>
                  <a:pt x="4" y="125"/>
                  <a:pt x="2" y="126"/>
                </a:cubicBezTo>
                <a:cubicBezTo>
                  <a:pt x="1" y="126"/>
                  <a:pt x="1" y="126"/>
                  <a:pt x="0" y="127"/>
                </a:cubicBezTo>
                <a:cubicBezTo>
                  <a:pt x="2" y="127"/>
                  <a:pt x="2" y="127"/>
                  <a:pt x="2" y="127"/>
                </a:cubicBezTo>
                <a:cubicBezTo>
                  <a:pt x="3" y="127"/>
                  <a:pt x="4" y="128"/>
                  <a:pt x="4" y="129"/>
                </a:cubicBezTo>
                <a:cubicBezTo>
                  <a:pt x="4" y="132"/>
                  <a:pt x="4" y="132"/>
                  <a:pt x="4" y="132"/>
                </a:cubicBezTo>
                <a:cubicBezTo>
                  <a:pt x="6" y="132"/>
                  <a:pt x="6" y="132"/>
                  <a:pt x="6" y="132"/>
                </a:cubicBezTo>
                <a:cubicBezTo>
                  <a:pt x="7" y="132"/>
                  <a:pt x="7" y="132"/>
                  <a:pt x="7" y="132"/>
                </a:cubicBezTo>
                <a:cubicBezTo>
                  <a:pt x="8" y="130"/>
                  <a:pt x="8" y="130"/>
                  <a:pt x="8" y="130"/>
                </a:cubicBezTo>
                <a:cubicBezTo>
                  <a:pt x="9" y="129"/>
                  <a:pt x="9" y="129"/>
                  <a:pt x="10" y="129"/>
                </a:cubicBezTo>
                <a:cubicBezTo>
                  <a:pt x="12" y="129"/>
                  <a:pt x="12" y="129"/>
                  <a:pt x="12" y="129"/>
                </a:cubicBezTo>
                <a:cubicBezTo>
                  <a:pt x="13" y="127"/>
                  <a:pt x="13" y="127"/>
                  <a:pt x="13" y="127"/>
                </a:cubicBezTo>
                <a:cubicBezTo>
                  <a:pt x="14" y="127"/>
                  <a:pt x="14" y="127"/>
                  <a:pt x="15" y="127"/>
                </a:cubicBezTo>
                <a:cubicBezTo>
                  <a:pt x="17" y="127"/>
                  <a:pt x="17" y="127"/>
                  <a:pt x="17" y="127"/>
                </a:cubicBezTo>
                <a:cubicBezTo>
                  <a:pt x="21" y="127"/>
                  <a:pt x="21" y="127"/>
                  <a:pt x="21" y="127"/>
                </a:cubicBezTo>
                <a:cubicBezTo>
                  <a:pt x="22" y="127"/>
                  <a:pt x="22" y="127"/>
                  <a:pt x="22" y="127"/>
                </a:cubicBezTo>
                <a:cubicBezTo>
                  <a:pt x="24" y="128"/>
                  <a:pt x="24" y="128"/>
                  <a:pt x="24" y="128"/>
                </a:cubicBezTo>
                <a:cubicBezTo>
                  <a:pt x="26" y="129"/>
                  <a:pt x="26" y="129"/>
                  <a:pt x="26" y="129"/>
                </a:cubicBezTo>
                <a:cubicBezTo>
                  <a:pt x="31" y="129"/>
                  <a:pt x="31" y="129"/>
                  <a:pt x="31" y="129"/>
                </a:cubicBezTo>
                <a:cubicBezTo>
                  <a:pt x="31" y="129"/>
                  <a:pt x="32" y="129"/>
                  <a:pt x="32" y="130"/>
                </a:cubicBezTo>
                <a:cubicBezTo>
                  <a:pt x="33" y="132"/>
                  <a:pt x="33" y="132"/>
                  <a:pt x="33" y="132"/>
                </a:cubicBezTo>
                <a:cubicBezTo>
                  <a:pt x="34" y="132"/>
                  <a:pt x="34" y="132"/>
                  <a:pt x="34" y="133"/>
                </a:cubicBezTo>
                <a:cubicBezTo>
                  <a:pt x="34" y="134"/>
                  <a:pt x="34" y="134"/>
                  <a:pt x="34" y="134"/>
                </a:cubicBezTo>
                <a:cubicBezTo>
                  <a:pt x="34" y="134"/>
                  <a:pt x="34" y="134"/>
                  <a:pt x="34" y="134"/>
                </a:cubicBezTo>
                <a:cubicBezTo>
                  <a:pt x="35" y="134"/>
                  <a:pt x="35" y="134"/>
                  <a:pt x="35" y="134"/>
                </a:cubicBezTo>
                <a:cubicBezTo>
                  <a:pt x="36" y="134"/>
                  <a:pt x="37" y="134"/>
                  <a:pt x="38" y="134"/>
                </a:cubicBezTo>
                <a:cubicBezTo>
                  <a:pt x="38" y="134"/>
                  <a:pt x="39" y="134"/>
                  <a:pt x="41" y="134"/>
                </a:cubicBezTo>
                <a:cubicBezTo>
                  <a:pt x="42" y="135"/>
                  <a:pt x="42" y="135"/>
                  <a:pt x="42" y="135"/>
                </a:cubicBezTo>
                <a:cubicBezTo>
                  <a:pt x="44" y="135"/>
                  <a:pt x="44" y="135"/>
                  <a:pt x="44" y="135"/>
                </a:cubicBezTo>
                <a:cubicBezTo>
                  <a:pt x="45" y="135"/>
                  <a:pt x="45" y="135"/>
                  <a:pt x="45" y="135"/>
                </a:cubicBezTo>
                <a:cubicBezTo>
                  <a:pt x="47" y="136"/>
                  <a:pt x="47" y="136"/>
                  <a:pt x="47" y="136"/>
                </a:cubicBezTo>
                <a:cubicBezTo>
                  <a:pt x="48" y="136"/>
                  <a:pt x="50" y="137"/>
                  <a:pt x="50" y="138"/>
                </a:cubicBezTo>
                <a:cubicBezTo>
                  <a:pt x="52" y="139"/>
                  <a:pt x="52" y="139"/>
                  <a:pt x="52" y="139"/>
                </a:cubicBezTo>
                <a:cubicBezTo>
                  <a:pt x="52" y="139"/>
                  <a:pt x="52" y="138"/>
                  <a:pt x="53" y="138"/>
                </a:cubicBezTo>
                <a:cubicBezTo>
                  <a:pt x="53" y="136"/>
                  <a:pt x="53" y="136"/>
                  <a:pt x="53" y="136"/>
                </a:cubicBezTo>
                <a:cubicBezTo>
                  <a:pt x="54" y="136"/>
                  <a:pt x="54" y="136"/>
                  <a:pt x="54" y="136"/>
                </a:cubicBezTo>
                <a:cubicBezTo>
                  <a:pt x="55" y="135"/>
                  <a:pt x="56" y="134"/>
                  <a:pt x="56" y="134"/>
                </a:cubicBezTo>
                <a:cubicBezTo>
                  <a:pt x="56" y="133"/>
                  <a:pt x="56" y="132"/>
                  <a:pt x="56" y="132"/>
                </a:cubicBezTo>
                <a:cubicBezTo>
                  <a:pt x="56" y="132"/>
                  <a:pt x="56" y="131"/>
                  <a:pt x="56" y="130"/>
                </a:cubicBezTo>
                <a:cubicBezTo>
                  <a:pt x="57" y="130"/>
                  <a:pt x="57" y="130"/>
                  <a:pt x="58" y="130"/>
                </a:cubicBezTo>
                <a:cubicBezTo>
                  <a:pt x="62" y="130"/>
                  <a:pt x="62" y="130"/>
                  <a:pt x="62" y="130"/>
                </a:cubicBezTo>
                <a:cubicBezTo>
                  <a:pt x="68" y="130"/>
                  <a:pt x="68" y="130"/>
                  <a:pt x="68" y="130"/>
                </a:cubicBezTo>
                <a:cubicBezTo>
                  <a:pt x="69" y="129"/>
                  <a:pt x="69" y="129"/>
                  <a:pt x="69" y="129"/>
                </a:cubicBezTo>
                <a:cubicBezTo>
                  <a:pt x="69" y="128"/>
                  <a:pt x="70" y="128"/>
                  <a:pt x="71" y="128"/>
                </a:cubicBezTo>
                <a:cubicBezTo>
                  <a:pt x="71" y="128"/>
                  <a:pt x="71" y="128"/>
                  <a:pt x="71" y="128"/>
                </a:cubicBezTo>
                <a:cubicBezTo>
                  <a:pt x="73" y="127"/>
                  <a:pt x="75" y="127"/>
                  <a:pt x="76" y="127"/>
                </a:cubicBezTo>
                <a:cubicBezTo>
                  <a:pt x="76" y="127"/>
                  <a:pt x="76" y="127"/>
                  <a:pt x="78" y="127"/>
                </a:cubicBezTo>
                <a:cubicBezTo>
                  <a:pt x="81" y="128"/>
                  <a:pt x="81" y="128"/>
                  <a:pt x="81" y="128"/>
                </a:cubicBezTo>
                <a:cubicBezTo>
                  <a:pt x="82" y="128"/>
                  <a:pt x="82" y="128"/>
                  <a:pt x="82" y="128"/>
                </a:cubicBezTo>
                <a:cubicBezTo>
                  <a:pt x="83" y="127"/>
                  <a:pt x="83" y="127"/>
                  <a:pt x="83" y="127"/>
                </a:cubicBezTo>
                <a:cubicBezTo>
                  <a:pt x="85" y="126"/>
                  <a:pt x="85" y="126"/>
                  <a:pt x="85" y="126"/>
                </a:cubicBezTo>
                <a:cubicBezTo>
                  <a:pt x="85" y="126"/>
                  <a:pt x="85" y="126"/>
                  <a:pt x="86" y="126"/>
                </a:cubicBezTo>
                <a:cubicBezTo>
                  <a:pt x="91" y="126"/>
                  <a:pt x="91" y="126"/>
                  <a:pt x="91" y="126"/>
                </a:cubicBezTo>
                <a:cubicBezTo>
                  <a:pt x="91" y="125"/>
                  <a:pt x="92" y="124"/>
                  <a:pt x="92" y="124"/>
                </a:cubicBezTo>
                <a:cubicBezTo>
                  <a:pt x="95" y="122"/>
                  <a:pt x="95" y="122"/>
                  <a:pt x="95" y="122"/>
                </a:cubicBezTo>
                <a:cubicBezTo>
                  <a:pt x="98" y="120"/>
                  <a:pt x="98" y="120"/>
                  <a:pt x="98" y="120"/>
                </a:cubicBezTo>
                <a:cubicBezTo>
                  <a:pt x="99" y="119"/>
                  <a:pt x="99" y="119"/>
                  <a:pt x="99" y="119"/>
                </a:cubicBezTo>
                <a:cubicBezTo>
                  <a:pt x="103" y="119"/>
                  <a:pt x="103" y="119"/>
                  <a:pt x="103" y="119"/>
                </a:cubicBezTo>
                <a:cubicBezTo>
                  <a:pt x="104" y="118"/>
                  <a:pt x="104" y="118"/>
                  <a:pt x="104" y="118"/>
                </a:cubicBezTo>
                <a:cubicBezTo>
                  <a:pt x="104" y="117"/>
                  <a:pt x="105" y="113"/>
                  <a:pt x="106" y="111"/>
                </a:cubicBezTo>
                <a:cubicBezTo>
                  <a:pt x="106" y="110"/>
                  <a:pt x="106" y="110"/>
                  <a:pt x="106" y="110"/>
                </a:cubicBezTo>
                <a:cubicBezTo>
                  <a:pt x="106" y="109"/>
                  <a:pt x="106" y="109"/>
                  <a:pt x="106" y="109"/>
                </a:cubicBezTo>
                <a:cubicBezTo>
                  <a:pt x="106" y="103"/>
                  <a:pt x="106" y="103"/>
                  <a:pt x="106" y="103"/>
                </a:cubicBezTo>
                <a:cubicBezTo>
                  <a:pt x="106" y="102"/>
                  <a:pt x="106" y="102"/>
                  <a:pt x="106" y="102"/>
                </a:cubicBezTo>
                <a:cubicBezTo>
                  <a:pt x="106" y="102"/>
                  <a:pt x="108" y="101"/>
                  <a:pt x="109" y="99"/>
                </a:cubicBezTo>
                <a:cubicBezTo>
                  <a:pt x="109" y="98"/>
                  <a:pt x="109" y="98"/>
                  <a:pt x="109" y="98"/>
                </a:cubicBezTo>
                <a:cubicBezTo>
                  <a:pt x="108" y="98"/>
                  <a:pt x="108" y="97"/>
                  <a:pt x="108" y="96"/>
                </a:cubicBezTo>
                <a:cubicBezTo>
                  <a:pt x="108" y="95"/>
                  <a:pt x="108" y="95"/>
                  <a:pt x="108" y="95"/>
                </a:cubicBezTo>
                <a:cubicBezTo>
                  <a:pt x="108" y="95"/>
                  <a:pt x="108" y="94"/>
                  <a:pt x="108" y="92"/>
                </a:cubicBezTo>
                <a:cubicBezTo>
                  <a:pt x="108" y="91"/>
                  <a:pt x="108" y="91"/>
                  <a:pt x="108" y="91"/>
                </a:cubicBezTo>
                <a:cubicBezTo>
                  <a:pt x="108" y="89"/>
                  <a:pt x="108" y="89"/>
                  <a:pt x="108" y="89"/>
                </a:cubicBezTo>
                <a:cubicBezTo>
                  <a:pt x="108" y="88"/>
                  <a:pt x="108" y="88"/>
                  <a:pt x="108" y="88"/>
                </a:cubicBezTo>
                <a:cubicBezTo>
                  <a:pt x="111" y="85"/>
                  <a:pt x="111" y="85"/>
                  <a:pt x="111" y="85"/>
                </a:cubicBezTo>
                <a:cubicBezTo>
                  <a:pt x="111" y="84"/>
                  <a:pt x="111" y="84"/>
                  <a:pt x="111" y="84"/>
                </a:cubicBezTo>
                <a:cubicBezTo>
                  <a:pt x="111" y="83"/>
                  <a:pt x="111" y="83"/>
                  <a:pt x="111" y="83"/>
                </a:cubicBezTo>
                <a:cubicBezTo>
                  <a:pt x="110" y="83"/>
                  <a:pt x="109" y="82"/>
                  <a:pt x="108" y="81"/>
                </a:cubicBezTo>
                <a:cubicBezTo>
                  <a:pt x="107" y="79"/>
                  <a:pt x="107" y="79"/>
                  <a:pt x="107" y="79"/>
                </a:cubicBezTo>
                <a:cubicBezTo>
                  <a:pt x="106" y="79"/>
                  <a:pt x="104" y="77"/>
                  <a:pt x="103" y="75"/>
                </a:cubicBezTo>
                <a:cubicBezTo>
                  <a:pt x="102" y="73"/>
                  <a:pt x="100" y="71"/>
                  <a:pt x="100" y="71"/>
                </a:cubicBezTo>
                <a:cubicBezTo>
                  <a:pt x="99" y="70"/>
                  <a:pt x="98" y="67"/>
                  <a:pt x="98" y="65"/>
                </a:cubicBezTo>
                <a:cubicBezTo>
                  <a:pt x="98" y="60"/>
                  <a:pt x="98" y="60"/>
                  <a:pt x="98" y="60"/>
                </a:cubicBezTo>
                <a:cubicBezTo>
                  <a:pt x="98" y="59"/>
                  <a:pt x="98" y="59"/>
                  <a:pt x="98" y="59"/>
                </a:cubicBezTo>
                <a:cubicBezTo>
                  <a:pt x="98" y="58"/>
                  <a:pt x="97" y="58"/>
                  <a:pt x="97" y="58"/>
                </a:cubicBezTo>
                <a:cubicBezTo>
                  <a:pt x="97" y="58"/>
                  <a:pt x="97" y="57"/>
                  <a:pt x="96" y="57"/>
                </a:cubicBezTo>
                <a:cubicBezTo>
                  <a:pt x="95" y="57"/>
                  <a:pt x="95" y="55"/>
                  <a:pt x="95" y="54"/>
                </a:cubicBezTo>
                <a:cubicBezTo>
                  <a:pt x="94" y="52"/>
                  <a:pt x="94" y="52"/>
                  <a:pt x="93" y="51"/>
                </a:cubicBezTo>
                <a:cubicBezTo>
                  <a:pt x="93" y="50"/>
                  <a:pt x="92" y="49"/>
                  <a:pt x="92" y="48"/>
                </a:cubicBezTo>
                <a:cubicBezTo>
                  <a:pt x="92" y="46"/>
                  <a:pt x="93" y="44"/>
                  <a:pt x="93" y="43"/>
                </a:cubicBezTo>
                <a:cubicBezTo>
                  <a:pt x="93" y="41"/>
                  <a:pt x="93" y="41"/>
                  <a:pt x="93" y="41"/>
                </a:cubicBezTo>
                <a:cubicBezTo>
                  <a:pt x="92" y="41"/>
                  <a:pt x="93" y="40"/>
                  <a:pt x="93" y="39"/>
                </a:cubicBezTo>
                <a:cubicBezTo>
                  <a:pt x="93" y="39"/>
                  <a:pt x="93" y="39"/>
                  <a:pt x="93" y="39"/>
                </a:cubicBezTo>
                <a:cubicBezTo>
                  <a:pt x="92" y="39"/>
                  <a:pt x="92" y="39"/>
                  <a:pt x="92" y="39"/>
                </a:cubicBezTo>
                <a:lnTo>
                  <a:pt x="79" y="4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Freeform 72">
            <a:extLst>
              <a:ext uri="{FF2B5EF4-FFF2-40B4-BE49-F238E27FC236}">
                <a16:creationId xmlns:a16="http://schemas.microsoft.com/office/drawing/2014/main" id="{D1ED64F9-5CD8-4A17-ADB9-F1FEEC3F5881}"/>
              </a:ext>
            </a:extLst>
          </p:cNvPr>
          <p:cNvSpPr>
            <a:spLocks/>
          </p:cNvSpPr>
          <p:nvPr/>
        </p:nvSpPr>
        <p:spPr bwMode="auto">
          <a:xfrm>
            <a:off x="5067710" y="4381032"/>
            <a:ext cx="386954" cy="360363"/>
          </a:xfrm>
          <a:custGeom>
            <a:avLst/>
            <a:gdLst>
              <a:gd name="T0" fmla="*/ 153 w 160"/>
              <a:gd name="T1" fmla="*/ 104 h 162"/>
              <a:gd name="T2" fmla="*/ 149 w 160"/>
              <a:gd name="T3" fmla="*/ 93 h 162"/>
              <a:gd name="T4" fmla="*/ 158 w 160"/>
              <a:gd name="T5" fmla="*/ 80 h 162"/>
              <a:gd name="T6" fmla="*/ 141 w 160"/>
              <a:gd name="T7" fmla="*/ 74 h 162"/>
              <a:gd name="T8" fmla="*/ 144 w 160"/>
              <a:gd name="T9" fmla="*/ 58 h 162"/>
              <a:gd name="T10" fmla="*/ 136 w 160"/>
              <a:gd name="T11" fmla="*/ 47 h 162"/>
              <a:gd name="T12" fmla="*/ 129 w 160"/>
              <a:gd name="T13" fmla="*/ 39 h 162"/>
              <a:gd name="T14" fmla="*/ 136 w 160"/>
              <a:gd name="T15" fmla="*/ 30 h 162"/>
              <a:gd name="T16" fmla="*/ 131 w 160"/>
              <a:gd name="T17" fmla="*/ 26 h 162"/>
              <a:gd name="T18" fmla="*/ 121 w 160"/>
              <a:gd name="T19" fmla="*/ 18 h 162"/>
              <a:gd name="T20" fmla="*/ 129 w 160"/>
              <a:gd name="T21" fmla="*/ 8 h 162"/>
              <a:gd name="T22" fmla="*/ 136 w 160"/>
              <a:gd name="T23" fmla="*/ 0 h 162"/>
              <a:gd name="T24" fmla="*/ 128 w 160"/>
              <a:gd name="T25" fmla="*/ 3 h 162"/>
              <a:gd name="T26" fmla="*/ 117 w 160"/>
              <a:gd name="T27" fmla="*/ 7 h 162"/>
              <a:gd name="T28" fmla="*/ 111 w 160"/>
              <a:gd name="T29" fmla="*/ 11 h 162"/>
              <a:gd name="T30" fmla="*/ 99 w 160"/>
              <a:gd name="T31" fmla="*/ 6 h 162"/>
              <a:gd name="T32" fmla="*/ 80 w 160"/>
              <a:gd name="T33" fmla="*/ 14 h 162"/>
              <a:gd name="T34" fmla="*/ 71 w 160"/>
              <a:gd name="T35" fmla="*/ 22 h 162"/>
              <a:gd name="T36" fmla="*/ 63 w 160"/>
              <a:gd name="T37" fmla="*/ 20 h 162"/>
              <a:gd name="T38" fmla="*/ 55 w 160"/>
              <a:gd name="T39" fmla="*/ 12 h 162"/>
              <a:gd name="T40" fmla="*/ 42 w 160"/>
              <a:gd name="T41" fmla="*/ 12 h 162"/>
              <a:gd name="T42" fmla="*/ 34 w 160"/>
              <a:gd name="T43" fmla="*/ 19 h 162"/>
              <a:gd name="T44" fmla="*/ 25 w 160"/>
              <a:gd name="T45" fmla="*/ 27 h 162"/>
              <a:gd name="T46" fmla="*/ 17 w 160"/>
              <a:gd name="T47" fmla="*/ 32 h 162"/>
              <a:gd name="T48" fmla="*/ 17 w 160"/>
              <a:gd name="T49" fmla="*/ 45 h 162"/>
              <a:gd name="T50" fmla="*/ 30 w 160"/>
              <a:gd name="T51" fmla="*/ 54 h 162"/>
              <a:gd name="T52" fmla="*/ 40 w 160"/>
              <a:gd name="T53" fmla="*/ 61 h 162"/>
              <a:gd name="T54" fmla="*/ 43 w 160"/>
              <a:gd name="T55" fmla="*/ 70 h 162"/>
              <a:gd name="T56" fmla="*/ 33 w 160"/>
              <a:gd name="T57" fmla="*/ 80 h 162"/>
              <a:gd name="T58" fmla="*/ 24 w 160"/>
              <a:gd name="T59" fmla="*/ 99 h 162"/>
              <a:gd name="T60" fmla="*/ 16 w 160"/>
              <a:gd name="T61" fmla="*/ 107 h 162"/>
              <a:gd name="T62" fmla="*/ 21 w 160"/>
              <a:gd name="T63" fmla="*/ 113 h 162"/>
              <a:gd name="T64" fmla="*/ 31 w 160"/>
              <a:gd name="T65" fmla="*/ 105 h 162"/>
              <a:gd name="T66" fmla="*/ 41 w 160"/>
              <a:gd name="T67" fmla="*/ 108 h 162"/>
              <a:gd name="T68" fmla="*/ 33 w 160"/>
              <a:gd name="T69" fmla="*/ 119 h 162"/>
              <a:gd name="T70" fmla="*/ 18 w 160"/>
              <a:gd name="T71" fmla="*/ 124 h 162"/>
              <a:gd name="T72" fmla="*/ 3 w 160"/>
              <a:gd name="T73" fmla="*/ 134 h 162"/>
              <a:gd name="T74" fmla="*/ 5 w 160"/>
              <a:gd name="T75" fmla="*/ 143 h 162"/>
              <a:gd name="T76" fmla="*/ 12 w 160"/>
              <a:gd name="T77" fmla="*/ 147 h 162"/>
              <a:gd name="T78" fmla="*/ 19 w 160"/>
              <a:gd name="T79" fmla="*/ 154 h 162"/>
              <a:gd name="T80" fmla="*/ 28 w 160"/>
              <a:gd name="T81" fmla="*/ 160 h 162"/>
              <a:gd name="T82" fmla="*/ 47 w 160"/>
              <a:gd name="T83" fmla="*/ 160 h 162"/>
              <a:gd name="T84" fmla="*/ 64 w 160"/>
              <a:gd name="T85" fmla="*/ 153 h 162"/>
              <a:gd name="T86" fmla="*/ 77 w 160"/>
              <a:gd name="T87" fmla="*/ 152 h 162"/>
              <a:gd name="T88" fmla="*/ 87 w 160"/>
              <a:gd name="T89" fmla="*/ 159 h 162"/>
              <a:gd name="T90" fmla="*/ 101 w 160"/>
              <a:gd name="T91" fmla="*/ 160 h 162"/>
              <a:gd name="T92" fmla="*/ 112 w 160"/>
              <a:gd name="T93" fmla="*/ 157 h 162"/>
              <a:gd name="T94" fmla="*/ 118 w 160"/>
              <a:gd name="T95" fmla="*/ 156 h 162"/>
              <a:gd name="T96" fmla="*/ 131 w 160"/>
              <a:gd name="T97" fmla="*/ 149 h 162"/>
              <a:gd name="T98" fmla="*/ 142 w 160"/>
              <a:gd name="T99" fmla="*/ 148 h 162"/>
              <a:gd name="T100" fmla="*/ 153 w 160"/>
              <a:gd name="T101" fmla="*/ 148 h 162"/>
              <a:gd name="T102" fmla="*/ 152 w 160"/>
              <a:gd name="T103" fmla="*/ 141 h 162"/>
              <a:gd name="T104" fmla="*/ 146 w 160"/>
              <a:gd name="T105" fmla="*/ 142 h 162"/>
              <a:gd name="T106" fmla="*/ 144 w 160"/>
              <a:gd name="T107" fmla="*/ 135 h 162"/>
              <a:gd name="T108" fmla="*/ 148 w 160"/>
              <a:gd name="T109" fmla="*/ 129 h 162"/>
              <a:gd name="T110" fmla="*/ 152 w 160"/>
              <a:gd name="T111" fmla="*/ 114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60" h="162">
                <a:moveTo>
                  <a:pt x="160" y="111"/>
                </a:moveTo>
                <a:cubicBezTo>
                  <a:pt x="159" y="111"/>
                  <a:pt x="159" y="110"/>
                  <a:pt x="159" y="109"/>
                </a:cubicBezTo>
                <a:cubicBezTo>
                  <a:pt x="158" y="109"/>
                  <a:pt x="158" y="108"/>
                  <a:pt x="158" y="107"/>
                </a:cubicBezTo>
                <a:cubicBezTo>
                  <a:pt x="157" y="106"/>
                  <a:pt x="157" y="106"/>
                  <a:pt x="157" y="106"/>
                </a:cubicBezTo>
                <a:cubicBezTo>
                  <a:pt x="154" y="105"/>
                  <a:pt x="154" y="105"/>
                  <a:pt x="154" y="105"/>
                </a:cubicBezTo>
                <a:cubicBezTo>
                  <a:pt x="153" y="104"/>
                  <a:pt x="153" y="104"/>
                  <a:pt x="153" y="104"/>
                </a:cubicBezTo>
                <a:cubicBezTo>
                  <a:pt x="152" y="102"/>
                  <a:pt x="152" y="102"/>
                  <a:pt x="152" y="102"/>
                </a:cubicBezTo>
                <a:cubicBezTo>
                  <a:pt x="152" y="102"/>
                  <a:pt x="151" y="102"/>
                  <a:pt x="150" y="101"/>
                </a:cubicBezTo>
                <a:cubicBezTo>
                  <a:pt x="149" y="101"/>
                  <a:pt x="149" y="101"/>
                  <a:pt x="148" y="101"/>
                </a:cubicBezTo>
                <a:cubicBezTo>
                  <a:pt x="146" y="100"/>
                  <a:pt x="145" y="98"/>
                  <a:pt x="144" y="97"/>
                </a:cubicBezTo>
                <a:cubicBezTo>
                  <a:pt x="144" y="97"/>
                  <a:pt x="144" y="96"/>
                  <a:pt x="144" y="95"/>
                </a:cubicBezTo>
                <a:cubicBezTo>
                  <a:pt x="145" y="94"/>
                  <a:pt x="147" y="93"/>
                  <a:pt x="149" y="93"/>
                </a:cubicBezTo>
                <a:cubicBezTo>
                  <a:pt x="150" y="93"/>
                  <a:pt x="150" y="93"/>
                  <a:pt x="150" y="93"/>
                </a:cubicBezTo>
                <a:cubicBezTo>
                  <a:pt x="150" y="93"/>
                  <a:pt x="151" y="93"/>
                  <a:pt x="153" y="92"/>
                </a:cubicBezTo>
                <a:cubicBezTo>
                  <a:pt x="154" y="92"/>
                  <a:pt x="155" y="92"/>
                  <a:pt x="156" y="92"/>
                </a:cubicBezTo>
                <a:cubicBezTo>
                  <a:pt x="156" y="92"/>
                  <a:pt x="156" y="92"/>
                  <a:pt x="156" y="92"/>
                </a:cubicBezTo>
                <a:cubicBezTo>
                  <a:pt x="156" y="92"/>
                  <a:pt x="157" y="90"/>
                  <a:pt x="158" y="89"/>
                </a:cubicBezTo>
                <a:cubicBezTo>
                  <a:pt x="158" y="80"/>
                  <a:pt x="158" y="80"/>
                  <a:pt x="158" y="80"/>
                </a:cubicBezTo>
                <a:cubicBezTo>
                  <a:pt x="158" y="80"/>
                  <a:pt x="158" y="80"/>
                  <a:pt x="158" y="80"/>
                </a:cubicBezTo>
                <a:cubicBezTo>
                  <a:pt x="157" y="80"/>
                  <a:pt x="156" y="79"/>
                  <a:pt x="156" y="79"/>
                </a:cubicBezTo>
                <a:cubicBezTo>
                  <a:pt x="155" y="77"/>
                  <a:pt x="155" y="77"/>
                  <a:pt x="155" y="77"/>
                </a:cubicBezTo>
                <a:cubicBezTo>
                  <a:pt x="146" y="77"/>
                  <a:pt x="146" y="77"/>
                  <a:pt x="146" y="77"/>
                </a:cubicBezTo>
                <a:cubicBezTo>
                  <a:pt x="146" y="77"/>
                  <a:pt x="146" y="77"/>
                  <a:pt x="145" y="77"/>
                </a:cubicBezTo>
                <a:cubicBezTo>
                  <a:pt x="141" y="74"/>
                  <a:pt x="141" y="74"/>
                  <a:pt x="141" y="74"/>
                </a:cubicBezTo>
                <a:cubicBezTo>
                  <a:pt x="140" y="74"/>
                  <a:pt x="140" y="73"/>
                  <a:pt x="140" y="73"/>
                </a:cubicBezTo>
                <a:cubicBezTo>
                  <a:pt x="140" y="70"/>
                  <a:pt x="140" y="70"/>
                  <a:pt x="140" y="70"/>
                </a:cubicBezTo>
                <a:cubicBezTo>
                  <a:pt x="140" y="68"/>
                  <a:pt x="140" y="67"/>
                  <a:pt x="141" y="66"/>
                </a:cubicBezTo>
                <a:cubicBezTo>
                  <a:pt x="141" y="66"/>
                  <a:pt x="141" y="66"/>
                  <a:pt x="142" y="64"/>
                </a:cubicBezTo>
                <a:cubicBezTo>
                  <a:pt x="142" y="63"/>
                  <a:pt x="143" y="61"/>
                  <a:pt x="144" y="61"/>
                </a:cubicBezTo>
                <a:cubicBezTo>
                  <a:pt x="144" y="58"/>
                  <a:pt x="144" y="58"/>
                  <a:pt x="144" y="58"/>
                </a:cubicBezTo>
                <a:cubicBezTo>
                  <a:pt x="143" y="57"/>
                  <a:pt x="143" y="57"/>
                  <a:pt x="143" y="57"/>
                </a:cubicBezTo>
                <a:cubicBezTo>
                  <a:pt x="141" y="54"/>
                  <a:pt x="141" y="54"/>
                  <a:pt x="141" y="54"/>
                </a:cubicBezTo>
                <a:cubicBezTo>
                  <a:pt x="140" y="54"/>
                  <a:pt x="140" y="54"/>
                  <a:pt x="140" y="54"/>
                </a:cubicBezTo>
                <a:cubicBezTo>
                  <a:pt x="139" y="54"/>
                  <a:pt x="138" y="54"/>
                  <a:pt x="138" y="53"/>
                </a:cubicBezTo>
                <a:cubicBezTo>
                  <a:pt x="136" y="49"/>
                  <a:pt x="136" y="49"/>
                  <a:pt x="136" y="49"/>
                </a:cubicBezTo>
                <a:cubicBezTo>
                  <a:pt x="136" y="48"/>
                  <a:pt x="136" y="47"/>
                  <a:pt x="136" y="47"/>
                </a:cubicBezTo>
                <a:cubicBezTo>
                  <a:pt x="136" y="46"/>
                  <a:pt x="136" y="46"/>
                  <a:pt x="137" y="46"/>
                </a:cubicBezTo>
                <a:cubicBezTo>
                  <a:pt x="136" y="45"/>
                  <a:pt x="136" y="45"/>
                  <a:pt x="135" y="44"/>
                </a:cubicBezTo>
                <a:cubicBezTo>
                  <a:pt x="135" y="44"/>
                  <a:pt x="134" y="44"/>
                  <a:pt x="134" y="43"/>
                </a:cubicBezTo>
                <a:cubicBezTo>
                  <a:pt x="133" y="43"/>
                  <a:pt x="133" y="43"/>
                  <a:pt x="133" y="43"/>
                </a:cubicBezTo>
                <a:cubicBezTo>
                  <a:pt x="132" y="43"/>
                  <a:pt x="131" y="43"/>
                  <a:pt x="131" y="42"/>
                </a:cubicBezTo>
                <a:cubicBezTo>
                  <a:pt x="129" y="39"/>
                  <a:pt x="129" y="39"/>
                  <a:pt x="129" y="39"/>
                </a:cubicBezTo>
                <a:cubicBezTo>
                  <a:pt x="129" y="38"/>
                  <a:pt x="129" y="37"/>
                  <a:pt x="130" y="36"/>
                </a:cubicBezTo>
                <a:cubicBezTo>
                  <a:pt x="133" y="35"/>
                  <a:pt x="133" y="35"/>
                  <a:pt x="133" y="35"/>
                </a:cubicBezTo>
                <a:cubicBezTo>
                  <a:pt x="135" y="33"/>
                  <a:pt x="135" y="33"/>
                  <a:pt x="135" y="33"/>
                </a:cubicBezTo>
                <a:cubicBezTo>
                  <a:pt x="135" y="32"/>
                  <a:pt x="136" y="31"/>
                  <a:pt x="137" y="31"/>
                </a:cubicBezTo>
                <a:cubicBezTo>
                  <a:pt x="137" y="31"/>
                  <a:pt x="137" y="31"/>
                  <a:pt x="137" y="31"/>
                </a:cubicBezTo>
                <a:cubicBezTo>
                  <a:pt x="137" y="30"/>
                  <a:pt x="136" y="30"/>
                  <a:pt x="136" y="30"/>
                </a:cubicBezTo>
                <a:cubicBezTo>
                  <a:pt x="136" y="25"/>
                  <a:pt x="136" y="25"/>
                  <a:pt x="136" y="25"/>
                </a:cubicBezTo>
                <a:cubicBezTo>
                  <a:pt x="134" y="24"/>
                  <a:pt x="134" y="24"/>
                  <a:pt x="134" y="24"/>
                </a:cubicBezTo>
                <a:cubicBezTo>
                  <a:pt x="134" y="25"/>
                  <a:pt x="134" y="25"/>
                  <a:pt x="134" y="25"/>
                </a:cubicBezTo>
                <a:cubicBezTo>
                  <a:pt x="134" y="25"/>
                  <a:pt x="134" y="25"/>
                  <a:pt x="133" y="25"/>
                </a:cubicBezTo>
                <a:cubicBezTo>
                  <a:pt x="132" y="26"/>
                  <a:pt x="132" y="26"/>
                  <a:pt x="132" y="26"/>
                </a:cubicBezTo>
                <a:cubicBezTo>
                  <a:pt x="131" y="26"/>
                  <a:pt x="131" y="26"/>
                  <a:pt x="131" y="26"/>
                </a:cubicBezTo>
                <a:cubicBezTo>
                  <a:pt x="131" y="27"/>
                  <a:pt x="129" y="27"/>
                  <a:pt x="126" y="28"/>
                </a:cubicBezTo>
                <a:cubicBezTo>
                  <a:pt x="126" y="28"/>
                  <a:pt x="125" y="28"/>
                  <a:pt x="124" y="27"/>
                </a:cubicBezTo>
                <a:cubicBezTo>
                  <a:pt x="123" y="26"/>
                  <a:pt x="123" y="26"/>
                  <a:pt x="123" y="26"/>
                </a:cubicBezTo>
                <a:cubicBezTo>
                  <a:pt x="123" y="26"/>
                  <a:pt x="123" y="26"/>
                  <a:pt x="123" y="26"/>
                </a:cubicBezTo>
                <a:cubicBezTo>
                  <a:pt x="122" y="26"/>
                  <a:pt x="121" y="25"/>
                  <a:pt x="121" y="24"/>
                </a:cubicBezTo>
                <a:cubicBezTo>
                  <a:pt x="121" y="18"/>
                  <a:pt x="121" y="18"/>
                  <a:pt x="121" y="18"/>
                </a:cubicBezTo>
                <a:cubicBezTo>
                  <a:pt x="121" y="17"/>
                  <a:pt x="121" y="17"/>
                  <a:pt x="121" y="17"/>
                </a:cubicBezTo>
                <a:cubicBezTo>
                  <a:pt x="123" y="15"/>
                  <a:pt x="123" y="15"/>
                  <a:pt x="123" y="15"/>
                </a:cubicBezTo>
                <a:cubicBezTo>
                  <a:pt x="124" y="14"/>
                  <a:pt x="124" y="14"/>
                  <a:pt x="124" y="14"/>
                </a:cubicBezTo>
                <a:cubicBezTo>
                  <a:pt x="126" y="13"/>
                  <a:pt x="126" y="13"/>
                  <a:pt x="126" y="13"/>
                </a:cubicBezTo>
                <a:cubicBezTo>
                  <a:pt x="126" y="12"/>
                  <a:pt x="126" y="12"/>
                  <a:pt x="126" y="12"/>
                </a:cubicBezTo>
                <a:cubicBezTo>
                  <a:pt x="129" y="8"/>
                  <a:pt x="129" y="8"/>
                  <a:pt x="129" y="8"/>
                </a:cubicBezTo>
                <a:cubicBezTo>
                  <a:pt x="129" y="8"/>
                  <a:pt x="129" y="7"/>
                  <a:pt x="130" y="7"/>
                </a:cubicBezTo>
                <a:cubicBezTo>
                  <a:pt x="132" y="6"/>
                  <a:pt x="132" y="6"/>
                  <a:pt x="132" y="6"/>
                </a:cubicBezTo>
                <a:cubicBezTo>
                  <a:pt x="133" y="5"/>
                  <a:pt x="133" y="5"/>
                  <a:pt x="133" y="5"/>
                </a:cubicBezTo>
                <a:cubicBezTo>
                  <a:pt x="135" y="5"/>
                  <a:pt x="135" y="5"/>
                  <a:pt x="135" y="5"/>
                </a:cubicBezTo>
                <a:cubicBezTo>
                  <a:pt x="136" y="1"/>
                  <a:pt x="136" y="1"/>
                  <a:pt x="136" y="1"/>
                </a:cubicBezTo>
                <a:cubicBezTo>
                  <a:pt x="136" y="0"/>
                  <a:pt x="136" y="0"/>
                  <a:pt x="136" y="0"/>
                </a:cubicBezTo>
                <a:cubicBezTo>
                  <a:pt x="136" y="0"/>
                  <a:pt x="136" y="0"/>
                  <a:pt x="136" y="0"/>
                </a:cubicBezTo>
                <a:cubicBezTo>
                  <a:pt x="136" y="0"/>
                  <a:pt x="136" y="0"/>
                  <a:pt x="136" y="0"/>
                </a:cubicBezTo>
                <a:cubicBezTo>
                  <a:pt x="136" y="0"/>
                  <a:pt x="134" y="0"/>
                  <a:pt x="133" y="0"/>
                </a:cubicBezTo>
                <a:cubicBezTo>
                  <a:pt x="133" y="1"/>
                  <a:pt x="133" y="1"/>
                  <a:pt x="133" y="1"/>
                </a:cubicBezTo>
                <a:cubicBezTo>
                  <a:pt x="132" y="2"/>
                  <a:pt x="132" y="2"/>
                  <a:pt x="131" y="2"/>
                </a:cubicBezTo>
                <a:cubicBezTo>
                  <a:pt x="128" y="3"/>
                  <a:pt x="128" y="3"/>
                  <a:pt x="128" y="3"/>
                </a:cubicBezTo>
                <a:cubicBezTo>
                  <a:pt x="127" y="4"/>
                  <a:pt x="127" y="4"/>
                  <a:pt x="127" y="4"/>
                </a:cubicBezTo>
                <a:cubicBezTo>
                  <a:pt x="127" y="5"/>
                  <a:pt x="127" y="5"/>
                  <a:pt x="127" y="5"/>
                </a:cubicBezTo>
                <a:cubicBezTo>
                  <a:pt x="126" y="5"/>
                  <a:pt x="126" y="5"/>
                  <a:pt x="126" y="5"/>
                </a:cubicBezTo>
                <a:cubicBezTo>
                  <a:pt x="126" y="6"/>
                  <a:pt x="126" y="7"/>
                  <a:pt x="126" y="7"/>
                </a:cubicBezTo>
                <a:cubicBezTo>
                  <a:pt x="125" y="8"/>
                  <a:pt x="123" y="8"/>
                  <a:pt x="121" y="8"/>
                </a:cubicBezTo>
                <a:cubicBezTo>
                  <a:pt x="118" y="8"/>
                  <a:pt x="118" y="7"/>
                  <a:pt x="117" y="7"/>
                </a:cubicBezTo>
                <a:cubicBezTo>
                  <a:pt x="117" y="7"/>
                  <a:pt x="117" y="7"/>
                  <a:pt x="117" y="7"/>
                </a:cubicBezTo>
                <a:cubicBezTo>
                  <a:pt x="116" y="7"/>
                  <a:pt x="115" y="7"/>
                  <a:pt x="115" y="7"/>
                </a:cubicBezTo>
                <a:cubicBezTo>
                  <a:pt x="115" y="7"/>
                  <a:pt x="114" y="7"/>
                  <a:pt x="113" y="7"/>
                </a:cubicBezTo>
                <a:cubicBezTo>
                  <a:pt x="114" y="7"/>
                  <a:pt x="114" y="8"/>
                  <a:pt x="114" y="8"/>
                </a:cubicBezTo>
                <a:cubicBezTo>
                  <a:pt x="114" y="9"/>
                  <a:pt x="113" y="10"/>
                  <a:pt x="112" y="10"/>
                </a:cubicBezTo>
                <a:cubicBezTo>
                  <a:pt x="112" y="11"/>
                  <a:pt x="111" y="11"/>
                  <a:pt x="111" y="11"/>
                </a:cubicBezTo>
                <a:cubicBezTo>
                  <a:pt x="110" y="11"/>
                  <a:pt x="108" y="10"/>
                  <a:pt x="107" y="10"/>
                </a:cubicBezTo>
                <a:cubicBezTo>
                  <a:pt x="106" y="10"/>
                  <a:pt x="106" y="10"/>
                  <a:pt x="106" y="10"/>
                </a:cubicBezTo>
                <a:cubicBezTo>
                  <a:pt x="105" y="10"/>
                  <a:pt x="105" y="10"/>
                  <a:pt x="105" y="10"/>
                </a:cubicBezTo>
                <a:cubicBezTo>
                  <a:pt x="104" y="10"/>
                  <a:pt x="104" y="10"/>
                  <a:pt x="104" y="10"/>
                </a:cubicBezTo>
                <a:cubicBezTo>
                  <a:pt x="100" y="8"/>
                  <a:pt x="100" y="8"/>
                  <a:pt x="100" y="8"/>
                </a:cubicBezTo>
                <a:cubicBezTo>
                  <a:pt x="99" y="7"/>
                  <a:pt x="99" y="7"/>
                  <a:pt x="99" y="6"/>
                </a:cubicBezTo>
                <a:cubicBezTo>
                  <a:pt x="99" y="4"/>
                  <a:pt x="99" y="4"/>
                  <a:pt x="99" y="4"/>
                </a:cubicBezTo>
                <a:cubicBezTo>
                  <a:pt x="97" y="3"/>
                  <a:pt x="97" y="3"/>
                  <a:pt x="97" y="3"/>
                </a:cubicBezTo>
                <a:cubicBezTo>
                  <a:pt x="81" y="3"/>
                  <a:pt x="81" y="3"/>
                  <a:pt x="81" y="3"/>
                </a:cubicBezTo>
                <a:cubicBezTo>
                  <a:pt x="82" y="4"/>
                  <a:pt x="82" y="4"/>
                  <a:pt x="81" y="5"/>
                </a:cubicBezTo>
                <a:cubicBezTo>
                  <a:pt x="81" y="5"/>
                  <a:pt x="81" y="5"/>
                  <a:pt x="80" y="6"/>
                </a:cubicBezTo>
                <a:cubicBezTo>
                  <a:pt x="80" y="14"/>
                  <a:pt x="80" y="14"/>
                  <a:pt x="80" y="14"/>
                </a:cubicBezTo>
                <a:cubicBezTo>
                  <a:pt x="80" y="15"/>
                  <a:pt x="80" y="16"/>
                  <a:pt x="79" y="17"/>
                </a:cubicBezTo>
                <a:cubicBezTo>
                  <a:pt x="79" y="17"/>
                  <a:pt x="79" y="17"/>
                  <a:pt x="79" y="17"/>
                </a:cubicBezTo>
                <a:cubicBezTo>
                  <a:pt x="79" y="18"/>
                  <a:pt x="78" y="19"/>
                  <a:pt x="78" y="19"/>
                </a:cubicBezTo>
                <a:cubicBezTo>
                  <a:pt x="77" y="19"/>
                  <a:pt x="76" y="19"/>
                  <a:pt x="76" y="20"/>
                </a:cubicBezTo>
                <a:cubicBezTo>
                  <a:pt x="75" y="20"/>
                  <a:pt x="72" y="21"/>
                  <a:pt x="72" y="21"/>
                </a:cubicBezTo>
                <a:cubicBezTo>
                  <a:pt x="71" y="22"/>
                  <a:pt x="71" y="22"/>
                  <a:pt x="71" y="22"/>
                </a:cubicBezTo>
                <a:cubicBezTo>
                  <a:pt x="70" y="22"/>
                  <a:pt x="69" y="23"/>
                  <a:pt x="68" y="23"/>
                </a:cubicBezTo>
                <a:cubicBezTo>
                  <a:pt x="68" y="24"/>
                  <a:pt x="68" y="24"/>
                  <a:pt x="67" y="24"/>
                </a:cubicBezTo>
                <a:cubicBezTo>
                  <a:pt x="67" y="24"/>
                  <a:pt x="67" y="24"/>
                  <a:pt x="67" y="24"/>
                </a:cubicBezTo>
                <a:cubicBezTo>
                  <a:pt x="65" y="24"/>
                  <a:pt x="65" y="24"/>
                  <a:pt x="65" y="24"/>
                </a:cubicBezTo>
                <a:cubicBezTo>
                  <a:pt x="63" y="23"/>
                  <a:pt x="63" y="22"/>
                  <a:pt x="62" y="21"/>
                </a:cubicBezTo>
                <a:cubicBezTo>
                  <a:pt x="62" y="21"/>
                  <a:pt x="62" y="21"/>
                  <a:pt x="63" y="20"/>
                </a:cubicBezTo>
                <a:cubicBezTo>
                  <a:pt x="62" y="20"/>
                  <a:pt x="62" y="19"/>
                  <a:pt x="61" y="19"/>
                </a:cubicBezTo>
                <a:cubicBezTo>
                  <a:pt x="61" y="18"/>
                  <a:pt x="60" y="17"/>
                  <a:pt x="60" y="16"/>
                </a:cubicBezTo>
                <a:cubicBezTo>
                  <a:pt x="60" y="16"/>
                  <a:pt x="60" y="16"/>
                  <a:pt x="60" y="16"/>
                </a:cubicBezTo>
                <a:cubicBezTo>
                  <a:pt x="57" y="14"/>
                  <a:pt x="57" y="14"/>
                  <a:pt x="57" y="14"/>
                </a:cubicBezTo>
                <a:cubicBezTo>
                  <a:pt x="56" y="14"/>
                  <a:pt x="56" y="14"/>
                  <a:pt x="56" y="14"/>
                </a:cubicBezTo>
                <a:cubicBezTo>
                  <a:pt x="55" y="12"/>
                  <a:pt x="55" y="12"/>
                  <a:pt x="55" y="12"/>
                </a:cubicBezTo>
                <a:cubicBezTo>
                  <a:pt x="54" y="11"/>
                  <a:pt x="54" y="11"/>
                  <a:pt x="54" y="11"/>
                </a:cubicBezTo>
                <a:cubicBezTo>
                  <a:pt x="48" y="11"/>
                  <a:pt x="48" y="11"/>
                  <a:pt x="48" y="11"/>
                </a:cubicBezTo>
                <a:cubicBezTo>
                  <a:pt x="47" y="12"/>
                  <a:pt x="47" y="12"/>
                  <a:pt x="47" y="12"/>
                </a:cubicBezTo>
                <a:cubicBezTo>
                  <a:pt x="46" y="12"/>
                  <a:pt x="46" y="12"/>
                  <a:pt x="46" y="12"/>
                </a:cubicBezTo>
                <a:cubicBezTo>
                  <a:pt x="43" y="12"/>
                  <a:pt x="43" y="12"/>
                  <a:pt x="43" y="12"/>
                </a:cubicBezTo>
                <a:cubicBezTo>
                  <a:pt x="42" y="12"/>
                  <a:pt x="42" y="12"/>
                  <a:pt x="42" y="12"/>
                </a:cubicBezTo>
                <a:cubicBezTo>
                  <a:pt x="40" y="11"/>
                  <a:pt x="40" y="11"/>
                  <a:pt x="40" y="11"/>
                </a:cubicBezTo>
                <a:cubicBezTo>
                  <a:pt x="38" y="11"/>
                  <a:pt x="38" y="11"/>
                  <a:pt x="38" y="11"/>
                </a:cubicBezTo>
                <a:cubicBezTo>
                  <a:pt x="38" y="12"/>
                  <a:pt x="37" y="13"/>
                  <a:pt x="36" y="14"/>
                </a:cubicBezTo>
                <a:cubicBezTo>
                  <a:pt x="36" y="15"/>
                  <a:pt x="36" y="15"/>
                  <a:pt x="35" y="16"/>
                </a:cubicBezTo>
                <a:cubicBezTo>
                  <a:pt x="35" y="17"/>
                  <a:pt x="35" y="17"/>
                  <a:pt x="35" y="17"/>
                </a:cubicBezTo>
                <a:cubicBezTo>
                  <a:pt x="34" y="19"/>
                  <a:pt x="34" y="19"/>
                  <a:pt x="34" y="19"/>
                </a:cubicBezTo>
                <a:cubicBezTo>
                  <a:pt x="34" y="20"/>
                  <a:pt x="33" y="20"/>
                  <a:pt x="32" y="21"/>
                </a:cubicBezTo>
                <a:cubicBezTo>
                  <a:pt x="31" y="21"/>
                  <a:pt x="30" y="20"/>
                  <a:pt x="30" y="20"/>
                </a:cubicBezTo>
                <a:cubicBezTo>
                  <a:pt x="29" y="20"/>
                  <a:pt x="29" y="20"/>
                  <a:pt x="29" y="20"/>
                </a:cubicBezTo>
                <a:cubicBezTo>
                  <a:pt x="29" y="22"/>
                  <a:pt x="29" y="22"/>
                  <a:pt x="29" y="22"/>
                </a:cubicBezTo>
                <a:cubicBezTo>
                  <a:pt x="29" y="24"/>
                  <a:pt x="27" y="25"/>
                  <a:pt x="26" y="26"/>
                </a:cubicBezTo>
                <a:cubicBezTo>
                  <a:pt x="25" y="27"/>
                  <a:pt x="25" y="27"/>
                  <a:pt x="25" y="27"/>
                </a:cubicBezTo>
                <a:cubicBezTo>
                  <a:pt x="24" y="27"/>
                  <a:pt x="24" y="27"/>
                  <a:pt x="24" y="27"/>
                </a:cubicBezTo>
                <a:cubicBezTo>
                  <a:pt x="22" y="27"/>
                  <a:pt x="22" y="27"/>
                  <a:pt x="22" y="27"/>
                </a:cubicBezTo>
                <a:cubicBezTo>
                  <a:pt x="21" y="27"/>
                  <a:pt x="19" y="28"/>
                  <a:pt x="19" y="29"/>
                </a:cubicBezTo>
                <a:cubicBezTo>
                  <a:pt x="18" y="30"/>
                  <a:pt x="17" y="30"/>
                  <a:pt x="16" y="30"/>
                </a:cubicBezTo>
                <a:cubicBezTo>
                  <a:pt x="16" y="30"/>
                  <a:pt x="16" y="30"/>
                  <a:pt x="16" y="30"/>
                </a:cubicBezTo>
                <a:cubicBezTo>
                  <a:pt x="17" y="31"/>
                  <a:pt x="17" y="32"/>
                  <a:pt x="17" y="32"/>
                </a:cubicBezTo>
                <a:cubicBezTo>
                  <a:pt x="17" y="35"/>
                  <a:pt x="17" y="35"/>
                  <a:pt x="17" y="35"/>
                </a:cubicBezTo>
                <a:cubicBezTo>
                  <a:pt x="17" y="35"/>
                  <a:pt x="17" y="36"/>
                  <a:pt x="16" y="36"/>
                </a:cubicBezTo>
                <a:cubicBezTo>
                  <a:pt x="12" y="39"/>
                  <a:pt x="12" y="39"/>
                  <a:pt x="12" y="39"/>
                </a:cubicBezTo>
                <a:cubicBezTo>
                  <a:pt x="14" y="40"/>
                  <a:pt x="14" y="40"/>
                  <a:pt x="14" y="40"/>
                </a:cubicBezTo>
                <a:cubicBezTo>
                  <a:pt x="16" y="41"/>
                  <a:pt x="16" y="41"/>
                  <a:pt x="16" y="41"/>
                </a:cubicBezTo>
                <a:cubicBezTo>
                  <a:pt x="18" y="42"/>
                  <a:pt x="17" y="44"/>
                  <a:pt x="17" y="45"/>
                </a:cubicBezTo>
                <a:cubicBezTo>
                  <a:pt x="17" y="45"/>
                  <a:pt x="17" y="45"/>
                  <a:pt x="17" y="45"/>
                </a:cubicBezTo>
                <a:cubicBezTo>
                  <a:pt x="18" y="45"/>
                  <a:pt x="18" y="45"/>
                  <a:pt x="18" y="45"/>
                </a:cubicBezTo>
                <a:cubicBezTo>
                  <a:pt x="19" y="45"/>
                  <a:pt x="20" y="46"/>
                  <a:pt x="20" y="47"/>
                </a:cubicBezTo>
                <a:cubicBezTo>
                  <a:pt x="20" y="53"/>
                  <a:pt x="20" y="53"/>
                  <a:pt x="20" y="53"/>
                </a:cubicBezTo>
                <a:cubicBezTo>
                  <a:pt x="21" y="54"/>
                  <a:pt x="21" y="54"/>
                  <a:pt x="21" y="54"/>
                </a:cubicBezTo>
                <a:cubicBezTo>
                  <a:pt x="30" y="54"/>
                  <a:pt x="30" y="54"/>
                  <a:pt x="30" y="54"/>
                </a:cubicBezTo>
                <a:cubicBezTo>
                  <a:pt x="30" y="54"/>
                  <a:pt x="31" y="54"/>
                  <a:pt x="31" y="55"/>
                </a:cubicBezTo>
                <a:cubicBezTo>
                  <a:pt x="33" y="56"/>
                  <a:pt x="33" y="56"/>
                  <a:pt x="33" y="56"/>
                </a:cubicBezTo>
                <a:cubicBezTo>
                  <a:pt x="33" y="56"/>
                  <a:pt x="33" y="56"/>
                  <a:pt x="33" y="56"/>
                </a:cubicBezTo>
                <a:cubicBezTo>
                  <a:pt x="34" y="56"/>
                  <a:pt x="34" y="57"/>
                  <a:pt x="35" y="57"/>
                </a:cubicBezTo>
                <a:cubicBezTo>
                  <a:pt x="37" y="59"/>
                  <a:pt x="37" y="59"/>
                  <a:pt x="37" y="59"/>
                </a:cubicBezTo>
                <a:cubicBezTo>
                  <a:pt x="40" y="61"/>
                  <a:pt x="40" y="61"/>
                  <a:pt x="40" y="61"/>
                </a:cubicBezTo>
                <a:cubicBezTo>
                  <a:pt x="40" y="62"/>
                  <a:pt x="41" y="62"/>
                  <a:pt x="41" y="63"/>
                </a:cubicBezTo>
                <a:cubicBezTo>
                  <a:pt x="41" y="64"/>
                  <a:pt x="41" y="64"/>
                  <a:pt x="41" y="64"/>
                </a:cubicBezTo>
                <a:cubicBezTo>
                  <a:pt x="41" y="64"/>
                  <a:pt x="42" y="64"/>
                  <a:pt x="42" y="65"/>
                </a:cubicBezTo>
                <a:cubicBezTo>
                  <a:pt x="44" y="67"/>
                  <a:pt x="44" y="67"/>
                  <a:pt x="44" y="67"/>
                </a:cubicBezTo>
                <a:cubicBezTo>
                  <a:pt x="44" y="67"/>
                  <a:pt x="44" y="68"/>
                  <a:pt x="44" y="69"/>
                </a:cubicBezTo>
                <a:cubicBezTo>
                  <a:pt x="44" y="69"/>
                  <a:pt x="44" y="70"/>
                  <a:pt x="43" y="70"/>
                </a:cubicBezTo>
                <a:cubicBezTo>
                  <a:pt x="40" y="72"/>
                  <a:pt x="39" y="72"/>
                  <a:pt x="39" y="72"/>
                </a:cubicBezTo>
                <a:cubicBezTo>
                  <a:pt x="36" y="72"/>
                  <a:pt x="36" y="72"/>
                  <a:pt x="36" y="72"/>
                </a:cubicBezTo>
                <a:cubicBezTo>
                  <a:pt x="36" y="72"/>
                  <a:pt x="36" y="73"/>
                  <a:pt x="35" y="73"/>
                </a:cubicBezTo>
                <a:cubicBezTo>
                  <a:pt x="34" y="74"/>
                  <a:pt x="34" y="76"/>
                  <a:pt x="33" y="76"/>
                </a:cubicBezTo>
                <a:cubicBezTo>
                  <a:pt x="33" y="77"/>
                  <a:pt x="33" y="78"/>
                  <a:pt x="33" y="79"/>
                </a:cubicBezTo>
                <a:cubicBezTo>
                  <a:pt x="33" y="80"/>
                  <a:pt x="33" y="80"/>
                  <a:pt x="33" y="80"/>
                </a:cubicBezTo>
                <a:cubicBezTo>
                  <a:pt x="29" y="90"/>
                  <a:pt x="29" y="90"/>
                  <a:pt x="29" y="90"/>
                </a:cubicBezTo>
                <a:cubicBezTo>
                  <a:pt x="28" y="93"/>
                  <a:pt x="28" y="93"/>
                  <a:pt x="28" y="93"/>
                </a:cubicBezTo>
                <a:cubicBezTo>
                  <a:pt x="28" y="93"/>
                  <a:pt x="28" y="93"/>
                  <a:pt x="28" y="94"/>
                </a:cubicBezTo>
                <a:cubicBezTo>
                  <a:pt x="26" y="98"/>
                  <a:pt x="26" y="98"/>
                  <a:pt x="26" y="98"/>
                </a:cubicBezTo>
                <a:cubicBezTo>
                  <a:pt x="25" y="99"/>
                  <a:pt x="25" y="99"/>
                  <a:pt x="24" y="99"/>
                </a:cubicBezTo>
                <a:cubicBezTo>
                  <a:pt x="24" y="99"/>
                  <a:pt x="24" y="99"/>
                  <a:pt x="24" y="99"/>
                </a:cubicBezTo>
                <a:cubicBezTo>
                  <a:pt x="23" y="100"/>
                  <a:pt x="23" y="101"/>
                  <a:pt x="23" y="101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4" y="104"/>
                  <a:pt x="22" y="104"/>
                  <a:pt x="21" y="105"/>
                </a:cubicBezTo>
                <a:cubicBezTo>
                  <a:pt x="17" y="106"/>
                  <a:pt x="17" y="106"/>
                  <a:pt x="17" y="106"/>
                </a:cubicBezTo>
                <a:cubicBezTo>
                  <a:pt x="17" y="106"/>
                  <a:pt x="17" y="107"/>
                  <a:pt x="16" y="107"/>
                </a:cubicBezTo>
                <a:cubicBezTo>
                  <a:pt x="16" y="107"/>
                  <a:pt x="16" y="107"/>
                  <a:pt x="16" y="107"/>
                </a:cubicBezTo>
                <a:cubicBezTo>
                  <a:pt x="16" y="114"/>
                  <a:pt x="16" y="114"/>
                  <a:pt x="16" y="114"/>
                </a:cubicBezTo>
                <a:cubicBezTo>
                  <a:pt x="17" y="115"/>
                  <a:pt x="17" y="115"/>
                  <a:pt x="17" y="115"/>
                </a:cubicBezTo>
                <a:cubicBezTo>
                  <a:pt x="18" y="115"/>
                  <a:pt x="18" y="115"/>
                  <a:pt x="18" y="115"/>
                </a:cubicBezTo>
                <a:cubicBezTo>
                  <a:pt x="19" y="115"/>
                  <a:pt x="19" y="115"/>
                  <a:pt x="19" y="115"/>
                </a:cubicBezTo>
                <a:cubicBezTo>
                  <a:pt x="19" y="115"/>
                  <a:pt x="19" y="115"/>
                  <a:pt x="19" y="115"/>
                </a:cubicBezTo>
                <a:cubicBezTo>
                  <a:pt x="20" y="114"/>
                  <a:pt x="21" y="113"/>
                  <a:pt x="21" y="113"/>
                </a:cubicBezTo>
                <a:cubicBezTo>
                  <a:pt x="23" y="112"/>
                  <a:pt x="23" y="111"/>
                  <a:pt x="24" y="111"/>
                </a:cubicBezTo>
                <a:cubicBezTo>
                  <a:pt x="24" y="110"/>
                  <a:pt x="24" y="110"/>
                  <a:pt x="25" y="110"/>
                </a:cubicBezTo>
                <a:cubicBezTo>
                  <a:pt x="26" y="109"/>
                  <a:pt x="27" y="108"/>
                  <a:pt x="27" y="108"/>
                </a:cubicBezTo>
                <a:cubicBezTo>
                  <a:pt x="29" y="107"/>
                  <a:pt x="29" y="107"/>
                  <a:pt x="29" y="107"/>
                </a:cubicBezTo>
                <a:cubicBezTo>
                  <a:pt x="31" y="106"/>
                  <a:pt x="31" y="106"/>
                  <a:pt x="31" y="106"/>
                </a:cubicBezTo>
                <a:cubicBezTo>
                  <a:pt x="31" y="105"/>
                  <a:pt x="31" y="105"/>
                  <a:pt x="31" y="105"/>
                </a:cubicBezTo>
                <a:cubicBezTo>
                  <a:pt x="34" y="105"/>
                  <a:pt x="34" y="105"/>
                  <a:pt x="34" y="105"/>
                </a:cubicBezTo>
                <a:cubicBezTo>
                  <a:pt x="35" y="105"/>
                  <a:pt x="35" y="105"/>
                  <a:pt x="35" y="105"/>
                </a:cubicBezTo>
                <a:cubicBezTo>
                  <a:pt x="37" y="105"/>
                  <a:pt x="37" y="105"/>
                  <a:pt x="37" y="105"/>
                </a:cubicBezTo>
                <a:cubicBezTo>
                  <a:pt x="37" y="105"/>
                  <a:pt x="37" y="105"/>
                  <a:pt x="37" y="105"/>
                </a:cubicBezTo>
                <a:cubicBezTo>
                  <a:pt x="40" y="106"/>
                  <a:pt x="40" y="106"/>
                  <a:pt x="40" y="106"/>
                </a:cubicBezTo>
                <a:cubicBezTo>
                  <a:pt x="40" y="107"/>
                  <a:pt x="41" y="108"/>
                  <a:pt x="41" y="108"/>
                </a:cubicBezTo>
                <a:cubicBezTo>
                  <a:pt x="41" y="109"/>
                  <a:pt x="41" y="109"/>
                  <a:pt x="41" y="109"/>
                </a:cubicBezTo>
                <a:cubicBezTo>
                  <a:pt x="41" y="109"/>
                  <a:pt x="41" y="109"/>
                  <a:pt x="41" y="110"/>
                </a:cubicBezTo>
                <a:cubicBezTo>
                  <a:pt x="43" y="111"/>
                  <a:pt x="41" y="113"/>
                  <a:pt x="40" y="115"/>
                </a:cubicBezTo>
                <a:cubicBezTo>
                  <a:pt x="39" y="116"/>
                  <a:pt x="39" y="117"/>
                  <a:pt x="39" y="117"/>
                </a:cubicBezTo>
                <a:cubicBezTo>
                  <a:pt x="38" y="118"/>
                  <a:pt x="38" y="118"/>
                  <a:pt x="37" y="119"/>
                </a:cubicBezTo>
                <a:cubicBezTo>
                  <a:pt x="35" y="119"/>
                  <a:pt x="34" y="120"/>
                  <a:pt x="33" y="119"/>
                </a:cubicBezTo>
                <a:cubicBezTo>
                  <a:pt x="32" y="120"/>
                  <a:pt x="32" y="120"/>
                  <a:pt x="32" y="120"/>
                </a:cubicBezTo>
                <a:cubicBezTo>
                  <a:pt x="32" y="121"/>
                  <a:pt x="31" y="121"/>
                  <a:pt x="31" y="121"/>
                </a:cubicBezTo>
                <a:cubicBezTo>
                  <a:pt x="30" y="121"/>
                  <a:pt x="30" y="121"/>
                  <a:pt x="30" y="121"/>
                </a:cubicBezTo>
                <a:cubicBezTo>
                  <a:pt x="28" y="124"/>
                  <a:pt x="28" y="124"/>
                  <a:pt x="28" y="124"/>
                </a:cubicBezTo>
                <a:cubicBezTo>
                  <a:pt x="27" y="124"/>
                  <a:pt x="27" y="124"/>
                  <a:pt x="27" y="124"/>
                </a:cubicBezTo>
                <a:cubicBezTo>
                  <a:pt x="18" y="124"/>
                  <a:pt x="18" y="124"/>
                  <a:pt x="18" y="124"/>
                </a:cubicBezTo>
                <a:cubicBezTo>
                  <a:pt x="17" y="124"/>
                  <a:pt x="17" y="124"/>
                  <a:pt x="17" y="124"/>
                </a:cubicBezTo>
                <a:cubicBezTo>
                  <a:pt x="15" y="126"/>
                  <a:pt x="13" y="127"/>
                  <a:pt x="13" y="127"/>
                </a:cubicBezTo>
                <a:cubicBezTo>
                  <a:pt x="8" y="129"/>
                  <a:pt x="8" y="129"/>
                  <a:pt x="8" y="129"/>
                </a:cubicBezTo>
                <a:cubicBezTo>
                  <a:pt x="6" y="132"/>
                  <a:pt x="6" y="132"/>
                  <a:pt x="6" y="132"/>
                </a:cubicBezTo>
                <a:cubicBezTo>
                  <a:pt x="6" y="132"/>
                  <a:pt x="6" y="132"/>
                  <a:pt x="5" y="132"/>
                </a:cubicBezTo>
                <a:cubicBezTo>
                  <a:pt x="3" y="134"/>
                  <a:pt x="3" y="134"/>
                  <a:pt x="3" y="134"/>
                </a:cubicBezTo>
                <a:cubicBezTo>
                  <a:pt x="3" y="134"/>
                  <a:pt x="2" y="134"/>
                  <a:pt x="2" y="135"/>
                </a:cubicBezTo>
                <a:cubicBezTo>
                  <a:pt x="2" y="135"/>
                  <a:pt x="0" y="140"/>
                  <a:pt x="2" y="140"/>
                </a:cubicBezTo>
                <a:cubicBezTo>
                  <a:pt x="3" y="140"/>
                  <a:pt x="3" y="140"/>
                  <a:pt x="3" y="140"/>
                </a:cubicBezTo>
                <a:cubicBezTo>
                  <a:pt x="3" y="141"/>
                  <a:pt x="3" y="141"/>
                  <a:pt x="3" y="141"/>
                </a:cubicBezTo>
                <a:cubicBezTo>
                  <a:pt x="3" y="141"/>
                  <a:pt x="3" y="141"/>
                  <a:pt x="3" y="141"/>
                </a:cubicBezTo>
                <a:cubicBezTo>
                  <a:pt x="5" y="143"/>
                  <a:pt x="5" y="143"/>
                  <a:pt x="5" y="143"/>
                </a:cubicBezTo>
                <a:cubicBezTo>
                  <a:pt x="6" y="143"/>
                  <a:pt x="6" y="144"/>
                  <a:pt x="6" y="144"/>
                </a:cubicBezTo>
                <a:cubicBezTo>
                  <a:pt x="7" y="144"/>
                  <a:pt x="7" y="144"/>
                  <a:pt x="7" y="144"/>
                </a:cubicBezTo>
                <a:cubicBezTo>
                  <a:pt x="7" y="144"/>
                  <a:pt x="7" y="144"/>
                  <a:pt x="8" y="144"/>
                </a:cubicBezTo>
                <a:cubicBezTo>
                  <a:pt x="10" y="145"/>
                  <a:pt x="10" y="145"/>
                  <a:pt x="10" y="145"/>
                </a:cubicBezTo>
                <a:cubicBezTo>
                  <a:pt x="10" y="146"/>
                  <a:pt x="10" y="146"/>
                  <a:pt x="10" y="146"/>
                </a:cubicBezTo>
                <a:cubicBezTo>
                  <a:pt x="12" y="147"/>
                  <a:pt x="12" y="147"/>
                  <a:pt x="12" y="147"/>
                </a:cubicBezTo>
                <a:cubicBezTo>
                  <a:pt x="13" y="147"/>
                  <a:pt x="13" y="147"/>
                  <a:pt x="13" y="147"/>
                </a:cubicBezTo>
                <a:cubicBezTo>
                  <a:pt x="14" y="147"/>
                  <a:pt x="14" y="148"/>
                  <a:pt x="15" y="148"/>
                </a:cubicBezTo>
                <a:cubicBezTo>
                  <a:pt x="16" y="151"/>
                  <a:pt x="16" y="151"/>
                  <a:pt x="16" y="151"/>
                </a:cubicBezTo>
                <a:cubicBezTo>
                  <a:pt x="17" y="152"/>
                  <a:pt x="17" y="152"/>
                  <a:pt x="17" y="152"/>
                </a:cubicBezTo>
                <a:cubicBezTo>
                  <a:pt x="18" y="152"/>
                  <a:pt x="18" y="153"/>
                  <a:pt x="18" y="153"/>
                </a:cubicBezTo>
                <a:cubicBezTo>
                  <a:pt x="19" y="154"/>
                  <a:pt x="19" y="154"/>
                  <a:pt x="19" y="154"/>
                </a:cubicBezTo>
                <a:cubicBezTo>
                  <a:pt x="21" y="155"/>
                  <a:pt x="22" y="156"/>
                  <a:pt x="22" y="156"/>
                </a:cubicBezTo>
                <a:cubicBezTo>
                  <a:pt x="23" y="156"/>
                  <a:pt x="23" y="156"/>
                  <a:pt x="23" y="156"/>
                </a:cubicBezTo>
                <a:cubicBezTo>
                  <a:pt x="24" y="157"/>
                  <a:pt x="24" y="157"/>
                  <a:pt x="24" y="157"/>
                </a:cubicBezTo>
                <a:cubicBezTo>
                  <a:pt x="24" y="157"/>
                  <a:pt x="24" y="157"/>
                  <a:pt x="24" y="157"/>
                </a:cubicBezTo>
                <a:cubicBezTo>
                  <a:pt x="28" y="160"/>
                  <a:pt x="28" y="160"/>
                  <a:pt x="28" y="160"/>
                </a:cubicBezTo>
                <a:cubicBezTo>
                  <a:pt x="28" y="160"/>
                  <a:pt x="28" y="160"/>
                  <a:pt x="28" y="160"/>
                </a:cubicBezTo>
                <a:cubicBezTo>
                  <a:pt x="30" y="159"/>
                  <a:pt x="33" y="160"/>
                  <a:pt x="33" y="160"/>
                </a:cubicBezTo>
                <a:cubicBezTo>
                  <a:pt x="34" y="160"/>
                  <a:pt x="34" y="160"/>
                  <a:pt x="34" y="160"/>
                </a:cubicBezTo>
                <a:cubicBezTo>
                  <a:pt x="44" y="160"/>
                  <a:pt x="44" y="160"/>
                  <a:pt x="44" y="160"/>
                </a:cubicBezTo>
                <a:cubicBezTo>
                  <a:pt x="44" y="160"/>
                  <a:pt x="44" y="160"/>
                  <a:pt x="44" y="160"/>
                </a:cubicBezTo>
                <a:cubicBezTo>
                  <a:pt x="44" y="160"/>
                  <a:pt x="46" y="160"/>
                  <a:pt x="47" y="160"/>
                </a:cubicBezTo>
                <a:cubicBezTo>
                  <a:pt x="47" y="160"/>
                  <a:pt x="47" y="160"/>
                  <a:pt x="47" y="160"/>
                </a:cubicBezTo>
                <a:cubicBezTo>
                  <a:pt x="47" y="160"/>
                  <a:pt x="47" y="160"/>
                  <a:pt x="47" y="160"/>
                </a:cubicBezTo>
                <a:cubicBezTo>
                  <a:pt x="51" y="159"/>
                  <a:pt x="57" y="158"/>
                  <a:pt x="58" y="156"/>
                </a:cubicBezTo>
                <a:cubicBezTo>
                  <a:pt x="58" y="155"/>
                  <a:pt x="59" y="154"/>
                  <a:pt x="59" y="154"/>
                </a:cubicBezTo>
                <a:cubicBezTo>
                  <a:pt x="60" y="154"/>
                  <a:pt x="60" y="153"/>
                  <a:pt x="60" y="153"/>
                </a:cubicBezTo>
                <a:cubicBezTo>
                  <a:pt x="64" y="153"/>
                  <a:pt x="64" y="153"/>
                  <a:pt x="64" y="153"/>
                </a:cubicBezTo>
                <a:cubicBezTo>
                  <a:pt x="64" y="153"/>
                  <a:pt x="64" y="153"/>
                  <a:pt x="64" y="153"/>
                </a:cubicBezTo>
                <a:cubicBezTo>
                  <a:pt x="65" y="153"/>
                  <a:pt x="65" y="153"/>
                  <a:pt x="65" y="153"/>
                </a:cubicBezTo>
                <a:cubicBezTo>
                  <a:pt x="65" y="152"/>
                  <a:pt x="65" y="152"/>
                  <a:pt x="66" y="152"/>
                </a:cubicBezTo>
                <a:cubicBezTo>
                  <a:pt x="68" y="151"/>
                  <a:pt x="68" y="151"/>
                  <a:pt x="68" y="151"/>
                </a:cubicBezTo>
                <a:cubicBezTo>
                  <a:pt x="69" y="150"/>
                  <a:pt x="69" y="150"/>
                  <a:pt x="69" y="150"/>
                </a:cubicBezTo>
                <a:cubicBezTo>
                  <a:pt x="75" y="150"/>
                  <a:pt x="75" y="150"/>
                  <a:pt x="75" y="150"/>
                </a:cubicBezTo>
                <a:cubicBezTo>
                  <a:pt x="76" y="150"/>
                  <a:pt x="77" y="151"/>
                  <a:pt x="77" y="152"/>
                </a:cubicBezTo>
                <a:cubicBezTo>
                  <a:pt x="78" y="153"/>
                  <a:pt x="78" y="155"/>
                  <a:pt x="79" y="156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82" y="159"/>
                  <a:pt x="82" y="159"/>
                  <a:pt x="82" y="159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6" y="160"/>
                  <a:pt x="86" y="160"/>
                  <a:pt x="86" y="160"/>
                </a:cubicBezTo>
                <a:cubicBezTo>
                  <a:pt x="86" y="159"/>
                  <a:pt x="87" y="159"/>
                  <a:pt x="87" y="159"/>
                </a:cubicBezTo>
                <a:cubicBezTo>
                  <a:pt x="88" y="158"/>
                  <a:pt x="88" y="158"/>
                  <a:pt x="88" y="158"/>
                </a:cubicBezTo>
                <a:cubicBezTo>
                  <a:pt x="89" y="157"/>
                  <a:pt x="89" y="157"/>
                  <a:pt x="89" y="157"/>
                </a:cubicBezTo>
                <a:cubicBezTo>
                  <a:pt x="94" y="157"/>
                  <a:pt x="94" y="157"/>
                  <a:pt x="94" y="157"/>
                </a:cubicBezTo>
                <a:cubicBezTo>
                  <a:pt x="95" y="157"/>
                  <a:pt x="96" y="157"/>
                  <a:pt x="96" y="158"/>
                </a:cubicBezTo>
                <a:cubicBezTo>
                  <a:pt x="98" y="160"/>
                  <a:pt x="98" y="160"/>
                  <a:pt x="98" y="160"/>
                </a:cubicBezTo>
                <a:cubicBezTo>
                  <a:pt x="101" y="160"/>
                  <a:pt x="101" y="160"/>
                  <a:pt x="101" y="160"/>
                </a:cubicBezTo>
                <a:cubicBezTo>
                  <a:pt x="102" y="160"/>
                  <a:pt x="103" y="160"/>
                  <a:pt x="103" y="161"/>
                </a:cubicBezTo>
                <a:cubicBezTo>
                  <a:pt x="104" y="162"/>
                  <a:pt x="104" y="162"/>
                  <a:pt x="104" y="162"/>
                </a:cubicBezTo>
                <a:cubicBezTo>
                  <a:pt x="104" y="162"/>
                  <a:pt x="104" y="161"/>
                  <a:pt x="105" y="160"/>
                </a:cubicBezTo>
                <a:cubicBezTo>
                  <a:pt x="105" y="159"/>
                  <a:pt x="105" y="159"/>
                  <a:pt x="105" y="159"/>
                </a:cubicBezTo>
                <a:cubicBezTo>
                  <a:pt x="105" y="158"/>
                  <a:pt x="106" y="157"/>
                  <a:pt x="107" y="157"/>
                </a:cubicBezTo>
                <a:cubicBezTo>
                  <a:pt x="112" y="157"/>
                  <a:pt x="112" y="157"/>
                  <a:pt x="112" y="157"/>
                </a:cubicBezTo>
                <a:cubicBezTo>
                  <a:pt x="113" y="157"/>
                  <a:pt x="114" y="157"/>
                  <a:pt x="114" y="158"/>
                </a:cubicBezTo>
                <a:cubicBezTo>
                  <a:pt x="115" y="160"/>
                  <a:pt x="115" y="160"/>
                  <a:pt x="115" y="160"/>
                </a:cubicBezTo>
                <a:cubicBezTo>
                  <a:pt x="117" y="160"/>
                  <a:pt x="117" y="160"/>
                  <a:pt x="117" y="160"/>
                </a:cubicBezTo>
                <a:cubicBezTo>
                  <a:pt x="117" y="159"/>
                  <a:pt x="117" y="159"/>
                  <a:pt x="117" y="159"/>
                </a:cubicBezTo>
                <a:cubicBezTo>
                  <a:pt x="118" y="157"/>
                  <a:pt x="118" y="157"/>
                  <a:pt x="118" y="157"/>
                </a:cubicBezTo>
                <a:cubicBezTo>
                  <a:pt x="118" y="156"/>
                  <a:pt x="118" y="156"/>
                  <a:pt x="118" y="156"/>
                </a:cubicBezTo>
                <a:cubicBezTo>
                  <a:pt x="119" y="154"/>
                  <a:pt x="119" y="154"/>
                  <a:pt x="119" y="154"/>
                </a:cubicBezTo>
                <a:cubicBezTo>
                  <a:pt x="120" y="154"/>
                  <a:pt x="120" y="153"/>
                  <a:pt x="121" y="153"/>
                </a:cubicBezTo>
                <a:cubicBezTo>
                  <a:pt x="128" y="153"/>
                  <a:pt x="128" y="153"/>
                  <a:pt x="128" y="153"/>
                </a:cubicBezTo>
                <a:cubicBezTo>
                  <a:pt x="128" y="153"/>
                  <a:pt x="128" y="153"/>
                  <a:pt x="128" y="153"/>
                </a:cubicBezTo>
                <a:cubicBezTo>
                  <a:pt x="128" y="152"/>
                  <a:pt x="129" y="151"/>
                  <a:pt x="130" y="151"/>
                </a:cubicBezTo>
                <a:cubicBezTo>
                  <a:pt x="131" y="149"/>
                  <a:pt x="131" y="149"/>
                  <a:pt x="131" y="149"/>
                </a:cubicBezTo>
                <a:cubicBezTo>
                  <a:pt x="132" y="149"/>
                  <a:pt x="133" y="148"/>
                  <a:pt x="134" y="149"/>
                </a:cubicBezTo>
                <a:cubicBezTo>
                  <a:pt x="134" y="149"/>
                  <a:pt x="135" y="149"/>
                  <a:pt x="136" y="149"/>
                </a:cubicBezTo>
                <a:cubicBezTo>
                  <a:pt x="138" y="148"/>
                  <a:pt x="138" y="148"/>
                  <a:pt x="138" y="148"/>
                </a:cubicBezTo>
                <a:cubicBezTo>
                  <a:pt x="138" y="148"/>
                  <a:pt x="138" y="148"/>
                  <a:pt x="138" y="148"/>
                </a:cubicBezTo>
                <a:cubicBezTo>
                  <a:pt x="142" y="148"/>
                  <a:pt x="142" y="148"/>
                  <a:pt x="142" y="148"/>
                </a:cubicBezTo>
                <a:cubicBezTo>
                  <a:pt x="142" y="148"/>
                  <a:pt x="142" y="148"/>
                  <a:pt x="142" y="148"/>
                </a:cubicBezTo>
                <a:cubicBezTo>
                  <a:pt x="143" y="149"/>
                  <a:pt x="143" y="149"/>
                  <a:pt x="143" y="149"/>
                </a:cubicBezTo>
                <a:cubicBezTo>
                  <a:pt x="145" y="149"/>
                  <a:pt x="145" y="149"/>
                  <a:pt x="145" y="149"/>
                </a:cubicBezTo>
                <a:cubicBezTo>
                  <a:pt x="146" y="149"/>
                  <a:pt x="146" y="149"/>
                  <a:pt x="146" y="149"/>
                </a:cubicBezTo>
                <a:cubicBezTo>
                  <a:pt x="148" y="151"/>
                  <a:pt x="148" y="151"/>
                  <a:pt x="148" y="151"/>
                </a:cubicBezTo>
                <a:cubicBezTo>
                  <a:pt x="148" y="151"/>
                  <a:pt x="148" y="151"/>
                  <a:pt x="148" y="151"/>
                </a:cubicBezTo>
                <a:cubicBezTo>
                  <a:pt x="153" y="148"/>
                  <a:pt x="153" y="148"/>
                  <a:pt x="153" y="148"/>
                </a:cubicBezTo>
                <a:cubicBezTo>
                  <a:pt x="153" y="148"/>
                  <a:pt x="153" y="148"/>
                  <a:pt x="153" y="148"/>
                </a:cubicBezTo>
                <a:cubicBezTo>
                  <a:pt x="153" y="147"/>
                  <a:pt x="153" y="146"/>
                  <a:pt x="153" y="145"/>
                </a:cubicBezTo>
                <a:cubicBezTo>
                  <a:pt x="154" y="145"/>
                  <a:pt x="154" y="145"/>
                  <a:pt x="154" y="145"/>
                </a:cubicBezTo>
                <a:cubicBezTo>
                  <a:pt x="153" y="144"/>
                  <a:pt x="153" y="144"/>
                  <a:pt x="153" y="144"/>
                </a:cubicBezTo>
                <a:cubicBezTo>
                  <a:pt x="153" y="144"/>
                  <a:pt x="153" y="143"/>
                  <a:pt x="153" y="142"/>
                </a:cubicBezTo>
                <a:cubicBezTo>
                  <a:pt x="152" y="142"/>
                  <a:pt x="152" y="141"/>
                  <a:pt x="152" y="141"/>
                </a:cubicBezTo>
                <a:cubicBezTo>
                  <a:pt x="152" y="141"/>
                  <a:pt x="152" y="141"/>
                  <a:pt x="152" y="141"/>
                </a:cubicBezTo>
                <a:cubicBezTo>
                  <a:pt x="152" y="141"/>
                  <a:pt x="152" y="142"/>
                  <a:pt x="151" y="142"/>
                </a:cubicBezTo>
                <a:cubicBezTo>
                  <a:pt x="149" y="142"/>
                  <a:pt x="149" y="142"/>
                  <a:pt x="149" y="142"/>
                </a:cubicBezTo>
                <a:cubicBezTo>
                  <a:pt x="149" y="143"/>
                  <a:pt x="148" y="143"/>
                  <a:pt x="147" y="143"/>
                </a:cubicBezTo>
                <a:cubicBezTo>
                  <a:pt x="147" y="143"/>
                  <a:pt x="147" y="143"/>
                  <a:pt x="146" y="142"/>
                </a:cubicBezTo>
                <a:cubicBezTo>
                  <a:pt x="146" y="142"/>
                  <a:pt x="146" y="142"/>
                  <a:pt x="146" y="142"/>
                </a:cubicBezTo>
                <a:cubicBezTo>
                  <a:pt x="145" y="142"/>
                  <a:pt x="144" y="143"/>
                  <a:pt x="142" y="142"/>
                </a:cubicBezTo>
                <a:cubicBezTo>
                  <a:pt x="136" y="142"/>
                  <a:pt x="136" y="142"/>
                  <a:pt x="136" y="142"/>
                </a:cubicBezTo>
                <a:cubicBezTo>
                  <a:pt x="135" y="142"/>
                  <a:pt x="135" y="142"/>
                  <a:pt x="134" y="141"/>
                </a:cubicBezTo>
                <a:cubicBezTo>
                  <a:pt x="134" y="140"/>
                  <a:pt x="134" y="139"/>
                  <a:pt x="135" y="138"/>
                </a:cubicBezTo>
                <a:cubicBezTo>
                  <a:pt x="141" y="134"/>
                  <a:pt x="142" y="134"/>
                  <a:pt x="143" y="135"/>
                </a:cubicBezTo>
                <a:cubicBezTo>
                  <a:pt x="143" y="135"/>
                  <a:pt x="143" y="135"/>
                  <a:pt x="144" y="135"/>
                </a:cubicBezTo>
                <a:cubicBezTo>
                  <a:pt x="144" y="135"/>
                  <a:pt x="144" y="135"/>
                  <a:pt x="144" y="135"/>
                </a:cubicBezTo>
                <a:cubicBezTo>
                  <a:pt x="146" y="135"/>
                  <a:pt x="146" y="135"/>
                  <a:pt x="146" y="135"/>
                </a:cubicBezTo>
                <a:cubicBezTo>
                  <a:pt x="149" y="133"/>
                  <a:pt x="149" y="133"/>
                  <a:pt x="149" y="133"/>
                </a:cubicBezTo>
                <a:cubicBezTo>
                  <a:pt x="149" y="133"/>
                  <a:pt x="149" y="133"/>
                  <a:pt x="149" y="133"/>
                </a:cubicBezTo>
                <a:cubicBezTo>
                  <a:pt x="149" y="132"/>
                  <a:pt x="149" y="132"/>
                  <a:pt x="149" y="132"/>
                </a:cubicBezTo>
                <a:cubicBezTo>
                  <a:pt x="149" y="132"/>
                  <a:pt x="149" y="130"/>
                  <a:pt x="148" y="129"/>
                </a:cubicBezTo>
                <a:cubicBezTo>
                  <a:pt x="148" y="128"/>
                  <a:pt x="148" y="127"/>
                  <a:pt x="148" y="127"/>
                </a:cubicBezTo>
                <a:cubicBezTo>
                  <a:pt x="148" y="126"/>
                  <a:pt x="148" y="126"/>
                  <a:pt x="148" y="125"/>
                </a:cubicBezTo>
                <a:cubicBezTo>
                  <a:pt x="147" y="124"/>
                  <a:pt x="148" y="122"/>
                  <a:pt x="148" y="121"/>
                </a:cubicBezTo>
                <a:cubicBezTo>
                  <a:pt x="148" y="121"/>
                  <a:pt x="148" y="121"/>
                  <a:pt x="148" y="121"/>
                </a:cubicBezTo>
                <a:cubicBezTo>
                  <a:pt x="148" y="119"/>
                  <a:pt x="149" y="118"/>
                  <a:pt x="150" y="117"/>
                </a:cubicBezTo>
                <a:cubicBezTo>
                  <a:pt x="151" y="117"/>
                  <a:pt x="151" y="115"/>
                  <a:pt x="152" y="114"/>
                </a:cubicBezTo>
                <a:cubicBezTo>
                  <a:pt x="153" y="113"/>
                  <a:pt x="154" y="113"/>
                  <a:pt x="155" y="112"/>
                </a:cubicBezTo>
                <a:cubicBezTo>
                  <a:pt x="155" y="112"/>
                  <a:pt x="155" y="112"/>
                  <a:pt x="155" y="112"/>
                </a:cubicBezTo>
                <a:cubicBezTo>
                  <a:pt x="157" y="111"/>
                  <a:pt x="159" y="111"/>
                  <a:pt x="160" y="112"/>
                </a:cubicBezTo>
                <a:cubicBezTo>
                  <a:pt x="160" y="111"/>
                  <a:pt x="160" y="111"/>
                  <a:pt x="160" y="11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Freeform 73">
            <a:extLst>
              <a:ext uri="{FF2B5EF4-FFF2-40B4-BE49-F238E27FC236}">
                <a16:creationId xmlns:a16="http://schemas.microsoft.com/office/drawing/2014/main" id="{F9FC5A2D-29DA-4897-A6AB-1E621DC3FC37}"/>
              </a:ext>
            </a:extLst>
          </p:cNvPr>
          <p:cNvSpPr>
            <a:spLocks/>
          </p:cNvSpPr>
          <p:nvPr/>
        </p:nvSpPr>
        <p:spPr bwMode="auto">
          <a:xfrm>
            <a:off x="5126183" y="4723929"/>
            <a:ext cx="313002" cy="306388"/>
          </a:xfrm>
          <a:custGeom>
            <a:avLst/>
            <a:gdLst>
              <a:gd name="T0" fmla="*/ 130 w 130"/>
              <a:gd name="T1" fmla="*/ 67 h 137"/>
              <a:gd name="T2" fmla="*/ 126 w 130"/>
              <a:gd name="T3" fmla="*/ 60 h 137"/>
              <a:gd name="T4" fmla="*/ 110 w 130"/>
              <a:gd name="T5" fmla="*/ 60 h 137"/>
              <a:gd name="T6" fmla="*/ 112 w 130"/>
              <a:gd name="T7" fmla="*/ 52 h 137"/>
              <a:gd name="T8" fmla="*/ 115 w 130"/>
              <a:gd name="T9" fmla="*/ 47 h 137"/>
              <a:gd name="T10" fmla="*/ 119 w 130"/>
              <a:gd name="T11" fmla="*/ 39 h 137"/>
              <a:gd name="T12" fmla="*/ 116 w 130"/>
              <a:gd name="T13" fmla="*/ 37 h 137"/>
              <a:gd name="T14" fmla="*/ 104 w 130"/>
              <a:gd name="T15" fmla="*/ 34 h 137"/>
              <a:gd name="T16" fmla="*/ 108 w 130"/>
              <a:gd name="T17" fmla="*/ 29 h 137"/>
              <a:gd name="T18" fmla="*/ 107 w 130"/>
              <a:gd name="T19" fmla="*/ 27 h 137"/>
              <a:gd name="T20" fmla="*/ 102 w 130"/>
              <a:gd name="T21" fmla="*/ 34 h 137"/>
              <a:gd name="T22" fmla="*/ 96 w 130"/>
              <a:gd name="T23" fmla="*/ 34 h 137"/>
              <a:gd name="T24" fmla="*/ 93 w 130"/>
              <a:gd name="T25" fmla="*/ 32 h 137"/>
              <a:gd name="T26" fmla="*/ 87 w 130"/>
              <a:gd name="T27" fmla="*/ 36 h 137"/>
              <a:gd name="T28" fmla="*/ 78 w 130"/>
              <a:gd name="T29" fmla="*/ 36 h 137"/>
              <a:gd name="T30" fmla="*/ 83 w 130"/>
              <a:gd name="T31" fmla="*/ 28 h 137"/>
              <a:gd name="T32" fmla="*/ 85 w 130"/>
              <a:gd name="T33" fmla="*/ 23 h 137"/>
              <a:gd name="T34" fmla="*/ 78 w 130"/>
              <a:gd name="T35" fmla="*/ 18 h 137"/>
              <a:gd name="T36" fmla="*/ 77 w 130"/>
              <a:gd name="T37" fmla="*/ 12 h 137"/>
              <a:gd name="T38" fmla="*/ 70 w 130"/>
              <a:gd name="T39" fmla="*/ 7 h 137"/>
              <a:gd name="T40" fmla="*/ 65 w 130"/>
              <a:gd name="T41" fmla="*/ 9 h 137"/>
              <a:gd name="T42" fmla="*/ 57 w 130"/>
              <a:gd name="T43" fmla="*/ 8 h 137"/>
              <a:gd name="T44" fmla="*/ 51 w 130"/>
              <a:gd name="T45" fmla="*/ 4 h 137"/>
              <a:gd name="T46" fmla="*/ 43 w 130"/>
              <a:gd name="T47" fmla="*/ 2 h 137"/>
              <a:gd name="T48" fmla="*/ 36 w 130"/>
              <a:gd name="T49" fmla="*/ 6 h 137"/>
              <a:gd name="T50" fmla="*/ 30 w 130"/>
              <a:gd name="T51" fmla="*/ 11 h 137"/>
              <a:gd name="T52" fmla="*/ 24 w 130"/>
              <a:gd name="T53" fmla="*/ 17 h 137"/>
              <a:gd name="T54" fmla="*/ 21 w 130"/>
              <a:gd name="T55" fmla="*/ 20 h 137"/>
              <a:gd name="T56" fmla="*/ 27 w 130"/>
              <a:gd name="T57" fmla="*/ 25 h 137"/>
              <a:gd name="T58" fmla="*/ 27 w 130"/>
              <a:gd name="T59" fmla="*/ 30 h 137"/>
              <a:gd name="T60" fmla="*/ 10 w 130"/>
              <a:gd name="T61" fmla="*/ 36 h 137"/>
              <a:gd name="T62" fmla="*/ 7 w 130"/>
              <a:gd name="T63" fmla="*/ 43 h 137"/>
              <a:gd name="T64" fmla="*/ 9 w 130"/>
              <a:gd name="T65" fmla="*/ 55 h 137"/>
              <a:gd name="T66" fmla="*/ 5 w 130"/>
              <a:gd name="T67" fmla="*/ 61 h 137"/>
              <a:gd name="T68" fmla="*/ 2 w 130"/>
              <a:gd name="T69" fmla="*/ 65 h 137"/>
              <a:gd name="T70" fmla="*/ 0 w 130"/>
              <a:gd name="T71" fmla="*/ 73 h 137"/>
              <a:gd name="T72" fmla="*/ 3 w 130"/>
              <a:gd name="T73" fmla="*/ 79 h 137"/>
              <a:gd name="T74" fmla="*/ 6 w 130"/>
              <a:gd name="T75" fmla="*/ 90 h 137"/>
              <a:gd name="T76" fmla="*/ 14 w 130"/>
              <a:gd name="T77" fmla="*/ 102 h 137"/>
              <a:gd name="T78" fmla="*/ 19 w 130"/>
              <a:gd name="T79" fmla="*/ 108 h 137"/>
              <a:gd name="T80" fmla="*/ 21 w 130"/>
              <a:gd name="T81" fmla="*/ 111 h 137"/>
              <a:gd name="T82" fmla="*/ 27 w 130"/>
              <a:gd name="T83" fmla="*/ 115 h 137"/>
              <a:gd name="T84" fmla="*/ 35 w 130"/>
              <a:gd name="T85" fmla="*/ 112 h 137"/>
              <a:gd name="T86" fmla="*/ 46 w 130"/>
              <a:gd name="T87" fmla="*/ 113 h 137"/>
              <a:gd name="T88" fmla="*/ 50 w 130"/>
              <a:gd name="T89" fmla="*/ 116 h 137"/>
              <a:gd name="T90" fmla="*/ 59 w 130"/>
              <a:gd name="T91" fmla="*/ 125 h 137"/>
              <a:gd name="T92" fmla="*/ 62 w 130"/>
              <a:gd name="T93" fmla="*/ 133 h 137"/>
              <a:gd name="T94" fmla="*/ 70 w 130"/>
              <a:gd name="T95" fmla="*/ 133 h 137"/>
              <a:gd name="T96" fmla="*/ 74 w 130"/>
              <a:gd name="T97" fmla="*/ 136 h 137"/>
              <a:gd name="T98" fmla="*/ 79 w 130"/>
              <a:gd name="T99" fmla="*/ 136 h 137"/>
              <a:gd name="T100" fmla="*/ 87 w 130"/>
              <a:gd name="T101" fmla="*/ 133 h 137"/>
              <a:gd name="T102" fmla="*/ 93 w 130"/>
              <a:gd name="T103" fmla="*/ 132 h 137"/>
              <a:gd name="T104" fmla="*/ 105 w 130"/>
              <a:gd name="T105" fmla="*/ 126 h 137"/>
              <a:gd name="T106" fmla="*/ 107 w 130"/>
              <a:gd name="T107" fmla="*/ 124 h 137"/>
              <a:gd name="T108" fmla="*/ 105 w 130"/>
              <a:gd name="T109" fmla="*/ 116 h 137"/>
              <a:gd name="T110" fmla="*/ 98 w 130"/>
              <a:gd name="T111" fmla="*/ 109 h 137"/>
              <a:gd name="T112" fmla="*/ 100 w 130"/>
              <a:gd name="T113" fmla="*/ 102 h 137"/>
              <a:gd name="T114" fmla="*/ 100 w 130"/>
              <a:gd name="T115" fmla="*/ 94 h 137"/>
              <a:gd name="T116" fmla="*/ 111 w 130"/>
              <a:gd name="T117" fmla="*/ 95 h 137"/>
              <a:gd name="T118" fmla="*/ 114 w 130"/>
              <a:gd name="T119" fmla="*/ 97 h 137"/>
              <a:gd name="T120" fmla="*/ 121 w 130"/>
              <a:gd name="T121" fmla="*/ 92 h 137"/>
              <a:gd name="T122" fmla="*/ 128 w 130"/>
              <a:gd name="T123" fmla="*/ 83 h 137"/>
              <a:gd name="T124" fmla="*/ 127 w 130"/>
              <a:gd name="T125" fmla="*/ 74 h 1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0" h="137">
                <a:moveTo>
                  <a:pt x="127" y="73"/>
                </a:moveTo>
                <a:cubicBezTo>
                  <a:pt x="128" y="71"/>
                  <a:pt x="128" y="71"/>
                  <a:pt x="128" y="71"/>
                </a:cubicBezTo>
                <a:cubicBezTo>
                  <a:pt x="130" y="68"/>
                  <a:pt x="130" y="68"/>
                  <a:pt x="130" y="68"/>
                </a:cubicBezTo>
                <a:cubicBezTo>
                  <a:pt x="130" y="67"/>
                  <a:pt x="130" y="67"/>
                  <a:pt x="130" y="67"/>
                </a:cubicBezTo>
                <a:cubicBezTo>
                  <a:pt x="129" y="62"/>
                  <a:pt x="129" y="62"/>
                  <a:pt x="129" y="62"/>
                </a:cubicBezTo>
                <a:cubicBezTo>
                  <a:pt x="129" y="62"/>
                  <a:pt x="129" y="62"/>
                  <a:pt x="129" y="62"/>
                </a:cubicBezTo>
                <a:cubicBezTo>
                  <a:pt x="129" y="62"/>
                  <a:pt x="129" y="61"/>
                  <a:pt x="127" y="60"/>
                </a:cubicBezTo>
                <a:cubicBezTo>
                  <a:pt x="126" y="60"/>
                  <a:pt x="126" y="60"/>
                  <a:pt x="126" y="60"/>
                </a:cubicBezTo>
                <a:cubicBezTo>
                  <a:pt x="125" y="60"/>
                  <a:pt x="123" y="60"/>
                  <a:pt x="122" y="60"/>
                </a:cubicBezTo>
                <a:cubicBezTo>
                  <a:pt x="121" y="60"/>
                  <a:pt x="119" y="60"/>
                  <a:pt x="117" y="59"/>
                </a:cubicBezTo>
                <a:cubicBezTo>
                  <a:pt x="117" y="59"/>
                  <a:pt x="117" y="60"/>
                  <a:pt x="116" y="60"/>
                </a:cubicBezTo>
                <a:cubicBezTo>
                  <a:pt x="110" y="60"/>
                  <a:pt x="110" y="60"/>
                  <a:pt x="110" y="60"/>
                </a:cubicBezTo>
                <a:cubicBezTo>
                  <a:pt x="108" y="60"/>
                  <a:pt x="108" y="59"/>
                  <a:pt x="108" y="58"/>
                </a:cubicBezTo>
                <a:cubicBezTo>
                  <a:pt x="108" y="54"/>
                  <a:pt x="108" y="54"/>
                  <a:pt x="108" y="54"/>
                </a:cubicBezTo>
                <a:cubicBezTo>
                  <a:pt x="108" y="53"/>
                  <a:pt x="108" y="52"/>
                  <a:pt x="110" y="52"/>
                </a:cubicBezTo>
                <a:cubicBezTo>
                  <a:pt x="112" y="52"/>
                  <a:pt x="112" y="52"/>
                  <a:pt x="112" y="52"/>
                </a:cubicBezTo>
                <a:cubicBezTo>
                  <a:pt x="112" y="52"/>
                  <a:pt x="112" y="52"/>
                  <a:pt x="112" y="52"/>
                </a:cubicBezTo>
                <a:cubicBezTo>
                  <a:pt x="113" y="52"/>
                  <a:pt x="113" y="52"/>
                  <a:pt x="113" y="52"/>
                </a:cubicBezTo>
                <a:cubicBezTo>
                  <a:pt x="113" y="52"/>
                  <a:pt x="114" y="51"/>
                  <a:pt x="115" y="50"/>
                </a:cubicBezTo>
                <a:cubicBezTo>
                  <a:pt x="115" y="47"/>
                  <a:pt x="115" y="47"/>
                  <a:pt x="115" y="47"/>
                </a:cubicBezTo>
                <a:cubicBezTo>
                  <a:pt x="115" y="46"/>
                  <a:pt x="115" y="46"/>
                  <a:pt x="116" y="45"/>
                </a:cubicBezTo>
                <a:cubicBezTo>
                  <a:pt x="120" y="43"/>
                  <a:pt x="120" y="43"/>
                  <a:pt x="120" y="43"/>
                </a:cubicBezTo>
                <a:cubicBezTo>
                  <a:pt x="120" y="41"/>
                  <a:pt x="120" y="41"/>
                  <a:pt x="120" y="41"/>
                </a:cubicBezTo>
                <a:cubicBezTo>
                  <a:pt x="119" y="39"/>
                  <a:pt x="119" y="39"/>
                  <a:pt x="119" y="39"/>
                </a:cubicBezTo>
                <a:cubicBezTo>
                  <a:pt x="118" y="39"/>
                  <a:pt x="118" y="39"/>
                  <a:pt x="118" y="38"/>
                </a:cubicBezTo>
                <a:cubicBezTo>
                  <a:pt x="118" y="37"/>
                  <a:pt x="118" y="37"/>
                  <a:pt x="118" y="37"/>
                </a:cubicBezTo>
                <a:cubicBezTo>
                  <a:pt x="118" y="37"/>
                  <a:pt x="118" y="37"/>
                  <a:pt x="118" y="37"/>
                </a:cubicBezTo>
                <a:cubicBezTo>
                  <a:pt x="116" y="37"/>
                  <a:pt x="116" y="37"/>
                  <a:pt x="116" y="37"/>
                </a:cubicBezTo>
                <a:cubicBezTo>
                  <a:pt x="113" y="37"/>
                  <a:pt x="113" y="37"/>
                  <a:pt x="113" y="37"/>
                </a:cubicBezTo>
                <a:cubicBezTo>
                  <a:pt x="108" y="37"/>
                  <a:pt x="108" y="37"/>
                  <a:pt x="108" y="37"/>
                </a:cubicBezTo>
                <a:cubicBezTo>
                  <a:pt x="105" y="37"/>
                  <a:pt x="104" y="36"/>
                  <a:pt x="104" y="35"/>
                </a:cubicBezTo>
                <a:cubicBezTo>
                  <a:pt x="104" y="34"/>
                  <a:pt x="104" y="34"/>
                  <a:pt x="104" y="34"/>
                </a:cubicBezTo>
                <a:cubicBezTo>
                  <a:pt x="103" y="33"/>
                  <a:pt x="104" y="32"/>
                  <a:pt x="104" y="32"/>
                </a:cubicBezTo>
                <a:cubicBezTo>
                  <a:pt x="104" y="31"/>
                  <a:pt x="104" y="31"/>
                  <a:pt x="105" y="31"/>
                </a:cubicBezTo>
                <a:cubicBezTo>
                  <a:pt x="105" y="31"/>
                  <a:pt x="106" y="30"/>
                  <a:pt x="107" y="29"/>
                </a:cubicBezTo>
                <a:cubicBezTo>
                  <a:pt x="108" y="29"/>
                  <a:pt x="108" y="29"/>
                  <a:pt x="108" y="29"/>
                </a:cubicBezTo>
                <a:cubicBezTo>
                  <a:pt x="110" y="27"/>
                  <a:pt x="110" y="27"/>
                  <a:pt x="110" y="27"/>
                </a:cubicBezTo>
                <a:cubicBezTo>
                  <a:pt x="110" y="27"/>
                  <a:pt x="110" y="27"/>
                  <a:pt x="111" y="27"/>
                </a:cubicBezTo>
                <a:cubicBezTo>
                  <a:pt x="110" y="27"/>
                  <a:pt x="110" y="27"/>
                  <a:pt x="110" y="27"/>
                </a:cubicBezTo>
                <a:cubicBezTo>
                  <a:pt x="107" y="27"/>
                  <a:pt x="107" y="27"/>
                  <a:pt x="107" y="27"/>
                </a:cubicBezTo>
                <a:cubicBezTo>
                  <a:pt x="104" y="28"/>
                  <a:pt x="104" y="28"/>
                  <a:pt x="104" y="28"/>
                </a:cubicBezTo>
                <a:cubicBezTo>
                  <a:pt x="104" y="31"/>
                  <a:pt x="104" y="31"/>
                  <a:pt x="104" y="31"/>
                </a:cubicBezTo>
                <a:cubicBezTo>
                  <a:pt x="104" y="31"/>
                  <a:pt x="104" y="31"/>
                  <a:pt x="104" y="32"/>
                </a:cubicBezTo>
                <a:cubicBezTo>
                  <a:pt x="102" y="34"/>
                  <a:pt x="102" y="34"/>
                  <a:pt x="102" y="34"/>
                </a:cubicBezTo>
                <a:cubicBezTo>
                  <a:pt x="102" y="36"/>
                  <a:pt x="101" y="37"/>
                  <a:pt x="99" y="37"/>
                </a:cubicBezTo>
                <a:cubicBezTo>
                  <a:pt x="99" y="37"/>
                  <a:pt x="99" y="36"/>
                  <a:pt x="98" y="36"/>
                </a:cubicBezTo>
                <a:cubicBezTo>
                  <a:pt x="98" y="36"/>
                  <a:pt x="98" y="36"/>
                  <a:pt x="98" y="36"/>
                </a:cubicBezTo>
                <a:cubicBezTo>
                  <a:pt x="97" y="36"/>
                  <a:pt x="96" y="36"/>
                  <a:pt x="96" y="34"/>
                </a:cubicBezTo>
                <a:cubicBezTo>
                  <a:pt x="96" y="34"/>
                  <a:pt x="96" y="34"/>
                  <a:pt x="96" y="34"/>
                </a:cubicBezTo>
                <a:cubicBezTo>
                  <a:pt x="96" y="31"/>
                  <a:pt x="96" y="31"/>
                  <a:pt x="96" y="31"/>
                </a:cubicBezTo>
                <a:cubicBezTo>
                  <a:pt x="95" y="31"/>
                  <a:pt x="95" y="31"/>
                  <a:pt x="95" y="31"/>
                </a:cubicBezTo>
                <a:cubicBezTo>
                  <a:pt x="93" y="32"/>
                  <a:pt x="93" y="32"/>
                  <a:pt x="93" y="32"/>
                </a:cubicBezTo>
                <a:cubicBezTo>
                  <a:pt x="93" y="32"/>
                  <a:pt x="93" y="32"/>
                  <a:pt x="92" y="32"/>
                </a:cubicBezTo>
                <a:cubicBezTo>
                  <a:pt x="92" y="33"/>
                  <a:pt x="92" y="34"/>
                  <a:pt x="91" y="34"/>
                </a:cubicBezTo>
                <a:cubicBezTo>
                  <a:pt x="87" y="35"/>
                  <a:pt x="87" y="35"/>
                  <a:pt x="87" y="35"/>
                </a:cubicBezTo>
                <a:cubicBezTo>
                  <a:pt x="87" y="36"/>
                  <a:pt x="87" y="36"/>
                  <a:pt x="87" y="36"/>
                </a:cubicBezTo>
                <a:cubicBezTo>
                  <a:pt x="87" y="37"/>
                  <a:pt x="86" y="37"/>
                  <a:pt x="86" y="37"/>
                </a:cubicBezTo>
                <a:cubicBezTo>
                  <a:pt x="81" y="38"/>
                  <a:pt x="81" y="38"/>
                  <a:pt x="81" y="38"/>
                </a:cubicBezTo>
                <a:cubicBezTo>
                  <a:pt x="81" y="38"/>
                  <a:pt x="80" y="38"/>
                  <a:pt x="80" y="37"/>
                </a:cubicBezTo>
                <a:cubicBezTo>
                  <a:pt x="78" y="36"/>
                  <a:pt x="78" y="36"/>
                  <a:pt x="78" y="36"/>
                </a:cubicBezTo>
                <a:cubicBezTo>
                  <a:pt x="78" y="36"/>
                  <a:pt x="77" y="35"/>
                  <a:pt x="77" y="34"/>
                </a:cubicBezTo>
                <a:cubicBezTo>
                  <a:pt x="77" y="34"/>
                  <a:pt x="78" y="32"/>
                  <a:pt x="79" y="31"/>
                </a:cubicBezTo>
                <a:cubicBezTo>
                  <a:pt x="80" y="29"/>
                  <a:pt x="81" y="28"/>
                  <a:pt x="82" y="28"/>
                </a:cubicBezTo>
                <a:cubicBezTo>
                  <a:pt x="83" y="28"/>
                  <a:pt x="83" y="28"/>
                  <a:pt x="83" y="28"/>
                </a:cubicBezTo>
                <a:cubicBezTo>
                  <a:pt x="83" y="27"/>
                  <a:pt x="83" y="27"/>
                  <a:pt x="83" y="27"/>
                </a:cubicBezTo>
                <a:cubicBezTo>
                  <a:pt x="83" y="26"/>
                  <a:pt x="84" y="26"/>
                  <a:pt x="84" y="26"/>
                </a:cubicBezTo>
                <a:cubicBezTo>
                  <a:pt x="85" y="25"/>
                  <a:pt x="85" y="25"/>
                  <a:pt x="85" y="25"/>
                </a:cubicBezTo>
                <a:cubicBezTo>
                  <a:pt x="85" y="23"/>
                  <a:pt x="85" y="23"/>
                  <a:pt x="85" y="23"/>
                </a:cubicBezTo>
                <a:cubicBezTo>
                  <a:pt x="84" y="22"/>
                  <a:pt x="84" y="22"/>
                  <a:pt x="84" y="22"/>
                </a:cubicBezTo>
                <a:cubicBezTo>
                  <a:pt x="82" y="21"/>
                  <a:pt x="82" y="21"/>
                  <a:pt x="82" y="21"/>
                </a:cubicBezTo>
                <a:cubicBezTo>
                  <a:pt x="79" y="20"/>
                  <a:pt x="79" y="20"/>
                  <a:pt x="79" y="20"/>
                </a:cubicBezTo>
                <a:cubicBezTo>
                  <a:pt x="78" y="19"/>
                  <a:pt x="78" y="19"/>
                  <a:pt x="78" y="18"/>
                </a:cubicBezTo>
                <a:cubicBezTo>
                  <a:pt x="78" y="17"/>
                  <a:pt x="79" y="16"/>
                  <a:pt x="80" y="16"/>
                </a:cubicBezTo>
                <a:cubicBezTo>
                  <a:pt x="80" y="14"/>
                  <a:pt x="80" y="14"/>
                  <a:pt x="80" y="14"/>
                </a:cubicBezTo>
                <a:cubicBezTo>
                  <a:pt x="78" y="12"/>
                  <a:pt x="78" y="12"/>
                  <a:pt x="78" y="12"/>
                </a:cubicBezTo>
                <a:cubicBezTo>
                  <a:pt x="78" y="12"/>
                  <a:pt x="78" y="12"/>
                  <a:pt x="77" y="12"/>
                </a:cubicBezTo>
                <a:cubicBezTo>
                  <a:pt x="76" y="10"/>
                  <a:pt x="76" y="10"/>
                  <a:pt x="76" y="10"/>
                </a:cubicBezTo>
                <a:cubicBezTo>
                  <a:pt x="73" y="10"/>
                  <a:pt x="73" y="10"/>
                  <a:pt x="73" y="10"/>
                </a:cubicBezTo>
                <a:cubicBezTo>
                  <a:pt x="72" y="10"/>
                  <a:pt x="72" y="9"/>
                  <a:pt x="71" y="9"/>
                </a:cubicBezTo>
                <a:cubicBezTo>
                  <a:pt x="70" y="7"/>
                  <a:pt x="70" y="7"/>
                  <a:pt x="70" y="7"/>
                </a:cubicBezTo>
                <a:cubicBezTo>
                  <a:pt x="66" y="7"/>
                  <a:pt x="66" y="7"/>
                  <a:pt x="66" y="7"/>
                </a:cubicBezTo>
                <a:cubicBezTo>
                  <a:pt x="66" y="8"/>
                  <a:pt x="66" y="8"/>
                  <a:pt x="66" y="8"/>
                </a:cubicBezTo>
                <a:cubicBezTo>
                  <a:pt x="66" y="8"/>
                  <a:pt x="66" y="8"/>
                  <a:pt x="66" y="8"/>
                </a:cubicBezTo>
                <a:cubicBezTo>
                  <a:pt x="66" y="8"/>
                  <a:pt x="66" y="8"/>
                  <a:pt x="65" y="9"/>
                </a:cubicBezTo>
                <a:cubicBezTo>
                  <a:pt x="64" y="10"/>
                  <a:pt x="64" y="10"/>
                  <a:pt x="64" y="10"/>
                </a:cubicBezTo>
                <a:cubicBezTo>
                  <a:pt x="61" y="10"/>
                  <a:pt x="61" y="10"/>
                  <a:pt x="61" y="10"/>
                </a:cubicBezTo>
                <a:cubicBezTo>
                  <a:pt x="60" y="10"/>
                  <a:pt x="60" y="10"/>
                  <a:pt x="60" y="10"/>
                </a:cubicBezTo>
                <a:cubicBezTo>
                  <a:pt x="57" y="8"/>
                  <a:pt x="57" y="8"/>
                  <a:pt x="57" y="8"/>
                </a:cubicBezTo>
                <a:cubicBezTo>
                  <a:pt x="56" y="8"/>
                  <a:pt x="56" y="8"/>
                  <a:pt x="56" y="8"/>
                </a:cubicBezTo>
                <a:cubicBezTo>
                  <a:pt x="54" y="6"/>
                  <a:pt x="54" y="6"/>
                  <a:pt x="54" y="6"/>
                </a:cubicBezTo>
                <a:cubicBezTo>
                  <a:pt x="52" y="5"/>
                  <a:pt x="52" y="5"/>
                  <a:pt x="52" y="5"/>
                </a:cubicBezTo>
                <a:cubicBezTo>
                  <a:pt x="52" y="5"/>
                  <a:pt x="51" y="5"/>
                  <a:pt x="51" y="4"/>
                </a:cubicBezTo>
                <a:cubicBezTo>
                  <a:pt x="51" y="4"/>
                  <a:pt x="51" y="2"/>
                  <a:pt x="50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44" y="1"/>
                  <a:pt x="44" y="1"/>
                  <a:pt x="44" y="1"/>
                </a:cubicBezTo>
                <a:cubicBezTo>
                  <a:pt x="43" y="2"/>
                  <a:pt x="43" y="2"/>
                  <a:pt x="43" y="2"/>
                </a:cubicBezTo>
                <a:cubicBezTo>
                  <a:pt x="42" y="4"/>
                  <a:pt x="41" y="4"/>
                  <a:pt x="41" y="4"/>
                </a:cubicBezTo>
                <a:cubicBezTo>
                  <a:pt x="39" y="4"/>
                  <a:pt x="37" y="5"/>
                  <a:pt x="36" y="6"/>
                </a:cubicBezTo>
                <a:cubicBezTo>
                  <a:pt x="36" y="6"/>
                  <a:pt x="36" y="6"/>
                  <a:pt x="36" y="6"/>
                </a:cubicBezTo>
                <a:cubicBezTo>
                  <a:pt x="36" y="6"/>
                  <a:pt x="36" y="6"/>
                  <a:pt x="36" y="6"/>
                </a:cubicBezTo>
                <a:cubicBezTo>
                  <a:pt x="36" y="6"/>
                  <a:pt x="36" y="6"/>
                  <a:pt x="35" y="7"/>
                </a:cubicBezTo>
                <a:cubicBezTo>
                  <a:pt x="35" y="7"/>
                  <a:pt x="35" y="7"/>
                  <a:pt x="35" y="7"/>
                </a:cubicBezTo>
                <a:cubicBezTo>
                  <a:pt x="34" y="9"/>
                  <a:pt x="33" y="10"/>
                  <a:pt x="32" y="10"/>
                </a:cubicBezTo>
                <a:cubicBezTo>
                  <a:pt x="31" y="10"/>
                  <a:pt x="30" y="11"/>
                  <a:pt x="30" y="11"/>
                </a:cubicBezTo>
                <a:cubicBezTo>
                  <a:pt x="29" y="13"/>
                  <a:pt x="28" y="13"/>
                  <a:pt x="27" y="13"/>
                </a:cubicBezTo>
                <a:cubicBezTo>
                  <a:pt x="27" y="14"/>
                  <a:pt x="27" y="14"/>
                  <a:pt x="27" y="14"/>
                </a:cubicBezTo>
                <a:cubicBezTo>
                  <a:pt x="27" y="14"/>
                  <a:pt x="27" y="15"/>
                  <a:pt x="26" y="16"/>
                </a:cubicBezTo>
                <a:cubicBezTo>
                  <a:pt x="25" y="17"/>
                  <a:pt x="24" y="17"/>
                  <a:pt x="24" y="17"/>
                </a:cubicBezTo>
                <a:cubicBezTo>
                  <a:pt x="23" y="17"/>
                  <a:pt x="23" y="17"/>
                  <a:pt x="23" y="17"/>
                </a:cubicBezTo>
                <a:cubicBezTo>
                  <a:pt x="23" y="17"/>
                  <a:pt x="22" y="17"/>
                  <a:pt x="22" y="18"/>
                </a:cubicBezTo>
                <a:cubicBezTo>
                  <a:pt x="21" y="19"/>
                  <a:pt x="21" y="19"/>
                  <a:pt x="21" y="19"/>
                </a:cubicBezTo>
                <a:cubicBezTo>
                  <a:pt x="21" y="20"/>
                  <a:pt x="21" y="20"/>
                  <a:pt x="21" y="20"/>
                </a:cubicBezTo>
                <a:cubicBezTo>
                  <a:pt x="21" y="20"/>
                  <a:pt x="21" y="21"/>
                  <a:pt x="20" y="21"/>
                </a:cubicBezTo>
                <a:cubicBezTo>
                  <a:pt x="21" y="22"/>
                  <a:pt x="22" y="23"/>
                  <a:pt x="23" y="24"/>
                </a:cubicBezTo>
                <a:cubicBezTo>
                  <a:pt x="24" y="24"/>
                  <a:pt x="24" y="24"/>
                  <a:pt x="25" y="24"/>
                </a:cubicBezTo>
                <a:cubicBezTo>
                  <a:pt x="26" y="24"/>
                  <a:pt x="27" y="24"/>
                  <a:pt x="27" y="25"/>
                </a:cubicBezTo>
                <a:cubicBezTo>
                  <a:pt x="28" y="25"/>
                  <a:pt x="29" y="25"/>
                  <a:pt x="29" y="25"/>
                </a:cubicBezTo>
                <a:cubicBezTo>
                  <a:pt x="30" y="26"/>
                  <a:pt x="30" y="26"/>
                  <a:pt x="30" y="27"/>
                </a:cubicBezTo>
                <a:cubicBezTo>
                  <a:pt x="30" y="28"/>
                  <a:pt x="29" y="28"/>
                  <a:pt x="29" y="29"/>
                </a:cubicBezTo>
                <a:cubicBezTo>
                  <a:pt x="27" y="30"/>
                  <a:pt x="27" y="30"/>
                  <a:pt x="27" y="30"/>
                </a:cubicBezTo>
                <a:cubicBezTo>
                  <a:pt x="25" y="32"/>
                  <a:pt x="24" y="32"/>
                  <a:pt x="23" y="32"/>
                </a:cubicBezTo>
                <a:cubicBezTo>
                  <a:pt x="21" y="32"/>
                  <a:pt x="21" y="32"/>
                  <a:pt x="21" y="32"/>
                </a:cubicBezTo>
                <a:cubicBezTo>
                  <a:pt x="21" y="32"/>
                  <a:pt x="18" y="33"/>
                  <a:pt x="14" y="34"/>
                </a:cubicBezTo>
                <a:cubicBezTo>
                  <a:pt x="10" y="36"/>
                  <a:pt x="10" y="36"/>
                  <a:pt x="10" y="36"/>
                </a:cubicBezTo>
                <a:cubicBezTo>
                  <a:pt x="10" y="37"/>
                  <a:pt x="10" y="37"/>
                  <a:pt x="10" y="37"/>
                </a:cubicBezTo>
                <a:cubicBezTo>
                  <a:pt x="9" y="39"/>
                  <a:pt x="9" y="39"/>
                  <a:pt x="8" y="40"/>
                </a:cubicBezTo>
                <a:cubicBezTo>
                  <a:pt x="8" y="40"/>
                  <a:pt x="8" y="40"/>
                  <a:pt x="8" y="41"/>
                </a:cubicBezTo>
                <a:cubicBezTo>
                  <a:pt x="7" y="42"/>
                  <a:pt x="7" y="43"/>
                  <a:pt x="7" y="43"/>
                </a:cubicBezTo>
                <a:cubicBezTo>
                  <a:pt x="6" y="43"/>
                  <a:pt x="6" y="43"/>
                  <a:pt x="6" y="44"/>
                </a:cubicBezTo>
                <a:cubicBezTo>
                  <a:pt x="4" y="51"/>
                  <a:pt x="4" y="51"/>
                  <a:pt x="4" y="51"/>
                </a:cubicBezTo>
                <a:cubicBezTo>
                  <a:pt x="4" y="51"/>
                  <a:pt x="6" y="52"/>
                  <a:pt x="8" y="53"/>
                </a:cubicBezTo>
                <a:cubicBezTo>
                  <a:pt x="9" y="53"/>
                  <a:pt x="9" y="54"/>
                  <a:pt x="9" y="55"/>
                </a:cubicBezTo>
                <a:cubicBezTo>
                  <a:pt x="9" y="56"/>
                  <a:pt x="9" y="56"/>
                  <a:pt x="9" y="56"/>
                </a:cubicBezTo>
                <a:cubicBezTo>
                  <a:pt x="9" y="58"/>
                  <a:pt x="8" y="58"/>
                  <a:pt x="8" y="59"/>
                </a:cubicBezTo>
                <a:cubicBezTo>
                  <a:pt x="7" y="59"/>
                  <a:pt x="6" y="60"/>
                  <a:pt x="6" y="60"/>
                </a:cubicBezTo>
                <a:cubicBezTo>
                  <a:pt x="5" y="61"/>
                  <a:pt x="5" y="61"/>
                  <a:pt x="5" y="61"/>
                </a:cubicBezTo>
                <a:cubicBezTo>
                  <a:pt x="4" y="61"/>
                  <a:pt x="4" y="62"/>
                  <a:pt x="3" y="62"/>
                </a:cubicBezTo>
                <a:cubicBezTo>
                  <a:pt x="1" y="62"/>
                  <a:pt x="1" y="62"/>
                  <a:pt x="1" y="62"/>
                </a:cubicBezTo>
                <a:cubicBezTo>
                  <a:pt x="1" y="62"/>
                  <a:pt x="1" y="62"/>
                  <a:pt x="1" y="62"/>
                </a:cubicBezTo>
                <a:cubicBezTo>
                  <a:pt x="2" y="64"/>
                  <a:pt x="3" y="64"/>
                  <a:pt x="2" y="65"/>
                </a:cubicBezTo>
                <a:cubicBezTo>
                  <a:pt x="2" y="66"/>
                  <a:pt x="2" y="66"/>
                  <a:pt x="2" y="66"/>
                </a:cubicBezTo>
                <a:cubicBezTo>
                  <a:pt x="2" y="67"/>
                  <a:pt x="2" y="68"/>
                  <a:pt x="1" y="68"/>
                </a:cubicBezTo>
                <a:cubicBezTo>
                  <a:pt x="1" y="69"/>
                  <a:pt x="1" y="69"/>
                  <a:pt x="1" y="69"/>
                </a:cubicBezTo>
                <a:cubicBezTo>
                  <a:pt x="1" y="69"/>
                  <a:pt x="0" y="71"/>
                  <a:pt x="0" y="73"/>
                </a:cubicBezTo>
                <a:cubicBezTo>
                  <a:pt x="0" y="73"/>
                  <a:pt x="1" y="73"/>
                  <a:pt x="1" y="74"/>
                </a:cubicBezTo>
                <a:cubicBezTo>
                  <a:pt x="1" y="75"/>
                  <a:pt x="2" y="76"/>
                  <a:pt x="3" y="78"/>
                </a:cubicBezTo>
                <a:cubicBezTo>
                  <a:pt x="3" y="78"/>
                  <a:pt x="3" y="78"/>
                  <a:pt x="3" y="78"/>
                </a:cubicBezTo>
                <a:cubicBezTo>
                  <a:pt x="3" y="79"/>
                  <a:pt x="3" y="79"/>
                  <a:pt x="3" y="79"/>
                </a:cubicBezTo>
                <a:cubicBezTo>
                  <a:pt x="4" y="80"/>
                  <a:pt x="4" y="80"/>
                  <a:pt x="4" y="80"/>
                </a:cubicBezTo>
                <a:cubicBezTo>
                  <a:pt x="5" y="81"/>
                  <a:pt x="5" y="81"/>
                  <a:pt x="5" y="82"/>
                </a:cubicBezTo>
                <a:cubicBezTo>
                  <a:pt x="6" y="83"/>
                  <a:pt x="6" y="84"/>
                  <a:pt x="6" y="85"/>
                </a:cubicBezTo>
                <a:cubicBezTo>
                  <a:pt x="6" y="90"/>
                  <a:pt x="6" y="90"/>
                  <a:pt x="6" y="90"/>
                </a:cubicBezTo>
                <a:cubicBezTo>
                  <a:pt x="6" y="91"/>
                  <a:pt x="7" y="92"/>
                  <a:pt x="7" y="94"/>
                </a:cubicBezTo>
                <a:cubicBezTo>
                  <a:pt x="8" y="94"/>
                  <a:pt x="9" y="96"/>
                  <a:pt x="10" y="98"/>
                </a:cubicBezTo>
                <a:cubicBezTo>
                  <a:pt x="11" y="100"/>
                  <a:pt x="13" y="101"/>
                  <a:pt x="13" y="101"/>
                </a:cubicBezTo>
                <a:cubicBezTo>
                  <a:pt x="14" y="101"/>
                  <a:pt x="14" y="101"/>
                  <a:pt x="14" y="102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6" y="105"/>
                  <a:pt x="17" y="105"/>
                  <a:pt x="17" y="105"/>
                </a:cubicBezTo>
                <a:cubicBezTo>
                  <a:pt x="18" y="105"/>
                  <a:pt x="19" y="106"/>
                  <a:pt x="19" y="107"/>
                </a:cubicBezTo>
                <a:cubicBezTo>
                  <a:pt x="19" y="108"/>
                  <a:pt x="19" y="108"/>
                  <a:pt x="19" y="108"/>
                </a:cubicBezTo>
                <a:cubicBezTo>
                  <a:pt x="20" y="109"/>
                  <a:pt x="20" y="109"/>
                  <a:pt x="20" y="109"/>
                </a:cubicBezTo>
                <a:cubicBezTo>
                  <a:pt x="20" y="109"/>
                  <a:pt x="20" y="109"/>
                  <a:pt x="20" y="110"/>
                </a:cubicBezTo>
                <a:cubicBezTo>
                  <a:pt x="20" y="110"/>
                  <a:pt x="20" y="110"/>
                  <a:pt x="20" y="111"/>
                </a:cubicBezTo>
                <a:cubicBezTo>
                  <a:pt x="21" y="111"/>
                  <a:pt x="21" y="111"/>
                  <a:pt x="21" y="111"/>
                </a:cubicBezTo>
                <a:cubicBezTo>
                  <a:pt x="23" y="111"/>
                  <a:pt x="23" y="111"/>
                  <a:pt x="23" y="111"/>
                </a:cubicBezTo>
                <a:cubicBezTo>
                  <a:pt x="24" y="111"/>
                  <a:pt x="25" y="112"/>
                  <a:pt x="25" y="112"/>
                </a:cubicBezTo>
                <a:cubicBezTo>
                  <a:pt x="25" y="113"/>
                  <a:pt x="25" y="114"/>
                  <a:pt x="26" y="114"/>
                </a:cubicBezTo>
                <a:cubicBezTo>
                  <a:pt x="26" y="114"/>
                  <a:pt x="27" y="114"/>
                  <a:pt x="27" y="115"/>
                </a:cubicBezTo>
                <a:cubicBezTo>
                  <a:pt x="29" y="114"/>
                  <a:pt x="29" y="114"/>
                  <a:pt x="29" y="114"/>
                </a:cubicBezTo>
                <a:cubicBezTo>
                  <a:pt x="30" y="114"/>
                  <a:pt x="32" y="113"/>
                  <a:pt x="34" y="112"/>
                </a:cubicBezTo>
                <a:cubicBezTo>
                  <a:pt x="35" y="112"/>
                  <a:pt x="35" y="112"/>
                  <a:pt x="35" y="112"/>
                </a:cubicBezTo>
                <a:cubicBezTo>
                  <a:pt x="35" y="112"/>
                  <a:pt x="35" y="112"/>
                  <a:pt x="35" y="112"/>
                </a:cubicBezTo>
                <a:cubicBezTo>
                  <a:pt x="36" y="111"/>
                  <a:pt x="36" y="111"/>
                  <a:pt x="37" y="111"/>
                </a:cubicBezTo>
                <a:cubicBezTo>
                  <a:pt x="41" y="111"/>
                  <a:pt x="41" y="111"/>
                  <a:pt x="41" y="111"/>
                </a:cubicBezTo>
                <a:cubicBezTo>
                  <a:pt x="42" y="111"/>
                  <a:pt x="42" y="111"/>
                  <a:pt x="43" y="111"/>
                </a:cubicBezTo>
                <a:cubicBezTo>
                  <a:pt x="43" y="112"/>
                  <a:pt x="44" y="112"/>
                  <a:pt x="46" y="113"/>
                </a:cubicBezTo>
                <a:cubicBezTo>
                  <a:pt x="47" y="114"/>
                  <a:pt x="47" y="114"/>
                  <a:pt x="47" y="114"/>
                </a:cubicBezTo>
                <a:cubicBezTo>
                  <a:pt x="47" y="114"/>
                  <a:pt x="47" y="114"/>
                  <a:pt x="47" y="114"/>
                </a:cubicBezTo>
                <a:cubicBezTo>
                  <a:pt x="48" y="115"/>
                  <a:pt x="48" y="115"/>
                  <a:pt x="49" y="115"/>
                </a:cubicBezTo>
                <a:cubicBezTo>
                  <a:pt x="49" y="115"/>
                  <a:pt x="49" y="115"/>
                  <a:pt x="50" y="116"/>
                </a:cubicBezTo>
                <a:cubicBezTo>
                  <a:pt x="51" y="116"/>
                  <a:pt x="52" y="117"/>
                  <a:pt x="52" y="117"/>
                </a:cubicBezTo>
                <a:cubicBezTo>
                  <a:pt x="52" y="117"/>
                  <a:pt x="54" y="119"/>
                  <a:pt x="56" y="122"/>
                </a:cubicBezTo>
                <a:cubicBezTo>
                  <a:pt x="56" y="121"/>
                  <a:pt x="57" y="122"/>
                  <a:pt x="57" y="122"/>
                </a:cubicBezTo>
                <a:cubicBezTo>
                  <a:pt x="59" y="122"/>
                  <a:pt x="59" y="124"/>
                  <a:pt x="59" y="125"/>
                </a:cubicBezTo>
                <a:cubicBezTo>
                  <a:pt x="59" y="125"/>
                  <a:pt x="59" y="126"/>
                  <a:pt x="60" y="127"/>
                </a:cubicBezTo>
                <a:cubicBezTo>
                  <a:pt x="61" y="128"/>
                  <a:pt x="60" y="129"/>
                  <a:pt x="60" y="130"/>
                </a:cubicBezTo>
                <a:cubicBezTo>
                  <a:pt x="60" y="131"/>
                  <a:pt x="61" y="131"/>
                  <a:pt x="61" y="132"/>
                </a:cubicBezTo>
                <a:cubicBezTo>
                  <a:pt x="61" y="132"/>
                  <a:pt x="62" y="132"/>
                  <a:pt x="62" y="133"/>
                </a:cubicBezTo>
                <a:cubicBezTo>
                  <a:pt x="63" y="133"/>
                  <a:pt x="63" y="133"/>
                  <a:pt x="63" y="133"/>
                </a:cubicBezTo>
                <a:cubicBezTo>
                  <a:pt x="63" y="132"/>
                  <a:pt x="64" y="132"/>
                  <a:pt x="65" y="132"/>
                </a:cubicBezTo>
                <a:cubicBezTo>
                  <a:pt x="66" y="132"/>
                  <a:pt x="66" y="132"/>
                  <a:pt x="66" y="132"/>
                </a:cubicBezTo>
                <a:cubicBezTo>
                  <a:pt x="67" y="132"/>
                  <a:pt x="67" y="132"/>
                  <a:pt x="70" y="133"/>
                </a:cubicBezTo>
                <a:cubicBezTo>
                  <a:pt x="72" y="133"/>
                  <a:pt x="73" y="133"/>
                  <a:pt x="73" y="134"/>
                </a:cubicBezTo>
                <a:cubicBezTo>
                  <a:pt x="73" y="135"/>
                  <a:pt x="73" y="135"/>
                  <a:pt x="73" y="136"/>
                </a:cubicBezTo>
                <a:cubicBezTo>
                  <a:pt x="73" y="136"/>
                  <a:pt x="73" y="136"/>
                  <a:pt x="73" y="136"/>
                </a:cubicBezTo>
                <a:cubicBezTo>
                  <a:pt x="74" y="136"/>
                  <a:pt x="74" y="136"/>
                  <a:pt x="74" y="136"/>
                </a:cubicBezTo>
                <a:cubicBezTo>
                  <a:pt x="75" y="135"/>
                  <a:pt x="76" y="135"/>
                  <a:pt x="77" y="135"/>
                </a:cubicBezTo>
                <a:cubicBezTo>
                  <a:pt x="77" y="136"/>
                  <a:pt x="78" y="136"/>
                  <a:pt x="78" y="137"/>
                </a:cubicBezTo>
                <a:cubicBezTo>
                  <a:pt x="78" y="137"/>
                  <a:pt x="78" y="137"/>
                  <a:pt x="78" y="137"/>
                </a:cubicBezTo>
                <a:cubicBezTo>
                  <a:pt x="79" y="136"/>
                  <a:pt x="79" y="136"/>
                  <a:pt x="79" y="136"/>
                </a:cubicBezTo>
                <a:cubicBezTo>
                  <a:pt x="82" y="135"/>
                  <a:pt x="82" y="135"/>
                  <a:pt x="82" y="135"/>
                </a:cubicBezTo>
                <a:cubicBezTo>
                  <a:pt x="82" y="135"/>
                  <a:pt x="82" y="135"/>
                  <a:pt x="82" y="135"/>
                </a:cubicBezTo>
                <a:cubicBezTo>
                  <a:pt x="84" y="135"/>
                  <a:pt x="84" y="135"/>
                  <a:pt x="84" y="135"/>
                </a:cubicBezTo>
                <a:cubicBezTo>
                  <a:pt x="85" y="134"/>
                  <a:pt x="86" y="134"/>
                  <a:pt x="87" y="133"/>
                </a:cubicBezTo>
                <a:cubicBezTo>
                  <a:pt x="89" y="132"/>
                  <a:pt x="89" y="132"/>
                  <a:pt x="89" y="132"/>
                </a:cubicBezTo>
                <a:cubicBezTo>
                  <a:pt x="89" y="132"/>
                  <a:pt x="89" y="132"/>
                  <a:pt x="90" y="132"/>
                </a:cubicBezTo>
                <a:cubicBezTo>
                  <a:pt x="93" y="132"/>
                  <a:pt x="93" y="132"/>
                  <a:pt x="93" y="132"/>
                </a:cubicBezTo>
                <a:cubicBezTo>
                  <a:pt x="93" y="132"/>
                  <a:pt x="93" y="132"/>
                  <a:pt x="93" y="132"/>
                </a:cubicBezTo>
                <a:cubicBezTo>
                  <a:pt x="93" y="131"/>
                  <a:pt x="94" y="130"/>
                  <a:pt x="96" y="130"/>
                </a:cubicBezTo>
                <a:cubicBezTo>
                  <a:pt x="96" y="129"/>
                  <a:pt x="97" y="128"/>
                  <a:pt x="99" y="128"/>
                </a:cubicBezTo>
                <a:cubicBezTo>
                  <a:pt x="100" y="127"/>
                  <a:pt x="104" y="126"/>
                  <a:pt x="104" y="126"/>
                </a:cubicBezTo>
                <a:cubicBezTo>
                  <a:pt x="104" y="126"/>
                  <a:pt x="104" y="126"/>
                  <a:pt x="105" y="126"/>
                </a:cubicBezTo>
                <a:cubicBezTo>
                  <a:pt x="105" y="126"/>
                  <a:pt x="106" y="126"/>
                  <a:pt x="107" y="125"/>
                </a:cubicBezTo>
                <a:cubicBezTo>
                  <a:pt x="107" y="125"/>
                  <a:pt x="107" y="125"/>
                  <a:pt x="107" y="125"/>
                </a:cubicBezTo>
                <a:cubicBezTo>
                  <a:pt x="107" y="125"/>
                  <a:pt x="107" y="125"/>
                  <a:pt x="107" y="124"/>
                </a:cubicBezTo>
                <a:cubicBezTo>
                  <a:pt x="107" y="124"/>
                  <a:pt x="107" y="124"/>
                  <a:pt x="107" y="124"/>
                </a:cubicBezTo>
                <a:cubicBezTo>
                  <a:pt x="107" y="121"/>
                  <a:pt x="107" y="121"/>
                  <a:pt x="107" y="121"/>
                </a:cubicBezTo>
                <a:cubicBezTo>
                  <a:pt x="107" y="120"/>
                  <a:pt x="107" y="120"/>
                  <a:pt x="107" y="120"/>
                </a:cubicBezTo>
                <a:cubicBezTo>
                  <a:pt x="106" y="118"/>
                  <a:pt x="106" y="118"/>
                  <a:pt x="105" y="117"/>
                </a:cubicBezTo>
                <a:cubicBezTo>
                  <a:pt x="105" y="117"/>
                  <a:pt x="105" y="117"/>
                  <a:pt x="105" y="116"/>
                </a:cubicBezTo>
                <a:cubicBezTo>
                  <a:pt x="103" y="114"/>
                  <a:pt x="103" y="114"/>
                  <a:pt x="103" y="113"/>
                </a:cubicBezTo>
                <a:cubicBezTo>
                  <a:pt x="103" y="112"/>
                  <a:pt x="103" y="112"/>
                  <a:pt x="103" y="112"/>
                </a:cubicBezTo>
                <a:cubicBezTo>
                  <a:pt x="102" y="112"/>
                  <a:pt x="102" y="112"/>
                  <a:pt x="102" y="112"/>
                </a:cubicBezTo>
                <a:cubicBezTo>
                  <a:pt x="100" y="110"/>
                  <a:pt x="99" y="109"/>
                  <a:pt x="98" y="109"/>
                </a:cubicBezTo>
                <a:cubicBezTo>
                  <a:pt x="98" y="109"/>
                  <a:pt x="97" y="108"/>
                  <a:pt x="97" y="107"/>
                </a:cubicBezTo>
                <a:cubicBezTo>
                  <a:pt x="96" y="107"/>
                  <a:pt x="96" y="105"/>
                  <a:pt x="98" y="104"/>
                </a:cubicBezTo>
                <a:cubicBezTo>
                  <a:pt x="99" y="103"/>
                  <a:pt x="99" y="103"/>
                  <a:pt x="99" y="103"/>
                </a:cubicBezTo>
                <a:cubicBezTo>
                  <a:pt x="99" y="103"/>
                  <a:pt x="99" y="102"/>
                  <a:pt x="100" y="102"/>
                </a:cubicBezTo>
                <a:cubicBezTo>
                  <a:pt x="100" y="100"/>
                  <a:pt x="100" y="100"/>
                  <a:pt x="100" y="100"/>
                </a:cubicBezTo>
                <a:cubicBezTo>
                  <a:pt x="100" y="99"/>
                  <a:pt x="100" y="99"/>
                  <a:pt x="100" y="99"/>
                </a:cubicBezTo>
                <a:cubicBezTo>
                  <a:pt x="100" y="98"/>
                  <a:pt x="99" y="97"/>
                  <a:pt x="100" y="96"/>
                </a:cubicBezTo>
                <a:cubicBezTo>
                  <a:pt x="100" y="94"/>
                  <a:pt x="100" y="94"/>
                  <a:pt x="100" y="94"/>
                </a:cubicBezTo>
                <a:cubicBezTo>
                  <a:pt x="100" y="93"/>
                  <a:pt x="101" y="93"/>
                  <a:pt x="102" y="93"/>
                </a:cubicBezTo>
                <a:cubicBezTo>
                  <a:pt x="107" y="93"/>
                  <a:pt x="107" y="93"/>
                  <a:pt x="107" y="93"/>
                </a:cubicBezTo>
                <a:cubicBezTo>
                  <a:pt x="107" y="93"/>
                  <a:pt x="107" y="93"/>
                  <a:pt x="108" y="93"/>
                </a:cubicBezTo>
                <a:cubicBezTo>
                  <a:pt x="111" y="95"/>
                  <a:pt x="111" y="95"/>
                  <a:pt x="111" y="95"/>
                </a:cubicBezTo>
                <a:cubicBezTo>
                  <a:pt x="112" y="95"/>
                  <a:pt x="112" y="95"/>
                  <a:pt x="112" y="96"/>
                </a:cubicBezTo>
                <a:cubicBezTo>
                  <a:pt x="113" y="98"/>
                  <a:pt x="113" y="98"/>
                  <a:pt x="113" y="98"/>
                </a:cubicBezTo>
                <a:cubicBezTo>
                  <a:pt x="113" y="99"/>
                  <a:pt x="113" y="99"/>
                  <a:pt x="114" y="99"/>
                </a:cubicBezTo>
                <a:cubicBezTo>
                  <a:pt x="114" y="97"/>
                  <a:pt x="114" y="97"/>
                  <a:pt x="114" y="97"/>
                </a:cubicBezTo>
                <a:cubicBezTo>
                  <a:pt x="114" y="96"/>
                  <a:pt x="114" y="96"/>
                  <a:pt x="114" y="96"/>
                </a:cubicBezTo>
                <a:cubicBezTo>
                  <a:pt x="116" y="94"/>
                  <a:pt x="117" y="92"/>
                  <a:pt x="119" y="92"/>
                </a:cubicBezTo>
                <a:cubicBezTo>
                  <a:pt x="120" y="93"/>
                  <a:pt x="120" y="93"/>
                  <a:pt x="120" y="93"/>
                </a:cubicBezTo>
                <a:cubicBezTo>
                  <a:pt x="121" y="93"/>
                  <a:pt x="121" y="92"/>
                  <a:pt x="121" y="92"/>
                </a:cubicBezTo>
                <a:cubicBezTo>
                  <a:pt x="124" y="92"/>
                  <a:pt x="124" y="92"/>
                  <a:pt x="124" y="92"/>
                </a:cubicBezTo>
                <a:cubicBezTo>
                  <a:pt x="125" y="91"/>
                  <a:pt x="127" y="89"/>
                  <a:pt x="129" y="88"/>
                </a:cubicBezTo>
                <a:cubicBezTo>
                  <a:pt x="128" y="84"/>
                  <a:pt x="128" y="84"/>
                  <a:pt x="128" y="84"/>
                </a:cubicBezTo>
                <a:cubicBezTo>
                  <a:pt x="128" y="83"/>
                  <a:pt x="128" y="83"/>
                  <a:pt x="128" y="83"/>
                </a:cubicBezTo>
                <a:cubicBezTo>
                  <a:pt x="128" y="82"/>
                  <a:pt x="128" y="82"/>
                  <a:pt x="128" y="82"/>
                </a:cubicBezTo>
                <a:cubicBezTo>
                  <a:pt x="128" y="79"/>
                  <a:pt x="128" y="79"/>
                  <a:pt x="128" y="79"/>
                </a:cubicBezTo>
                <a:cubicBezTo>
                  <a:pt x="128" y="78"/>
                  <a:pt x="128" y="78"/>
                  <a:pt x="128" y="78"/>
                </a:cubicBezTo>
                <a:cubicBezTo>
                  <a:pt x="127" y="77"/>
                  <a:pt x="127" y="74"/>
                  <a:pt x="127" y="74"/>
                </a:cubicBezTo>
                <a:cubicBezTo>
                  <a:pt x="127" y="73"/>
                  <a:pt x="127" y="73"/>
                  <a:pt x="127" y="7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Freeform 74">
            <a:extLst>
              <a:ext uri="{FF2B5EF4-FFF2-40B4-BE49-F238E27FC236}">
                <a16:creationId xmlns:a16="http://schemas.microsoft.com/office/drawing/2014/main" id="{BA6DEBC9-A62D-4057-866E-82AD15415309}"/>
              </a:ext>
            </a:extLst>
          </p:cNvPr>
          <p:cNvSpPr>
            <a:spLocks/>
          </p:cNvSpPr>
          <p:nvPr/>
        </p:nvSpPr>
        <p:spPr bwMode="auto">
          <a:xfrm>
            <a:off x="5246568" y="5487516"/>
            <a:ext cx="417910" cy="241300"/>
          </a:xfrm>
          <a:custGeom>
            <a:avLst/>
            <a:gdLst>
              <a:gd name="T0" fmla="*/ 163 w 173"/>
              <a:gd name="T1" fmla="*/ 59 h 108"/>
              <a:gd name="T2" fmla="*/ 165 w 173"/>
              <a:gd name="T3" fmla="*/ 51 h 108"/>
              <a:gd name="T4" fmla="*/ 166 w 173"/>
              <a:gd name="T5" fmla="*/ 38 h 108"/>
              <a:gd name="T6" fmla="*/ 171 w 173"/>
              <a:gd name="T7" fmla="*/ 31 h 108"/>
              <a:gd name="T8" fmla="*/ 172 w 173"/>
              <a:gd name="T9" fmla="*/ 25 h 108"/>
              <a:gd name="T10" fmla="*/ 168 w 173"/>
              <a:gd name="T11" fmla="*/ 26 h 108"/>
              <a:gd name="T12" fmla="*/ 165 w 173"/>
              <a:gd name="T13" fmla="*/ 27 h 108"/>
              <a:gd name="T14" fmla="*/ 160 w 173"/>
              <a:gd name="T15" fmla="*/ 24 h 108"/>
              <a:gd name="T16" fmla="*/ 158 w 173"/>
              <a:gd name="T17" fmla="*/ 22 h 108"/>
              <a:gd name="T18" fmla="*/ 154 w 173"/>
              <a:gd name="T19" fmla="*/ 16 h 108"/>
              <a:gd name="T20" fmla="*/ 147 w 173"/>
              <a:gd name="T21" fmla="*/ 10 h 108"/>
              <a:gd name="T22" fmla="*/ 144 w 173"/>
              <a:gd name="T23" fmla="*/ 12 h 108"/>
              <a:gd name="T24" fmla="*/ 137 w 173"/>
              <a:gd name="T25" fmla="*/ 15 h 108"/>
              <a:gd name="T26" fmla="*/ 132 w 173"/>
              <a:gd name="T27" fmla="*/ 16 h 108"/>
              <a:gd name="T28" fmla="*/ 128 w 173"/>
              <a:gd name="T29" fmla="*/ 5 h 108"/>
              <a:gd name="T30" fmla="*/ 126 w 173"/>
              <a:gd name="T31" fmla="*/ 0 h 108"/>
              <a:gd name="T32" fmla="*/ 118 w 173"/>
              <a:gd name="T33" fmla="*/ 0 h 108"/>
              <a:gd name="T34" fmla="*/ 113 w 173"/>
              <a:gd name="T35" fmla="*/ 3 h 108"/>
              <a:gd name="T36" fmla="*/ 113 w 173"/>
              <a:gd name="T37" fmla="*/ 8 h 108"/>
              <a:gd name="T38" fmla="*/ 107 w 173"/>
              <a:gd name="T39" fmla="*/ 15 h 108"/>
              <a:gd name="T40" fmla="*/ 108 w 173"/>
              <a:gd name="T41" fmla="*/ 20 h 108"/>
              <a:gd name="T42" fmla="*/ 105 w 173"/>
              <a:gd name="T43" fmla="*/ 24 h 108"/>
              <a:gd name="T44" fmla="*/ 102 w 173"/>
              <a:gd name="T45" fmla="*/ 24 h 108"/>
              <a:gd name="T46" fmla="*/ 94 w 173"/>
              <a:gd name="T47" fmla="*/ 26 h 108"/>
              <a:gd name="T48" fmla="*/ 87 w 173"/>
              <a:gd name="T49" fmla="*/ 24 h 108"/>
              <a:gd name="T50" fmla="*/ 73 w 173"/>
              <a:gd name="T51" fmla="*/ 18 h 108"/>
              <a:gd name="T52" fmla="*/ 70 w 173"/>
              <a:gd name="T53" fmla="*/ 20 h 108"/>
              <a:gd name="T54" fmla="*/ 67 w 173"/>
              <a:gd name="T55" fmla="*/ 26 h 108"/>
              <a:gd name="T56" fmla="*/ 67 w 173"/>
              <a:gd name="T57" fmla="*/ 31 h 108"/>
              <a:gd name="T58" fmla="*/ 66 w 173"/>
              <a:gd name="T59" fmla="*/ 33 h 108"/>
              <a:gd name="T60" fmla="*/ 66 w 173"/>
              <a:gd name="T61" fmla="*/ 39 h 108"/>
              <a:gd name="T62" fmla="*/ 64 w 173"/>
              <a:gd name="T63" fmla="*/ 43 h 108"/>
              <a:gd name="T64" fmla="*/ 59 w 173"/>
              <a:gd name="T65" fmla="*/ 47 h 108"/>
              <a:gd name="T66" fmla="*/ 50 w 173"/>
              <a:gd name="T67" fmla="*/ 48 h 108"/>
              <a:gd name="T68" fmla="*/ 36 w 173"/>
              <a:gd name="T69" fmla="*/ 49 h 108"/>
              <a:gd name="T70" fmla="*/ 31 w 173"/>
              <a:gd name="T71" fmla="*/ 53 h 108"/>
              <a:gd name="T72" fmla="*/ 28 w 173"/>
              <a:gd name="T73" fmla="*/ 53 h 108"/>
              <a:gd name="T74" fmla="*/ 22 w 173"/>
              <a:gd name="T75" fmla="*/ 53 h 108"/>
              <a:gd name="T76" fmla="*/ 20 w 173"/>
              <a:gd name="T77" fmla="*/ 53 h 108"/>
              <a:gd name="T78" fmla="*/ 17 w 173"/>
              <a:gd name="T79" fmla="*/ 54 h 108"/>
              <a:gd name="T80" fmla="*/ 12 w 173"/>
              <a:gd name="T81" fmla="*/ 57 h 108"/>
              <a:gd name="T82" fmla="*/ 9 w 173"/>
              <a:gd name="T83" fmla="*/ 53 h 108"/>
              <a:gd name="T84" fmla="*/ 8 w 173"/>
              <a:gd name="T85" fmla="*/ 50 h 108"/>
              <a:gd name="T86" fmla="*/ 4 w 173"/>
              <a:gd name="T87" fmla="*/ 48 h 108"/>
              <a:gd name="T88" fmla="*/ 1 w 173"/>
              <a:gd name="T89" fmla="*/ 53 h 108"/>
              <a:gd name="T90" fmla="*/ 4 w 173"/>
              <a:gd name="T91" fmla="*/ 56 h 108"/>
              <a:gd name="T92" fmla="*/ 6 w 173"/>
              <a:gd name="T93" fmla="*/ 64 h 108"/>
              <a:gd name="T94" fmla="*/ 7 w 173"/>
              <a:gd name="T95" fmla="*/ 69 h 108"/>
              <a:gd name="T96" fmla="*/ 8 w 173"/>
              <a:gd name="T97" fmla="*/ 76 h 108"/>
              <a:gd name="T98" fmla="*/ 14 w 173"/>
              <a:gd name="T99" fmla="*/ 78 h 108"/>
              <a:gd name="T100" fmla="*/ 47 w 173"/>
              <a:gd name="T101" fmla="*/ 97 h 108"/>
              <a:gd name="T102" fmla="*/ 69 w 173"/>
              <a:gd name="T103" fmla="*/ 99 h 108"/>
              <a:gd name="T104" fmla="*/ 77 w 173"/>
              <a:gd name="T105" fmla="*/ 95 h 108"/>
              <a:gd name="T106" fmla="*/ 146 w 173"/>
              <a:gd name="T107" fmla="*/ 104 h 108"/>
              <a:gd name="T108" fmla="*/ 149 w 173"/>
              <a:gd name="T109" fmla="*/ 103 h 108"/>
              <a:gd name="T110" fmla="*/ 154 w 173"/>
              <a:gd name="T111" fmla="*/ 90 h 108"/>
              <a:gd name="T112" fmla="*/ 149 w 173"/>
              <a:gd name="T113" fmla="*/ 82 h 108"/>
              <a:gd name="T114" fmla="*/ 141 w 173"/>
              <a:gd name="T115" fmla="*/ 74 h 108"/>
              <a:gd name="T116" fmla="*/ 162 w 173"/>
              <a:gd name="T117" fmla="*/ 62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73" h="108">
                <a:moveTo>
                  <a:pt x="162" y="62"/>
                </a:moveTo>
                <a:cubicBezTo>
                  <a:pt x="162" y="62"/>
                  <a:pt x="162" y="62"/>
                  <a:pt x="162" y="62"/>
                </a:cubicBezTo>
                <a:cubicBezTo>
                  <a:pt x="163" y="59"/>
                  <a:pt x="163" y="59"/>
                  <a:pt x="163" y="59"/>
                </a:cubicBezTo>
                <a:cubicBezTo>
                  <a:pt x="163" y="58"/>
                  <a:pt x="163" y="57"/>
                  <a:pt x="164" y="55"/>
                </a:cubicBezTo>
                <a:cubicBezTo>
                  <a:pt x="165" y="54"/>
                  <a:pt x="165" y="54"/>
                  <a:pt x="165" y="52"/>
                </a:cubicBezTo>
                <a:cubicBezTo>
                  <a:pt x="165" y="51"/>
                  <a:pt x="165" y="51"/>
                  <a:pt x="165" y="51"/>
                </a:cubicBezTo>
                <a:cubicBezTo>
                  <a:pt x="164" y="50"/>
                  <a:pt x="164" y="49"/>
                  <a:pt x="165" y="46"/>
                </a:cubicBezTo>
                <a:cubicBezTo>
                  <a:pt x="165" y="43"/>
                  <a:pt x="165" y="43"/>
                  <a:pt x="165" y="43"/>
                </a:cubicBezTo>
                <a:cubicBezTo>
                  <a:pt x="165" y="42"/>
                  <a:pt x="165" y="40"/>
                  <a:pt x="166" y="38"/>
                </a:cubicBezTo>
                <a:cubicBezTo>
                  <a:pt x="166" y="37"/>
                  <a:pt x="166" y="37"/>
                  <a:pt x="167" y="36"/>
                </a:cubicBezTo>
                <a:cubicBezTo>
                  <a:pt x="167" y="36"/>
                  <a:pt x="167" y="36"/>
                  <a:pt x="167" y="36"/>
                </a:cubicBezTo>
                <a:cubicBezTo>
                  <a:pt x="168" y="34"/>
                  <a:pt x="170" y="32"/>
                  <a:pt x="171" y="31"/>
                </a:cubicBezTo>
                <a:cubicBezTo>
                  <a:pt x="171" y="30"/>
                  <a:pt x="172" y="29"/>
                  <a:pt x="172" y="29"/>
                </a:cubicBezTo>
                <a:cubicBezTo>
                  <a:pt x="172" y="28"/>
                  <a:pt x="172" y="27"/>
                  <a:pt x="173" y="26"/>
                </a:cubicBezTo>
                <a:cubicBezTo>
                  <a:pt x="173" y="26"/>
                  <a:pt x="172" y="26"/>
                  <a:pt x="172" y="25"/>
                </a:cubicBezTo>
                <a:cubicBezTo>
                  <a:pt x="172" y="25"/>
                  <a:pt x="172" y="25"/>
                  <a:pt x="172" y="25"/>
                </a:cubicBezTo>
                <a:cubicBezTo>
                  <a:pt x="172" y="25"/>
                  <a:pt x="171" y="25"/>
                  <a:pt x="171" y="24"/>
                </a:cubicBezTo>
                <a:cubicBezTo>
                  <a:pt x="170" y="25"/>
                  <a:pt x="168" y="26"/>
                  <a:pt x="168" y="26"/>
                </a:cubicBezTo>
                <a:cubicBezTo>
                  <a:pt x="167" y="27"/>
                  <a:pt x="167" y="27"/>
                  <a:pt x="166" y="27"/>
                </a:cubicBezTo>
                <a:cubicBezTo>
                  <a:pt x="166" y="27"/>
                  <a:pt x="166" y="27"/>
                  <a:pt x="166" y="27"/>
                </a:cubicBezTo>
                <a:cubicBezTo>
                  <a:pt x="166" y="27"/>
                  <a:pt x="166" y="27"/>
                  <a:pt x="165" y="27"/>
                </a:cubicBezTo>
                <a:cubicBezTo>
                  <a:pt x="164" y="27"/>
                  <a:pt x="163" y="27"/>
                  <a:pt x="162" y="26"/>
                </a:cubicBezTo>
                <a:cubicBezTo>
                  <a:pt x="162" y="25"/>
                  <a:pt x="161" y="25"/>
                  <a:pt x="161" y="24"/>
                </a:cubicBezTo>
                <a:cubicBezTo>
                  <a:pt x="161" y="24"/>
                  <a:pt x="161" y="24"/>
                  <a:pt x="160" y="24"/>
                </a:cubicBezTo>
                <a:cubicBezTo>
                  <a:pt x="159" y="23"/>
                  <a:pt x="159" y="23"/>
                  <a:pt x="159" y="23"/>
                </a:cubicBezTo>
                <a:cubicBezTo>
                  <a:pt x="159" y="23"/>
                  <a:pt x="159" y="23"/>
                  <a:pt x="159" y="23"/>
                </a:cubicBezTo>
                <a:cubicBezTo>
                  <a:pt x="159" y="22"/>
                  <a:pt x="158" y="22"/>
                  <a:pt x="158" y="22"/>
                </a:cubicBezTo>
                <a:cubicBezTo>
                  <a:pt x="157" y="21"/>
                  <a:pt x="157" y="21"/>
                  <a:pt x="157" y="21"/>
                </a:cubicBezTo>
                <a:cubicBezTo>
                  <a:pt x="156" y="21"/>
                  <a:pt x="155" y="20"/>
                  <a:pt x="155" y="19"/>
                </a:cubicBezTo>
                <a:cubicBezTo>
                  <a:pt x="155" y="18"/>
                  <a:pt x="154" y="17"/>
                  <a:pt x="154" y="16"/>
                </a:cubicBezTo>
                <a:cubicBezTo>
                  <a:pt x="153" y="16"/>
                  <a:pt x="152" y="16"/>
                  <a:pt x="151" y="14"/>
                </a:cubicBezTo>
                <a:cubicBezTo>
                  <a:pt x="149" y="12"/>
                  <a:pt x="149" y="12"/>
                  <a:pt x="149" y="12"/>
                </a:cubicBezTo>
                <a:cubicBezTo>
                  <a:pt x="147" y="10"/>
                  <a:pt x="147" y="10"/>
                  <a:pt x="147" y="10"/>
                </a:cubicBezTo>
                <a:cubicBezTo>
                  <a:pt x="146" y="10"/>
                  <a:pt x="146" y="10"/>
                  <a:pt x="146" y="10"/>
                </a:cubicBezTo>
                <a:cubicBezTo>
                  <a:pt x="144" y="12"/>
                  <a:pt x="144" y="12"/>
                  <a:pt x="144" y="12"/>
                </a:cubicBezTo>
                <a:cubicBezTo>
                  <a:pt x="144" y="12"/>
                  <a:pt x="144" y="12"/>
                  <a:pt x="144" y="12"/>
                </a:cubicBezTo>
                <a:cubicBezTo>
                  <a:pt x="139" y="15"/>
                  <a:pt x="139" y="15"/>
                  <a:pt x="139" y="15"/>
                </a:cubicBezTo>
                <a:cubicBezTo>
                  <a:pt x="139" y="15"/>
                  <a:pt x="139" y="15"/>
                  <a:pt x="139" y="15"/>
                </a:cubicBezTo>
                <a:cubicBezTo>
                  <a:pt x="137" y="15"/>
                  <a:pt x="137" y="15"/>
                  <a:pt x="137" y="15"/>
                </a:cubicBezTo>
                <a:cubicBezTo>
                  <a:pt x="135" y="17"/>
                  <a:pt x="135" y="17"/>
                  <a:pt x="135" y="17"/>
                </a:cubicBezTo>
                <a:cubicBezTo>
                  <a:pt x="134" y="18"/>
                  <a:pt x="134" y="18"/>
                  <a:pt x="133" y="17"/>
                </a:cubicBezTo>
                <a:cubicBezTo>
                  <a:pt x="132" y="17"/>
                  <a:pt x="132" y="16"/>
                  <a:pt x="132" y="16"/>
                </a:cubicBezTo>
                <a:cubicBezTo>
                  <a:pt x="132" y="9"/>
                  <a:pt x="132" y="9"/>
                  <a:pt x="132" y="9"/>
                </a:cubicBezTo>
                <a:cubicBezTo>
                  <a:pt x="130" y="6"/>
                  <a:pt x="130" y="6"/>
                  <a:pt x="130" y="6"/>
                </a:cubicBezTo>
                <a:cubicBezTo>
                  <a:pt x="128" y="5"/>
                  <a:pt x="128" y="5"/>
                  <a:pt x="128" y="5"/>
                </a:cubicBezTo>
                <a:cubicBezTo>
                  <a:pt x="128" y="5"/>
                  <a:pt x="128" y="4"/>
                  <a:pt x="128" y="3"/>
                </a:cubicBezTo>
                <a:cubicBezTo>
                  <a:pt x="128" y="2"/>
                  <a:pt x="128" y="2"/>
                  <a:pt x="128" y="2"/>
                </a:cubicBezTo>
                <a:cubicBezTo>
                  <a:pt x="126" y="0"/>
                  <a:pt x="126" y="0"/>
                  <a:pt x="126" y="0"/>
                </a:cubicBezTo>
                <a:cubicBezTo>
                  <a:pt x="124" y="0"/>
                  <a:pt x="124" y="0"/>
                  <a:pt x="124" y="0"/>
                </a:cubicBezTo>
                <a:cubicBezTo>
                  <a:pt x="123" y="0"/>
                  <a:pt x="121" y="0"/>
                  <a:pt x="121" y="0"/>
                </a:cubicBezTo>
                <a:cubicBezTo>
                  <a:pt x="119" y="0"/>
                  <a:pt x="118" y="0"/>
                  <a:pt x="118" y="0"/>
                </a:cubicBezTo>
                <a:cubicBezTo>
                  <a:pt x="111" y="0"/>
                  <a:pt x="111" y="0"/>
                  <a:pt x="111" y="0"/>
                </a:cubicBezTo>
                <a:cubicBezTo>
                  <a:pt x="111" y="1"/>
                  <a:pt x="111" y="1"/>
                  <a:pt x="111" y="1"/>
                </a:cubicBezTo>
                <a:cubicBezTo>
                  <a:pt x="113" y="3"/>
                  <a:pt x="113" y="3"/>
                  <a:pt x="113" y="3"/>
                </a:cubicBezTo>
                <a:cubicBezTo>
                  <a:pt x="113" y="3"/>
                  <a:pt x="114" y="3"/>
                  <a:pt x="114" y="4"/>
                </a:cubicBezTo>
                <a:cubicBezTo>
                  <a:pt x="114" y="7"/>
                  <a:pt x="114" y="7"/>
                  <a:pt x="114" y="7"/>
                </a:cubicBezTo>
                <a:cubicBezTo>
                  <a:pt x="114" y="8"/>
                  <a:pt x="113" y="8"/>
                  <a:pt x="113" y="8"/>
                </a:cubicBezTo>
                <a:cubicBezTo>
                  <a:pt x="110" y="12"/>
                  <a:pt x="110" y="12"/>
                  <a:pt x="110" y="12"/>
                </a:cubicBezTo>
                <a:cubicBezTo>
                  <a:pt x="110" y="12"/>
                  <a:pt x="109" y="13"/>
                  <a:pt x="108" y="13"/>
                </a:cubicBezTo>
                <a:cubicBezTo>
                  <a:pt x="108" y="14"/>
                  <a:pt x="108" y="14"/>
                  <a:pt x="107" y="15"/>
                </a:cubicBezTo>
                <a:cubicBezTo>
                  <a:pt x="107" y="16"/>
                  <a:pt x="107" y="16"/>
                  <a:pt x="107" y="16"/>
                </a:cubicBezTo>
                <a:cubicBezTo>
                  <a:pt x="108" y="17"/>
                  <a:pt x="108" y="17"/>
                  <a:pt x="108" y="17"/>
                </a:cubicBezTo>
                <a:cubicBezTo>
                  <a:pt x="108" y="18"/>
                  <a:pt x="109" y="19"/>
                  <a:pt x="108" y="20"/>
                </a:cubicBezTo>
                <a:cubicBezTo>
                  <a:pt x="107" y="21"/>
                  <a:pt x="107" y="21"/>
                  <a:pt x="107" y="21"/>
                </a:cubicBezTo>
                <a:cubicBezTo>
                  <a:pt x="107" y="21"/>
                  <a:pt x="107" y="21"/>
                  <a:pt x="107" y="22"/>
                </a:cubicBezTo>
                <a:cubicBezTo>
                  <a:pt x="107" y="23"/>
                  <a:pt x="106" y="24"/>
                  <a:pt x="105" y="24"/>
                </a:cubicBezTo>
                <a:cubicBezTo>
                  <a:pt x="105" y="24"/>
                  <a:pt x="105" y="24"/>
                  <a:pt x="105" y="24"/>
                </a:cubicBezTo>
                <a:cubicBezTo>
                  <a:pt x="103" y="24"/>
                  <a:pt x="103" y="24"/>
                  <a:pt x="103" y="24"/>
                </a:cubicBezTo>
                <a:cubicBezTo>
                  <a:pt x="102" y="24"/>
                  <a:pt x="102" y="24"/>
                  <a:pt x="102" y="24"/>
                </a:cubicBezTo>
                <a:cubicBezTo>
                  <a:pt x="101" y="24"/>
                  <a:pt x="101" y="24"/>
                  <a:pt x="101" y="24"/>
                </a:cubicBezTo>
                <a:cubicBezTo>
                  <a:pt x="98" y="25"/>
                  <a:pt x="98" y="25"/>
                  <a:pt x="98" y="25"/>
                </a:cubicBezTo>
                <a:cubicBezTo>
                  <a:pt x="98" y="25"/>
                  <a:pt x="96" y="25"/>
                  <a:pt x="94" y="26"/>
                </a:cubicBezTo>
                <a:cubicBezTo>
                  <a:pt x="93" y="26"/>
                  <a:pt x="93" y="26"/>
                  <a:pt x="93" y="26"/>
                </a:cubicBezTo>
                <a:cubicBezTo>
                  <a:pt x="88" y="26"/>
                  <a:pt x="88" y="26"/>
                  <a:pt x="88" y="26"/>
                </a:cubicBezTo>
                <a:cubicBezTo>
                  <a:pt x="87" y="26"/>
                  <a:pt x="87" y="25"/>
                  <a:pt x="87" y="24"/>
                </a:cubicBezTo>
                <a:cubicBezTo>
                  <a:pt x="87" y="19"/>
                  <a:pt x="87" y="19"/>
                  <a:pt x="87" y="19"/>
                </a:cubicBezTo>
                <a:cubicBezTo>
                  <a:pt x="84" y="18"/>
                  <a:pt x="84" y="18"/>
                  <a:pt x="84" y="18"/>
                </a:cubicBezTo>
                <a:cubicBezTo>
                  <a:pt x="73" y="18"/>
                  <a:pt x="73" y="18"/>
                  <a:pt x="73" y="18"/>
                </a:cubicBezTo>
                <a:cubicBezTo>
                  <a:pt x="72" y="19"/>
                  <a:pt x="72" y="19"/>
                  <a:pt x="72" y="19"/>
                </a:cubicBezTo>
                <a:cubicBezTo>
                  <a:pt x="71" y="19"/>
                  <a:pt x="71" y="19"/>
                  <a:pt x="71" y="19"/>
                </a:cubicBezTo>
                <a:cubicBezTo>
                  <a:pt x="71" y="20"/>
                  <a:pt x="70" y="20"/>
                  <a:pt x="70" y="20"/>
                </a:cubicBezTo>
                <a:cubicBezTo>
                  <a:pt x="69" y="21"/>
                  <a:pt x="69" y="21"/>
                  <a:pt x="69" y="21"/>
                </a:cubicBezTo>
                <a:cubicBezTo>
                  <a:pt x="69" y="21"/>
                  <a:pt x="69" y="21"/>
                  <a:pt x="69" y="22"/>
                </a:cubicBezTo>
                <a:cubicBezTo>
                  <a:pt x="68" y="23"/>
                  <a:pt x="68" y="24"/>
                  <a:pt x="67" y="26"/>
                </a:cubicBezTo>
                <a:cubicBezTo>
                  <a:pt x="66" y="27"/>
                  <a:pt x="66" y="27"/>
                  <a:pt x="66" y="27"/>
                </a:cubicBezTo>
                <a:cubicBezTo>
                  <a:pt x="66" y="27"/>
                  <a:pt x="66" y="27"/>
                  <a:pt x="67" y="28"/>
                </a:cubicBezTo>
                <a:cubicBezTo>
                  <a:pt x="67" y="29"/>
                  <a:pt x="68" y="30"/>
                  <a:pt x="67" y="31"/>
                </a:cubicBezTo>
                <a:cubicBezTo>
                  <a:pt x="66" y="31"/>
                  <a:pt x="66" y="31"/>
                  <a:pt x="66" y="31"/>
                </a:cubicBezTo>
                <a:cubicBezTo>
                  <a:pt x="66" y="32"/>
                  <a:pt x="66" y="32"/>
                  <a:pt x="66" y="32"/>
                </a:cubicBezTo>
                <a:cubicBezTo>
                  <a:pt x="66" y="33"/>
                  <a:pt x="66" y="33"/>
                  <a:pt x="66" y="33"/>
                </a:cubicBezTo>
                <a:cubicBezTo>
                  <a:pt x="66" y="36"/>
                  <a:pt x="66" y="36"/>
                  <a:pt x="66" y="36"/>
                </a:cubicBezTo>
                <a:cubicBezTo>
                  <a:pt x="66" y="37"/>
                  <a:pt x="66" y="38"/>
                  <a:pt x="66" y="38"/>
                </a:cubicBezTo>
                <a:cubicBezTo>
                  <a:pt x="66" y="39"/>
                  <a:pt x="66" y="39"/>
                  <a:pt x="66" y="39"/>
                </a:cubicBezTo>
                <a:cubicBezTo>
                  <a:pt x="65" y="41"/>
                  <a:pt x="65" y="42"/>
                  <a:pt x="65" y="42"/>
                </a:cubicBezTo>
                <a:cubicBezTo>
                  <a:pt x="64" y="42"/>
                  <a:pt x="64" y="42"/>
                  <a:pt x="64" y="43"/>
                </a:cubicBezTo>
                <a:cubicBezTo>
                  <a:pt x="64" y="43"/>
                  <a:pt x="64" y="43"/>
                  <a:pt x="64" y="43"/>
                </a:cubicBezTo>
                <a:cubicBezTo>
                  <a:pt x="64" y="43"/>
                  <a:pt x="64" y="43"/>
                  <a:pt x="64" y="44"/>
                </a:cubicBezTo>
                <a:cubicBezTo>
                  <a:pt x="63" y="46"/>
                  <a:pt x="61" y="46"/>
                  <a:pt x="60" y="46"/>
                </a:cubicBezTo>
                <a:cubicBezTo>
                  <a:pt x="60" y="46"/>
                  <a:pt x="59" y="46"/>
                  <a:pt x="59" y="47"/>
                </a:cubicBezTo>
                <a:cubicBezTo>
                  <a:pt x="57" y="49"/>
                  <a:pt x="55" y="48"/>
                  <a:pt x="54" y="47"/>
                </a:cubicBezTo>
                <a:cubicBezTo>
                  <a:pt x="53" y="47"/>
                  <a:pt x="53" y="47"/>
                  <a:pt x="53" y="47"/>
                </a:cubicBezTo>
                <a:cubicBezTo>
                  <a:pt x="52" y="48"/>
                  <a:pt x="51" y="48"/>
                  <a:pt x="50" y="48"/>
                </a:cubicBezTo>
                <a:cubicBezTo>
                  <a:pt x="50" y="48"/>
                  <a:pt x="49" y="48"/>
                  <a:pt x="49" y="47"/>
                </a:cubicBezTo>
                <a:cubicBezTo>
                  <a:pt x="39" y="47"/>
                  <a:pt x="39" y="47"/>
                  <a:pt x="39" y="47"/>
                </a:cubicBezTo>
                <a:cubicBezTo>
                  <a:pt x="38" y="48"/>
                  <a:pt x="37" y="49"/>
                  <a:pt x="36" y="49"/>
                </a:cubicBezTo>
                <a:cubicBezTo>
                  <a:pt x="35" y="49"/>
                  <a:pt x="34" y="50"/>
                  <a:pt x="33" y="51"/>
                </a:cubicBezTo>
                <a:cubicBezTo>
                  <a:pt x="33" y="51"/>
                  <a:pt x="33" y="51"/>
                  <a:pt x="32" y="52"/>
                </a:cubicBezTo>
                <a:cubicBezTo>
                  <a:pt x="31" y="52"/>
                  <a:pt x="31" y="53"/>
                  <a:pt x="31" y="53"/>
                </a:cubicBezTo>
                <a:cubicBezTo>
                  <a:pt x="31" y="53"/>
                  <a:pt x="31" y="53"/>
                  <a:pt x="31" y="53"/>
                </a:cubicBezTo>
                <a:cubicBezTo>
                  <a:pt x="30" y="53"/>
                  <a:pt x="30" y="53"/>
                  <a:pt x="29" y="53"/>
                </a:cubicBezTo>
                <a:cubicBezTo>
                  <a:pt x="28" y="53"/>
                  <a:pt x="28" y="53"/>
                  <a:pt x="28" y="53"/>
                </a:cubicBezTo>
                <a:cubicBezTo>
                  <a:pt x="27" y="54"/>
                  <a:pt x="27" y="54"/>
                  <a:pt x="26" y="54"/>
                </a:cubicBezTo>
                <a:cubicBezTo>
                  <a:pt x="24" y="54"/>
                  <a:pt x="24" y="54"/>
                  <a:pt x="24" y="54"/>
                </a:cubicBezTo>
                <a:cubicBezTo>
                  <a:pt x="23" y="54"/>
                  <a:pt x="23" y="54"/>
                  <a:pt x="22" y="53"/>
                </a:cubicBezTo>
                <a:cubicBezTo>
                  <a:pt x="22" y="53"/>
                  <a:pt x="22" y="53"/>
                  <a:pt x="22" y="53"/>
                </a:cubicBezTo>
                <a:cubicBezTo>
                  <a:pt x="22" y="53"/>
                  <a:pt x="22" y="53"/>
                  <a:pt x="22" y="53"/>
                </a:cubicBezTo>
                <a:cubicBezTo>
                  <a:pt x="21" y="53"/>
                  <a:pt x="20" y="53"/>
                  <a:pt x="20" y="53"/>
                </a:cubicBezTo>
                <a:cubicBezTo>
                  <a:pt x="19" y="53"/>
                  <a:pt x="19" y="53"/>
                  <a:pt x="19" y="53"/>
                </a:cubicBezTo>
                <a:cubicBezTo>
                  <a:pt x="19" y="54"/>
                  <a:pt x="18" y="54"/>
                  <a:pt x="17" y="54"/>
                </a:cubicBezTo>
                <a:cubicBezTo>
                  <a:pt x="17" y="54"/>
                  <a:pt x="17" y="54"/>
                  <a:pt x="17" y="54"/>
                </a:cubicBezTo>
                <a:cubicBezTo>
                  <a:pt x="16" y="56"/>
                  <a:pt x="16" y="56"/>
                  <a:pt x="16" y="56"/>
                </a:cubicBezTo>
                <a:cubicBezTo>
                  <a:pt x="16" y="56"/>
                  <a:pt x="15" y="57"/>
                  <a:pt x="14" y="57"/>
                </a:cubicBezTo>
                <a:cubicBezTo>
                  <a:pt x="12" y="57"/>
                  <a:pt x="12" y="57"/>
                  <a:pt x="12" y="57"/>
                </a:cubicBezTo>
                <a:cubicBezTo>
                  <a:pt x="11" y="56"/>
                  <a:pt x="11" y="56"/>
                  <a:pt x="11" y="56"/>
                </a:cubicBezTo>
                <a:cubicBezTo>
                  <a:pt x="10" y="55"/>
                  <a:pt x="10" y="55"/>
                  <a:pt x="10" y="55"/>
                </a:cubicBezTo>
                <a:cubicBezTo>
                  <a:pt x="9" y="55"/>
                  <a:pt x="9" y="54"/>
                  <a:pt x="9" y="53"/>
                </a:cubicBezTo>
                <a:cubicBezTo>
                  <a:pt x="9" y="52"/>
                  <a:pt x="9" y="52"/>
                  <a:pt x="9" y="52"/>
                </a:cubicBezTo>
                <a:cubicBezTo>
                  <a:pt x="8" y="50"/>
                  <a:pt x="8" y="50"/>
                  <a:pt x="8" y="50"/>
                </a:cubicBezTo>
                <a:cubicBezTo>
                  <a:pt x="8" y="50"/>
                  <a:pt x="8" y="50"/>
                  <a:pt x="8" y="50"/>
                </a:cubicBezTo>
                <a:cubicBezTo>
                  <a:pt x="7" y="50"/>
                  <a:pt x="7" y="50"/>
                  <a:pt x="7" y="49"/>
                </a:cubicBezTo>
                <a:cubicBezTo>
                  <a:pt x="6" y="48"/>
                  <a:pt x="6" y="48"/>
                  <a:pt x="6" y="48"/>
                </a:cubicBezTo>
                <a:cubicBezTo>
                  <a:pt x="5" y="48"/>
                  <a:pt x="5" y="48"/>
                  <a:pt x="4" y="48"/>
                </a:cubicBezTo>
                <a:cubicBezTo>
                  <a:pt x="3" y="48"/>
                  <a:pt x="3" y="48"/>
                  <a:pt x="3" y="48"/>
                </a:cubicBezTo>
                <a:cubicBezTo>
                  <a:pt x="3" y="49"/>
                  <a:pt x="3" y="50"/>
                  <a:pt x="3" y="50"/>
                </a:cubicBezTo>
                <a:cubicBezTo>
                  <a:pt x="3" y="51"/>
                  <a:pt x="2" y="52"/>
                  <a:pt x="1" y="53"/>
                </a:cubicBezTo>
                <a:cubicBezTo>
                  <a:pt x="1" y="53"/>
                  <a:pt x="1" y="53"/>
                  <a:pt x="0" y="53"/>
                </a:cubicBezTo>
                <a:cubicBezTo>
                  <a:pt x="0" y="53"/>
                  <a:pt x="0" y="53"/>
                  <a:pt x="0" y="53"/>
                </a:cubicBezTo>
                <a:cubicBezTo>
                  <a:pt x="1" y="54"/>
                  <a:pt x="2" y="55"/>
                  <a:pt x="4" y="56"/>
                </a:cubicBezTo>
                <a:cubicBezTo>
                  <a:pt x="4" y="57"/>
                  <a:pt x="4" y="57"/>
                  <a:pt x="4" y="57"/>
                </a:cubicBezTo>
                <a:cubicBezTo>
                  <a:pt x="4" y="58"/>
                  <a:pt x="4" y="58"/>
                  <a:pt x="4" y="59"/>
                </a:cubicBezTo>
                <a:cubicBezTo>
                  <a:pt x="5" y="60"/>
                  <a:pt x="6" y="62"/>
                  <a:pt x="6" y="64"/>
                </a:cubicBezTo>
                <a:cubicBezTo>
                  <a:pt x="6" y="64"/>
                  <a:pt x="7" y="66"/>
                  <a:pt x="7" y="68"/>
                </a:cubicBezTo>
                <a:cubicBezTo>
                  <a:pt x="7" y="68"/>
                  <a:pt x="7" y="68"/>
                  <a:pt x="7" y="68"/>
                </a:cubicBezTo>
                <a:cubicBezTo>
                  <a:pt x="7" y="69"/>
                  <a:pt x="7" y="69"/>
                  <a:pt x="7" y="69"/>
                </a:cubicBezTo>
                <a:cubicBezTo>
                  <a:pt x="8" y="73"/>
                  <a:pt x="8" y="73"/>
                  <a:pt x="8" y="73"/>
                </a:cubicBezTo>
                <a:cubicBezTo>
                  <a:pt x="8" y="74"/>
                  <a:pt x="8" y="74"/>
                  <a:pt x="8" y="74"/>
                </a:cubicBezTo>
                <a:cubicBezTo>
                  <a:pt x="8" y="76"/>
                  <a:pt x="8" y="76"/>
                  <a:pt x="8" y="76"/>
                </a:cubicBezTo>
                <a:cubicBezTo>
                  <a:pt x="8" y="76"/>
                  <a:pt x="8" y="76"/>
                  <a:pt x="8" y="77"/>
                </a:cubicBezTo>
                <a:cubicBezTo>
                  <a:pt x="7" y="76"/>
                  <a:pt x="7" y="76"/>
                  <a:pt x="7" y="76"/>
                </a:cubicBezTo>
                <a:cubicBezTo>
                  <a:pt x="14" y="78"/>
                  <a:pt x="14" y="78"/>
                  <a:pt x="14" y="78"/>
                </a:cubicBezTo>
                <a:cubicBezTo>
                  <a:pt x="15" y="78"/>
                  <a:pt x="15" y="78"/>
                  <a:pt x="15" y="78"/>
                </a:cubicBezTo>
                <a:cubicBezTo>
                  <a:pt x="16" y="79"/>
                  <a:pt x="16" y="79"/>
                  <a:pt x="16" y="79"/>
                </a:cubicBezTo>
                <a:cubicBezTo>
                  <a:pt x="47" y="97"/>
                  <a:pt x="47" y="97"/>
                  <a:pt x="47" y="97"/>
                </a:cubicBezTo>
                <a:cubicBezTo>
                  <a:pt x="66" y="108"/>
                  <a:pt x="66" y="108"/>
                  <a:pt x="66" y="108"/>
                </a:cubicBezTo>
                <a:cubicBezTo>
                  <a:pt x="66" y="107"/>
                  <a:pt x="66" y="107"/>
                  <a:pt x="66" y="107"/>
                </a:cubicBezTo>
                <a:cubicBezTo>
                  <a:pt x="69" y="99"/>
                  <a:pt x="69" y="99"/>
                  <a:pt x="69" y="99"/>
                </a:cubicBezTo>
                <a:cubicBezTo>
                  <a:pt x="70" y="98"/>
                  <a:pt x="70" y="98"/>
                  <a:pt x="70" y="98"/>
                </a:cubicBezTo>
                <a:cubicBezTo>
                  <a:pt x="70" y="97"/>
                  <a:pt x="70" y="97"/>
                  <a:pt x="70" y="97"/>
                </a:cubicBezTo>
                <a:cubicBezTo>
                  <a:pt x="77" y="95"/>
                  <a:pt x="77" y="95"/>
                  <a:pt x="77" y="95"/>
                </a:cubicBezTo>
                <a:cubicBezTo>
                  <a:pt x="104" y="98"/>
                  <a:pt x="104" y="98"/>
                  <a:pt x="104" y="98"/>
                </a:cubicBezTo>
                <a:cubicBezTo>
                  <a:pt x="129" y="103"/>
                  <a:pt x="129" y="103"/>
                  <a:pt x="129" y="103"/>
                </a:cubicBezTo>
                <a:cubicBezTo>
                  <a:pt x="146" y="104"/>
                  <a:pt x="146" y="104"/>
                  <a:pt x="146" y="104"/>
                </a:cubicBezTo>
                <a:cubicBezTo>
                  <a:pt x="147" y="104"/>
                  <a:pt x="147" y="104"/>
                  <a:pt x="147" y="104"/>
                </a:cubicBezTo>
                <a:cubicBezTo>
                  <a:pt x="148" y="103"/>
                  <a:pt x="148" y="103"/>
                  <a:pt x="148" y="103"/>
                </a:cubicBezTo>
                <a:cubicBezTo>
                  <a:pt x="149" y="103"/>
                  <a:pt x="149" y="103"/>
                  <a:pt x="149" y="103"/>
                </a:cubicBezTo>
                <a:cubicBezTo>
                  <a:pt x="154" y="92"/>
                  <a:pt x="154" y="92"/>
                  <a:pt x="154" y="92"/>
                </a:cubicBezTo>
                <a:cubicBezTo>
                  <a:pt x="154" y="91"/>
                  <a:pt x="154" y="91"/>
                  <a:pt x="154" y="91"/>
                </a:cubicBezTo>
                <a:cubicBezTo>
                  <a:pt x="154" y="90"/>
                  <a:pt x="154" y="90"/>
                  <a:pt x="154" y="90"/>
                </a:cubicBezTo>
                <a:cubicBezTo>
                  <a:pt x="151" y="84"/>
                  <a:pt x="151" y="84"/>
                  <a:pt x="151" y="84"/>
                </a:cubicBezTo>
                <a:cubicBezTo>
                  <a:pt x="150" y="83"/>
                  <a:pt x="150" y="83"/>
                  <a:pt x="150" y="83"/>
                </a:cubicBezTo>
                <a:cubicBezTo>
                  <a:pt x="149" y="82"/>
                  <a:pt x="149" y="82"/>
                  <a:pt x="149" y="82"/>
                </a:cubicBezTo>
                <a:cubicBezTo>
                  <a:pt x="140" y="80"/>
                  <a:pt x="140" y="80"/>
                  <a:pt x="140" y="80"/>
                </a:cubicBezTo>
                <a:cubicBezTo>
                  <a:pt x="135" y="79"/>
                  <a:pt x="135" y="79"/>
                  <a:pt x="135" y="79"/>
                </a:cubicBezTo>
                <a:cubicBezTo>
                  <a:pt x="141" y="74"/>
                  <a:pt x="141" y="74"/>
                  <a:pt x="141" y="74"/>
                </a:cubicBezTo>
                <a:cubicBezTo>
                  <a:pt x="161" y="71"/>
                  <a:pt x="161" y="71"/>
                  <a:pt x="161" y="71"/>
                </a:cubicBezTo>
                <a:cubicBezTo>
                  <a:pt x="161" y="66"/>
                  <a:pt x="161" y="66"/>
                  <a:pt x="161" y="66"/>
                </a:cubicBezTo>
                <a:cubicBezTo>
                  <a:pt x="161" y="65"/>
                  <a:pt x="161" y="63"/>
                  <a:pt x="162" y="6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Freeform 75">
            <a:extLst>
              <a:ext uri="{FF2B5EF4-FFF2-40B4-BE49-F238E27FC236}">
                <a16:creationId xmlns:a16="http://schemas.microsoft.com/office/drawing/2014/main" id="{F8DFA22D-112E-4DEF-A97F-7E1327AFD840}"/>
              </a:ext>
            </a:extLst>
          </p:cNvPr>
          <p:cNvSpPr>
            <a:spLocks/>
          </p:cNvSpPr>
          <p:nvPr/>
        </p:nvSpPr>
        <p:spPr bwMode="auto">
          <a:xfrm>
            <a:off x="5645559" y="5289082"/>
            <a:ext cx="460904" cy="354013"/>
          </a:xfrm>
          <a:custGeom>
            <a:avLst/>
            <a:gdLst>
              <a:gd name="T0" fmla="*/ 186 w 191"/>
              <a:gd name="T1" fmla="*/ 57 h 159"/>
              <a:gd name="T2" fmla="*/ 177 w 191"/>
              <a:gd name="T3" fmla="*/ 46 h 159"/>
              <a:gd name="T4" fmla="*/ 180 w 191"/>
              <a:gd name="T5" fmla="*/ 30 h 159"/>
              <a:gd name="T6" fmla="*/ 191 w 191"/>
              <a:gd name="T7" fmla="*/ 28 h 159"/>
              <a:gd name="T8" fmla="*/ 185 w 191"/>
              <a:gd name="T9" fmla="*/ 5 h 159"/>
              <a:gd name="T10" fmla="*/ 162 w 191"/>
              <a:gd name="T11" fmla="*/ 1 h 159"/>
              <a:gd name="T12" fmla="*/ 144 w 191"/>
              <a:gd name="T13" fmla="*/ 4 h 159"/>
              <a:gd name="T14" fmla="*/ 126 w 191"/>
              <a:gd name="T15" fmla="*/ 1 h 159"/>
              <a:gd name="T16" fmla="*/ 104 w 191"/>
              <a:gd name="T17" fmla="*/ 2 h 159"/>
              <a:gd name="T18" fmla="*/ 76 w 191"/>
              <a:gd name="T19" fmla="*/ 6 h 159"/>
              <a:gd name="T20" fmla="*/ 61 w 191"/>
              <a:gd name="T21" fmla="*/ 9 h 159"/>
              <a:gd name="T22" fmla="*/ 60 w 191"/>
              <a:gd name="T23" fmla="*/ 25 h 159"/>
              <a:gd name="T24" fmla="*/ 55 w 191"/>
              <a:gd name="T25" fmla="*/ 28 h 159"/>
              <a:gd name="T26" fmla="*/ 47 w 191"/>
              <a:gd name="T27" fmla="*/ 33 h 159"/>
              <a:gd name="T28" fmla="*/ 39 w 191"/>
              <a:gd name="T29" fmla="*/ 38 h 159"/>
              <a:gd name="T30" fmla="*/ 34 w 191"/>
              <a:gd name="T31" fmla="*/ 40 h 159"/>
              <a:gd name="T32" fmla="*/ 38 w 191"/>
              <a:gd name="T33" fmla="*/ 49 h 159"/>
              <a:gd name="T34" fmla="*/ 43 w 191"/>
              <a:gd name="T35" fmla="*/ 60 h 159"/>
              <a:gd name="T36" fmla="*/ 43 w 191"/>
              <a:gd name="T37" fmla="*/ 72 h 159"/>
              <a:gd name="T38" fmla="*/ 44 w 191"/>
              <a:gd name="T39" fmla="*/ 80 h 159"/>
              <a:gd name="T40" fmla="*/ 51 w 191"/>
              <a:gd name="T41" fmla="*/ 89 h 159"/>
              <a:gd name="T42" fmla="*/ 54 w 191"/>
              <a:gd name="T43" fmla="*/ 101 h 159"/>
              <a:gd name="T44" fmla="*/ 52 w 191"/>
              <a:gd name="T45" fmla="*/ 109 h 159"/>
              <a:gd name="T46" fmla="*/ 42 w 191"/>
              <a:gd name="T47" fmla="*/ 108 h 159"/>
              <a:gd name="T48" fmla="*/ 34 w 191"/>
              <a:gd name="T49" fmla="*/ 103 h 159"/>
              <a:gd name="T50" fmla="*/ 25 w 191"/>
              <a:gd name="T51" fmla="*/ 99 h 159"/>
              <a:gd name="T52" fmla="*/ 15 w 191"/>
              <a:gd name="T53" fmla="*/ 98 h 159"/>
              <a:gd name="T54" fmla="*/ 12 w 191"/>
              <a:gd name="T55" fmla="*/ 100 h 159"/>
              <a:gd name="T56" fmla="*/ 8 w 191"/>
              <a:gd name="T57" fmla="*/ 109 h 159"/>
              <a:gd name="T58" fmla="*/ 12 w 191"/>
              <a:gd name="T59" fmla="*/ 116 h 159"/>
              <a:gd name="T60" fmla="*/ 9 w 191"/>
              <a:gd name="T61" fmla="*/ 122 h 159"/>
              <a:gd name="T62" fmla="*/ 4 w 191"/>
              <a:gd name="T63" fmla="*/ 132 h 159"/>
              <a:gd name="T64" fmla="*/ 2 w 191"/>
              <a:gd name="T65" fmla="*/ 147 h 159"/>
              <a:gd name="T66" fmla="*/ 1 w 191"/>
              <a:gd name="T67" fmla="*/ 159 h 159"/>
              <a:gd name="T68" fmla="*/ 36 w 191"/>
              <a:gd name="T69" fmla="*/ 155 h 159"/>
              <a:gd name="T70" fmla="*/ 83 w 191"/>
              <a:gd name="T71" fmla="*/ 133 h 159"/>
              <a:gd name="T72" fmla="*/ 67 w 191"/>
              <a:gd name="T73" fmla="*/ 113 h 159"/>
              <a:gd name="T74" fmla="*/ 56 w 191"/>
              <a:gd name="T75" fmla="*/ 107 h 159"/>
              <a:gd name="T76" fmla="*/ 79 w 191"/>
              <a:gd name="T77" fmla="*/ 119 h 159"/>
              <a:gd name="T78" fmla="*/ 110 w 191"/>
              <a:gd name="T79" fmla="*/ 138 h 159"/>
              <a:gd name="T80" fmla="*/ 114 w 191"/>
              <a:gd name="T81" fmla="*/ 130 h 159"/>
              <a:gd name="T82" fmla="*/ 106 w 191"/>
              <a:gd name="T83" fmla="*/ 123 h 159"/>
              <a:gd name="T84" fmla="*/ 121 w 191"/>
              <a:gd name="T85" fmla="*/ 123 h 159"/>
              <a:gd name="T86" fmla="*/ 116 w 191"/>
              <a:gd name="T87" fmla="*/ 133 h 159"/>
              <a:gd name="T88" fmla="*/ 120 w 191"/>
              <a:gd name="T89" fmla="*/ 138 h 159"/>
              <a:gd name="T90" fmla="*/ 126 w 191"/>
              <a:gd name="T91" fmla="*/ 130 h 159"/>
              <a:gd name="T92" fmla="*/ 130 w 191"/>
              <a:gd name="T93" fmla="*/ 121 h 159"/>
              <a:gd name="T94" fmla="*/ 134 w 191"/>
              <a:gd name="T95" fmla="*/ 130 h 159"/>
              <a:gd name="T96" fmla="*/ 129 w 191"/>
              <a:gd name="T97" fmla="*/ 137 h 159"/>
              <a:gd name="T98" fmla="*/ 141 w 191"/>
              <a:gd name="T99" fmla="*/ 137 h 159"/>
              <a:gd name="T100" fmla="*/ 138 w 191"/>
              <a:gd name="T101" fmla="*/ 123 h 159"/>
              <a:gd name="T102" fmla="*/ 149 w 191"/>
              <a:gd name="T103" fmla="*/ 124 h 159"/>
              <a:gd name="T104" fmla="*/ 159 w 191"/>
              <a:gd name="T105" fmla="*/ 120 h 159"/>
              <a:gd name="T106" fmla="*/ 163 w 191"/>
              <a:gd name="T107" fmla="*/ 101 h 159"/>
              <a:gd name="T108" fmla="*/ 168 w 191"/>
              <a:gd name="T109" fmla="*/ 82 h 159"/>
              <a:gd name="T110" fmla="*/ 175 w 191"/>
              <a:gd name="T111" fmla="*/ 74 h 159"/>
              <a:gd name="T112" fmla="*/ 187 w 191"/>
              <a:gd name="T113" fmla="*/ 68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91" h="159">
                <a:moveTo>
                  <a:pt x="189" y="63"/>
                </a:moveTo>
                <a:cubicBezTo>
                  <a:pt x="188" y="60"/>
                  <a:pt x="188" y="60"/>
                  <a:pt x="188" y="60"/>
                </a:cubicBezTo>
                <a:cubicBezTo>
                  <a:pt x="188" y="59"/>
                  <a:pt x="188" y="59"/>
                  <a:pt x="188" y="58"/>
                </a:cubicBezTo>
                <a:cubicBezTo>
                  <a:pt x="188" y="58"/>
                  <a:pt x="188" y="58"/>
                  <a:pt x="188" y="58"/>
                </a:cubicBezTo>
                <a:cubicBezTo>
                  <a:pt x="187" y="58"/>
                  <a:pt x="186" y="58"/>
                  <a:pt x="186" y="57"/>
                </a:cubicBezTo>
                <a:cubicBezTo>
                  <a:pt x="185" y="55"/>
                  <a:pt x="185" y="55"/>
                  <a:pt x="185" y="55"/>
                </a:cubicBezTo>
                <a:cubicBezTo>
                  <a:pt x="184" y="54"/>
                  <a:pt x="184" y="54"/>
                  <a:pt x="184" y="54"/>
                </a:cubicBezTo>
                <a:cubicBezTo>
                  <a:pt x="180" y="54"/>
                  <a:pt x="180" y="54"/>
                  <a:pt x="180" y="54"/>
                </a:cubicBezTo>
                <a:cubicBezTo>
                  <a:pt x="179" y="54"/>
                  <a:pt x="178" y="53"/>
                  <a:pt x="178" y="52"/>
                </a:cubicBezTo>
                <a:cubicBezTo>
                  <a:pt x="177" y="46"/>
                  <a:pt x="177" y="46"/>
                  <a:pt x="177" y="46"/>
                </a:cubicBezTo>
                <a:cubicBezTo>
                  <a:pt x="177" y="46"/>
                  <a:pt x="177" y="46"/>
                  <a:pt x="177" y="46"/>
                </a:cubicBezTo>
                <a:cubicBezTo>
                  <a:pt x="177" y="46"/>
                  <a:pt x="176" y="44"/>
                  <a:pt x="176" y="40"/>
                </a:cubicBezTo>
                <a:cubicBezTo>
                  <a:pt x="175" y="35"/>
                  <a:pt x="175" y="35"/>
                  <a:pt x="175" y="35"/>
                </a:cubicBezTo>
                <a:cubicBezTo>
                  <a:pt x="175" y="34"/>
                  <a:pt x="176" y="33"/>
                  <a:pt x="176" y="33"/>
                </a:cubicBezTo>
                <a:cubicBezTo>
                  <a:pt x="180" y="30"/>
                  <a:pt x="180" y="30"/>
                  <a:pt x="180" y="30"/>
                </a:cubicBezTo>
                <a:cubicBezTo>
                  <a:pt x="182" y="28"/>
                  <a:pt x="182" y="28"/>
                  <a:pt x="182" y="28"/>
                </a:cubicBezTo>
                <a:cubicBezTo>
                  <a:pt x="183" y="27"/>
                  <a:pt x="184" y="27"/>
                  <a:pt x="185" y="28"/>
                </a:cubicBezTo>
                <a:cubicBezTo>
                  <a:pt x="187" y="29"/>
                  <a:pt x="187" y="29"/>
                  <a:pt x="187" y="29"/>
                </a:cubicBezTo>
                <a:cubicBezTo>
                  <a:pt x="188" y="29"/>
                  <a:pt x="188" y="29"/>
                  <a:pt x="188" y="29"/>
                </a:cubicBezTo>
                <a:cubicBezTo>
                  <a:pt x="189" y="29"/>
                  <a:pt x="190" y="29"/>
                  <a:pt x="191" y="28"/>
                </a:cubicBezTo>
                <a:cubicBezTo>
                  <a:pt x="190" y="27"/>
                  <a:pt x="190" y="25"/>
                  <a:pt x="191" y="24"/>
                </a:cubicBezTo>
                <a:cubicBezTo>
                  <a:pt x="191" y="18"/>
                  <a:pt x="191" y="18"/>
                  <a:pt x="191" y="18"/>
                </a:cubicBezTo>
                <a:cubicBezTo>
                  <a:pt x="190" y="13"/>
                  <a:pt x="190" y="13"/>
                  <a:pt x="190" y="13"/>
                </a:cubicBezTo>
                <a:cubicBezTo>
                  <a:pt x="189" y="11"/>
                  <a:pt x="189" y="10"/>
                  <a:pt x="189" y="10"/>
                </a:cubicBezTo>
                <a:cubicBezTo>
                  <a:pt x="187" y="9"/>
                  <a:pt x="186" y="7"/>
                  <a:pt x="185" y="5"/>
                </a:cubicBezTo>
                <a:cubicBezTo>
                  <a:pt x="180" y="3"/>
                  <a:pt x="180" y="3"/>
                  <a:pt x="180" y="3"/>
                </a:cubicBezTo>
                <a:cubicBezTo>
                  <a:pt x="178" y="3"/>
                  <a:pt x="178" y="3"/>
                  <a:pt x="178" y="3"/>
                </a:cubicBezTo>
                <a:cubicBezTo>
                  <a:pt x="175" y="3"/>
                  <a:pt x="173" y="3"/>
                  <a:pt x="172" y="3"/>
                </a:cubicBezTo>
                <a:cubicBezTo>
                  <a:pt x="170" y="4"/>
                  <a:pt x="167" y="2"/>
                  <a:pt x="165" y="1"/>
                </a:cubicBezTo>
                <a:cubicBezTo>
                  <a:pt x="165" y="0"/>
                  <a:pt x="163" y="1"/>
                  <a:pt x="162" y="1"/>
                </a:cubicBezTo>
                <a:cubicBezTo>
                  <a:pt x="161" y="1"/>
                  <a:pt x="159" y="2"/>
                  <a:pt x="157" y="1"/>
                </a:cubicBezTo>
                <a:cubicBezTo>
                  <a:pt x="156" y="1"/>
                  <a:pt x="155" y="1"/>
                  <a:pt x="154" y="2"/>
                </a:cubicBezTo>
                <a:cubicBezTo>
                  <a:pt x="153" y="3"/>
                  <a:pt x="152" y="3"/>
                  <a:pt x="152" y="3"/>
                </a:cubicBezTo>
                <a:cubicBezTo>
                  <a:pt x="149" y="4"/>
                  <a:pt x="148" y="4"/>
                  <a:pt x="147" y="3"/>
                </a:cubicBezTo>
                <a:cubicBezTo>
                  <a:pt x="146" y="4"/>
                  <a:pt x="145" y="4"/>
                  <a:pt x="144" y="4"/>
                </a:cubicBezTo>
                <a:cubicBezTo>
                  <a:pt x="143" y="3"/>
                  <a:pt x="143" y="3"/>
                  <a:pt x="142" y="3"/>
                </a:cubicBezTo>
                <a:cubicBezTo>
                  <a:pt x="140" y="4"/>
                  <a:pt x="139" y="4"/>
                  <a:pt x="138" y="3"/>
                </a:cubicBezTo>
                <a:cubicBezTo>
                  <a:pt x="137" y="3"/>
                  <a:pt x="137" y="3"/>
                  <a:pt x="136" y="3"/>
                </a:cubicBezTo>
                <a:cubicBezTo>
                  <a:pt x="135" y="5"/>
                  <a:pt x="132" y="4"/>
                  <a:pt x="131" y="3"/>
                </a:cubicBezTo>
                <a:cubicBezTo>
                  <a:pt x="126" y="1"/>
                  <a:pt x="126" y="1"/>
                  <a:pt x="126" y="1"/>
                </a:cubicBezTo>
                <a:cubicBezTo>
                  <a:pt x="125" y="1"/>
                  <a:pt x="121" y="2"/>
                  <a:pt x="118" y="1"/>
                </a:cubicBezTo>
                <a:cubicBezTo>
                  <a:pt x="116" y="1"/>
                  <a:pt x="116" y="1"/>
                  <a:pt x="116" y="1"/>
                </a:cubicBezTo>
                <a:cubicBezTo>
                  <a:pt x="115" y="1"/>
                  <a:pt x="114" y="1"/>
                  <a:pt x="114" y="1"/>
                </a:cubicBezTo>
                <a:cubicBezTo>
                  <a:pt x="112" y="2"/>
                  <a:pt x="111" y="2"/>
                  <a:pt x="109" y="2"/>
                </a:cubicBezTo>
                <a:cubicBezTo>
                  <a:pt x="107" y="1"/>
                  <a:pt x="105" y="1"/>
                  <a:pt x="104" y="2"/>
                </a:cubicBezTo>
                <a:cubicBezTo>
                  <a:pt x="104" y="2"/>
                  <a:pt x="104" y="2"/>
                  <a:pt x="104" y="2"/>
                </a:cubicBezTo>
                <a:cubicBezTo>
                  <a:pt x="84" y="2"/>
                  <a:pt x="84" y="2"/>
                  <a:pt x="84" y="2"/>
                </a:cubicBezTo>
                <a:cubicBezTo>
                  <a:pt x="78" y="3"/>
                  <a:pt x="78" y="3"/>
                  <a:pt x="78" y="3"/>
                </a:cubicBezTo>
                <a:cubicBezTo>
                  <a:pt x="78" y="4"/>
                  <a:pt x="78" y="4"/>
                  <a:pt x="78" y="4"/>
                </a:cubicBezTo>
                <a:cubicBezTo>
                  <a:pt x="78" y="5"/>
                  <a:pt x="77" y="6"/>
                  <a:pt x="76" y="6"/>
                </a:cubicBezTo>
                <a:cubicBezTo>
                  <a:pt x="65" y="6"/>
                  <a:pt x="65" y="6"/>
                  <a:pt x="65" y="6"/>
                </a:cubicBezTo>
                <a:cubicBezTo>
                  <a:pt x="65" y="7"/>
                  <a:pt x="65" y="7"/>
                  <a:pt x="65" y="7"/>
                </a:cubicBezTo>
                <a:cubicBezTo>
                  <a:pt x="66" y="7"/>
                  <a:pt x="65" y="8"/>
                  <a:pt x="65" y="8"/>
                </a:cubicBezTo>
                <a:cubicBezTo>
                  <a:pt x="65" y="9"/>
                  <a:pt x="64" y="9"/>
                  <a:pt x="64" y="9"/>
                </a:cubicBezTo>
                <a:cubicBezTo>
                  <a:pt x="61" y="9"/>
                  <a:pt x="61" y="9"/>
                  <a:pt x="61" y="9"/>
                </a:cubicBezTo>
                <a:cubicBezTo>
                  <a:pt x="61" y="10"/>
                  <a:pt x="61" y="10"/>
                  <a:pt x="61" y="10"/>
                </a:cubicBezTo>
                <a:cubicBezTo>
                  <a:pt x="60" y="12"/>
                  <a:pt x="60" y="12"/>
                  <a:pt x="60" y="12"/>
                </a:cubicBezTo>
                <a:cubicBezTo>
                  <a:pt x="60" y="14"/>
                  <a:pt x="61" y="18"/>
                  <a:pt x="60" y="20"/>
                </a:cubicBezTo>
                <a:cubicBezTo>
                  <a:pt x="60" y="21"/>
                  <a:pt x="60" y="23"/>
                  <a:pt x="60" y="24"/>
                </a:cubicBezTo>
                <a:cubicBezTo>
                  <a:pt x="60" y="25"/>
                  <a:pt x="60" y="25"/>
                  <a:pt x="60" y="25"/>
                </a:cubicBezTo>
                <a:cubicBezTo>
                  <a:pt x="59" y="27"/>
                  <a:pt x="59" y="27"/>
                  <a:pt x="59" y="27"/>
                </a:cubicBezTo>
                <a:cubicBezTo>
                  <a:pt x="59" y="28"/>
                  <a:pt x="58" y="28"/>
                  <a:pt x="58" y="28"/>
                </a:cubicBezTo>
                <a:cubicBezTo>
                  <a:pt x="57" y="28"/>
                  <a:pt x="56" y="28"/>
                  <a:pt x="56" y="28"/>
                </a:cubicBezTo>
                <a:cubicBezTo>
                  <a:pt x="56" y="28"/>
                  <a:pt x="56" y="28"/>
                  <a:pt x="56" y="28"/>
                </a:cubicBezTo>
                <a:cubicBezTo>
                  <a:pt x="55" y="28"/>
                  <a:pt x="55" y="28"/>
                  <a:pt x="55" y="28"/>
                </a:cubicBezTo>
                <a:cubicBezTo>
                  <a:pt x="53" y="29"/>
                  <a:pt x="53" y="29"/>
                  <a:pt x="53" y="29"/>
                </a:cubicBezTo>
                <a:cubicBezTo>
                  <a:pt x="52" y="29"/>
                  <a:pt x="52" y="29"/>
                  <a:pt x="52" y="29"/>
                </a:cubicBezTo>
                <a:cubicBezTo>
                  <a:pt x="51" y="29"/>
                  <a:pt x="49" y="28"/>
                  <a:pt x="49" y="28"/>
                </a:cubicBezTo>
                <a:cubicBezTo>
                  <a:pt x="49" y="29"/>
                  <a:pt x="48" y="31"/>
                  <a:pt x="47" y="32"/>
                </a:cubicBezTo>
                <a:cubicBezTo>
                  <a:pt x="47" y="33"/>
                  <a:pt x="47" y="33"/>
                  <a:pt x="47" y="33"/>
                </a:cubicBezTo>
                <a:cubicBezTo>
                  <a:pt x="46" y="34"/>
                  <a:pt x="46" y="34"/>
                  <a:pt x="46" y="34"/>
                </a:cubicBezTo>
                <a:cubicBezTo>
                  <a:pt x="46" y="34"/>
                  <a:pt x="46" y="34"/>
                  <a:pt x="46" y="35"/>
                </a:cubicBezTo>
                <a:cubicBezTo>
                  <a:pt x="46" y="36"/>
                  <a:pt x="46" y="36"/>
                  <a:pt x="44" y="37"/>
                </a:cubicBezTo>
                <a:cubicBezTo>
                  <a:pt x="44" y="38"/>
                  <a:pt x="43" y="38"/>
                  <a:pt x="41" y="38"/>
                </a:cubicBezTo>
                <a:cubicBezTo>
                  <a:pt x="40" y="38"/>
                  <a:pt x="40" y="38"/>
                  <a:pt x="39" y="38"/>
                </a:cubicBezTo>
                <a:cubicBezTo>
                  <a:pt x="38" y="38"/>
                  <a:pt x="38" y="38"/>
                  <a:pt x="37" y="38"/>
                </a:cubicBezTo>
                <a:cubicBezTo>
                  <a:pt x="36" y="38"/>
                  <a:pt x="35" y="38"/>
                  <a:pt x="34" y="38"/>
                </a:cubicBezTo>
                <a:cubicBezTo>
                  <a:pt x="34" y="37"/>
                  <a:pt x="33" y="37"/>
                  <a:pt x="33" y="37"/>
                </a:cubicBezTo>
                <a:cubicBezTo>
                  <a:pt x="33" y="39"/>
                  <a:pt x="33" y="39"/>
                  <a:pt x="33" y="39"/>
                </a:cubicBezTo>
                <a:cubicBezTo>
                  <a:pt x="34" y="40"/>
                  <a:pt x="34" y="40"/>
                  <a:pt x="34" y="40"/>
                </a:cubicBezTo>
                <a:cubicBezTo>
                  <a:pt x="35" y="40"/>
                  <a:pt x="35" y="40"/>
                  <a:pt x="35" y="40"/>
                </a:cubicBezTo>
                <a:cubicBezTo>
                  <a:pt x="36" y="40"/>
                  <a:pt x="37" y="41"/>
                  <a:pt x="37" y="42"/>
                </a:cubicBezTo>
                <a:cubicBezTo>
                  <a:pt x="37" y="44"/>
                  <a:pt x="37" y="44"/>
                  <a:pt x="37" y="44"/>
                </a:cubicBezTo>
                <a:cubicBezTo>
                  <a:pt x="38" y="48"/>
                  <a:pt x="38" y="48"/>
                  <a:pt x="38" y="48"/>
                </a:cubicBezTo>
                <a:cubicBezTo>
                  <a:pt x="38" y="49"/>
                  <a:pt x="38" y="49"/>
                  <a:pt x="38" y="49"/>
                </a:cubicBezTo>
                <a:cubicBezTo>
                  <a:pt x="38" y="54"/>
                  <a:pt x="38" y="54"/>
                  <a:pt x="38" y="54"/>
                </a:cubicBezTo>
                <a:cubicBezTo>
                  <a:pt x="38" y="55"/>
                  <a:pt x="38" y="55"/>
                  <a:pt x="38" y="55"/>
                </a:cubicBezTo>
                <a:cubicBezTo>
                  <a:pt x="38" y="56"/>
                  <a:pt x="39" y="57"/>
                  <a:pt x="39" y="58"/>
                </a:cubicBezTo>
                <a:cubicBezTo>
                  <a:pt x="41" y="58"/>
                  <a:pt x="41" y="58"/>
                  <a:pt x="41" y="58"/>
                </a:cubicBezTo>
                <a:cubicBezTo>
                  <a:pt x="42" y="58"/>
                  <a:pt x="43" y="59"/>
                  <a:pt x="43" y="60"/>
                </a:cubicBezTo>
                <a:cubicBezTo>
                  <a:pt x="44" y="63"/>
                  <a:pt x="44" y="63"/>
                  <a:pt x="44" y="63"/>
                </a:cubicBezTo>
                <a:cubicBezTo>
                  <a:pt x="44" y="63"/>
                  <a:pt x="44" y="63"/>
                  <a:pt x="44" y="64"/>
                </a:cubicBezTo>
                <a:cubicBezTo>
                  <a:pt x="43" y="66"/>
                  <a:pt x="43" y="66"/>
                  <a:pt x="43" y="66"/>
                </a:cubicBezTo>
                <a:cubicBezTo>
                  <a:pt x="43" y="71"/>
                  <a:pt x="43" y="71"/>
                  <a:pt x="43" y="71"/>
                </a:cubicBezTo>
                <a:cubicBezTo>
                  <a:pt x="43" y="72"/>
                  <a:pt x="43" y="72"/>
                  <a:pt x="43" y="72"/>
                </a:cubicBezTo>
                <a:cubicBezTo>
                  <a:pt x="43" y="73"/>
                  <a:pt x="43" y="73"/>
                  <a:pt x="43" y="73"/>
                </a:cubicBezTo>
                <a:cubicBezTo>
                  <a:pt x="43" y="74"/>
                  <a:pt x="43" y="75"/>
                  <a:pt x="43" y="76"/>
                </a:cubicBezTo>
                <a:cubicBezTo>
                  <a:pt x="43" y="76"/>
                  <a:pt x="43" y="77"/>
                  <a:pt x="43" y="78"/>
                </a:cubicBezTo>
                <a:cubicBezTo>
                  <a:pt x="43" y="79"/>
                  <a:pt x="43" y="80"/>
                  <a:pt x="43" y="80"/>
                </a:cubicBezTo>
                <a:cubicBezTo>
                  <a:pt x="44" y="80"/>
                  <a:pt x="44" y="80"/>
                  <a:pt x="44" y="80"/>
                </a:cubicBezTo>
                <a:cubicBezTo>
                  <a:pt x="46" y="81"/>
                  <a:pt x="46" y="81"/>
                  <a:pt x="46" y="81"/>
                </a:cubicBezTo>
                <a:cubicBezTo>
                  <a:pt x="48" y="80"/>
                  <a:pt x="48" y="80"/>
                  <a:pt x="48" y="80"/>
                </a:cubicBezTo>
                <a:cubicBezTo>
                  <a:pt x="49" y="80"/>
                  <a:pt x="49" y="81"/>
                  <a:pt x="50" y="81"/>
                </a:cubicBezTo>
                <a:cubicBezTo>
                  <a:pt x="50" y="81"/>
                  <a:pt x="51" y="83"/>
                  <a:pt x="51" y="84"/>
                </a:cubicBezTo>
                <a:cubicBezTo>
                  <a:pt x="51" y="89"/>
                  <a:pt x="51" y="89"/>
                  <a:pt x="51" y="89"/>
                </a:cubicBezTo>
                <a:cubicBezTo>
                  <a:pt x="51" y="91"/>
                  <a:pt x="51" y="91"/>
                  <a:pt x="51" y="91"/>
                </a:cubicBezTo>
                <a:cubicBezTo>
                  <a:pt x="53" y="92"/>
                  <a:pt x="54" y="93"/>
                  <a:pt x="55" y="94"/>
                </a:cubicBezTo>
                <a:cubicBezTo>
                  <a:pt x="56" y="96"/>
                  <a:pt x="56" y="96"/>
                  <a:pt x="56" y="96"/>
                </a:cubicBezTo>
                <a:cubicBezTo>
                  <a:pt x="56" y="96"/>
                  <a:pt x="56" y="97"/>
                  <a:pt x="56" y="98"/>
                </a:cubicBezTo>
                <a:cubicBezTo>
                  <a:pt x="54" y="101"/>
                  <a:pt x="54" y="101"/>
                  <a:pt x="54" y="101"/>
                </a:cubicBezTo>
                <a:cubicBezTo>
                  <a:pt x="53" y="103"/>
                  <a:pt x="53" y="104"/>
                  <a:pt x="53" y="104"/>
                </a:cubicBezTo>
                <a:cubicBezTo>
                  <a:pt x="53" y="105"/>
                  <a:pt x="52" y="106"/>
                  <a:pt x="52" y="107"/>
                </a:cubicBezTo>
                <a:cubicBezTo>
                  <a:pt x="52" y="107"/>
                  <a:pt x="52" y="107"/>
                  <a:pt x="52" y="107"/>
                </a:cubicBezTo>
                <a:cubicBezTo>
                  <a:pt x="52" y="108"/>
                  <a:pt x="52" y="108"/>
                  <a:pt x="52" y="108"/>
                </a:cubicBezTo>
                <a:cubicBezTo>
                  <a:pt x="52" y="109"/>
                  <a:pt x="52" y="109"/>
                  <a:pt x="52" y="109"/>
                </a:cubicBezTo>
                <a:cubicBezTo>
                  <a:pt x="52" y="110"/>
                  <a:pt x="51" y="111"/>
                  <a:pt x="50" y="111"/>
                </a:cubicBezTo>
                <a:cubicBezTo>
                  <a:pt x="49" y="111"/>
                  <a:pt x="49" y="111"/>
                  <a:pt x="49" y="111"/>
                </a:cubicBezTo>
                <a:cubicBezTo>
                  <a:pt x="48" y="111"/>
                  <a:pt x="48" y="112"/>
                  <a:pt x="47" y="112"/>
                </a:cubicBezTo>
                <a:cubicBezTo>
                  <a:pt x="46" y="112"/>
                  <a:pt x="45" y="111"/>
                  <a:pt x="44" y="111"/>
                </a:cubicBezTo>
                <a:cubicBezTo>
                  <a:pt x="43" y="110"/>
                  <a:pt x="42" y="109"/>
                  <a:pt x="42" y="108"/>
                </a:cubicBezTo>
                <a:cubicBezTo>
                  <a:pt x="42" y="107"/>
                  <a:pt x="42" y="107"/>
                  <a:pt x="42" y="107"/>
                </a:cubicBezTo>
                <a:cubicBezTo>
                  <a:pt x="40" y="105"/>
                  <a:pt x="40" y="105"/>
                  <a:pt x="40" y="105"/>
                </a:cubicBezTo>
                <a:cubicBezTo>
                  <a:pt x="40" y="105"/>
                  <a:pt x="40" y="104"/>
                  <a:pt x="39" y="104"/>
                </a:cubicBezTo>
                <a:cubicBezTo>
                  <a:pt x="39" y="104"/>
                  <a:pt x="39" y="104"/>
                  <a:pt x="39" y="104"/>
                </a:cubicBezTo>
                <a:cubicBezTo>
                  <a:pt x="37" y="104"/>
                  <a:pt x="35" y="103"/>
                  <a:pt x="34" y="103"/>
                </a:cubicBezTo>
                <a:cubicBezTo>
                  <a:pt x="34" y="103"/>
                  <a:pt x="34" y="103"/>
                  <a:pt x="34" y="103"/>
                </a:cubicBezTo>
                <a:cubicBezTo>
                  <a:pt x="33" y="103"/>
                  <a:pt x="33" y="103"/>
                  <a:pt x="33" y="103"/>
                </a:cubicBezTo>
                <a:cubicBezTo>
                  <a:pt x="32" y="104"/>
                  <a:pt x="31" y="104"/>
                  <a:pt x="30" y="103"/>
                </a:cubicBezTo>
                <a:cubicBezTo>
                  <a:pt x="28" y="102"/>
                  <a:pt x="27" y="101"/>
                  <a:pt x="27" y="100"/>
                </a:cubicBezTo>
                <a:cubicBezTo>
                  <a:pt x="26" y="100"/>
                  <a:pt x="25" y="100"/>
                  <a:pt x="25" y="99"/>
                </a:cubicBezTo>
                <a:cubicBezTo>
                  <a:pt x="25" y="99"/>
                  <a:pt x="25" y="99"/>
                  <a:pt x="24" y="99"/>
                </a:cubicBezTo>
                <a:cubicBezTo>
                  <a:pt x="22" y="98"/>
                  <a:pt x="21" y="98"/>
                  <a:pt x="21" y="98"/>
                </a:cubicBezTo>
                <a:cubicBezTo>
                  <a:pt x="21" y="98"/>
                  <a:pt x="21" y="98"/>
                  <a:pt x="20" y="98"/>
                </a:cubicBezTo>
                <a:cubicBezTo>
                  <a:pt x="19" y="98"/>
                  <a:pt x="19" y="98"/>
                  <a:pt x="18" y="98"/>
                </a:cubicBezTo>
                <a:cubicBezTo>
                  <a:pt x="17" y="98"/>
                  <a:pt x="16" y="99"/>
                  <a:pt x="15" y="98"/>
                </a:cubicBezTo>
                <a:cubicBezTo>
                  <a:pt x="14" y="97"/>
                  <a:pt x="14" y="97"/>
                  <a:pt x="14" y="97"/>
                </a:cubicBezTo>
                <a:cubicBezTo>
                  <a:pt x="13" y="97"/>
                  <a:pt x="13" y="97"/>
                  <a:pt x="13" y="97"/>
                </a:cubicBezTo>
                <a:cubicBezTo>
                  <a:pt x="13" y="97"/>
                  <a:pt x="13" y="97"/>
                  <a:pt x="13" y="97"/>
                </a:cubicBezTo>
                <a:cubicBezTo>
                  <a:pt x="13" y="98"/>
                  <a:pt x="13" y="98"/>
                  <a:pt x="13" y="99"/>
                </a:cubicBezTo>
                <a:cubicBezTo>
                  <a:pt x="12" y="100"/>
                  <a:pt x="12" y="100"/>
                  <a:pt x="12" y="100"/>
                </a:cubicBezTo>
                <a:cubicBezTo>
                  <a:pt x="8" y="101"/>
                  <a:pt x="8" y="101"/>
                  <a:pt x="8" y="101"/>
                </a:cubicBezTo>
                <a:cubicBezTo>
                  <a:pt x="7" y="101"/>
                  <a:pt x="7" y="102"/>
                  <a:pt x="7" y="101"/>
                </a:cubicBezTo>
                <a:cubicBezTo>
                  <a:pt x="7" y="102"/>
                  <a:pt x="7" y="102"/>
                  <a:pt x="7" y="102"/>
                </a:cubicBezTo>
                <a:cubicBezTo>
                  <a:pt x="8" y="105"/>
                  <a:pt x="8" y="105"/>
                  <a:pt x="8" y="105"/>
                </a:cubicBezTo>
                <a:cubicBezTo>
                  <a:pt x="8" y="106"/>
                  <a:pt x="8" y="108"/>
                  <a:pt x="8" y="109"/>
                </a:cubicBezTo>
                <a:cubicBezTo>
                  <a:pt x="8" y="110"/>
                  <a:pt x="9" y="110"/>
                  <a:pt x="9" y="111"/>
                </a:cubicBezTo>
                <a:cubicBezTo>
                  <a:pt x="9" y="111"/>
                  <a:pt x="9" y="111"/>
                  <a:pt x="9" y="111"/>
                </a:cubicBezTo>
                <a:cubicBezTo>
                  <a:pt x="11" y="112"/>
                  <a:pt x="11" y="112"/>
                  <a:pt x="11" y="113"/>
                </a:cubicBezTo>
                <a:cubicBezTo>
                  <a:pt x="11" y="113"/>
                  <a:pt x="11" y="113"/>
                  <a:pt x="11" y="114"/>
                </a:cubicBezTo>
                <a:cubicBezTo>
                  <a:pt x="12" y="115"/>
                  <a:pt x="12" y="115"/>
                  <a:pt x="12" y="116"/>
                </a:cubicBezTo>
                <a:cubicBezTo>
                  <a:pt x="12" y="117"/>
                  <a:pt x="12" y="117"/>
                  <a:pt x="11" y="118"/>
                </a:cubicBezTo>
                <a:cubicBezTo>
                  <a:pt x="11" y="118"/>
                  <a:pt x="11" y="118"/>
                  <a:pt x="11" y="119"/>
                </a:cubicBezTo>
                <a:cubicBezTo>
                  <a:pt x="11" y="119"/>
                  <a:pt x="11" y="119"/>
                  <a:pt x="10" y="119"/>
                </a:cubicBezTo>
                <a:cubicBezTo>
                  <a:pt x="11" y="120"/>
                  <a:pt x="11" y="121"/>
                  <a:pt x="10" y="121"/>
                </a:cubicBezTo>
                <a:cubicBezTo>
                  <a:pt x="10" y="122"/>
                  <a:pt x="10" y="122"/>
                  <a:pt x="9" y="122"/>
                </a:cubicBezTo>
                <a:cubicBezTo>
                  <a:pt x="8" y="123"/>
                  <a:pt x="6" y="125"/>
                  <a:pt x="6" y="126"/>
                </a:cubicBezTo>
                <a:cubicBezTo>
                  <a:pt x="5" y="127"/>
                  <a:pt x="5" y="128"/>
                  <a:pt x="5" y="128"/>
                </a:cubicBezTo>
                <a:cubicBezTo>
                  <a:pt x="5" y="128"/>
                  <a:pt x="4" y="128"/>
                  <a:pt x="4" y="129"/>
                </a:cubicBezTo>
                <a:cubicBezTo>
                  <a:pt x="4" y="130"/>
                  <a:pt x="4" y="130"/>
                  <a:pt x="4" y="130"/>
                </a:cubicBezTo>
                <a:cubicBezTo>
                  <a:pt x="4" y="131"/>
                  <a:pt x="5" y="131"/>
                  <a:pt x="4" y="132"/>
                </a:cubicBezTo>
                <a:cubicBezTo>
                  <a:pt x="4" y="136"/>
                  <a:pt x="4" y="136"/>
                  <a:pt x="4" y="136"/>
                </a:cubicBezTo>
                <a:cubicBezTo>
                  <a:pt x="3" y="138"/>
                  <a:pt x="3" y="139"/>
                  <a:pt x="4" y="139"/>
                </a:cubicBezTo>
                <a:cubicBezTo>
                  <a:pt x="4" y="140"/>
                  <a:pt x="4" y="140"/>
                  <a:pt x="4" y="141"/>
                </a:cubicBezTo>
                <a:cubicBezTo>
                  <a:pt x="4" y="144"/>
                  <a:pt x="3" y="145"/>
                  <a:pt x="2" y="147"/>
                </a:cubicBezTo>
                <a:cubicBezTo>
                  <a:pt x="2" y="147"/>
                  <a:pt x="2" y="147"/>
                  <a:pt x="2" y="147"/>
                </a:cubicBezTo>
                <a:cubicBezTo>
                  <a:pt x="3" y="148"/>
                  <a:pt x="3" y="149"/>
                  <a:pt x="2" y="150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153"/>
                  <a:pt x="0" y="154"/>
                  <a:pt x="0" y="155"/>
                </a:cubicBezTo>
                <a:cubicBezTo>
                  <a:pt x="1" y="155"/>
                  <a:pt x="1" y="156"/>
                  <a:pt x="0" y="157"/>
                </a:cubicBezTo>
                <a:cubicBezTo>
                  <a:pt x="1" y="159"/>
                  <a:pt x="1" y="159"/>
                  <a:pt x="1" y="159"/>
                </a:cubicBezTo>
                <a:cubicBezTo>
                  <a:pt x="21" y="153"/>
                  <a:pt x="21" y="153"/>
                  <a:pt x="21" y="153"/>
                </a:cubicBezTo>
                <a:cubicBezTo>
                  <a:pt x="23" y="152"/>
                  <a:pt x="23" y="152"/>
                  <a:pt x="23" y="152"/>
                </a:cubicBezTo>
                <a:cubicBezTo>
                  <a:pt x="27" y="152"/>
                  <a:pt x="27" y="152"/>
                  <a:pt x="27" y="152"/>
                </a:cubicBezTo>
                <a:cubicBezTo>
                  <a:pt x="32" y="154"/>
                  <a:pt x="32" y="154"/>
                  <a:pt x="32" y="154"/>
                </a:cubicBezTo>
                <a:cubicBezTo>
                  <a:pt x="36" y="155"/>
                  <a:pt x="36" y="155"/>
                  <a:pt x="36" y="155"/>
                </a:cubicBezTo>
                <a:cubicBezTo>
                  <a:pt x="38" y="155"/>
                  <a:pt x="38" y="155"/>
                  <a:pt x="38" y="155"/>
                </a:cubicBezTo>
                <a:cubicBezTo>
                  <a:pt x="47" y="155"/>
                  <a:pt x="47" y="155"/>
                  <a:pt x="47" y="155"/>
                </a:cubicBezTo>
                <a:cubicBezTo>
                  <a:pt x="77" y="140"/>
                  <a:pt x="77" y="140"/>
                  <a:pt x="77" y="140"/>
                </a:cubicBezTo>
                <a:cubicBezTo>
                  <a:pt x="79" y="138"/>
                  <a:pt x="79" y="138"/>
                  <a:pt x="79" y="138"/>
                </a:cubicBezTo>
                <a:cubicBezTo>
                  <a:pt x="83" y="133"/>
                  <a:pt x="83" y="133"/>
                  <a:pt x="83" y="133"/>
                </a:cubicBezTo>
                <a:cubicBezTo>
                  <a:pt x="84" y="131"/>
                  <a:pt x="84" y="131"/>
                  <a:pt x="84" y="131"/>
                </a:cubicBezTo>
                <a:cubicBezTo>
                  <a:pt x="83" y="130"/>
                  <a:pt x="83" y="130"/>
                  <a:pt x="83" y="130"/>
                </a:cubicBezTo>
                <a:cubicBezTo>
                  <a:pt x="83" y="129"/>
                  <a:pt x="83" y="129"/>
                  <a:pt x="83" y="129"/>
                </a:cubicBezTo>
                <a:cubicBezTo>
                  <a:pt x="77" y="122"/>
                  <a:pt x="77" y="122"/>
                  <a:pt x="77" y="122"/>
                </a:cubicBezTo>
                <a:cubicBezTo>
                  <a:pt x="67" y="113"/>
                  <a:pt x="67" y="113"/>
                  <a:pt x="67" y="113"/>
                </a:cubicBezTo>
                <a:cubicBezTo>
                  <a:pt x="65" y="112"/>
                  <a:pt x="65" y="112"/>
                  <a:pt x="65" y="112"/>
                </a:cubicBezTo>
                <a:cubicBezTo>
                  <a:pt x="57" y="109"/>
                  <a:pt x="57" y="109"/>
                  <a:pt x="57" y="109"/>
                </a:cubicBezTo>
                <a:cubicBezTo>
                  <a:pt x="56" y="108"/>
                  <a:pt x="56" y="108"/>
                  <a:pt x="56" y="108"/>
                </a:cubicBezTo>
                <a:cubicBezTo>
                  <a:pt x="56" y="107"/>
                  <a:pt x="56" y="107"/>
                  <a:pt x="56" y="107"/>
                </a:cubicBezTo>
                <a:cubicBezTo>
                  <a:pt x="56" y="107"/>
                  <a:pt x="56" y="107"/>
                  <a:pt x="56" y="107"/>
                </a:cubicBezTo>
                <a:cubicBezTo>
                  <a:pt x="58" y="107"/>
                  <a:pt x="58" y="107"/>
                  <a:pt x="58" y="107"/>
                </a:cubicBezTo>
                <a:cubicBezTo>
                  <a:pt x="64" y="108"/>
                  <a:pt x="64" y="108"/>
                  <a:pt x="64" y="108"/>
                </a:cubicBezTo>
                <a:cubicBezTo>
                  <a:pt x="72" y="113"/>
                  <a:pt x="72" y="113"/>
                  <a:pt x="72" y="113"/>
                </a:cubicBezTo>
                <a:cubicBezTo>
                  <a:pt x="75" y="115"/>
                  <a:pt x="75" y="115"/>
                  <a:pt x="75" y="115"/>
                </a:cubicBezTo>
                <a:cubicBezTo>
                  <a:pt x="79" y="119"/>
                  <a:pt x="79" y="119"/>
                  <a:pt x="79" y="119"/>
                </a:cubicBezTo>
                <a:cubicBezTo>
                  <a:pt x="89" y="126"/>
                  <a:pt x="89" y="126"/>
                  <a:pt x="89" y="126"/>
                </a:cubicBezTo>
                <a:cubicBezTo>
                  <a:pt x="104" y="137"/>
                  <a:pt x="104" y="137"/>
                  <a:pt x="104" y="137"/>
                </a:cubicBezTo>
                <a:cubicBezTo>
                  <a:pt x="107" y="138"/>
                  <a:pt x="107" y="138"/>
                  <a:pt x="107" y="138"/>
                </a:cubicBezTo>
                <a:cubicBezTo>
                  <a:pt x="108" y="138"/>
                  <a:pt x="108" y="138"/>
                  <a:pt x="108" y="138"/>
                </a:cubicBezTo>
                <a:cubicBezTo>
                  <a:pt x="110" y="138"/>
                  <a:pt x="110" y="138"/>
                  <a:pt x="110" y="138"/>
                </a:cubicBezTo>
                <a:cubicBezTo>
                  <a:pt x="111" y="138"/>
                  <a:pt x="111" y="138"/>
                  <a:pt x="111" y="138"/>
                </a:cubicBezTo>
                <a:cubicBezTo>
                  <a:pt x="112" y="138"/>
                  <a:pt x="112" y="138"/>
                  <a:pt x="112" y="138"/>
                </a:cubicBezTo>
                <a:cubicBezTo>
                  <a:pt x="113" y="137"/>
                  <a:pt x="113" y="137"/>
                  <a:pt x="113" y="137"/>
                </a:cubicBezTo>
                <a:cubicBezTo>
                  <a:pt x="114" y="132"/>
                  <a:pt x="114" y="132"/>
                  <a:pt x="114" y="132"/>
                </a:cubicBezTo>
                <a:cubicBezTo>
                  <a:pt x="114" y="130"/>
                  <a:pt x="114" y="130"/>
                  <a:pt x="114" y="130"/>
                </a:cubicBezTo>
                <a:cubicBezTo>
                  <a:pt x="113" y="129"/>
                  <a:pt x="113" y="129"/>
                  <a:pt x="113" y="129"/>
                </a:cubicBezTo>
                <a:cubicBezTo>
                  <a:pt x="110" y="127"/>
                  <a:pt x="110" y="127"/>
                  <a:pt x="110" y="127"/>
                </a:cubicBezTo>
                <a:cubicBezTo>
                  <a:pt x="106" y="124"/>
                  <a:pt x="106" y="124"/>
                  <a:pt x="106" y="124"/>
                </a:cubicBezTo>
                <a:cubicBezTo>
                  <a:pt x="106" y="123"/>
                  <a:pt x="106" y="123"/>
                  <a:pt x="106" y="123"/>
                </a:cubicBezTo>
                <a:cubicBezTo>
                  <a:pt x="106" y="123"/>
                  <a:pt x="106" y="123"/>
                  <a:pt x="106" y="123"/>
                </a:cubicBezTo>
                <a:cubicBezTo>
                  <a:pt x="107" y="122"/>
                  <a:pt x="107" y="122"/>
                  <a:pt x="107" y="122"/>
                </a:cubicBezTo>
                <a:cubicBezTo>
                  <a:pt x="107" y="122"/>
                  <a:pt x="107" y="122"/>
                  <a:pt x="107" y="122"/>
                </a:cubicBezTo>
                <a:cubicBezTo>
                  <a:pt x="117" y="121"/>
                  <a:pt x="117" y="121"/>
                  <a:pt x="117" y="121"/>
                </a:cubicBezTo>
                <a:cubicBezTo>
                  <a:pt x="119" y="121"/>
                  <a:pt x="119" y="121"/>
                  <a:pt x="119" y="121"/>
                </a:cubicBezTo>
                <a:cubicBezTo>
                  <a:pt x="121" y="123"/>
                  <a:pt x="121" y="123"/>
                  <a:pt x="121" y="123"/>
                </a:cubicBezTo>
                <a:cubicBezTo>
                  <a:pt x="121" y="123"/>
                  <a:pt x="121" y="123"/>
                  <a:pt x="121" y="123"/>
                </a:cubicBezTo>
                <a:cubicBezTo>
                  <a:pt x="121" y="125"/>
                  <a:pt x="121" y="125"/>
                  <a:pt x="121" y="125"/>
                </a:cubicBezTo>
                <a:cubicBezTo>
                  <a:pt x="120" y="125"/>
                  <a:pt x="120" y="125"/>
                  <a:pt x="120" y="125"/>
                </a:cubicBezTo>
                <a:cubicBezTo>
                  <a:pt x="119" y="126"/>
                  <a:pt x="119" y="126"/>
                  <a:pt x="119" y="126"/>
                </a:cubicBezTo>
                <a:cubicBezTo>
                  <a:pt x="116" y="133"/>
                  <a:pt x="116" y="133"/>
                  <a:pt x="116" y="133"/>
                </a:cubicBezTo>
                <a:cubicBezTo>
                  <a:pt x="116" y="133"/>
                  <a:pt x="116" y="133"/>
                  <a:pt x="116" y="133"/>
                </a:cubicBezTo>
                <a:cubicBezTo>
                  <a:pt x="116" y="136"/>
                  <a:pt x="116" y="136"/>
                  <a:pt x="116" y="136"/>
                </a:cubicBezTo>
                <a:cubicBezTo>
                  <a:pt x="117" y="137"/>
                  <a:pt x="117" y="137"/>
                  <a:pt x="117" y="137"/>
                </a:cubicBezTo>
                <a:cubicBezTo>
                  <a:pt x="118" y="138"/>
                  <a:pt x="118" y="138"/>
                  <a:pt x="118" y="138"/>
                </a:cubicBezTo>
                <a:cubicBezTo>
                  <a:pt x="120" y="138"/>
                  <a:pt x="120" y="138"/>
                  <a:pt x="120" y="138"/>
                </a:cubicBezTo>
                <a:cubicBezTo>
                  <a:pt x="122" y="137"/>
                  <a:pt x="122" y="137"/>
                  <a:pt x="122" y="137"/>
                </a:cubicBezTo>
                <a:cubicBezTo>
                  <a:pt x="126" y="135"/>
                  <a:pt x="126" y="135"/>
                  <a:pt x="126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27" y="133"/>
                  <a:pt x="127" y="133"/>
                  <a:pt x="127" y="133"/>
                </a:cubicBezTo>
                <a:cubicBezTo>
                  <a:pt x="126" y="130"/>
                  <a:pt x="126" y="130"/>
                  <a:pt x="126" y="130"/>
                </a:cubicBezTo>
                <a:cubicBezTo>
                  <a:pt x="127" y="127"/>
                  <a:pt x="127" y="127"/>
                  <a:pt x="127" y="127"/>
                </a:cubicBezTo>
                <a:cubicBezTo>
                  <a:pt x="127" y="124"/>
                  <a:pt x="127" y="124"/>
                  <a:pt x="127" y="124"/>
                </a:cubicBezTo>
                <a:cubicBezTo>
                  <a:pt x="128" y="123"/>
                  <a:pt x="128" y="123"/>
                  <a:pt x="128" y="123"/>
                </a:cubicBezTo>
                <a:cubicBezTo>
                  <a:pt x="128" y="122"/>
                  <a:pt x="128" y="122"/>
                  <a:pt x="128" y="122"/>
                </a:cubicBezTo>
                <a:cubicBezTo>
                  <a:pt x="130" y="121"/>
                  <a:pt x="130" y="121"/>
                  <a:pt x="130" y="121"/>
                </a:cubicBezTo>
                <a:cubicBezTo>
                  <a:pt x="133" y="121"/>
                  <a:pt x="133" y="121"/>
                  <a:pt x="133" y="121"/>
                </a:cubicBezTo>
                <a:cubicBezTo>
                  <a:pt x="134" y="122"/>
                  <a:pt x="134" y="122"/>
                  <a:pt x="134" y="122"/>
                </a:cubicBezTo>
                <a:cubicBezTo>
                  <a:pt x="135" y="123"/>
                  <a:pt x="135" y="123"/>
                  <a:pt x="135" y="123"/>
                </a:cubicBezTo>
                <a:cubicBezTo>
                  <a:pt x="135" y="124"/>
                  <a:pt x="135" y="124"/>
                  <a:pt x="135" y="124"/>
                </a:cubicBezTo>
                <a:cubicBezTo>
                  <a:pt x="134" y="130"/>
                  <a:pt x="134" y="130"/>
                  <a:pt x="134" y="130"/>
                </a:cubicBezTo>
                <a:cubicBezTo>
                  <a:pt x="134" y="131"/>
                  <a:pt x="134" y="131"/>
                  <a:pt x="134" y="131"/>
                </a:cubicBezTo>
                <a:cubicBezTo>
                  <a:pt x="134" y="132"/>
                  <a:pt x="134" y="132"/>
                  <a:pt x="134" y="132"/>
                </a:cubicBezTo>
                <a:cubicBezTo>
                  <a:pt x="133" y="132"/>
                  <a:pt x="133" y="132"/>
                  <a:pt x="133" y="132"/>
                </a:cubicBezTo>
                <a:cubicBezTo>
                  <a:pt x="131" y="134"/>
                  <a:pt x="131" y="134"/>
                  <a:pt x="131" y="134"/>
                </a:cubicBezTo>
                <a:cubicBezTo>
                  <a:pt x="129" y="137"/>
                  <a:pt x="129" y="137"/>
                  <a:pt x="129" y="137"/>
                </a:cubicBezTo>
                <a:cubicBezTo>
                  <a:pt x="130" y="138"/>
                  <a:pt x="130" y="138"/>
                  <a:pt x="130" y="138"/>
                </a:cubicBezTo>
                <a:cubicBezTo>
                  <a:pt x="130" y="139"/>
                  <a:pt x="130" y="139"/>
                  <a:pt x="130" y="139"/>
                </a:cubicBezTo>
                <a:cubicBezTo>
                  <a:pt x="131" y="139"/>
                  <a:pt x="131" y="139"/>
                  <a:pt x="131" y="139"/>
                </a:cubicBezTo>
                <a:cubicBezTo>
                  <a:pt x="141" y="138"/>
                  <a:pt x="141" y="138"/>
                  <a:pt x="141" y="138"/>
                </a:cubicBezTo>
                <a:cubicBezTo>
                  <a:pt x="141" y="137"/>
                  <a:pt x="141" y="137"/>
                  <a:pt x="141" y="137"/>
                </a:cubicBezTo>
                <a:cubicBezTo>
                  <a:pt x="141" y="127"/>
                  <a:pt x="141" y="127"/>
                  <a:pt x="141" y="127"/>
                </a:cubicBezTo>
                <a:cubicBezTo>
                  <a:pt x="141" y="125"/>
                  <a:pt x="141" y="125"/>
                  <a:pt x="141" y="125"/>
                </a:cubicBezTo>
                <a:cubicBezTo>
                  <a:pt x="140" y="124"/>
                  <a:pt x="140" y="124"/>
                  <a:pt x="140" y="124"/>
                </a:cubicBezTo>
                <a:cubicBezTo>
                  <a:pt x="138" y="124"/>
                  <a:pt x="138" y="124"/>
                  <a:pt x="138" y="124"/>
                </a:cubicBezTo>
                <a:cubicBezTo>
                  <a:pt x="138" y="123"/>
                  <a:pt x="138" y="123"/>
                  <a:pt x="138" y="123"/>
                </a:cubicBezTo>
                <a:cubicBezTo>
                  <a:pt x="138" y="123"/>
                  <a:pt x="138" y="123"/>
                  <a:pt x="138" y="123"/>
                </a:cubicBezTo>
                <a:cubicBezTo>
                  <a:pt x="139" y="121"/>
                  <a:pt x="139" y="121"/>
                  <a:pt x="139" y="121"/>
                </a:cubicBezTo>
                <a:cubicBezTo>
                  <a:pt x="140" y="121"/>
                  <a:pt x="140" y="121"/>
                  <a:pt x="140" y="121"/>
                </a:cubicBezTo>
                <a:cubicBezTo>
                  <a:pt x="144" y="121"/>
                  <a:pt x="144" y="121"/>
                  <a:pt x="144" y="121"/>
                </a:cubicBezTo>
                <a:cubicBezTo>
                  <a:pt x="149" y="124"/>
                  <a:pt x="149" y="124"/>
                  <a:pt x="149" y="124"/>
                </a:cubicBezTo>
                <a:cubicBezTo>
                  <a:pt x="150" y="124"/>
                  <a:pt x="150" y="124"/>
                  <a:pt x="150" y="124"/>
                </a:cubicBezTo>
                <a:cubicBezTo>
                  <a:pt x="153" y="127"/>
                  <a:pt x="153" y="127"/>
                  <a:pt x="153" y="127"/>
                </a:cubicBezTo>
                <a:cubicBezTo>
                  <a:pt x="154" y="127"/>
                  <a:pt x="156" y="126"/>
                  <a:pt x="159" y="124"/>
                </a:cubicBezTo>
                <a:cubicBezTo>
                  <a:pt x="158" y="123"/>
                  <a:pt x="158" y="122"/>
                  <a:pt x="159" y="121"/>
                </a:cubicBezTo>
                <a:cubicBezTo>
                  <a:pt x="159" y="121"/>
                  <a:pt x="159" y="121"/>
                  <a:pt x="159" y="120"/>
                </a:cubicBezTo>
                <a:cubicBezTo>
                  <a:pt x="158" y="119"/>
                  <a:pt x="158" y="116"/>
                  <a:pt x="159" y="114"/>
                </a:cubicBezTo>
                <a:cubicBezTo>
                  <a:pt x="159" y="112"/>
                  <a:pt x="159" y="110"/>
                  <a:pt x="162" y="109"/>
                </a:cubicBezTo>
                <a:cubicBezTo>
                  <a:pt x="163" y="109"/>
                  <a:pt x="163" y="108"/>
                  <a:pt x="164" y="107"/>
                </a:cubicBezTo>
                <a:cubicBezTo>
                  <a:pt x="163" y="105"/>
                  <a:pt x="163" y="105"/>
                  <a:pt x="163" y="105"/>
                </a:cubicBezTo>
                <a:cubicBezTo>
                  <a:pt x="163" y="103"/>
                  <a:pt x="163" y="102"/>
                  <a:pt x="163" y="101"/>
                </a:cubicBezTo>
                <a:cubicBezTo>
                  <a:pt x="163" y="101"/>
                  <a:pt x="164" y="100"/>
                  <a:pt x="164" y="99"/>
                </a:cubicBezTo>
                <a:cubicBezTo>
                  <a:pt x="164" y="99"/>
                  <a:pt x="164" y="99"/>
                  <a:pt x="164" y="99"/>
                </a:cubicBezTo>
                <a:cubicBezTo>
                  <a:pt x="165" y="96"/>
                  <a:pt x="165" y="96"/>
                  <a:pt x="165" y="96"/>
                </a:cubicBezTo>
                <a:cubicBezTo>
                  <a:pt x="167" y="82"/>
                  <a:pt x="167" y="82"/>
                  <a:pt x="167" y="82"/>
                </a:cubicBezTo>
                <a:cubicBezTo>
                  <a:pt x="168" y="82"/>
                  <a:pt x="168" y="82"/>
                  <a:pt x="168" y="82"/>
                </a:cubicBezTo>
                <a:cubicBezTo>
                  <a:pt x="168" y="82"/>
                  <a:pt x="169" y="80"/>
                  <a:pt x="170" y="78"/>
                </a:cubicBezTo>
                <a:cubicBezTo>
                  <a:pt x="171" y="76"/>
                  <a:pt x="172" y="76"/>
                  <a:pt x="173" y="76"/>
                </a:cubicBezTo>
                <a:cubicBezTo>
                  <a:pt x="173" y="76"/>
                  <a:pt x="173" y="76"/>
                  <a:pt x="173" y="76"/>
                </a:cubicBezTo>
                <a:cubicBezTo>
                  <a:pt x="174" y="75"/>
                  <a:pt x="174" y="75"/>
                  <a:pt x="174" y="75"/>
                </a:cubicBezTo>
                <a:cubicBezTo>
                  <a:pt x="174" y="74"/>
                  <a:pt x="175" y="74"/>
                  <a:pt x="175" y="74"/>
                </a:cubicBezTo>
                <a:cubicBezTo>
                  <a:pt x="178" y="74"/>
                  <a:pt x="178" y="74"/>
                  <a:pt x="178" y="74"/>
                </a:cubicBezTo>
                <a:cubicBezTo>
                  <a:pt x="179" y="74"/>
                  <a:pt x="181" y="72"/>
                  <a:pt x="182" y="71"/>
                </a:cubicBezTo>
                <a:cubicBezTo>
                  <a:pt x="184" y="69"/>
                  <a:pt x="184" y="69"/>
                  <a:pt x="184" y="69"/>
                </a:cubicBezTo>
                <a:cubicBezTo>
                  <a:pt x="184" y="68"/>
                  <a:pt x="185" y="68"/>
                  <a:pt x="186" y="68"/>
                </a:cubicBezTo>
                <a:cubicBezTo>
                  <a:pt x="187" y="68"/>
                  <a:pt x="187" y="68"/>
                  <a:pt x="187" y="68"/>
                </a:cubicBezTo>
                <a:cubicBezTo>
                  <a:pt x="188" y="68"/>
                  <a:pt x="189" y="68"/>
                  <a:pt x="190" y="67"/>
                </a:cubicBezTo>
                <a:cubicBezTo>
                  <a:pt x="190" y="65"/>
                  <a:pt x="190" y="65"/>
                  <a:pt x="190" y="65"/>
                </a:cubicBezTo>
                <a:cubicBezTo>
                  <a:pt x="190" y="64"/>
                  <a:pt x="189" y="63"/>
                  <a:pt x="189" y="63"/>
                </a:cubicBezTo>
                <a:cubicBezTo>
                  <a:pt x="189" y="63"/>
                  <a:pt x="189" y="63"/>
                  <a:pt x="189" y="6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Freeform 76">
            <a:extLst>
              <a:ext uri="{FF2B5EF4-FFF2-40B4-BE49-F238E27FC236}">
                <a16:creationId xmlns:a16="http://schemas.microsoft.com/office/drawing/2014/main" id="{6A69DF42-A798-432D-A830-066724A5B071}"/>
              </a:ext>
            </a:extLst>
          </p:cNvPr>
          <p:cNvSpPr>
            <a:spLocks/>
          </p:cNvSpPr>
          <p:nvPr/>
        </p:nvSpPr>
        <p:spPr bwMode="auto">
          <a:xfrm>
            <a:off x="6094427" y="4744566"/>
            <a:ext cx="189177" cy="260350"/>
          </a:xfrm>
          <a:custGeom>
            <a:avLst/>
            <a:gdLst>
              <a:gd name="T0" fmla="*/ 58 w 78"/>
              <a:gd name="T1" fmla="*/ 18 h 117"/>
              <a:gd name="T2" fmla="*/ 55 w 78"/>
              <a:gd name="T3" fmla="*/ 11 h 117"/>
              <a:gd name="T4" fmla="*/ 51 w 78"/>
              <a:gd name="T5" fmla="*/ 9 h 117"/>
              <a:gd name="T6" fmla="*/ 48 w 78"/>
              <a:gd name="T7" fmla="*/ 7 h 117"/>
              <a:gd name="T8" fmla="*/ 42 w 78"/>
              <a:gd name="T9" fmla="*/ 7 h 117"/>
              <a:gd name="T10" fmla="*/ 32 w 78"/>
              <a:gd name="T11" fmla="*/ 0 h 117"/>
              <a:gd name="T12" fmla="*/ 23 w 78"/>
              <a:gd name="T13" fmla="*/ 4 h 117"/>
              <a:gd name="T14" fmla="*/ 18 w 78"/>
              <a:gd name="T15" fmla="*/ 14 h 117"/>
              <a:gd name="T16" fmla="*/ 11 w 78"/>
              <a:gd name="T17" fmla="*/ 15 h 117"/>
              <a:gd name="T18" fmla="*/ 3 w 78"/>
              <a:gd name="T19" fmla="*/ 14 h 117"/>
              <a:gd name="T20" fmla="*/ 2 w 78"/>
              <a:gd name="T21" fmla="*/ 22 h 117"/>
              <a:gd name="T22" fmla="*/ 0 w 78"/>
              <a:gd name="T23" fmla="*/ 27 h 117"/>
              <a:gd name="T24" fmla="*/ 4 w 78"/>
              <a:gd name="T25" fmla="*/ 31 h 117"/>
              <a:gd name="T26" fmla="*/ 8 w 78"/>
              <a:gd name="T27" fmla="*/ 35 h 117"/>
              <a:gd name="T28" fmla="*/ 12 w 78"/>
              <a:gd name="T29" fmla="*/ 39 h 117"/>
              <a:gd name="T30" fmla="*/ 13 w 78"/>
              <a:gd name="T31" fmla="*/ 44 h 117"/>
              <a:gd name="T32" fmla="*/ 13 w 78"/>
              <a:gd name="T33" fmla="*/ 50 h 117"/>
              <a:gd name="T34" fmla="*/ 18 w 78"/>
              <a:gd name="T35" fmla="*/ 56 h 117"/>
              <a:gd name="T36" fmla="*/ 16 w 78"/>
              <a:gd name="T37" fmla="*/ 63 h 117"/>
              <a:gd name="T38" fmla="*/ 13 w 78"/>
              <a:gd name="T39" fmla="*/ 66 h 117"/>
              <a:gd name="T40" fmla="*/ 10 w 78"/>
              <a:gd name="T41" fmla="*/ 69 h 117"/>
              <a:gd name="T42" fmla="*/ 9 w 78"/>
              <a:gd name="T43" fmla="*/ 74 h 117"/>
              <a:gd name="T44" fmla="*/ 10 w 78"/>
              <a:gd name="T45" fmla="*/ 80 h 117"/>
              <a:gd name="T46" fmla="*/ 10 w 78"/>
              <a:gd name="T47" fmla="*/ 84 h 117"/>
              <a:gd name="T48" fmla="*/ 10 w 78"/>
              <a:gd name="T49" fmla="*/ 92 h 117"/>
              <a:gd name="T50" fmla="*/ 7 w 78"/>
              <a:gd name="T51" fmla="*/ 98 h 117"/>
              <a:gd name="T52" fmla="*/ 8 w 78"/>
              <a:gd name="T53" fmla="*/ 103 h 117"/>
              <a:gd name="T54" fmla="*/ 9 w 78"/>
              <a:gd name="T55" fmla="*/ 105 h 117"/>
              <a:gd name="T56" fmla="*/ 16 w 78"/>
              <a:gd name="T57" fmla="*/ 108 h 117"/>
              <a:gd name="T58" fmla="*/ 18 w 78"/>
              <a:gd name="T59" fmla="*/ 114 h 117"/>
              <a:gd name="T60" fmla="*/ 23 w 78"/>
              <a:gd name="T61" fmla="*/ 117 h 117"/>
              <a:gd name="T62" fmla="*/ 23 w 78"/>
              <a:gd name="T63" fmla="*/ 113 h 117"/>
              <a:gd name="T64" fmla="*/ 24 w 78"/>
              <a:gd name="T65" fmla="*/ 105 h 117"/>
              <a:gd name="T66" fmla="*/ 39 w 78"/>
              <a:gd name="T67" fmla="*/ 107 h 117"/>
              <a:gd name="T68" fmla="*/ 48 w 78"/>
              <a:gd name="T69" fmla="*/ 110 h 117"/>
              <a:gd name="T70" fmla="*/ 47 w 78"/>
              <a:gd name="T71" fmla="*/ 100 h 117"/>
              <a:gd name="T72" fmla="*/ 42 w 78"/>
              <a:gd name="T73" fmla="*/ 88 h 117"/>
              <a:gd name="T74" fmla="*/ 50 w 78"/>
              <a:gd name="T75" fmla="*/ 85 h 117"/>
              <a:gd name="T76" fmla="*/ 56 w 78"/>
              <a:gd name="T77" fmla="*/ 80 h 117"/>
              <a:gd name="T78" fmla="*/ 58 w 78"/>
              <a:gd name="T79" fmla="*/ 78 h 117"/>
              <a:gd name="T80" fmla="*/ 69 w 78"/>
              <a:gd name="T81" fmla="*/ 74 h 117"/>
              <a:gd name="T82" fmla="*/ 75 w 78"/>
              <a:gd name="T83" fmla="*/ 75 h 117"/>
              <a:gd name="T84" fmla="*/ 75 w 78"/>
              <a:gd name="T85" fmla="*/ 72 h 117"/>
              <a:gd name="T86" fmla="*/ 75 w 78"/>
              <a:gd name="T87" fmla="*/ 64 h 117"/>
              <a:gd name="T88" fmla="*/ 78 w 78"/>
              <a:gd name="T89" fmla="*/ 57 h 117"/>
              <a:gd name="T90" fmla="*/ 75 w 78"/>
              <a:gd name="T91" fmla="*/ 42 h 117"/>
              <a:gd name="T92" fmla="*/ 75 w 78"/>
              <a:gd name="T93" fmla="*/ 32 h 117"/>
              <a:gd name="T94" fmla="*/ 67 w 78"/>
              <a:gd name="T95" fmla="*/ 28 h 117"/>
              <a:gd name="T96" fmla="*/ 64 w 78"/>
              <a:gd name="T97" fmla="*/ 23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78" h="117">
                <a:moveTo>
                  <a:pt x="61" y="19"/>
                </a:moveTo>
                <a:cubicBezTo>
                  <a:pt x="60" y="19"/>
                  <a:pt x="60" y="19"/>
                  <a:pt x="60" y="19"/>
                </a:cubicBezTo>
                <a:cubicBezTo>
                  <a:pt x="59" y="19"/>
                  <a:pt x="58" y="19"/>
                  <a:pt x="58" y="18"/>
                </a:cubicBezTo>
                <a:cubicBezTo>
                  <a:pt x="58" y="15"/>
                  <a:pt x="58" y="15"/>
                  <a:pt x="56" y="13"/>
                </a:cubicBezTo>
                <a:cubicBezTo>
                  <a:pt x="56" y="13"/>
                  <a:pt x="55" y="12"/>
                  <a:pt x="55" y="11"/>
                </a:cubicBezTo>
                <a:cubicBezTo>
                  <a:pt x="55" y="11"/>
                  <a:pt x="55" y="11"/>
                  <a:pt x="55" y="11"/>
                </a:cubicBezTo>
                <a:cubicBezTo>
                  <a:pt x="54" y="11"/>
                  <a:pt x="54" y="11"/>
                  <a:pt x="53" y="11"/>
                </a:cubicBezTo>
                <a:cubicBezTo>
                  <a:pt x="53" y="11"/>
                  <a:pt x="53" y="11"/>
                  <a:pt x="53" y="11"/>
                </a:cubicBezTo>
                <a:cubicBezTo>
                  <a:pt x="51" y="9"/>
                  <a:pt x="51" y="9"/>
                  <a:pt x="51" y="9"/>
                </a:cubicBezTo>
                <a:cubicBezTo>
                  <a:pt x="50" y="9"/>
                  <a:pt x="50" y="9"/>
                  <a:pt x="49" y="8"/>
                </a:cubicBezTo>
                <a:cubicBezTo>
                  <a:pt x="49" y="8"/>
                  <a:pt x="49" y="8"/>
                  <a:pt x="49" y="8"/>
                </a:cubicBezTo>
                <a:cubicBezTo>
                  <a:pt x="49" y="8"/>
                  <a:pt x="49" y="8"/>
                  <a:pt x="48" y="7"/>
                </a:cubicBezTo>
                <a:cubicBezTo>
                  <a:pt x="47" y="6"/>
                  <a:pt x="46" y="5"/>
                  <a:pt x="46" y="5"/>
                </a:cubicBezTo>
                <a:cubicBezTo>
                  <a:pt x="46" y="5"/>
                  <a:pt x="46" y="5"/>
                  <a:pt x="46" y="5"/>
                </a:cubicBezTo>
                <a:cubicBezTo>
                  <a:pt x="43" y="4"/>
                  <a:pt x="42" y="7"/>
                  <a:pt x="42" y="7"/>
                </a:cubicBezTo>
                <a:cubicBezTo>
                  <a:pt x="41" y="7"/>
                  <a:pt x="41" y="8"/>
                  <a:pt x="40" y="7"/>
                </a:cubicBezTo>
                <a:cubicBezTo>
                  <a:pt x="39" y="7"/>
                  <a:pt x="38" y="7"/>
                  <a:pt x="35" y="4"/>
                </a:cubicBezTo>
                <a:cubicBezTo>
                  <a:pt x="33" y="2"/>
                  <a:pt x="33" y="1"/>
                  <a:pt x="32" y="0"/>
                </a:cubicBezTo>
                <a:cubicBezTo>
                  <a:pt x="31" y="1"/>
                  <a:pt x="31" y="1"/>
                  <a:pt x="31" y="1"/>
                </a:cubicBezTo>
                <a:cubicBezTo>
                  <a:pt x="27" y="1"/>
                  <a:pt x="27" y="1"/>
                  <a:pt x="27" y="1"/>
                </a:cubicBezTo>
                <a:cubicBezTo>
                  <a:pt x="23" y="4"/>
                  <a:pt x="23" y="4"/>
                  <a:pt x="23" y="4"/>
                </a:cubicBezTo>
                <a:cubicBezTo>
                  <a:pt x="22" y="6"/>
                  <a:pt x="21" y="8"/>
                  <a:pt x="21" y="9"/>
                </a:cubicBezTo>
                <a:cubicBezTo>
                  <a:pt x="21" y="11"/>
                  <a:pt x="20" y="12"/>
                  <a:pt x="18" y="13"/>
                </a:cubicBezTo>
                <a:cubicBezTo>
                  <a:pt x="18" y="14"/>
                  <a:pt x="18" y="14"/>
                  <a:pt x="18" y="14"/>
                </a:cubicBezTo>
                <a:cubicBezTo>
                  <a:pt x="18" y="16"/>
                  <a:pt x="16" y="16"/>
                  <a:pt x="15" y="16"/>
                </a:cubicBezTo>
                <a:cubicBezTo>
                  <a:pt x="11" y="15"/>
                  <a:pt x="11" y="15"/>
                  <a:pt x="11" y="15"/>
                </a:cubicBezTo>
                <a:cubicBezTo>
                  <a:pt x="11" y="15"/>
                  <a:pt x="11" y="15"/>
                  <a:pt x="11" y="15"/>
                </a:cubicBezTo>
                <a:cubicBezTo>
                  <a:pt x="7" y="13"/>
                  <a:pt x="7" y="13"/>
                  <a:pt x="7" y="13"/>
                </a:cubicBezTo>
                <a:cubicBezTo>
                  <a:pt x="3" y="13"/>
                  <a:pt x="3" y="13"/>
                  <a:pt x="3" y="13"/>
                </a:cubicBezTo>
                <a:cubicBezTo>
                  <a:pt x="3" y="14"/>
                  <a:pt x="3" y="14"/>
                  <a:pt x="3" y="14"/>
                </a:cubicBezTo>
                <a:cubicBezTo>
                  <a:pt x="3" y="15"/>
                  <a:pt x="3" y="16"/>
                  <a:pt x="2" y="17"/>
                </a:cubicBezTo>
                <a:cubicBezTo>
                  <a:pt x="2" y="17"/>
                  <a:pt x="2" y="17"/>
                  <a:pt x="2" y="17"/>
                </a:cubicBezTo>
                <a:cubicBezTo>
                  <a:pt x="3" y="18"/>
                  <a:pt x="3" y="20"/>
                  <a:pt x="2" y="22"/>
                </a:cubicBezTo>
                <a:cubicBezTo>
                  <a:pt x="2" y="24"/>
                  <a:pt x="2" y="24"/>
                  <a:pt x="2" y="24"/>
                </a:cubicBezTo>
                <a:cubicBezTo>
                  <a:pt x="1" y="24"/>
                  <a:pt x="1" y="25"/>
                  <a:pt x="0" y="27"/>
                </a:cubicBezTo>
                <a:cubicBezTo>
                  <a:pt x="0" y="27"/>
                  <a:pt x="0" y="27"/>
                  <a:pt x="0" y="27"/>
                </a:cubicBezTo>
                <a:cubicBezTo>
                  <a:pt x="1" y="28"/>
                  <a:pt x="1" y="28"/>
                  <a:pt x="1" y="29"/>
                </a:cubicBezTo>
                <a:cubicBezTo>
                  <a:pt x="1" y="29"/>
                  <a:pt x="1" y="30"/>
                  <a:pt x="2" y="30"/>
                </a:cubicBezTo>
                <a:cubicBezTo>
                  <a:pt x="3" y="30"/>
                  <a:pt x="3" y="31"/>
                  <a:pt x="4" y="31"/>
                </a:cubicBezTo>
                <a:cubicBezTo>
                  <a:pt x="5" y="34"/>
                  <a:pt x="5" y="34"/>
                  <a:pt x="5" y="34"/>
                </a:cubicBezTo>
                <a:cubicBezTo>
                  <a:pt x="5" y="35"/>
                  <a:pt x="5" y="35"/>
                  <a:pt x="5" y="35"/>
                </a:cubicBezTo>
                <a:cubicBezTo>
                  <a:pt x="8" y="35"/>
                  <a:pt x="8" y="35"/>
                  <a:pt x="8" y="35"/>
                </a:cubicBezTo>
                <a:cubicBezTo>
                  <a:pt x="9" y="35"/>
                  <a:pt x="9" y="35"/>
                  <a:pt x="10" y="36"/>
                </a:cubicBezTo>
                <a:cubicBezTo>
                  <a:pt x="11" y="38"/>
                  <a:pt x="11" y="38"/>
                  <a:pt x="11" y="38"/>
                </a:cubicBezTo>
                <a:cubicBezTo>
                  <a:pt x="12" y="38"/>
                  <a:pt x="12" y="39"/>
                  <a:pt x="12" y="39"/>
                </a:cubicBezTo>
                <a:cubicBezTo>
                  <a:pt x="12" y="39"/>
                  <a:pt x="13" y="39"/>
                  <a:pt x="13" y="40"/>
                </a:cubicBezTo>
                <a:cubicBezTo>
                  <a:pt x="14" y="40"/>
                  <a:pt x="14" y="42"/>
                  <a:pt x="14" y="43"/>
                </a:cubicBezTo>
                <a:cubicBezTo>
                  <a:pt x="13" y="44"/>
                  <a:pt x="13" y="44"/>
                  <a:pt x="13" y="44"/>
                </a:cubicBezTo>
                <a:cubicBezTo>
                  <a:pt x="13" y="45"/>
                  <a:pt x="13" y="45"/>
                  <a:pt x="13" y="46"/>
                </a:cubicBezTo>
                <a:cubicBezTo>
                  <a:pt x="12" y="47"/>
                  <a:pt x="11" y="48"/>
                  <a:pt x="11" y="49"/>
                </a:cubicBezTo>
                <a:cubicBezTo>
                  <a:pt x="13" y="50"/>
                  <a:pt x="13" y="50"/>
                  <a:pt x="13" y="50"/>
                </a:cubicBezTo>
                <a:cubicBezTo>
                  <a:pt x="17" y="52"/>
                  <a:pt x="17" y="52"/>
                  <a:pt x="17" y="52"/>
                </a:cubicBezTo>
                <a:cubicBezTo>
                  <a:pt x="18" y="52"/>
                  <a:pt x="18" y="53"/>
                  <a:pt x="18" y="53"/>
                </a:cubicBezTo>
                <a:cubicBezTo>
                  <a:pt x="18" y="56"/>
                  <a:pt x="18" y="56"/>
                  <a:pt x="18" y="56"/>
                </a:cubicBezTo>
                <a:cubicBezTo>
                  <a:pt x="19" y="56"/>
                  <a:pt x="19" y="56"/>
                  <a:pt x="19" y="56"/>
                </a:cubicBezTo>
                <a:cubicBezTo>
                  <a:pt x="20" y="58"/>
                  <a:pt x="19" y="60"/>
                  <a:pt x="18" y="61"/>
                </a:cubicBezTo>
                <a:cubicBezTo>
                  <a:pt x="16" y="63"/>
                  <a:pt x="16" y="63"/>
                  <a:pt x="16" y="63"/>
                </a:cubicBezTo>
                <a:cubicBezTo>
                  <a:pt x="16" y="65"/>
                  <a:pt x="16" y="65"/>
                  <a:pt x="16" y="65"/>
                </a:cubicBezTo>
                <a:cubicBezTo>
                  <a:pt x="15" y="66"/>
                  <a:pt x="15" y="66"/>
                  <a:pt x="15" y="66"/>
                </a:cubicBezTo>
                <a:cubicBezTo>
                  <a:pt x="13" y="66"/>
                  <a:pt x="13" y="66"/>
                  <a:pt x="13" y="66"/>
                </a:cubicBezTo>
                <a:cubicBezTo>
                  <a:pt x="13" y="66"/>
                  <a:pt x="13" y="67"/>
                  <a:pt x="12" y="67"/>
                </a:cubicBezTo>
                <a:cubicBezTo>
                  <a:pt x="12" y="67"/>
                  <a:pt x="12" y="67"/>
                  <a:pt x="12" y="68"/>
                </a:cubicBezTo>
                <a:cubicBezTo>
                  <a:pt x="10" y="69"/>
                  <a:pt x="10" y="69"/>
                  <a:pt x="10" y="69"/>
                </a:cubicBezTo>
                <a:cubicBezTo>
                  <a:pt x="10" y="70"/>
                  <a:pt x="9" y="72"/>
                  <a:pt x="7" y="73"/>
                </a:cubicBezTo>
                <a:cubicBezTo>
                  <a:pt x="8" y="74"/>
                  <a:pt x="8" y="74"/>
                  <a:pt x="8" y="74"/>
                </a:cubicBezTo>
                <a:cubicBezTo>
                  <a:pt x="9" y="74"/>
                  <a:pt x="9" y="74"/>
                  <a:pt x="9" y="74"/>
                </a:cubicBezTo>
                <a:cubicBezTo>
                  <a:pt x="10" y="77"/>
                  <a:pt x="10" y="77"/>
                  <a:pt x="10" y="77"/>
                </a:cubicBezTo>
                <a:cubicBezTo>
                  <a:pt x="10" y="78"/>
                  <a:pt x="10" y="78"/>
                  <a:pt x="10" y="78"/>
                </a:cubicBezTo>
                <a:cubicBezTo>
                  <a:pt x="10" y="80"/>
                  <a:pt x="10" y="80"/>
                  <a:pt x="10" y="80"/>
                </a:cubicBezTo>
                <a:cubicBezTo>
                  <a:pt x="10" y="82"/>
                  <a:pt x="10" y="82"/>
                  <a:pt x="10" y="82"/>
                </a:cubicBezTo>
                <a:cubicBezTo>
                  <a:pt x="10" y="83"/>
                  <a:pt x="10" y="83"/>
                  <a:pt x="10" y="83"/>
                </a:cubicBezTo>
                <a:cubicBezTo>
                  <a:pt x="10" y="84"/>
                  <a:pt x="10" y="84"/>
                  <a:pt x="10" y="84"/>
                </a:cubicBezTo>
                <a:cubicBezTo>
                  <a:pt x="9" y="87"/>
                  <a:pt x="9" y="87"/>
                  <a:pt x="9" y="87"/>
                </a:cubicBezTo>
                <a:cubicBezTo>
                  <a:pt x="10" y="88"/>
                  <a:pt x="10" y="89"/>
                  <a:pt x="10" y="90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6"/>
                  <a:pt x="9" y="96"/>
                  <a:pt x="9" y="96"/>
                </a:cubicBezTo>
                <a:cubicBezTo>
                  <a:pt x="9" y="97"/>
                  <a:pt x="8" y="97"/>
                  <a:pt x="7" y="98"/>
                </a:cubicBezTo>
                <a:cubicBezTo>
                  <a:pt x="7" y="99"/>
                  <a:pt x="7" y="99"/>
                  <a:pt x="7" y="99"/>
                </a:cubicBezTo>
                <a:cubicBezTo>
                  <a:pt x="7" y="101"/>
                  <a:pt x="7" y="101"/>
                  <a:pt x="7" y="101"/>
                </a:cubicBezTo>
                <a:cubicBezTo>
                  <a:pt x="8" y="101"/>
                  <a:pt x="8" y="102"/>
                  <a:pt x="8" y="103"/>
                </a:cubicBezTo>
                <a:cubicBezTo>
                  <a:pt x="9" y="103"/>
                  <a:pt x="9" y="104"/>
                  <a:pt x="8" y="105"/>
                </a:cubicBezTo>
                <a:cubicBezTo>
                  <a:pt x="8" y="105"/>
                  <a:pt x="8" y="105"/>
                  <a:pt x="8" y="105"/>
                </a:cubicBezTo>
                <a:cubicBezTo>
                  <a:pt x="8" y="105"/>
                  <a:pt x="8" y="105"/>
                  <a:pt x="9" y="105"/>
                </a:cubicBezTo>
                <a:cubicBezTo>
                  <a:pt x="14" y="105"/>
                  <a:pt x="14" y="105"/>
                  <a:pt x="14" y="105"/>
                </a:cubicBezTo>
                <a:cubicBezTo>
                  <a:pt x="15" y="105"/>
                  <a:pt x="16" y="106"/>
                  <a:pt x="16" y="107"/>
                </a:cubicBezTo>
                <a:cubicBezTo>
                  <a:pt x="16" y="108"/>
                  <a:pt x="16" y="108"/>
                  <a:pt x="16" y="108"/>
                </a:cubicBezTo>
                <a:cubicBezTo>
                  <a:pt x="18" y="113"/>
                  <a:pt x="18" y="113"/>
                  <a:pt x="18" y="113"/>
                </a:cubicBezTo>
                <a:cubicBezTo>
                  <a:pt x="18" y="113"/>
                  <a:pt x="18" y="113"/>
                  <a:pt x="18" y="114"/>
                </a:cubicBezTo>
                <a:cubicBezTo>
                  <a:pt x="18" y="114"/>
                  <a:pt x="18" y="114"/>
                  <a:pt x="18" y="114"/>
                </a:cubicBezTo>
                <a:cubicBezTo>
                  <a:pt x="21" y="114"/>
                  <a:pt x="21" y="114"/>
                  <a:pt x="21" y="114"/>
                </a:cubicBezTo>
                <a:cubicBezTo>
                  <a:pt x="22" y="114"/>
                  <a:pt x="23" y="115"/>
                  <a:pt x="23" y="116"/>
                </a:cubicBezTo>
                <a:cubicBezTo>
                  <a:pt x="23" y="117"/>
                  <a:pt x="23" y="117"/>
                  <a:pt x="23" y="117"/>
                </a:cubicBezTo>
                <a:cubicBezTo>
                  <a:pt x="23" y="117"/>
                  <a:pt x="24" y="117"/>
                  <a:pt x="25" y="117"/>
                </a:cubicBezTo>
                <a:cubicBezTo>
                  <a:pt x="23" y="114"/>
                  <a:pt x="23" y="114"/>
                  <a:pt x="23" y="114"/>
                </a:cubicBezTo>
                <a:cubicBezTo>
                  <a:pt x="23" y="113"/>
                  <a:pt x="23" y="113"/>
                  <a:pt x="23" y="113"/>
                </a:cubicBezTo>
                <a:cubicBezTo>
                  <a:pt x="22" y="107"/>
                  <a:pt x="22" y="107"/>
                  <a:pt x="22" y="107"/>
                </a:cubicBezTo>
                <a:cubicBezTo>
                  <a:pt x="22" y="106"/>
                  <a:pt x="22" y="106"/>
                  <a:pt x="23" y="105"/>
                </a:cubicBezTo>
                <a:cubicBezTo>
                  <a:pt x="24" y="105"/>
                  <a:pt x="24" y="105"/>
                  <a:pt x="24" y="105"/>
                </a:cubicBezTo>
                <a:cubicBezTo>
                  <a:pt x="35" y="105"/>
                  <a:pt x="35" y="105"/>
                  <a:pt x="35" y="105"/>
                </a:cubicBezTo>
                <a:cubicBezTo>
                  <a:pt x="35" y="105"/>
                  <a:pt x="35" y="105"/>
                  <a:pt x="35" y="105"/>
                </a:cubicBezTo>
                <a:cubicBezTo>
                  <a:pt x="39" y="107"/>
                  <a:pt x="39" y="107"/>
                  <a:pt x="39" y="107"/>
                </a:cubicBezTo>
                <a:cubicBezTo>
                  <a:pt x="45" y="110"/>
                  <a:pt x="45" y="110"/>
                  <a:pt x="45" y="110"/>
                </a:cubicBezTo>
                <a:cubicBezTo>
                  <a:pt x="46" y="110"/>
                  <a:pt x="46" y="110"/>
                  <a:pt x="46" y="110"/>
                </a:cubicBezTo>
                <a:cubicBezTo>
                  <a:pt x="46" y="110"/>
                  <a:pt x="47" y="111"/>
                  <a:pt x="48" y="110"/>
                </a:cubicBezTo>
                <a:cubicBezTo>
                  <a:pt x="49" y="109"/>
                  <a:pt x="51" y="107"/>
                  <a:pt x="52" y="107"/>
                </a:cubicBezTo>
                <a:cubicBezTo>
                  <a:pt x="51" y="106"/>
                  <a:pt x="51" y="105"/>
                  <a:pt x="50" y="105"/>
                </a:cubicBezTo>
                <a:cubicBezTo>
                  <a:pt x="50" y="104"/>
                  <a:pt x="49" y="103"/>
                  <a:pt x="47" y="100"/>
                </a:cubicBezTo>
                <a:cubicBezTo>
                  <a:pt x="44" y="96"/>
                  <a:pt x="42" y="94"/>
                  <a:pt x="42" y="94"/>
                </a:cubicBezTo>
                <a:cubicBezTo>
                  <a:pt x="42" y="93"/>
                  <a:pt x="42" y="93"/>
                  <a:pt x="42" y="93"/>
                </a:cubicBezTo>
                <a:cubicBezTo>
                  <a:pt x="42" y="88"/>
                  <a:pt x="42" y="88"/>
                  <a:pt x="42" y="88"/>
                </a:cubicBezTo>
                <a:cubicBezTo>
                  <a:pt x="42" y="87"/>
                  <a:pt x="43" y="87"/>
                  <a:pt x="43" y="86"/>
                </a:cubicBezTo>
                <a:cubicBezTo>
                  <a:pt x="44" y="86"/>
                  <a:pt x="44" y="86"/>
                  <a:pt x="45" y="86"/>
                </a:cubicBezTo>
                <a:cubicBezTo>
                  <a:pt x="45" y="86"/>
                  <a:pt x="49" y="87"/>
                  <a:pt x="50" y="85"/>
                </a:cubicBezTo>
                <a:cubicBezTo>
                  <a:pt x="52" y="82"/>
                  <a:pt x="53" y="80"/>
                  <a:pt x="53" y="80"/>
                </a:cubicBezTo>
                <a:cubicBezTo>
                  <a:pt x="53" y="80"/>
                  <a:pt x="54" y="79"/>
                  <a:pt x="55" y="79"/>
                </a:cubicBezTo>
                <a:cubicBezTo>
                  <a:pt x="55" y="79"/>
                  <a:pt x="56" y="79"/>
                  <a:pt x="56" y="80"/>
                </a:cubicBezTo>
                <a:cubicBezTo>
                  <a:pt x="56" y="80"/>
                  <a:pt x="56" y="80"/>
                  <a:pt x="57" y="80"/>
                </a:cubicBezTo>
                <a:cubicBezTo>
                  <a:pt x="57" y="79"/>
                  <a:pt x="57" y="79"/>
                  <a:pt x="57" y="79"/>
                </a:cubicBezTo>
                <a:cubicBezTo>
                  <a:pt x="58" y="78"/>
                  <a:pt x="58" y="78"/>
                  <a:pt x="58" y="78"/>
                </a:cubicBezTo>
                <a:cubicBezTo>
                  <a:pt x="59" y="78"/>
                  <a:pt x="59" y="77"/>
                  <a:pt x="59" y="77"/>
                </a:cubicBezTo>
                <a:cubicBezTo>
                  <a:pt x="59" y="74"/>
                  <a:pt x="61" y="74"/>
                  <a:pt x="62" y="74"/>
                </a:cubicBezTo>
                <a:cubicBezTo>
                  <a:pt x="69" y="74"/>
                  <a:pt x="69" y="74"/>
                  <a:pt x="69" y="74"/>
                </a:cubicBezTo>
                <a:cubicBezTo>
                  <a:pt x="69" y="74"/>
                  <a:pt x="69" y="74"/>
                  <a:pt x="69" y="74"/>
                </a:cubicBezTo>
                <a:cubicBezTo>
                  <a:pt x="73" y="76"/>
                  <a:pt x="73" y="76"/>
                  <a:pt x="73" y="76"/>
                </a:cubicBezTo>
                <a:cubicBezTo>
                  <a:pt x="74" y="76"/>
                  <a:pt x="74" y="75"/>
                  <a:pt x="75" y="75"/>
                </a:cubicBezTo>
                <a:cubicBezTo>
                  <a:pt x="74" y="74"/>
                  <a:pt x="75" y="74"/>
                  <a:pt x="75" y="73"/>
                </a:cubicBezTo>
                <a:cubicBezTo>
                  <a:pt x="75" y="73"/>
                  <a:pt x="75" y="73"/>
                  <a:pt x="75" y="73"/>
                </a:cubicBezTo>
                <a:cubicBezTo>
                  <a:pt x="75" y="73"/>
                  <a:pt x="75" y="73"/>
                  <a:pt x="75" y="72"/>
                </a:cubicBezTo>
                <a:cubicBezTo>
                  <a:pt x="73" y="72"/>
                  <a:pt x="73" y="71"/>
                  <a:pt x="73" y="69"/>
                </a:cubicBezTo>
                <a:cubicBezTo>
                  <a:pt x="73" y="67"/>
                  <a:pt x="73" y="67"/>
                  <a:pt x="73" y="67"/>
                </a:cubicBezTo>
                <a:cubicBezTo>
                  <a:pt x="73" y="66"/>
                  <a:pt x="74" y="65"/>
                  <a:pt x="75" y="64"/>
                </a:cubicBezTo>
                <a:cubicBezTo>
                  <a:pt x="75" y="64"/>
                  <a:pt x="75" y="64"/>
                  <a:pt x="75" y="64"/>
                </a:cubicBezTo>
                <a:cubicBezTo>
                  <a:pt x="77" y="58"/>
                  <a:pt x="77" y="58"/>
                  <a:pt x="77" y="58"/>
                </a:cubicBezTo>
                <a:cubicBezTo>
                  <a:pt x="77" y="57"/>
                  <a:pt x="77" y="57"/>
                  <a:pt x="78" y="57"/>
                </a:cubicBezTo>
                <a:cubicBezTo>
                  <a:pt x="77" y="56"/>
                  <a:pt x="76" y="55"/>
                  <a:pt x="75" y="54"/>
                </a:cubicBezTo>
                <a:cubicBezTo>
                  <a:pt x="75" y="54"/>
                  <a:pt x="72" y="50"/>
                  <a:pt x="71" y="50"/>
                </a:cubicBezTo>
                <a:cubicBezTo>
                  <a:pt x="70" y="49"/>
                  <a:pt x="70" y="47"/>
                  <a:pt x="75" y="42"/>
                </a:cubicBezTo>
                <a:cubicBezTo>
                  <a:pt x="75" y="41"/>
                  <a:pt x="75" y="40"/>
                  <a:pt x="76" y="39"/>
                </a:cubicBezTo>
                <a:cubicBezTo>
                  <a:pt x="76" y="39"/>
                  <a:pt x="76" y="38"/>
                  <a:pt x="77" y="37"/>
                </a:cubicBezTo>
                <a:cubicBezTo>
                  <a:pt x="75" y="32"/>
                  <a:pt x="75" y="32"/>
                  <a:pt x="75" y="32"/>
                </a:cubicBezTo>
                <a:cubicBezTo>
                  <a:pt x="74" y="31"/>
                  <a:pt x="73" y="30"/>
                  <a:pt x="73" y="29"/>
                </a:cubicBezTo>
                <a:cubicBezTo>
                  <a:pt x="72" y="29"/>
                  <a:pt x="71" y="28"/>
                  <a:pt x="70" y="28"/>
                </a:cubicBezTo>
                <a:cubicBezTo>
                  <a:pt x="70" y="28"/>
                  <a:pt x="68" y="28"/>
                  <a:pt x="67" y="28"/>
                </a:cubicBezTo>
                <a:cubicBezTo>
                  <a:pt x="66" y="28"/>
                  <a:pt x="65" y="28"/>
                  <a:pt x="65" y="28"/>
                </a:cubicBezTo>
                <a:cubicBezTo>
                  <a:pt x="64" y="28"/>
                  <a:pt x="64" y="27"/>
                  <a:pt x="64" y="27"/>
                </a:cubicBezTo>
                <a:cubicBezTo>
                  <a:pt x="64" y="25"/>
                  <a:pt x="64" y="24"/>
                  <a:pt x="64" y="23"/>
                </a:cubicBezTo>
                <a:cubicBezTo>
                  <a:pt x="61" y="19"/>
                  <a:pt x="61" y="19"/>
                  <a:pt x="61" y="19"/>
                </a:cubicBezTo>
                <a:cubicBezTo>
                  <a:pt x="61" y="19"/>
                  <a:pt x="61" y="19"/>
                  <a:pt x="61" y="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Freeform 77">
            <a:extLst>
              <a:ext uri="{FF2B5EF4-FFF2-40B4-BE49-F238E27FC236}">
                <a16:creationId xmlns:a16="http://schemas.microsoft.com/office/drawing/2014/main" id="{60988A75-69FB-4D27-896B-B64E411ECE14}"/>
              </a:ext>
            </a:extLst>
          </p:cNvPr>
          <p:cNvSpPr>
            <a:spLocks/>
          </p:cNvSpPr>
          <p:nvPr/>
        </p:nvSpPr>
        <p:spPr bwMode="auto">
          <a:xfrm>
            <a:off x="4550052" y="3095157"/>
            <a:ext cx="380075" cy="290513"/>
          </a:xfrm>
          <a:custGeom>
            <a:avLst/>
            <a:gdLst>
              <a:gd name="T0" fmla="*/ 155 w 157"/>
              <a:gd name="T1" fmla="*/ 71 h 130"/>
              <a:gd name="T2" fmla="*/ 155 w 157"/>
              <a:gd name="T3" fmla="*/ 57 h 130"/>
              <a:gd name="T4" fmla="*/ 144 w 157"/>
              <a:gd name="T5" fmla="*/ 55 h 130"/>
              <a:gd name="T6" fmla="*/ 138 w 157"/>
              <a:gd name="T7" fmla="*/ 58 h 130"/>
              <a:gd name="T8" fmla="*/ 129 w 157"/>
              <a:gd name="T9" fmla="*/ 55 h 130"/>
              <a:gd name="T10" fmla="*/ 124 w 157"/>
              <a:gd name="T11" fmla="*/ 50 h 130"/>
              <a:gd name="T12" fmla="*/ 112 w 157"/>
              <a:gd name="T13" fmla="*/ 45 h 130"/>
              <a:gd name="T14" fmla="*/ 106 w 157"/>
              <a:gd name="T15" fmla="*/ 45 h 130"/>
              <a:gd name="T16" fmla="*/ 99 w 157"/>
              <a:gd name="T17" fmla="*/ 42 h 130"/>
              <a:gd name="T18" fmla="*/ 90 w 157"/>
              <a:gd name="T19" fmla="*/ 31 h 130"/>
              <a:gd name="T20" fmla="*/ 86 w 157"/>
              <a:gd name="T21" fmla="*/ 14 h 130"/>
              <a:gd name="T22" fmla="*/ 82 w 157"/>
              <a:gd name="T23" fmla="*/ 6 h 130"/>
              <a:gd name="T24" fmla="*/ 74 w 157"/>
              <a:gd name="T25" fmla="*/ 3 h 130"/>
              <a:gd name="T26" fmla="*/ 68 w 157"/>
              <a:gd name="T27" fmla="*/ 0 h 130"/>
              <a:gd name="T28" fmla="*/ 63 w 157"/>
              <a:gd name="T29" fmla="*/ 2 h 130"/>
              <a:gd name="T30" fmla="*/ 51 w 157"/>
              <a:gd name="T31" fmla="*/ 7 h 130"/>
              <a:gd name="T32" fmla="*/ 47 w 157"/>
              <a:gd name="T33" fmla="*/ 15 h 130"/>
              <a:gd name="T34" fmla="*/ 47 w 157"/>
              <a:gd name="T35" fmla="*/ 18 h 130"/>
              <a:gd name="T36" fmla="*/ 42 w 157"/>
              <a:gd name="T37" fmla="*/ 27 h 130"/>
              <a:gd name="T38" fmla="*/ 40 w 157"/>
              <a:gd name="T39" fmla="*/ 30 h 130"/>
              <a:gd name="T40" fmla="*/ 39 w 157"/>
              <a:gd name="T41" fmla="*/ 38 h 130"/>
              <a:gd name="T42" fmla="*/ 35 w 157"/>
              <a:gd name="T43" fmla="*/ 41 h 130"/>
              <a:gd name="T44" fmla="*/ 27 w 157"/>
              <a:gd name="T45" fmla="*/ 40 h 130"/>
              <a:gd name="T46" fmla="*/ 23 w 157"/>
              <a:gd name="T47" fmla="*/ 37 h 130"/>
              <a:gd name="T48" fmla="*/ 13 w 157"/>
              <a:gd name="T49" fmla="*/ 40 h 130"/>
              <a:gd name="T50" fmla="*/ 7 w 157"/>
              <a:gd name="T51" fmla="*/ 41 h 130"/>
              <a:gd name="T52" fmla="*/ 1 w 157"/>
              <a:gd name="T53" fmla="*/ 44 h 130"/>
              <a:gd name="T54" fmla="*/ 1 w 157"/>
              <a:gd name="T55" fmla="*/ 51 h 130"/>
              <a:gd name="T56" fmla="*/ 3 w 157"/>
              <a:gd name="T57" fmla="*/ 56 h 130"/>
              <a:gd name="T58" fmla="*/ 6 w 157"/>
              <a:gd name="T59" fmla="*/ 58 h 130"/>
              <a:gd name="T60" fmla="*/ 11 w 157"/>
              <a:gd name="T61" fmla="*/ 60 h 130"/>
              <a:gd name="T62" fmla="*/ 17 w 157"/>
              <a:gd name="T63" fmla="*/ 65 h 130"/>
              <a:gd name="T64" fmla="*/ 20 w 157"/>
              <a:gd name="T65" fmla="*/ 74 h 130"/>
              <a:gd name="T66" fmla="*/ 22 w 157"/>
              <a:gd name="T67" fmla="*/ 77 h 130"/>
              <a:gd name="T68" fmla="*/ 27 w 157"/>
              <a:gd name="T69" fmla="*/ 82 h 130"/>
              <a:gd name="T70" fmla="*/ 33 w 157"/>
              <a:gd name="T71" fmla="*/ 87 h 130"/>
              <a:gd name="T72" fmla="*/ 35 w 157"/>
              <a:gd name="T73" fmla="*/ 92 h 130"/>
              <a:gd name="T74" fmla="*/ 36 w 157"/>
              <a:gd name="T75" fmla="*/ 99 h 130"/>
              <a:gd name="T76" fmla="*/ 67 w 157"/>
              <a:gd name="T77" fmla="*/ 124 h 130"/>
              <a:gd name="T78" fmla="*/ 95 w 157"/>
              <a:gd name="T79" fmla="*/ 130 h 130"/>
              <a:gd name="T80" fmla="*/ 111 w 157"/>
              <a:gd name="T81" fmla="*/ 120 h 130"/>
              <a:gd name="T82" fmla="*/ 153 w 157"/>
              <a:gd name="T83" fmla="*/ 86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57" h="130">
                <a:moveTo>
                  <a:pt x="156" y="76"/>
                </a:moveTo>
                <a:cubicBezTo>
                  <a:pt x="155" y="75"/>
                  <a:pt x="155" y="74"/>
                  <a:pt x="155" y="73"/>
                </a:cubicBezTo>
                <a:cubicBezTo>
                  <a:pt x="155" y="71"/>
                  <a:pt x="155" y="71"/>
                  <a:pt x="155" y="71"/>
                </a:cubicBezTo>
                <a:cubicBezTo>
                  <a:pt x="155" y="65"/>
                  <a:pt x="155" y="65"/>
                  <a:pt x="155" y="65"/>
                </a:cubicBezTo>
                <a:cubicBezTo>
                  <a:pt x="155" y="63"/>
                  <a:pt x="155" y="61"/>
                  <a:pt x="155" y="60"/>
                </a:cubicBezTo>
                <a:cubicBezTo>
                  <a:pt x="155" y="59"/>
                  <a:pt x="155" y="58"/>
                  <a:pt x="155" y="57"/>
                </a:cubicBezTo>
                <a:cubicBezTo>
                  <a:pt x="153" y="56"/>
                  <a:pt x="153" y="56"/>
                  <a:pt x="153" y="56"/>
                </a:cubicBezTo>
                <a:cubicBezTo>
                  <a:pt x="149" y="55"/>
                  <a:pt x="149" y="55"/>
                  <a:pt x="149" y="55"/>
                </a:cubicBezTo>
                <a:cubicBezTo>
                  <a:pt x="149" y="55"/>
                  <a:pt x="146" y="55"/>
                  <a:pt x="144" y="55"/>
                </a:cubicBezTo>
                <a:cubicBezTo>
                  <a:pt x="144" y="55"/>
                  <a:pt x="142" y="55"/>
                  <a:pt x="142" y="56"/>
                </a:cubicBezTo>
                <a:cubicBezTo>
                  <a:pt x="141" y="57"/>
                  <a:pt x="141" y="57"/>
                  <a:pt x="141" y="57"/>
                </a:cubicBezTo>
                <a:cubicBezTo>
                  <a:pt x="140" y="58"/>
                  <a:pt x="139" y="58"/>
                  <a:pt x="138" y="58"/>
                </a:cubicBezTo>
                <a:cubicBezTo>
                  <a:pt x="137" y="58"/>
                  <a:pt x="136" y="58"/>
                  <a:pt x="136" y="57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2" y="55"/>
                  <a:pt x="130" y="55"/>
                  <a:pt x="129" y="55"/>
                </a:cubicBezTo>
                <a:cubicBezTo>
                  <a:pt x="129" y="54"/>
                  <a:pt x="129" y="54"/>
                  <a:pt x="129" y="54"/>
                </a:cubicBezTo>
                <a:cubicBezTo>
                  <a:pt x="127" y="54"/>
                  <a:pt x="126" y="54"/>
                  <a:pt x="125" y="51"/>
                </a:cubicBezTo>
                <a:cubicBezTo>
                  <a:pt x="125" y="51"/>
                  <a:pt x="125" y="50"/>
                  <a:pt x="124" y="50"/>
                </a:cubicBezTo>
                <a:cubicBezTo>
                  <a:pt x="123" y="49"/>
                  <a:pt x="122" y="49"/>
                  <a:pt x="122" y="48"/>
                </a:cubicBezTo>
                <a:cubicBezTo>
                  <a:pt x="121" y="47"/>
                  <a:pt x="117" y="45"/>
                  <a:pt x="114" y="45"/>
                </a:cubicBezTo>
                <a:cubicBezTo>
                  <a:pt x="112" y="45"/>
                  <a:pt x="112" y="45"/>
                  <a:pt x="112" y="45"/>
                </a:cubicBezTo>
                <a:cubicBezTo>
                  <a:pt x="112" y="45"/>
                  <a:pt x="111" y="45"/>
                  <a:pt x="110" y="45"/>
                </a:cubicBezTo>
                <a:cubicBezTo>
                  <a:pt x="107" y="45"/>
                  <a:pt x="107" y="45"/>
                  <a:pt x="107" y="45"/>
                </a:cubicBezTo>
                <a:cubicBezTo>
                  <a:pt x="106" y="45"/>
                  <a:pt x="106" y="45"/>
                  <a:pt x="106" y="45"/>
                </a:cubicBezTo>
                <a:cubicBezTo>
                  <a:pt x="104" y="43"/>
                  <a:pt x="104" y="43"/>
                  <a:pt x="104" y="43"/>
                </a:cubicBezTo>
                <a:cubicBezTo>
                  <a:pt x="100" y="42"/>
                  <a:pt x="100" y="42"/>
                  <a:pt x="100" y="42"/>
                </a:cubicBezTo>
                <a:cubicBezTo>
                  <a:pt x="100" y="42"/>
                  <a:pt x="100" y="42"/>
                  <a:pt x="99" y="42"/>
                </a:cubicBezTo>
                <a:cubicBezTo>
                  <a:pt x="91" y="36"/>
                  <a:pt x="91" y="36"/>
                  <a:pt x="91" y="36"/>
                </a:cubicBezTo>
                <a:cubicBezTo>
                  <a:pt x="90" y="35"/>
                  <a:pt x="90" y="35"/>
                  <a:pt x="90" y="35"/>
                </a:cubicBezTo>
                <a:cubicBezTo>
                  <a:pt x="90" y="31"/>
                  <a:pt x="90" y="31"/>
                  <a:pt x="90" y="31"/>
                </a:cubicBezTo>
                <a:cubicBezTo>
                  <a:pt x="88" y="24"/>
                  <a:pt x="88" y="24"/>
                  <a:pt x="88" y="24"/>
                </a:cubicBezTo>
                <a:cubicBezTo>
                  <a:pt x="86" y="14"/>
                  <a:pt x="86" y="14"/>
                  <a:pt x="86" y="14"/>
                </a:cubicBezTo>
                <a:cubicBezTo>
                  <a:pt x="86" y="14"/>
                  <a:pt x="86" y="14"/>
                  <a:pt x="86" y="14"/>
                </a:cubicBezTo>
                <a:cubicBezTo>
                  <a:pt x="86" y="6"/>
                  <a:pt x="86" y="6"/>
                  <a:pt x="86" y="6"/>
                </a:cubicBezTo>
                <a:cubicBezTo>
                  <a:pt x="85" y="6"/>
                  <a:pt x="85" y="6"/>
                  <a:pt x="85" y="6"/>
                </a:cubicBezTo>
                <a:cubicBezTo>
                  <a:pt x="82" y="6"/>
                  <a:pt x="82" y="6"/>
                  <a:pt x="82" y="6"/>
                </a:cubicBezTo>
                <a:cubicBezTo>
                  <a:pt x="80" y="7"/>
                  <a:pt x="80" y="7"/>
                  <a:pt x="80" y="7"/>
                </a:cubicBezTo>
                <a:cubicBezTo>
                  <a:pt x="79" y="7"/>
                  <a:pt x="78" y="7"/>
                  <a:pt x="77" y="7"/>
                </a:cubicBezTo>
                <a:cubicBezTo>
                  <a:pt x="74" y="3"/>
                  <a:pt x="74" y="3"/>
                  <a:pt x="74" y="3"/>
                </a:cubicBezTo>
                <a:cubicBezTo>
                  <a:pt x="71" y="1"/>
                  <a:pt x="71" y="1"/>
                  <a:pt x="71" y="1"/>
                </a:cubicBezTo>
                <a:cubicBezTo>
                  <a:pt x="71" y="1"/>
                  <a:pt x="71" y="1"/>
                  <a:pt x="71" y="1"/>
                </a:cubicBezTo>
                <a:cubicBezTo>
                  <a:pt x="68" y="0"/>
                  <a:pt x="68" y="0"/>
                  <a:pt x="68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65" y="1"/>
                  <a:pt x="65" y="1"/>
                  <a:pt x="65" y="1"/>
                </a:cubicBezTo>
                <a:cubicBezTo>
                  <a:pt x="64" y="1"/>
                  <a:pt x="64" y="2"/>
                  <a:pt x="63" y="2"/>
                </a:cubicBezTo>
                <a:cubicBezTo>
                  <a:pt x="57" y="2"/>
                  <a:pt x="57" y="2"/>
                  <a:pt x="57" y="2"/>
                </a:cubicBezTo>
                <a:cubicBezTo>
                  <a:pt x="55" y="3"/>
                  <a:pt x="55" y="3"/>
                  <a:pt x="55" y="3"/>
                </a:cubicBezTo>
                <a:cubicBezTo>
                  <a:pt x="55" y="3"/>
                  <a:pt x="52" y="5"/>
                  <a:pt x="51" y="7"/>
                </a:cubicBezTo>
                <a:cubicBezTo>
                  <a:pt x="51" y="7"/>
                  <a:pt x="51" y="7"/>
                  <a:pt x="51" y="7"/>
                </a:cubicBezTo>
                <a:cubicBezTo>
                  <a:pt x="51" y="8"/>
                  <a:pt x="51" y="8"/>
                  <a:pt x="50" y="9"/>
                </a:cubicBezTo>
                <a:cubicBezTo>
                  <a:pt x="50" y="9"/>
                  <a:pt x="48" y="13"/>
                  <a:pt x="47" y="15"/>
                </a:cubicBezTo>
                <a:cubicBezTo>
                  <a:pt x="46" y="16"/>
                  <a:pt x="46" y="16"/>
                  <a:pt x="46" y="16"/>
                </a:cubicBezTo>
                <a:cubicBezTo>
                  <a:pt x="46" y="16"/>
                  <a:pt x="46" y="16"/>
                  <a:pt x="46" y="16"/>
                </a:cubicBezTo>
                <a:cubicBezTo>
                  <a:pt x="47" y="17"/>
                  <a:pt x="47" y="17"/>
                  <a:pt x="47" y="18"/>
                </a:cubicBezTo>
                <a:cubicBezTo>
                  <a:pt x="47" y="20"/>
                  <a:pt x="47" y="20"/>
                  <a:pt x="46" y="21"/>
                </a:cubicBezTo>
                <a:cubicBezTo>
                  <a:pt x="46" y="21"/>
                  <a:pt x="46" y="21"/>
                  <a:pt x="46" y="23"/>
                </a:cubicBezTo>
                <a:cubicBezTo>
                  <a:pt x="45" y="26"/>
                  <a:pt x="44" y="27"/>
                  <a:pt x="42" y="27"/>
                </a:cubicBezTo>
                <a:cubicBezTo>
                  <a:pt x="41" y="27"/>
                  <a:pt x="41" y="27"/>
                  <a:pt x="41" y="27"/>
                </a:cubicBezTo>
                <a:cubicBezTo>
                  <a:pt x="41" y="27"/>
                  <a:pt x="41" y="27"/>
                  <a:pt x="41" y="28"/>
                </a:cubicBezTo>
                <a:cubicBezTo>
                  <a:pt x="41" y="29"/>
                  <a:pt x="40" y="29"/>
                  <a:pt x="40" y="30"/>
                </a:cubicBezTo>
                <a:cubicBezTo>
                  <a:pt x="40" y="30"/>
                  <a:pt x="40" y="30"/>
                  <a:pt x="40" y="31"/>
                </a:cubicBezTo>
                <a:cubicBezTo>
                  <a:pt x="40" y="31"/>
                  <a:pt x="40" y="33"/>
                  <a:pt x="40" y="35"/>
                </a:cubicBezTo>
                <a:cubicBezTo>
                  <a:pt x="40" y="36"/>
                  <a:pt x="40" y="37"/>
                  <a:pt x="39" y="38"/>
                </a:cubicBezTo>
                <a:cubicBezTo>
                  <a:pt x="38" y="38"/>
                  <a:pt x="37" y="38"/>
                  <a:pt x="37" y="38"/>
                </a:cubicBezTo>
                <a:cubicBezTo>
                  <a:pt x="37" y="39"/>
                  <a:pt x="37" y="39"/>
                  <a:pt x="37" y="39"/>
                </a:cubicBezTo>
                <a:cubicBezTo>
                  <a:pt x="37" y="40"/>
                  <a:pt x="36" y="41"/>
                  <a:pt x="35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27" y="40"/>
                  <a:pt x="27" y="40"/>
                  <a:pt x="27" y="40"/>
                </a:cubicBezTo>
                <a:cubicBezTo>
                  <a:pt x="27" y="40"/>
                  <a:pt x="27" y="40"/>
                  <a:pt x="27" y="40"/>
                </a:cubicBezTo>
                <a:cubicBezTo>
                  <a:pt x="25" y="39"/>
                  <a:pt x="25" y="39"/>
                  <a:pt x="25" y="39"/>
                </a:cubicBezTo>
                <a:cubicBezTo>
                  <a:pt x="25" y="39"/>
                  <a:pt x="25" y="39"/>
                  <a:pt x="25" y="39"/>
                </a:cubicBezTo>
                <a:cubicBezTo>
                  <a:pt x="23" y="37"/>
                  <a:pt x="23" y="37"/>
                  <a:pt x="23" y="37"/>
                </a:cubicBezTo>
                <a:cubicBezTo>
                  <a:pt x="21" y="37"/>
                  <a:pt x="19" y="37"/>
                  <a:pt x="18" y="37"/>
                </a:cubicBezTo>
                <a:cubicBezTo>
                  <a:pt x="18" y="37"/>
                  <a:pt x="17" y="38"/>
                  <a:pt x="16" y="38"/>
                </a:cubicBezTo>
                <a:cubicBezTo>
                  <a:pt x="15" y="39"/>
                  <a:pt x="14" y="39"/>
                  <a:pt x="13" y="40"/>
                </a:cubicBezTo>
                <a:cubicBezTo>
                  <a:pt x="12" y="41"/>
                  <a:pt x="10" y="43"/>
                  <a:pt x="8" y="42"/>
                </a:cubicBezTo>
                <a:cubicBezTo>
                  <a:pt x="8" y="41"/>
                  <a:pt x="8" y="41"/>
                  <a:pt x="7" y="41"/>
                </a:cubicBezTo>
                <a:cubicBezTo>
                  <a:pt x="7" y="41"/>
                  <a:pt x="7" y="41"/>
                  <a:pt x="7" y="41"/>
                </a:cubicBezTo>
                <a:cubicBezTo>
                  <a:pt x="4" y="43"/>
                  <a:pt x="4" y="43"/>
                  <a:pt x="4" y="43"/>
                </a:cubicBezTo>
                <a:cubicBezTo>
                  <a:pt x="3" y="44"/>
                  <a:pt x="3" y="44"/>
                  <a:pt x="2" y="44"/>
                </a:cubicBezTo>
                <a:cubicBezTo>
                  <a:pt x="1" y="44"/>
                  <a:pt x="1" y="44"/>
                  <a:pt x="1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50"/>
                  <a:pt x="0" y="50"/>
                  <a:pt x="0" y="50"/>
                </a:cubicBezTo>
                <a:cubicBezTo>
                  <a:pt x="0" y="50"/>
                  <a:pt x="0" y="51"/>
                  <a:pt x="1" y="51"/>
                </a:cubicBezTo>
                <a:cubicBezTo>
                  <a:pt x="1" y="51"/>
                  <a:pt x="2" y="51"/>
                  <a:pt x="2" y="52"/>
                </a:cubicBezTo>
                <a:cubicBezTo>
                  <a:pt x="3" y="55"/>
                  <a:pt x="3" y="55"/>
                  <a:pt x="3" y="55"/>
                </a:cubicBezTo>
                <a:cubicBezTo>
                  <a:pt x="3" y="56"/>
                  <a:pt x="3" y="56"/>
                  <a:pt x="3" y="56"/>
                </a:cubicBezTo>
                <a:cubicBezTo>
                  <a:pt x="3" y="58"/>
                  <a:pt x="3" y="58"/>
                  <a:pt x="3" y="58"/>
                </a:cubicBezTo>
                <a:cubicBezTo>
                  <a:pt x="5" y="57"/>
                  <a:pt x="5" y="57"/>
                  <a:pt x="5" y="57"/>
                </a:cubicBezTo>
                <a:cubicBezTo>
                  <a:pt x="6" y="58"/>
                  <a:pt x="6" y="58"/>
                  <a:pt x="6" y="58"/>
                </a:cubicBezTo>
                <a:cubicBezTo>
                  <a:pt x="7" y="58"/>
                  <a:pt x="7" y="59"/>
                  <a:pt x="7" y="59"/>
                </a:cubicBezTo>
                <a:cubicBezTo>
                  <a:pt x="7" y="60"/>
                  <a:pt x="7" y="60"/>
                  <a:pt x="7" y="60"/>
                </a:cubicBezTo>
                <a:cubicBezTo>
                  <a:pt x="11" y="60"/>
                  <a:pt x="11" y="60"/>
                  <a:pt x="11" y="60"/>
                </a:cubicBezTo>
                <a:cubicBezTo>
                  <a:pt x="12" y="60"/>
                  <a:pt x="12" y="60"/>
                  <a:pt x="13" y="60"/>
                </a:cubicBezTo>
                <a:cubicBezTo>
                  <a:pt x="17" y="64"/>
                  <a:pt x="17" y="64"/>
                  <a:pt x="17" y="64"/>
                </a:cubicBezTo>
                <a:cubicBezTo>
                  <a:pt x="17" y="65"/>
                  <a:pt x="17" y="65"/>
                  <a:pt x="17" y="65"/>
                </a:cubicBezTo>
                <a:cubicBezTo>
                  <a:pt x="17" y="71"/>
                  <a:pt x="17" y="71"/>
                  <a:pt x="17" y="71"/>
                </a:cubicBezTo>
                <a:cubicBezTo>
                  <a:pt x="19" y="72"/>
                  <a:pt x="19" y="72"/>
                  <a:pt x="19" y="72"/>
                </a:cubicBezTo>
                <a:cubicBezTo>
                  <a:pt x="20" y="73"/>
                  <a:pt x="20" y="73"/>
                  <a:pt x="20" y="74"/>
                </a:cubicBezTo>
                <a:cubicBezTo>
                  <a:pt x="20" y="74"/>
                  <a:pt x="20" y="74"/>
                  <a:pt x="20" y="74"/>
                </a:cubicBezTo>
                <a:cubicBezTo>
                  <a:pt x="21" y="76"/>
                  <a:pt x="21" y="76"/>
                  <a:pt x="21" y="76"/>
                </a:cubicBezTo>
                <a:cubicBezTo>
                  <a:pt x="22" y="76"/>
                  <a:pt x="22" y="77"/>
                  <a:pt x="22" y="77"/>
                </a:cubicBezTo>
                <a:cubicBezTo>
                  <a:pt x="22" y="77"/>
                  <a:pt x="22" y="77"/>
                  <a:pt x="22" y="77"/>
                </a:cubicBezTo>
                <a:cubicBezTo>
                  <a:pt x="23" y="77"/>
                  <a:pt x="26" y="77"/>
                  <a:pt x="27" y="81"/>
                </a:cubicBezTo>
                <a:cubicBezTo>
                  <a:pt x="27" y="82"/>
                  <a:pt x="27" y="82"/>
                  <a:pt x="27" y="82"/>
                </a:cubicBezTo>
                <a:cubicBezTo>
                  <a:pt x="29" y="82"/>
                  <a:pt x="29" y="82"/>
                  <a:pt x="29" y="82"/>
                </a:cubicBezTo>
                <a:cubicBezTo>
                  <a:pt x="29" y="82"/>
                  <a:pt x="30" y="82"/>
                  <a:pt x="30" y="83"/>
                </a:cubicBezTo>
                <a:cubicBezTo>
                  <a:pt x="33" y="87"/>
                  <a:pt x="33" y="87"/>
                  <a:pt x="33" y="87"/>
                </a:cubicBezTo>
                <a:cubicBezTo>
                  <a:pt x="33" y="88"/>
                  <a:pt x="33" y="88"/>
                  <a:pt x="33" y="88"/>
                </a:cubicBezTo>
                <a:cubicBezTo>
                  <a:pt x="33" y="92"/>
                  <a:pt x="33" y="92"/>
                  <a:pt x="33" y="92"/>
                </a:cubicBezTo>
                <a:cubicBezTo>
                  <a:pt x="35" y="92"/>
                  <a:pt x="35" y="92"/>
                  <a:pt x="35" y="92"/>
                </a:cubicBezTo>
                <a:cubicBezTo>
                  <a:pt x="36" y="92"/>
                  <a:pt x="37" y="93"/>
                  <a:pt x="37" y="94"/>
                </a:cubicBezTo>
                <a:cubicBezTo>
                  <a:pt x="37" y="98"/>
                  <a:pt x="37" y="98"/>
                  <a:pt x="37" y="98"/>
                </a:cubicBezTo>
                <a:cubicBezTo>
                  <a:pt x="37" y="99"/>
                  <a:pt x="37" y="99"/>
                  <a:pt x="36" y="99"/>
                </a:cubicBezTo>
                <a:cubicBezTo>
                  <a:pt x="35" y="98"/>
                  <a:pt x="35" y="98"/>
                  <a:pt x="35" y="98"/>
                </a:cubicBezTo>
                <a:cubicBezTo>
                  <a:pt x="53" y="113"/>
                  <a:pt x="53" y="113"/>
                  <a:pt x="53" y="113"/>
                </a:cubicBezTo>
                <a:cubicBezTo>
                  <a:pt x="67" y="124"/>
                  <a:pt x="67" y="124"/>
                  <a:pt x="67" y="124"/>
                </a:cubicBezTo>
                <a:cubicBezTo>
                  <a:pt x="72" y="128"/>
                  <a:pt x="72" y="128"/>
                  <a:pt x="72" y="128"/>
                </a:cubicBezTo>
                <a:cubicBezTo>
                  <a:pt x="86" y="130"/>
                  <a:pt x="86" y="130"/>
                  <a:pt x="86" y="130"/>
                </a:cubicBezTo>
                <a:cubicBezTo>
                  <a:pt x="95" y="130"/>
                  <a:pt x="95" y="130"/>
                  <a:pt x="95" y="130"/>
                </a:cubicBezTo>
                <a:cubicBezTo>
                  <a:pt x="97" y="130"/>
                  <a:pt x="97" y="130"/>
                  <a:pt x="97" y="130"/>
                </a:cubicBezTo>
                <a:cubicBezTo>
                  <a:pt x="99" y="130"/>
                  <a:pt x="99" y="130"/>
                  <a:pt x="99" y="130"/>
                </a:cubicBezTo>
                <a:cubicBezTo>
                  <a:pt x="111" y="120"/>
                  <a:pt x="111" y="120"/>
                  <a:pt x="111" y="120"/>
                </a:cubicBezTo>
                <a:cubicBezTo>
                  <a:pt x="129" y="107"/>
                  <a:pt x="129" y="107"/>
                  <a:pt x="129" y="107"/>
                </a:cubicBezTo>
                <a:cubicBezTo>
                  <a:pt x="148" y="101"/>
                  <a:pt x="148" y="101"/>
                  <a:pt x="148" y="101"/>
                </a:cubicBezTo>
                <a:cubicBezTo>
                  <a:pt x="153" y="86"/>
                  <a:pt x="153" y="86"/>
                  <a:pt x="153" y="86"/>
                </a:cubicBezTo>
                <a:cubicBezTo>
                  <a:pt x="157" y="74"/>
                  <a:pt x="157" y="74"/>
                  <a:pt x="157" y="74"/>
                </a:cubicBezTo>
                <a:lnTo>
                  <a:pt x="156" y="7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Freeform 78">
            <a:extLst>
              <a:ext uri="{FF2B5EF4-FFF2-40B4-BE49-F238E27FC236}">
                <a16:creationId xmlns:a16="http://schemas.microsoft.com/office/drawing/2014/main" id="{7EA8C5F6-4D0D-49C9-97FA-367D9264F060}"/>
              </a:ext>
            </a:extLst>
          </p:cNvPr>
          <p:cNvSpPr>
            <a:spLocks noEditPoints="1"/>
          </p:cNvSpPr>
          <p:nvPr/>
        </p:nvSpPr>
        <p:spPr bwMode="auto">
          <a:xfrm>
            <a:off x="4398712" y="2769719"/>
            <a:ext cx="395552" cy="479425"/>
          </a:xfrm>
          <a:custGeom>
            <a:avLst/>
            <a:gdLst>
              <a:gd name="T0" fmla="*/ 23 w 164"/>
              <a:gd name="T1" fmla="*/ 29 h 215"/>
              <a:gd name="T2" fmla="*/ 23 w 164"/>
              <a:gd name="T3" fmla="*/ 18 h 215"/>
              <a:gd name="T4" fmla="*/ 19 w 164"/>
              <a:gd name="T5" fmla="*/ 20 h 215"/>
              <a:gd name="T6" fmla="*/ 16 w 164"/>
              <a:gd name="T7" fmla="*/ 30 h 215"/>
              <a:gd name="T8" fmla="*/ 160 w 164"/>
              <a:gd name="T9" fmla="*/ 83 h 215"/>
              <a:gd name="T10" fmla="*/ 156 w 164"/>
              <a:gd name="T11" fmla="*/ 78 h 215"/>
              <a:gd name="T12" fmla="*/ 143 w 164"/>
              <a:gd name="T13" fmla="*/ 86 h 215"/>
              <a:gd name="T14" fmla="*/ 127 w 164"/>
              <a:gd name="T15" fmla="*/ 84 h 215"/>
              <a:gd name="T16" fmla="*/ 120 w 164"/>
              <a:gd name="T17" fmla="*/ 80 h 215"/>
              <a:gd name="T18" fmla="*/ 129 w 164"/>
              <a:gd name="T19" fmla="*/ 70 h 215"/>
              <a:gd name="T20" fmla="*/ 125 w 164"/>
              <a:gd name="T21" fmla="*/ 64 h 215"/>
              <a:gd name="T22" fmla="*/ 121 w 164"/>
              <a:gd name="T23" fmla="*/ 57 h 215"/>
              <a:gd name="T24" fmla="*/ 111 w 164"/>
              <a:gd name="T25" fmla="*/ 53 h 215"/>
              <a:gd name="T26" fmla="*/ 107 w 164"/>
              <a:gd name="T27" fmla="*/ 50 h 215"/>
              <a:gd name="T28" fmla="*/ 98 w 164"/>
              <a:gd name="T29" fmla="*/ 45 h 215"/>
              <a:gd name="T30" fmla="*/ 92 w 164"/>
              <a:gd name="T31" fmla="*/ 42 h 215"/>
              <a:gd name="T32" fmla="*/ 78 w 164"/>
              <a:gd name="T33" fmla="*/ 36 h 215"/>
              <a:gd name="T34" fmla="*/ 74 w 164"/>
              <a:gd name="T35" fmla="*/ 31 h 215"/>
              <a:gd name="T36" fmla="*/ 71 w 164"/>
              <a:gd name="T37" fmla="*/ 30 h 215"/>
              <a:gd name="T38" fmla="*/ 62 w 164"/>
              <a:gd name="T39" fmla="*/ 32 h 215"/>
              <a:gd name="T40" fmla="*/ 52 w 164"/>
              <a:gd name="T41" fmla="*/ 24 h 215"/>
              <a:gd name="T42" fmla="*/ 48 w 164"/>
              <a:gd name="T43" fmla="*/ 18 h 215"/>
              <a:gd name="T44" fmla="*/ 40 w 164"/>
              <a:gd name="T45" fmla="*/ 10 h 215"/>
              <a:gd name="T46" fmla="*/ 42 w 164"/>
              <a:gd name="T47" fmla="*/ 2 h 215"/>
              <a:gd name="T48" fmla="*/ 25 w 164"/>
              <a:gd name="T49" fmla="*/ 2 h 215"/>
              <a:gd name="T50" fmla="*/ 24 w 164"/>
              <a:gd name="T51" fmla="*/ 16 h 215"/>
              <a:gd name="T52" fmla="*/ 29 w 164"/>
              <a:gd name="T53" fmla="*/ 26 h 215"/>
              <a:gd name="T54" fmla="*/ 27 w 164"/>
              <a:gd name="T55" fmla="*/ 34 h 215"/>
              <a:gd name="T56" fmla="*/ 36 w 164"/>
              <a:gd name="T57" fmla="*/ 54 h 215"/>
              <a:gd name="T58" fmla="*/ 58 w 164"/>
              <a:gd name="T59" fmla="*/ 76 h 215"/>
              <a:gd name="T60" fmla="*/ 61 w 164"/>
              <a:gd name="T61" fmla="*/ 106 h 215"/>
              <a:gd name="T62" fmla="*/ 55 w 164"/>
              <a:gd name="T63" fmla="*/ 108 h 215"/>
              <a:gd name="T64" fmla="*/ 45 w 164"/>
              <a:gd name="T65" fmla="*/ 115 h 215"/>
              <a:gd name="T66" fmla="*/ 33 w 164"/>
              <a:gd name="T67" fmla="*/ 141 h 215"/>
              <a:gd name="T68" fmla="*/ 29 w 164"/>
              <a:gd name="T69" fmla="*/ 161 h 215"/>
              <a:gd name="T70" fmla="*/ 10 w 164"/>
              <a:gd name="T71" fmla="*/ 182 h 215"/>
              <a:gd name="T72" fmla="*/ 0 w 164"/>
              <a:gd name="T73" fmla="*/ 212 h 215"/>
              <a:gd name="T74" fmla="*/ 16 w 164"/>
              <a:gd name="T75" fmla="*/ 215 h 215"/>
              <a:gd name="T76" fmla="*/ 20 w 164"/>
              <a:gd name="T77" fmla="*/ 211 h 215"/>
              <a:gd name="T78" fmla="*/ 30 w 164"/>
              <a:gd name="T79" fmla="*/ 208 h 215"/>
              <a:gd name="T80" fmla="*/ 39 w 164"/>
              <a:gd name="T81" fmla="*/ 208 h 215"/>
              <a:gd name="T82" fmla="*/ 50 w 164"/>
              <a:gd name="T83" fmla="*/ 207 h 215"/>
              <a:gd name="T84" fmla="*/ 54 w 164"/>
              <a:gd name="T85" fmla="*/ 207 h 215"/>
              <a:gd name="T86" fmla="*/ 61 w 164"/>
              <a:gd name="T87" fmla="*/ 200 h 215"/>
              <a:gd name="T88" fmla="*/ 63 w 164"/>
              <a:gd name="T89" fmla="*/ 186 h 215"/>
              <a:gd name="T90" fmla="*/ 69 w 164"/>
              <a:gd name="T91" fmla="*/ 183 h 215"/>
              <a:gd name="T92" fmla="*/ 82 w 164"/>
              <a:gd name="T93" fmla="*/ 179 h 215"/>
              <a:gd name="T94" fmla="*/ 91 w 164"/>
              <a:gd name="T95" fmla="*/ 182 h 215"/>
              <a:gd name="T96" fmla="*/ 99 w 164"/>
              <a:gd name="T97" fmla="*/ 178 h 215"/>
              <a:gd name="T98" fmla="*/ 104 w 164"/>
              <a:gd name="T99" fmla="*/ 169 h 215"/>
              <a:gd name="T100" fmla="*/ 106 w 164"/>
              <a:gd name="T101" fmla="*/ 163 h 215"/>
              <a:gd name="T102" fmla="*/ 110 w 164"/>
              <a:gd name="T103" fmla="*/ 150 h 215"/>
              <a:gd name="T104" fmla="*/ 126 w 164"/>
              <a:gd name="T105" fmla="*/ 144 h 215"/>
              <a:gd name="T106" fmla="*/ 133 w 164"/>
              <a:gd name="T107" fmla="*/ 142 h 215"/>
              <a:gd name="T108" fmla="*/ 134 w 164"/>
              <a:gd name="T109" fmla="*/ 127 h 215"/>
              <a:gd name="T110" fmla="*/ 142 w 164"/>
              <a:gd name="T111" fmla="*/ 116 h 215"/>
              <a:gd name="T112" fmla="*/ 151 w 164"/>
              <a:gd name="T113" fmla="*/ 112 h 215"/>
              <a:gd name="T114" fmla="*/ 156 w 164"/>
              <a:gd name="T115" fmla="*/ 110 h 215"/>
              <a:gd name="T116" fmla="*/ 153 w 164"/>
              <a:gd name="T117" fmla="*/ 102 h 215"/>
              <a:gd name="T118" fmla="*/ 157 w 164"/>
              <a:gd name="T119" fmla="*/ 91 h 215"/>
              <a:gd name="T120" fmla="*/ 164 w 164"/>
              <a:gd name="T121" fmla="*/ 85 h 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64" h="215">
                <a:moveTo>
                  <a:pt x="17" y="30"/>
                </a:moveTo>
                <a:cubicBezTo>
                  <a:pt x="22" y="30"/>
                  <a:pt x="22" y="30"/>
                  <a:pt x="22" y="30"/>
                </a:cubicBezTo>
                <a:cubicBezTo>
                  <a:pt x="23" y="30"/>
                  <a:pt x="23" y="30"/>
                  <a:pt x="23" y="30"/>
                </a:cubicBezTo>
                <a:cubicBezTo>
                  <a:pt x="23" y="29"/>
                  <a:pt x="23" y="29"/>
                  <a:pt x="23" y="29"/>
                </a:cubicBezTo>
                <a:cubicBezTo>
                  <a:pt x="25" y="27"/>
                  <a:pt x="25" y="27"/>
                  <a:pt x="25" y="27"/>
                </a:cubicBezTo>
                <a:cubicBezTo>
                  <a:pt x="25" y="26"/>
                  <a:pt x="25" y="26"/>
                  <a:pt x="25" y="26"/>
                </a:cubicBezTo>
                <a:cubicBezTo>
                  <a:pt x="24" y="19"/>
                  <a:pt x="24" y="19"/>
                  <a:pt x="24" y="19"/>
                </a:cubicBezTo>
                <a:cubicBezTo>
                  <a:pt x="23" y="18"/>
                  <a:pt x="23" y="18"/>
                  <a:pt x="23" y="18"/>
                </a:cubicBezTo>
                <a:cubicBezTo>
                  <a:pt x="23" y="18"/>
                  <a:pt x="23" y="18"/>
                  <a:pt x="23" y="18"/>
                </a:cubicBezTo>
                <a:cubicBezTo>
                  <a:pt x="23" y="18"/>
                  <a:pt x="23" y="18"/>
                  <a:pt x="23" y="18"/>
                </a:cubicBezTo>
                <a:cubicBezTo>
                  <a:pt x="21" y="18"/>
                  <a:pt x="21" y="18"/>
                  <a:pt x="21" y="18"/>
                </a:cubicBezTo>
                <a:cubicBezTo>
                  <a:pt x="19" y="20"/>
                  <a:pt x="19" y="20"/>
                  <a:pt x="19" y="20"/>
                </a:cubicBezTo>
                <a:cubicBezTo>
                  <a:pt x="19" y="21"/>
                  <a:pt x="19" y="21"/>
                  <a:pt x="19" y="21"/>
                </a:cubicBezTo>
                <a:cubicBezTo>
                  <a:pt x="16" y="27"/>
                  <a:pt x="16" y="27"/>
                  <a:pt x="16" y="27"/>
                </a:cubicBezTo>
                <a:cubicBezTo>
                  <a:pt x="16" y="29"/>
                  <a:pt x="16" y="29"/>
                  <a:pt x="16" y="29"/>
                </a:cubicBezTo>
                <a:cubicBezTo>
                  <a:pt x="16" y="30"/>
                  <a:pt x="16" y="30"/>
                  <a:pt x="16" y="30"/>
                </a:cubicBezTo>
                <a:lnTo>
                  <a:pt x="17" y="30"/>
                </a:lnTo>
                <a:close/>
                <a:moveTo>
                  <a:pt x="164" y="85"/>
                </a:moveTo>
                <a:cubicBezTo>
                  <a:pt x="162" y="84"/>
                  <a:pt x="162" y="84"/>
                  <a:pt x="162" y="84"/>
                </a:cubicBezTo>
                <a:cubicBezTo>
                  <a:pt x="160" y="83"/>
                  <a:pt x="160" y="83"/>
                  <a:pt x="160" y="83"/>
                </a:cubicBezTo>
                <a:cubicBezTo>
                  <a:pt x="159" y="82"/>
                  <a:pt x="159" y="82"/>
                  <a:pt x="159" y="82"/>
                </a:cubicBezTo>
                <a:cubicBezTo>
                  <a:pt x="158" y="81"/>
                  <a:pt x="158" y="81"/>
                  <a:pt x="158" y="80"/>
                </a:cubicBezTo>
                <a:cubicBezTo>
                  <a:pt x="158" y="79"/>
                  <a:pt x="158" y="79"/>
                  <a:pt x="158" y="79"/>
                </a:cubicBezTo>
                <a:cubicBezTo>
                  <a:pt x="157" y="79"/>
                  <a:pt x="156" y="78"/>
                  <a:pt x="156" y="78"/>
                </a:cubicBezTo>
                <a:cubicBezTo>
                  <a:pt x="152" y="78"/>
                  <a:pt x="152" y="78"/>
                  <a:pt x="152" y="78"/>
                </a:cubicBezTo>
                <a:cubicBezTo>
                  <a:pt x="152" y="79"/>
                  <a:pt x="151" y="79"/>
                  <a:pt x="150" y="79"/>
                </a:cubicBezTo>
                <a:cubicBezTo>
                  <a:pt x="150" y="80"/>
                  <a:pt x="148" y="82"/>
                  <a:pt x="147" y="84"/>
                </a:cubicBezTo>
                <a:cubicBezTo>
                  <a:pt x="145" y="86"/>
                  <a:pt x="144" y="86"/>
                  <a:pt x="143" y="86"/>
                </a:cubicBezTo>
                <a:cubicBezTo>
                  <a:pt x="141" y="86"/>
                  <a:pt x="140" y="86"/>
                  <a:pt x="140" y="85"/>
                </a:cubicBezTo>
                <a:cubicBezTo>
                  <a:pt x="130" y="85"/>
                  <a:pt x="130" y="85"/>
                  <a:pt x="130" y="85"/>
                </a:cubicBezTo>
                <a:cubicBezTo>
                  <a:pt x="130" y="85"/>
                  <a:pt x="130" y="85"/>
                  <a:pt x="130" y="85"/>
                </a:cubicBezTo>
                <a:cubicBezTo>
                  <a:pt x="127" y="84"/>
                  <a:pt x="127" y="84"/>
                  <a:pt x="127" y="84"/>
                </a:cubicBezTo>
                <a:cubicBezTo>
                  <a:pt x="126" y="84"/>
                  <a:pt x="126" y="84"/>
                  <a:pt x="126" y="84"/>
                </a:cubicBezTo>
                <a:cubicBezTo>
                  <a:pt x="126" y="84"/>
                  <a:pt x="125" y="84"/>
                  <a:pt x="124" y="84"/>
                </a:cubicBezTo>
                <a:cubicBezTo>
                  <a:pt x="121" y="82"/>
                  <a:pt x="121" y="82"/>
                  <a:pt x="121" y="82"/>
                </a:cubicBezTo>
                <a:cubicBezTo>
                  <a:pt x="120" y="82"/>
                  <a:pt x="120" y="81"/>
                  <a:pt x="120" y="80"/>
                </a:cubicBezTo>
                <a:cubicBezTo>
                  <a:pt x="120" y="80"/>
                  <a:pt x="120" y="77"/>
                  <a:pt x="124" y="75"/>
                </a:cubicBezTo>
                <a:cubicBezTo>
                  <a:pt x="125" y="75"/>
                  <a:pt x="127" y="73"/>
                  <a:pt x="127" y="72"/>
                </a:cubicBezTo>
                <a:cubicBezTo>
                  <a:pt x="128" y="71"/>
                  <a:pt x="128" y="71"/>
                  <a:pt x="129" y="71"/>
                </a:cubicBezTo>
                <a:cubicBezTo>
                  <a:pt x="129" y="70"/>
                  <a:pt x="129" y="70"/>
                  <a:pt x="129" y="70"/>
                </a:cubicBezTo>
                <a:cubicBezTo>
                  <a:pt x="129" y="70"/>
                  <a:pt x="129" y="70"/>
                  <a:pt x="129" y="70"/>
                </a:cubicBezTo>
                <a:cubicBezTo>
                  <a:pt x="128" y="70"/>
                  <a:pt x="127" y="69"/>
                  <a:pt x="127" y="68"/>
                </a:cubicBezTo>
                <a:cubicBezTo>
                  <a:pt x="127" y="66"/>
                  <a:pt x="127" y="66"/>
                  <a:pt x="127" y="66"/>
                </a:cubicBezTo>
                <a:cubicBezTo>
                  <a:pt x="125" y="64"/>
                  <a:pt x="125" y="64"/>
                  <a:pt x="125" y="64"/>
                </a:cubicBezTo>
                <a:cubicBezTo>
                  <a:pt x="125" y="64"/>
                  <a:pt x="125" y="64"/>
                  <a:pt x="125" y="63"/>
                </a:cubicBezTo>
                <a:cubicBezTo>
                  <a:pt x="125" y="62"/>
                  <a:pt x="125" y="62"/>
                  <a:pt x="125" y="62"/>
                </a:cubicBezTo>
                <a:cubicBezTo>
                  <a:pt x="124" y="59"/>
                  <a:pt x="124" y="59"/>
                  <a:pt x="124" y="59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15" y="57"/>
                  <a:pt x="115" y="57"/>
                  <a:pt x="115" y="57"/>
                </a:cubicBezTo>
                <a:cubicBezTo>
                  <a:pt x="114" y="57"/>
                  <a:pt x="114" y="57"/>
                  <a:pt x="114" y="57"/>
                </a:cubicBezTo>
                <a:cubicBezTo>
                  <a:pt x="112" y="55"/>
                  <a:pt x="112" y="55"/>
                  <a:pt x="112" y="55"/>
                </a:cubicBezTo>
                <a:cubicBezTo>
                  <a:pt x="111" y="55"/>
                  <a:pt x="111" y="54"/>
                  <a:pt x="111" y="53"/>
                </a:cubicBezTo>
                <a:cubicBezTo>
                  <a:pt x="111" y="51"/>
                  <a:pt x="111" y="51"/>
                  <a:pt x="111" y="51"/>
                </a:cubicBezTo>
                <a:cubicBezTo>
                  <a:pt x="111" y="51"/>
                  <a:pt x="111" y="51"/>
                  <a:pt x="111" y="50"/>
                </a:cubicBezTo>
                <a:cubicBezTo>
                  <a:pt x="108" y="50"/>
                  <a:pt x="108" y="50"/>
                  <a:pt x="108" y="50"/>
                </a:cubicBezTo>
                <a:cubicBezTo>
                  <a:pt x="107" y="50"/>
                  <a:pt x="107" y="50"/>
                  <a:pt x="107" y="50"/>
                </a:cubicBezTo>
                <a:cubicBezTo>
                  <a:pt x="103" y="48"/>
                  <a:pt x="103" y="48"/>
                  <a:pt x="103" y="48"/>
                </a:cubicBezTo>
                <a:cubicBezTo>
                  <a:pt x="102" y="48"/>
                  <a:pt x="102" y="48"/>
                  <a:pt x="102" y="48"/>
                </a:cubicBezTo>
                <a:cubicBezTo>
                  <a:pt x="100" y="45"/>
                  <a:pt x="100" y="45"/>
                  <a:pt x="100" y="45"/>
                </a:cubicBezTo>
                <a:cubicBezTo>
                  <a:pt x="98" y="45"/>
                  <a:pt x="98" y="45"/>
                  <a:pt x="98" y="45"/>
                </a:cubicBezTo>
                <a:cubicBezTo>
                  <a:pt x="97" y="45"/>
                  <a:pt x="96" y="45"/>
                  <a:pt x="96" y="44"/>
                </a:cubicBezTo>
                <a:cubicBezTo>
                  <a:pt x="95" y="42"/>
                  <a:pt x="95" y="42"/>
                  <a:pt x="95" y="42"/>
                </a:cubicBezTo>
                <a:cubicBezTo>
                  <a:pt x="93" y="42"/>
                  <a:pt x="93" y="42"/>
                  <a:pt x="93" y="42"/>
                </a:cubicBezTo>
                <a:cubicBezTo>
                  <a:pt x="92" y="42"/>
                  <a:pt x="92" y="42"/>
                  <a:pt x="92" y="42"/>
                </a:cubicBezTo>
                <a:cubicBezTo>
                  <a:pt x="90" y="39"/>
                  <a:pt x="90" y="39"/>
                  <a:pt x="90" y="39"/>
                </a:cubicBezTo>
                <a:cubicBezTo>
                  <a:pt x="88" y="40"/>
                  <a:pt x="87" y="40"/>
                  <a:pt x="86" y="39"/>
                </a:cubicBezTo>
                <a:cubicBezTo>
                  <a:pt x="85" y="39"/>
                  <a:pt x="84" y="38"/>
                  <a:pt x="83" y="38"/>
                </a:cubicBezTo>
                <a:cubicBezTo>
                  <a:pt x="78" y="36"/>
                  <a:pt x="78" y="36"/>
                  <a:pt x="78" y="36"/>
                </a:cubicBezTo>
                <a:cubicBezTo>
                  <a:pt x="77" y="36"/>
                  <a:pt x="77" y="36"/>
                  <a:pt x="77" y="36"/>
                </a:cubicBezTo>
                <a:cubicBezTo>
                  <a:pt x="75" y="34"/>
                  <a:pt x="75" y="34"/>
                  <a:pt x="75" y="34"/>
                </a:cubicBezTo>
                <a:cubicBezTo>
                  <a:pt x="75" y="33"/>
                  <a:pt x="75" y="33"/>
                  <a:pt x="75" y="33"/>
                </a:cubicBezTo>
                <a:cubicBezTo>
                  <a:pt x="74" y="31"/>
                  <a:pt x="74" y="31"/>
                  <a:pt x="74" y="31"/>
                </a:cubicBezTo>
                <a:cubicBezTo>
                  <a:pt x="74" y="30"/>
                  <a:pt x="74" y="30"/>
                  <a:pt x="74" y="29"/>
                </a:cubicBezTo>
                <a:cubicBezTo>
                  <a:pt x="74" y="29"/>
                  <a:pt x="74" y="29"/>
                  <a:pt x="74" y="29"/>
                </a:cubicBezTo>
                <a:cubicBezTo>
                  <a:pt x="74" y="29"/>
                  <a:pt x="74" y="29"/>
                  <a:pt x="74" y="29"/>
                </a:cubicBezTo>
                <a:cubicBezTo>
                  <a:pt x="73" y="29"/>
                  <a:pt x="72" y="30"/>
                  <a:pt x="71" y="30"/>
                </a:cubicBezTo>
                <a:cubicBezTo>
                  <a:pt x="69" y="30"/>
                  <a:pt x="69" y="31"/>
                  <a:pt x="69" y="31"/>
                </a:cubicBezTo>
                <a:cubicBezTo>
                  <a:pt x="69" y="32"/>
                  <a:pt x="68" y="32"/>
                  <a:pt x="67" y="32"/>
                </a:cubicBezTo>
                <a:cubicBezTo>
                  <a:pt x="64" y="32"/>
                  <a:pt x="64" y="32"/>
                  <a:pt x="64" y="32"/>
                </a:cubicBezTo>
                <a:cubicBezTo>
                  <a:pt x="63" y="32"/>
                  <a:pt x="63" y="32"/>
                  <a:pt x="62" y="32"/>
                </a:cubicBezTo>
                <a:cubicBezTo>
                  <a:pt x="60" y="29"/>
                  <a:pt x="60" y="29"/>
                  <a:pt x="60" y="29"/>
                </a:cubicBezTo>
                <a:cubicBezTo>
                  <a:pt x="59" y="29"/>
                  <a:pt x="57" y="28"/>
                  <a:pt x="56" y="28"/>
                </a:cubicBezTo>
                <a:cubicBezTo>
                  <a:pt x="54" y="27"/>
                  <a:pt x="53" y="26"/>
                  <a:pt x="53" y="25"/>
                </a:cubicBezTo>
                <a:cubicBezTo>
                  <a:pt x="53" y="25"/>
                  <a:pt x="52" y="25"/>
                  <a:pt x="52" y="24"/>
                </a:cubicBezTo>
                <a:cubicBezTo>
                  <a:pt x="52" y="20"/>
                  <a:pt x="52" y="20"/>
                  <a:pt x="52" y="20"/>
                </a:cubicBezTo>
                <a:cubicBezTo>
                  <a:pt x="52" y="20"/>
                  <a:pt x="52" y="20"/>
                  <a:pt x="52" y="20"/>
                </a:cubicBezTo>
                <a:cubicBezTo>
                  <a:pt x="48" y="18"/>
                  <a:pt x="48" y="18"/>
                  <a:pt x="48" y="18"/>
                </a:cubicBezTo>
                <a:cubicBezTo>
                  <a:pt x="48" y="18"/>
                  <a:pt x="48" y="18"/>
                  <a:pt x="48" y="18"/>
                </a:cubicBezTo>
                <a:cubicBezTo>
                  <a:pt x="48" y="18"/>
                  <a:pt x="46" y="17"/>
                  <a:pt x="44" y="17"/>
                </a:cubicBezTo>
                <a:cubicBezTo>
                  <a:pt x="43" y="16"/>
                  <a:pt x="42" y="16"/>
                  <a:pt x="42" y="16"/>
                </a:cubicBezTo>
                <a:cubicBezTo>
                  <a:pt x="40" y="14"/>
                  <a:pt x="40" y="12"/>
                  <a:pt x="40" y="11"/>
                </a:cubicBezTo>
                <a:cubicBezTo>
                  <a:pt x="40" y="10"/>
                  <a:pt x="40" y="10"/>
                  <a:pt x="40" y="10"/>
                </a:cubicBezTo>
                <a:cubicBezTo>
                  <a:pt x="42" y="7"/>
                  <a:pt x="42" y="7"/>
                  <a:pt x="42" y="7"/>
                </a:cubicBezTo>
                <a:cubicBezTo>
                  <a:pt x="43" y="6"/>
                  <a:pt x="43" y="6"/>
                  <a:pt x="43" y="6"/>
                </a:cubicBezTo>
                <a:cubicBezTo>
                  <a:pt x="43" y="3"/>
                  <a:pt x="43" y="3"/>
                  <a:pt x="43" y="3"/>
                </a:cubicBezTo>
                <a:cubicBezTo>
                  <a:pt x="42" y="2"/>
                  <a:pt x="42" y="2"/>
                  <a:pt x="42" y="2"/>
                </a:cubicBezTo>
                <a:cubicBezTo>
                  <a:pt x="41" y="1"/>
                  <a:pt x="39" y="0"/>
                  <a:pt x="38" y="0"/>
                </a:cubicBezTo>
                <a:cubicBezTo>
                  <a:pt x="35" y="0"/>
                  <a:pt x="35" y="0"/>
                  <a:pt x="35" y="0"/>
                </a:cubicBezTo>
                <a:cubicBezTo>
                  <a:pt x="30" y="2"/>
                  <a:pt x="29" y="2"/>
                  <a:pt x="28" y="2"/>
                </a:cubicBezTo>
                <a:cubicBezTo>
                  <a:pt x="28" y="2"/>
                  <a:pt x="26" y="2"/>
                  <a:pt x="25" y="2"/>
                </a:cubicBezTo>
                <a:cubicBezTo>
                  <a:pt x="24" y="2"/>
                  <a:pt x="23" y="2"/>
                  <a:pt x="23" y="2"/>
                </a:cubicBezTo>
                <a:cubicBezTo>
                  <a:pt x="23" y="11"/>
                  <a:pt x="23" y="11"/>
                  <a:pt x="23" y="11"/>
                </a:cubicBezTo>
                <a:cubicBezTo>
                  <a:pt x="24" y="12"/>
                  <a:pt x="24" y="12"/>
                  <a:pt x="24" y="12"/>
                </a:cubicBezTo>
                <a:cubicBezTo>
                  <a:pt x="24" y="16"/>
                  <a:pt x="24" y="16"/>
                  <a:pt x="24" y="16"/>
                </a:cubicBezTo>
                <a:cubicBezTo>
                  <a:pt x="26" y="20"/>
                  <a:pt x="26" y="20"/>
                  <a:pt x="26" y="20"/>
                </a:cubicBezTo>
                <a:cubicBezTo>
                  <a:pt x="27" y="22"/>
                  <a:pt x="27" y="22"/>
                  <a:pt x="27" y="22"/>
                </a:cubicBezTo>
                <a:cubicBezTo>
                  <a:pt x="29" y="25"/>
                  <a:pt x="29" y="25"/>
                  <a:pt x="29" y="25"/>
                </a:cubicBezTo>
                <a:cubicBezTo>
                  <a:pt x="29" y="26"/>
                  <a:pt x="29" y="26"/>
                  <a:pt x="29" y="26"/>
                </a:cubicBezTo>
                <a:cubicBezTo>
                  <a:pt x="30" y="29"/>
                  <a:pt x="30" y="29"/>
                  <a:pt x="30" y="29"/>
                </a:cubicBezTo>
                <a:cubicBezTo>
                  <a:pt x="30" y="30"/>
                  <a:pt x="30" y="30"/>
                  <a:pt x="30" y="30"/>
                </a:cubicBezTo>
                <a:cubicBezTo>
                  <a:pt x="29" y="32"/>
                  <a:pt x="29" y="32"/>
                  <a:pt x="29" y="32"/>
                </a:cubicBezTo>
                <a:cubicBezTo>
                  <a:pt x="27" y="34"/>
                  <a:pt x="27" y="34"/>
                  <a:pt x="27" y="34"/>
                </a:cubicBezTo>
                <a:cubicBezTo>
                  <a:pt x="21" y="40"/>
                  <a:pt x="21" y="40"/>
                  <a:pt x="21" y="40"/>
                </a:cubicBezTo>
                <a:cubicBezTo>
                  <a:pt x="21" y="42"/>
                  <a:pt x="21" y="42"/>
                  <a:pt x="21" y="42"/>
                </a:cubicBezTo>
                <a:cubicBezTo>
                  <a:pt x="23" y="44"/>
                  <a:pt x="23" y="44"/>
                  <a:pt x="23" y="44"/>
                </a:cubicBezTo>
                <a:cubicBezTo>
                  <a:pt x="36" y="54"/>
                  <a:pt x="36" y="54"/>
                  <a:pt x="36" y="54"/>
                </a:cubicBezTo>
                <a:cubicBezTo>
                  <a:pt x="51" y="63"/>
                  <a:pt x="51" y="63"/>
                  <a:pt x="51" y="63"/>
                </a:cubicBezTo>
                <a:cubicBezTo>
                  <a:pt x="53" y="65"/>
                  <a:pt x="53" y="65"/>
                  <a:pt x="53" y="65"/>
                </a:cubicBezTo>
                <a:cubicBezTo>
                  <a:pt x="55" y="67"/>
                  <a:pt x="55" y="67"/>
                  <a:pt x="55" y="67"/>
                </a:cubicBezTo>
                <a:cubicBezTo>
                  <a:pt x="58" y="76"/>
                  <a:pt x="58" y="76"/>
                  <a:pt x="58" y="76"/>
                </a:cubicBezTo>
                <a:cubicBezTo>
                  <a:pt x="65" y="93"/>
                  <a:pt x="65" y="93"/>
                  <a:pt x="65" y="93"/>
                </a:cubicBezTo>
                <a:cubicBezTo>
                  <a:pt x="65" y="95"/>
                  <a:pt x="65" y="95"/>
                  <a:pt x="65" y="95"/>
                </a:cubicBezTo>
                <a:cubicBezTo>
                  <a:pt x="64" y="98"/>
                  <a:pt x="64" y="98"/>
                  <a:pt x="64" y="98"/>
                </a:cubicBezTo>
                <a:cubicBezTo>
                  <a:pt x="61" y="106"/>
                  <a:pt x="61" y="106"/>
                  <a:pt x="61" y="106"/>
                </a:cubicBezTo>
                <a:cubicBezTo>
                  <a:pt x="61" y="106"/>
                  <a:pt x="61" y="106"/>
                  <a:pt x="61" y="106"/>
                </a:cubicBezTo>
                <a:cubicBezTo>
                  <a:pt x="60" y="107"/>
                  <a:pt x="60" y="107"/>
                  <a:pt x="60" y="107"/>
                </a:cubicBezTo>
                <a:cubicBezTo>
                  <a:pt x="59" y="108"/>
                  <a:pt x="59" y="108"/>
                  <a:pt x="59" y="108"/>
                </a:cubicBezTo>
                <a:cubicBezTo>
                  <a:pt x="55" y="108"/>
                  <a:pt x="55" y="108"/>
                  <a:pt x="55" y="108"/>
                </a:cubicBezTo>
                <a:cubicBezTo>
                  <a:pt x="50" y="111"/>
                  <a:pt x="50" y="111"/>
                  <a:pt x="50" y="111"/>
                </a:cubicBezTo>
                <a:cubicBezTo>
                  <a:pt x="48" y="112"/>
                  <a:pt x="48" y="112"/>
                  <a:pt x="48" y="112"/>
                </a:cubicBezTo>
                <a:cubicBezTo>
                  <a:pt x="46" y="115"/>
                  <a:pt x="46" y="115"/>
                  <a:pt x="46" y="115"/>
                </a:cubicBezTo>
                <a:cubicBezTo>
                  <a:pt x="45" y="115"/>
                  <a:pt x="45" y="115"/>
                  <a:pt x="45" y="115"/>
                </a:cubicBezTo>
                <a:cubicBezTo>
                  <a:pt x="44" y="117"/>
                  <a:pt x="44" y="117"/>
                  <a:pt x="44" y="117"/>
                </a:cubicBezTo>
                <a:cubicBezTo>
                  <a:pt x="33" y="137"/>
                  <a:pt x="33" y="137"/>
                  <a:pt x="33" y="137"/>
                </a:cubicBezTo>
                <a:cubicBezTo>
                  <a:pt x="33" y="139"/>
                  <a:pt x="33" y="139"/>
                  <a:pt x="33" y="139"/>
                </a:cubicBezTo>
                <a:cubicBezTo>
                  <a:pt x="33" y="141"/>
                  <a:pt x="33" y="141"/>
                  <a:pt x="33" y="141"/>
                </a:cubicBezTo>
                <a:cubicBezTo>
                  <a:pt x="33" y="144"/>
                  <a:pt x="33" y="144"/>
                  <a:pt x="33" y="144"/>
                </a:cubicBezTo>
                <a:cubicBezTo>
                  <a:pt x="33" y="146"/>
                  <a:pt x="33" y="146"/>
                  <a:pt x="33" y="146"/>
                </a:cubicBezTo>
                <a:cubicBezTo>
                  <a:pt x="32" y="148"/>
                  <a:pt x="32" y="148"/>
                  <a:pt x="32" y="148"/>
                </a:cubicBezTo>
                <a:cubicBezTo>
                  <a:pt x="29" y="161"/>
                  <a:pt x="29" y="161"/>
                  <a:pt x="29" y="161"/>
                </a:cubicBezTo>
                <a:cubicBezTo>
                  <a:pt x="29" y="162"/>
                  <a:pt x="29" y="162"/>
                  <a:pt x="29" y="162"/>
                </a:cubicBezTo>
                <a:cubicBezTo>
                  <a:pt x="29" y="162"/>
                  <a:pt x="29" y="162"/>
                  <a:pt x="29" y="162"/>
                </a:cubicBezTo>
                <a:cubicBezTo>
                  <a:pt x="19" y="172"/>
                  <a:pt x="19" y="172"/>
                  <a:pt x="19" y="172"/>
                </a:cubicBezTo>
                <a:cubicBezTo>
                  <a:pt x="10" y="182"/>
                  <a:pt x="10" y="182"/>
                  <a:pt x="10" y="182"/>
                </a:cubicBezTo>
                <a:cubicBezTo>
                  <a:pt x="8" y="184"/>
                  <a:pt x="8" y="184"/>
                  <a:pt x="8" y="184"/>
                </a:cubicBezTo>
                <a:cubicBezTo>
                  <a:pt x="7" y="185"/>
                  <a:pt x="7" y="185"/>
                  <a:pt x="7" y="185"/>
                </a:cubicBezTo>
                <a:cubicBezTo>
                  <a:pt x="0" y="210"/>
                  <a:pt x="0" y="210"/>
                  <a:pt x="0" y="210"/>
                </a:cubicBezTo>
                <a:cubicBezTo>
                  <a:pt x="0" y="212"/>
                  <a:pt x="0" y="212"/>
                  <a:pt x="0" y="212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14"/>
                  <a:pt x="0" y="214"/>
                  <a:pt x="1" y="214"/>
                </a:cubicBezTo>
                <a:cubicBezTo>
                  <a:pt x="14" y="214"/>
                  <a:pt x="14" y="214"/>
                  <a:pt x="14" y="214"/>
                </a:cubicBezTo>
                <a:cubicBezTo>
                  <a:pt x="15" y="214"/>
                  <a:pt x="16" y="214"/>
                  <a:pt x="16" y="215"/>
                </a:cubicBezTo>
                <a:cubicBezTo>
                  <a:pt x="17" y="215"/>
                  <a:pt x="17" y="215"/>
                  <a:pt x="17" y="215"/>
                </a:cubicBezTo>
                <a:cubicBezTo>
                  <a:pt x="17" y="215"/>
                  <a:pt x="17" y="215"/>
                  <a:pt x="17" y="215"/>
                </a:cubicBezTo>
                <a:cubicBezTo>
                  <a:pt x="18" y="213"/>
                  <a:pt x="19" y="212"/>
                  <a:pt x="19" y="211"/>
                </a:cubicBezTo>
                <a:cubicBezTo>
                  <a:pt x="20" y="211"/>
                  <a:pt x="20" y="211"/>
                  <a:pt x="20" y="211"/>
                </a:cubicBezTo>
                <a:cubicBezTo>
                  <a:pt x="20" y="210"/>
                  <a:pt x="20" y="210"/>
                  <a:pt x="20" y="210"/>
                </a:cubicBezTo>
                <a:cubicBezTo>
                  <a:pt x="20" y="209"/>
                  <a:pt x="21" y="209"/>
                  <a:pt x="22" y="208"/>
                </a:cubicBezTo>
                <a:cubicBezTo>
                  <a:pt x="24" y="207"/>
                  <a:pt x="27" y="208"/>
                  <a:pt x="28" y="208"/>
                </a:cubicBezTo>
                <a:cubicBezTo>
                  <a:pt x="30" y="208"/>
                  <a:pt x="30" y="208"/>
                  <a:pt x="30" y="208"/>
                </a:cubicBezTo>
                <a:cubicBezTo>
                  <a:pt x="31" y="208"/>
                  <a:pt x="31" y="208"/>
                  <a:pt x="31" y="208"/>
                </a:cubicBezTo>
                <a:cubicBezTo>
                  <a:pt x="31" y="208"/>
                  <a:pt x="32" y="208"/>
                  <a:pt x="33" y="208"/>
                </a:cubicBezTo>
                <a:cubicBezTo>
                  <a:pt x="36" y="207"/>
                  <a:pt x="38" y="208"/>
                  <a:pt x="39" y="208"/>
                </a:cubicBezTo>
                <a:cubicBezTo>
                  <a:pt x="39" y="208"/>
                  <a:pt x="39" y="208"/>
                  <a:pt x="39" y="208"/>
                </a:cubicBezTo>
                <a:cubicBezTo>
                  <a:pt x="40" y="208"/>
                  <a:pt x="40" y="208"/>
                  <a:pt x="40" y="208"/>
                </a:cubicBezTo>
                <a:cubicBezTo>
                  <a:pt x="41" y="207"/>
                  <a:pt x="43" y="207"/>
                  <a:pt x="44" y="207"/>
                </a:cubicBezTo>
                <a:cubicBezTo>
                  <a:pt x="47" y="207"/>
                  <a:pt x="47" y="207"/>
                  <a:pt x="47" y="207"/>
                </a:cubicBezTo>
                <a:cubicBezTo>
                  <a:pt x="50" y="207"/>
                  <a:pt x="50" y="207"/>
                  <a:pt x="50" y="207"/>
                </a:cubicBezTo>
                <a:cubicBezTo>
                  <a:pt x="50" y="207"/>
                  <a:pt x="50" y="207"/>
                  <a:pt x="50" y="207"/>
                </a:cubicBezTo>
                <a:cubicBezTo>
                  <a:pt x="50" y="207"/>
                  <a:pt x="51" y="207"/>
                  <a:pt x="52" y="207"/>
                </a:cubicBezTo>
                <a:cubicBezTo>
                  <a:pt x="53" y="207"/>
                  <a:pt x="53" y="207"/>
                  <a:pt x="54" y="207"/>
                </a:cubicBezTo>
                <a:cubicBezTo>
                  <a:pt x="54" y="207"/>
                  <a:pt x="54" y="207"/>
                  <a:pt x="54" y="207"/>
                </a:cubicBezTo>
                <a:cubicBezTo>
                  <a:pt x="57" y="206"/>
                  <a:pt x="61" y="204"/>
                  <a:pt x="61" y="204"/>
                </a:cubicBezTo>
                <a:cubicBezTo>
                  <a:pt x="62" y="204"/>
                  <a:pt x="62" y="204"/>
                  <a:pt x="62" y="204"/>
                </a:cubicBezTo>
                <a:cubicBezTo>
                  <a:pt x="62" y="202"/>
                  <a:pt x="62" y="202"/>
                  <a:pt x="62" y="202"/>
                </a:cubicBezTo>
                <a:cubicBezTo>
                  <a:pt x="61" y="200"/>
                  <a:pt x="61" y="200"/>
                  <a:pt x="61" y="200"/>
                </a:cubicBezTo>
                <a:cubicBezTo>
                  <a:pt x="60" y="199"/>
                  <a:pt x="59" y="198"/>
                  <a:pt x="59" y="196"/>
                </a:cubicBezTo>
                <a:cubicBezTo>
                  <a:pt x="59" y="190"/>
                  <a:pt x="59" y="190"/>
                  <a:pt x="59" y="190"/>
                </a:cubicBezTo>
                <a:cubicBezTo>
                  <a:pt x="59" y="189"/>
                  <a:pt x="59" y="189"/>
                  <a:pt x="60" y="188"/>
                </a:cubicBezTo>
                <a:cubicBezTo>
                  <a:pt x="63" y="186"/>
                  <a:pt x="63" y="186"/>
                  <a:pt x="63" y="186"/>
                </a:cubicBezTo>
                <a:cubicBezTo>
                  <a:pt x="63" y="186"/>
                  <a:pt x="63" y="186"/>
                  <a:pt x="64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7" y="183"/>
                  <a:pt x="67" y="183"/>
                  <a:pt x="67" y="183"/>
                </a:cubicBezTo>
                <a:cubicBezTo>
                  <a:pt x="68" y="183"/>
                  <a:pt x="68" y="183"/>
                  <a:pt x="69" y="183"/>
                </a:cubicBezTo>
                <a:cubicBezTo>
                  <a:pt x="73" y="183"/>
                  <a:pt x="73" y="183"/>
                  <a:pt x="73" y="183"/>
                </a:cubicBezTo>
                <a:cubicBezTo>
                  <a:pt x="74" y="183"/>
                  <a:pt x="74" y="183"/>
                  <a:pt x="74" y="183"/>
                </a:cubicBezTo>
                <a:cubicBezTo>
                  <a:pt x="75" y="182"/>
                  <a:pt x="76" y="182"/>
                  <a:pt x="77" y="181"/>
                </a:cubicBezTo>
                <a:cubicBezTo>
                  <a:pt x="79" y="179"/>
                  <a:pt x="80" y="178"/>
                  <a:pt x="82" y="179"/>
                </a:cubicBezTo>
                <a:cubicBezTo>
                  <a:pt x="83" y="179"/>
                  <a:pt x="85" y="179"/>
                  <a:pt x="86" y="179"/>
                </a:cubicBezTo>
                <a:cubicBezTo>
                  <a:pt x="87" y="179"/>
                  <a:pt x="88" y="179"/>
                  <a:pt x="88" y="179"/>
                </a:cubicBezTo>
                <a:cubicBezTo>
                  <a:pt x="90" y="182"/>
                  <a:pt x="90" y="182"/>
                  <a:pt x="90" y="182"/>
                </a:cubicBezTo>
                <a:cubicBezTo>
                  <a:pt x="91" y="182"/>
                  <a:pt x="91" y="182"/>
                  <a:pt x="91" y="182"/>
                </a:cubicBezTo>
                <a:cubicBezTo>
                  <a:pt x="95" y="183"/>
                  <a:pt x="95" y="183"/>
                  <a:pt x="95" y="183"/>
                </a:cubicBezTo>
                <a:cubicBezTo>
                  <a:pt x="95" y="182"/>
                  <a:pt x="96" y="182"/>
                  <a:pt x="97" y="181"/>
                </a:cubicBezTo>
                <a:cubicBezTo>
                  <a:pt x="97" y="180"/>
                  <a:pt x="98" y="180"/>
                  <a:pt x="99" y="180"/>
                </a:cubicBezTo>
                <a:cubicBezTo>
                  <a:pt x="99" y="179"/>
                  <a:pt x="99" y="178"/>
                  <a:pt x="99" y="178"/>
                </a:cubicBezTo>
                <a:cubicBezTo>
                  <a:pt x="99" y="177"/>
                  <a:pt x="98" y="175"/>
                  <a:pt x="99" y="174"/>
                </a:cubicBezTo>
                <a:cubicBezTo>
                  <a:pt x="100" y="174"/>
                  <a:pt x="100" y="173"/>
                  <a:pt x="100" y="173"/>
                </a:cubicBezTo>
                <a:cubicBezTo>
                  <a:pt x="100" y="172"/>
                  <a:pt x="101" y="170"/>
                  <a:pt x="102" y="170"/>
                </a:cubicBezTo>
                <a:cubicBezTo>
                  <a:pt x="103" y="169"/>
                  <a:pt x="104" y="169"/>
                  <a:pt x="104" y="169"/>
                </a:cubicBezTo>
                <a:cubicBezTo>
                  <a:pt x="105" y="168"/>
                  <a:pt x="105" y="168"/>
                  <a:pt x="105" y="168"/>
                </a:cubicBezTo>
                <a:cubicBezTo>
                  <a:pt x="105" y="166"/>
                  <a:pt x="106" y="165"/>
                  <a:pt x="106" y="165"/>
                </a:cubicBezTo>
                <a:cubicBezTo>
                  <a:pt x="106" y="165"/>
                  <a:pt x="106" y="165"/>
                  <a:pt x="106" y="164"/>
                </a:cubicBezTo>
                <a:cubicBezTo>
                  <a:pt x="106" y="164"/>
                  <a:pt x="106" y="164"/>
                  <a:pt x="106" y="163"/>
                </a:cubicBezTo>
                <a:cubicBezTo>
                  <a:pt x="105" y="162"/>
                  <a:pt x="105" y="161"/>
                  <a:pt x="106" y="159"/>
                </a:cubicBezTo>
                <a:cubicBezTo>
                  <a:pt x="107" y="158"/>
                  <a:pt x="108" y="156"/>
                  <a:pt x="109" y="154"/>
                </a:cubicBezTo>
                <a:cubicBezTo>
                  <a:pt x="109" y="154"/>
                  <a:pt x="109" y="154"/>
                  <a:pt x="109" y="154"/>
                </a:cubicBezTo>
                <a:cubicBezTo>
                  <a:pt x="109" y="153"/>
                  <a:pt x="109" y="152"/>
                  <a:pt x="110" y="150"/>
                </a:cubicBezTo>
                <a:cubicBezTo>
                  <a:pt x="112" y="149"/>
                  <a:pt x="116" y="146"/>
                  <a:pt x="116" y="146"/>
                </a:cubicBezTo>
                <a:cubicBezTo>
                  <a:pt x="118" y="144"/>
                  <a:pt x="118" y="144"/>
                  <a:pt x="118" y="144"/>
                </a:cubicBezTo>
                <a:cubicBezTo>
                  <a:pt x="119" y="144"/>
                  <a:pt x="119" y="144"/>
                  <a:pt x="119" y="144"/>
                </a:cubicBezTo>
                <a:cubicBezTo>
                  <a:pt x="126" y="144"/>
                  <a:pt x="126" y="144"/>
                  <a:pt x="126" y="144"/>
                </a:cubicBezTo>
                <a:cubicBezTo>
                  <a:pt x="127" y="142"/>
                  <a:pt x="127" y="142"/>
                  <a:pt x="127" y="142"/>
                </a:cubicBezTo>
                <a:cubicBezTo>
                  <a:pt x="128" y="142"/>
                  <a:pt x="128" y="142"/>
                  <a:pt x="128" y="142"/>
                </a:cubicBezTo>
                <a:cubicBezTo>
                  <a:pt x="132" y="142"/>
                  <a:pt x="132" y="142"/>
                  <a:pt x="132" y="142"/>
                </a:cubicBezTo>
                <a:cubicBezTo>
                  <a:pt x="133" y="142"/>
                  <a:pt x="133" y="142"/>
                  <a:pt x="133" y="142"/>
                </a:cubicBezTo>
                <a:cubicBezTo>
                  <a:pt x="135" y="144"/>
                  <a:pt x="135" y="144"/>
                  <a:pt x="135" y="144"/>
                </a:cubicBezTo>
                <a:cubicBezTo>
                  <a:pt x="135" y="143"/>
                  <a:pt x="135" y="141"/>
                  <a:pt x="135" y="138"/>
                </a:cubicBezTo>
                <a:cubicBezTo>
                  <a:pt x="134" y="136"/>
                  <a:pt x="134" y="135"/>
                  <a:pt x="135" y="134"/>
                </a:cubicBezTo>
                <a:cubicBezTo>
                  <a:pt x="134" y="127"/>
                  <a:pt x="134" y="127"/>
                  <a:pt x="134" y="127"/>
                </a:cubicBezTo>
                <a:cubicBezTo>
                  <a:pt x="134" y="126"/>
                  <a:pt x="134" y="125"/>
                  <a:pt x="135" y="125"/>
                </a:cubicBezTo>
                <a:cubicBezTo>
                  <a:pt x="135" y="125"/>
                  <a:pt x="137" y="124"/>
                  <a:pt x="139" y="122"/>
                </a:cubicBezTo>
                <a:cubicBezTo>
                  <a:pt x="141" y="121"/>
                  <a:pt x="142" y="119"/>
                  <a:pt x="142" y="119"/>
                </a:cubicBezTo>
                <a:cubicBezTo>
                  <a:pt x="142" y="116"/>
                  <a:pt x="142" y="116"/>
                  <a:pt x="142" y="116"/>
                </a:cubicBezTo>
                <a:cubicBezTo>
                  <a:pt x="142" y="115"/>
                  <a:pt x="143" y="114"/>
                  <a:pt x="144" y="114"/>
                </a:cubicBezTo>
                <a:cubicBezTo>
                  <a:pt x="145" y="114"/>
                  <a:pt x="145" y="114"/>
                  <a:pt x="145" y="114"/>
                </a:cubicBezTo>
                <a:cubicBezTo>
                  <a:pt x="146" y="114"/>
                  <a:pt x="147" y="114"/>
                  <a:pt x="148" y="113"/>
                </a:cubicBezTo>
                <a:cubicBezTo>
                  <a:pt x="149" y="112"/>
                  <a:pt x="150" y="111"/>
                  <a:pt x="151" y="112"/>
                </a:cubicBezTo>
                <a:cubicBezTo>
                  <a:pt x="152" y="112"/>
                  <a:pt x="152" y="112"/>
                  <a:pt x="152" y="112"/>
                </a:cubicBezTo>
                <a:cubicBezTo>
                  <a:pt x="155" y="112"/>
                  <a:pt x="155" y="112"/>
                  <a:pt x="155" y="112"/>
                </a:cubicBezTo>
                <a:cubicBezTo>
                  <a:pt x="155" y="112"/>
                  <a:pt x="155" y="112"/>
                  <a:pt x="156" y="111"/>
                </a:cubicBezTo>
                <a:cubicBezTo>
                  <a:pt x="156" y="110"/>
                  <a:pt x="156" y="110"/>
                  <a:pt x="156" y="110"/>
                </a:cubicBezTo>
                <a:cubicBezTo>
                  <a:pt x="155" y="110"/>
                  <a:pt x="155" y="108"/>
                  <a:pt x="155" y="106"/>
                </a:cubicBezTo>
                <a:cubicBezTo>
                  <a:pt x="155" y="106"/>
                  <a:pt x="154" y="106"/>
                  <a:pt x="154" y="105"/>
                </a:cubicBezTo>
                <a:cubicBezTo>
                  <a:pt x="153" y="102"/>
                  <a:pt x="153" y="102"/>
                  <a:pt x="153" y="102"/>
                </a:cubicBezTo>
                <a:cubicBezTo>
                  <a:pt x="153" y="102"/>
                  <a:pt x="153" y="102"/>
                  <a:pt x="153" y="102"/>
                </a:cubicBezTo>
                <a:cubicBezTo>
                  <a:pt x="153" y="99"/>
                  <a:pt x="153" y="99"/>
                  <a:pt x="153" y="99"/>
                </a:cubicBezTo>
                <a:cubicBezTo>
                  <a:pt x="153" y="97"/>
                  <a:pt x="153" y="97"/>
                  <a:pt x="153" y="97"/>
                </a:cubicBezTo>
                <a:cubicBezTo>
                  <a:pt x="152" y="96"/>
                  <a:pt x="152" y="96"/>
                  <a:pt x="153" y="95"/>
                </a:cubicBezTo>
                <a:cubicBezTo>
                  <a:pt x="153" y="95"/>
                  <a:pt x="154" y="93"/>
                  <a:pt x="157" y="91"/>
                </a:cubicBezTo>
                <a:cubicBezTo>
                  <a:pt x="159" y="91"/>
                  <a:pt x="160" y="90"/>
                  <a:pt x="161" y="91"/>
                </a:cubicBezTo>
                <a:cubicBezTo>
                  <a:pt x="161" y="91"/>
                  <a:pt x="161" y="90"/>
                  <a:pt x="162" y="90"/>
                </a:cubicBezTo>
                <a:cubicBezTo>
                  <a:pt x="162" y="89"/>
                  <a:pt x="163" y="88"/>
                  <a:pt x="164" y="87"/>
                </a:cubicBezTo>
                <a:cubicBezTo>
                  <a:pt x="164" y="86"/>
                  <a:pt x="164" y="86"/>
                  <a:pt x="164" y="8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Freeform 79">
            <a:extLst>
              <a:ext uri="{FF2B5EF4-FFF2-40B4-BE49-F238E27FC236}">
                <a16:creationId xmlns:a16="http://schemas.microsoft.com/office/drawing/2014/main" id="{893BB0EC-20D1-4D61-82A9-3A370672A848}"/>
              </a:ext>
            </a:extLst>
          </p:cNvPr>
          <p:cNvSpPr>
            <a:spLocks/>
          </p:cNvSpPr>
          <p:nvPr/>
        </p:nvSpPr>
        <p:spPr bwMode="auto">
          <a:xfrm>
            <a:off x="5265486" y="2807819"/>
            <a:ext cx="433388" cy="574675"/>
          </a:xfrm>
          <a:custGeom>
            <a:avLst/>
            <a:gdLst>
              <a:gd name="T0" fmla="*/ 159 w 179"/>
              <a:gd name="T1" fmla="*/ 166 h 258"/>
              <a:gd name="T2" fmla="*/ 141 w 179"/>
              <a:gd name="T3" fmla="*/ 88 h 258"/>
              <a:gd name="T4" fmla="*/ 134 w 179"/>
              <a:gd name="T5" fmla="*/ 50 h 258"/>
              <a:gd name="T6" fmla="*/ 108 w 179"/>
              <a:gd name="T7" fmla="*/ 26 h 258"/>
              <a:gd name="T8" fmla="*/ 82 w 179"/>
              <a:gd name="T9" fmla="*/ 0 h 258"/>
              <a:gd name="T10" fmla="*/ 80 w 179"/>
              <a:gd name="T11" fmla="*/ 8 h 258"/>
              <a:gd name="T12" fmla="*/ 67 w 179"/>
              <a:gd name="T13" fmla="*/ 21 h 258"/>
              <a:gd name="T14" fmla="*/ 58 w 179"/>
              <a:gd name="T15" fmla="*/ 28 h 258"/>
              <a:gd name="T16" fmla="*/ 53 w 179"/>
              <a:gd name="T17" fmla="*/ 36 h 258"/>
              <a:gd name="T18" fmla="*/ 63 w 179"/>
              <a:gd name="T19" fmla="*/ 43 h 258"/>
              <a:gd name="T20" fmla="*/ 69 w 179"/>
              <a:gd name="T21" fmla="*/ 55 h 258"/>
              <a:gd name="T22" fmla="*/ 71 w 179"/>
              <a:gd name="T23" fmla="*/ 63 h 258"/>
              <a:gd name="T24" fmla="*/ 73 w 179"/>
              <a:gd name="T25" fmla="*/ 66 h 258"/>
              <a:gd name="T26" fmla="*/ 76 w 179"/>
              <a:gd name="T27" fmla="*/ 73 h 258"/>
              <a:gd name="T28" fmla="*/ 74 w 179"/>
              <a:gd name="T29" fmla="*/ 81 h 258"/>
              <a:gd name="T30" fmla="*/ 67 w 179"/>
              <a:gd name="T31" fmla="*/ 91 h 258"/>
              <a:gd name="T32" fmla="*/ 56 w 179"/>
              <a:gd name="T33" fmla="*/ 96 h 258"/>
              <a:gd name="T34" fmla="*/ 51 w 179"/>
              <a:gd name="T35" fmla="*/ 102 h 258"/>
              <a:gd name="T36" fmla="*/ 51 w 179"/>
              <a:gd name="T37" fmla="*/ 103 h 258"/>
              <a:gd name="T38" fmla="*/ 45 w 179"/>
              <a:gd name="T39" fmla="*/ 108 h 258"/>
              <a:gd name="T40" fmla="*/ 31 w 179"/>
              <a:gd name="T41" fmla="*/ 109 h 258"/>
              <a:gd name="T42" fmla="*/ 19 w 179"/>
              <a:gd name="T43" fmla="*/ 127 h 258"/>
              <a:gd name="T44" fmla="*/ 8 w 179"/>
              <a:gd name="T45" fmla="*/ 143 h 258"/>
              <a:gd name="T46" fmla="*/ 1 w 179"/>
              <a:gd name="T47" fmla="*/ 148 h 258"/>
              <a:gd name="T48" fmla="*/ 0 w 179"/>
              <a:gd name="T49" fmla="*/ 161 h 258"/>
              <a:gd name="T50" fmla="*/ 3 w 179"/>
              <a:gd name="T51" fmla="*/ 165 h 258"/>
              <a:gd name="T52" fmla="*/ 9 w 179"/>
              <a:gd name="T53" fmla="*/ 170 h 258"/>
              <a:gd name="T54" fmla="*/ 15 w 179"/>
              <a:gd name="T55" fmla="*/ 177 h 258"/>
              <a:gd name="T56" fmla="*/ 20 w 179"/>
              <a:gd name="T57" fmla="*/ 183 h 258"/>
              <a:gd name="T58" fmla="*/ 32 w 179"/>
              <a:gd name="T59" fmla="*/ 188 h 258"/>
              <a:gd name="T60" fmla="*/ 32 w 179"/>
              <a:gd name="T61" fmla="*/ 197 h 258"/>
              <a:gd name="T62" fmla="*/ 21 w 179"/>
              <a:gd name="T63" fmla="*/ 202 h 258"/>
              <a:gd name="T64" fmla="*/ 16 w 179"/>
              <a:gd name="T65" fmla="*/ 212 h 258"/>
              <a:gd name="T66" fmla="*/ 20 w 179"/>
              <a:gd name="T67" fmla="*/ 216 h 258"/>
              <a:gd name="T68" fmla="*/ 21 w 179"/>
              <a:gd name="T69" fmla="*/ 229 h 258"/>
              <a:gd name="T70" fmla="*/ 20 w 179"/>
              <a:gd name="T71" fmla="*/ 237 h 258"/>
              <a:gd name="T72" fmla="*/ 19 w 179"/>
              <a:gd name="T73" fmla="*/ 248 h 258"/>
              <a:gd name="T74" fmla="*/ 29 w 179"/>
              <a:gd name="T75" fmla="*/ 252 h 258"/>
              <a:gd name="T76" fmla="*/ 37 w 179"/>
              <a:gd name="T77" fmla="*/ 247 h 258"/>
              <a:gd name="T78" fmla="*/ 47 w 179"/>
              <a:gd name="T79" fmla="*/ 242 h 258"/>
              <a:gd name="T80" fmla="*/ 57 w 179"/>
              <a:gd name="T81" fmla="*/ 251 h 258"/>
              <a:gd name="T82" fmla="*/ 61 w 179"/>
              <a:gd name="T83" fmla="*/ 257 h 258"/>
              <a:gd name="T84" fmla="*/ 68 w 179"/>
              <a:gd name="T85" fmla="*/ 254 h 258"/>
              <a:gd name="T86" fmla="*/ 77 w 179"/>
              <a:gd name="T87" fmla="*/ 249 h 258"/>
              <a:gd name="T88" fmla="*/ 92 w 179"/>
              <a:gd name="T89" fmla="*/ 243 h 258"/>
              <a:gd name="T90" fmla="*/ 106 w 179"/>
              <a:gd name="T91" fmla="*/ 238 h 258"/>
              <a:gd name="T92" fmla="*/ 123 w 179"/>
              <a:gd name="T93" fmla="*/ 233 h 258"/>
              <a:gd name="T94" fmla="*/ 124 w 179"/>
              <a:gd name="T95" fmla="*/ 230 h 258"/>
              <a:gd name="T96" fmla="*/ 127 w 179"/>
              <a:gd name="T97" fmla="*/ 221 h 258"/>
              <a:gd name="T98" fmla="*/ 128 w 179"/>
              <a:gd name="T99" fmla="*/ 212 h 258"/>
              <a:gd name="T100" fmla="*/ 142 w 179"/>
              <a:gd name="T101" fmla="*/ 209 h 258"/>
              <a:gd name="T102" fmla="*/ 153 w 179"/>
              <a:gd name="T103" fmla="*/ 213 h 258"/>
              <a:gd name="T104" fmla="*/ 172 w 179"/>
              <a:gd name="T105" fmla="*/ 213 h 258"/>
              <a:gd name="T106" fmla="*/ 175 w 179"/>
              <a:gd name="T107" fmla="*/ 209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79" h="258">
                <a:moveTo>
                  <a:pt x="179" y="206"/>
                </a:moveTo>
                <a:cubicBezTo>
                  <a:pt x="175" y="193"/>
                  <a:pt x="175" y="193"/>
                  <a:pt x="175" y="193"/>
                </a:cubicBezTo>
                <a:cubicBezTo>
                  <a:pt x="170" y="187"/>
                  <a:pt x="170" y="187"/>
                  <a:pt x="170" y="187"/>
                </a:cubicBezTo>
                <a:cubicBezTo>
                  <a:pt x="160" y="167"/>
                  <a:pt x="160" y="167"/>
                  <a:pt x="160" y="167"/>
                </a:cubicBezTo>
                <a:cubicBezTo>
                  <a:pt x="159" y="166"/>
                  <a:pt x="159" y="166"/>
                  <a:pt x="159" y="166"/>
                </a:cubicBezTo>
                <a:cubicBezTo>
                  <a:pt x="145" y="118"/>
                  <a:pt x="145" y="118"/>
                  <a:pt x="145" y="118"/>
                </a:cubicBezTo>
                <a:cubicBezTo>
                  <a:pt x="139" y="93"/>
                  <a:pt x="139" y="93"/>
                  <a:pt x="139" y="93"/>
                </a:cubicBezTo>
                <a:cubicBezTo>
                  <a:pt x="139" y="91"/>
                  <a:pt x="139" y="91"/>
                  <a:pt x="139" y="91"/>
                </a:cubicBezTo>
                <a:cubicBezTo>
                  <a:pt x="140" y="90"/>
                  <a:pt x="140" y="90"/>
                  <a:pt x="140" y="90"/>
                </a:cubicBezTo>
                <a:cubicBezTo>
                  <a:pt x="141" y="88"/>
                  <a:pt x="141" y="88"/>
                  <a:pt x="141" y="88"/>
                </a:cubicBezTo>
                <a:cubicBezTo>
                  <a:pt x="142" y="86"/>
                  <a:pt x="142" y="86"/>
                  <a:pt x="142" y="86"/>
                </a:cubicBezTo>
                <a:cubicBezTo>
                  <a:pt x="142" y="84"/>
                  <a:pt x="142" y="84"/>
                  <a:pt x="142" y="84"/>
                </a:cubicBezTo>
                <a:cubicBezTo>
                  <a:pt x="142" y="82"/>
                  <a:pt x="142" y="82"/>
                  <a:pt x="142" y="82"/>
                </a:cubicBezTo>
                <a:cubicBezTo>
                  <a:pt x="139" y="66"/>
                  <a:pt x="139" y="66"/>
                  <a:pt x="139" y="66"/>
                </a:cubicBezTo>
                <a:cubicBezTo>
                  <a:pt x="134" y="50"/>
                  <a:pt x="134" y="50"/>
                  <a:pt x="134" y="50"/>
                </a:cubicBezTo>
                <a:cubicBezTo>
                  <a:pt x="132" y="44"/>
                  <a:pt x="132" y="44"/>
                  <a:pt x="132" y="44"/>
                </a:cubicBezTo>
                <a:cubicBezTo>
                  <a:pt x="132" y="42"/>
                  <a:pt x="132" y="42"/>
                  <a:pt x="132" y="42"/>
                </a:cubicBezTo>
                <a:cubicBezTo>
                  <a:pt x="110" y="26"/>
                  <a:pt x="110" y="26"/>
                  <a:pt x="110" y="26"/>
                </a:cubicBezTo>
                <a:cubicBezTo>
                  <a:pt x="109" y="26"/>
                  <a:pt x="109" y="26"/>
                  <a:pt x="109" y="26"/>
                </a:cubicBezTo>
                <a:cubicBezTo>
                  <a:pt x="108" y="26"/>
                  <a:pt x="108" y="26"/>
                  <a:pt x="108" y="26"/>
                </a:cubicBezTo>
                <a:cubicBezTo>
                  <a:pt x="96" y="17"/>
                  <a:pt x="96" y="17"/>
                  <a:pt x="96" y="17"/>
                </a:cubicBezTo>
                <a:cubicBezTo>
                  <a:pt x="89" y="10"/>
                  <a:pt x="89" y="10"/>
                  <a:pt x="89" y="10"/>
                </a:cubicBezTo>
                <a:cubicBezTo>
                  <a:pt x="85" y="4"/>
                  <a:pt x="85" y="4"/>
                  <a:pt x="85" y="4"/>
                </a:cubicBezTo>
                <a:cubicBezTo>
                  <a:pt x="82" y="0"/>
                  <a:pt x="82" y="0"/>
                  <a:pt x="82" y="0"/>
                </a:cubicBezTo>
                <a:cubicBezTo>
                  <a:pt x="82" y="0"/>
                  <a:pt x="82" y="0"/>
                  <a:pt x="82" y="0"/>
                </a:cubicBezTo>
                <a:cubicBezTo>
                  <a:pt x="80" y="1"/>
                  <a:pt x="80" y="1"/>
                  <a:pt x="80" y="1"/>
                </a:cubicBezTo>
                <a:cubicBezTo>
                  <a:pt x="80" y="1"/>
                  <a:pt x="80" y="1"/>
                  <a:pt x="80" y="1"/>
                </a:cubicBezTo>
                <a:cubicBezTo>
                  <a:pt x="80" y="2"/>
                  <a:pt x="80" y="2"/>
                  <a:pt x="80" y="2"/>
                </a:cubicBezTo>
                <a:cubicBezTo>
                  <a:pt x="81" y="3"/>
                  <a:pt x="81" y="3"/>
                  <a:pt x="81" y="4"/>
                </a:cubicBezTo>
                <a:cubicBezTo>
                  <a:pt x="81" y="6"/>
                  <a:pt x="80" y="6"/>
                  <a:pt x="80" y="8"/>
                </a:cubicBezTo>
                <a:cubicBezTo>
                  <a:pt x="79" y="9"/>
                  <a:pt x="79" y="9"/>
                  <a:pt x="79" y="9"/>
                </a:cubicBezTo>
                <a:cubicBezTo>
                  <a:pt x="78" y="13"/>
                  <a:pt x="74" y="14"/>
                  <a:pt x="74" y="15"/>
                </a:cubicBezTo>
                <a:cubicBezTo>
                  <a:pt x="73" y="15"/>
                  <a:pt x="71" y="17"/>
                  <a:pt x="70" y="18"/>
                </a:cubicBezTo>
                <a:cubicBezTo>
                  <a:pt x="70" y="19"/>
                  <a:pt x="69" y="19"/>
                  <a:pt x="69" y="19"/>
                </a:cubicBezTo>
                <a:cubicBezTo>
                  <a:pt x="69" y="19"/>
                  <a:pt x="68" y="20"/>
                  <a:pt x="67" y="21"/>
                </a:cubicBezTo>
                <a:cubicBezTo>
                  <a:pt x="66" y="22"/>
                  <a:pt x="65" y="23"/>
                  <a:pt x="64" y="23"/>
                </a:cubicBezTo>
                <a:cubicBezTo>
                  <a:pt x="64" y="23"/>
                  <a:pt x="64" y="23"/>
                  <a:pt x="64" y="24"/>
                </a:cubicBezTo>
                <a:cubicBezTo>
                  <a:pt x="63" y="24"/>
                  <a:pt x="62" y="25"/>
                  <a:pt x="61" y="25"/>
                </a:cubicBezTo>
                <a:cubicBezTo>
                  <a:pt x="60" y="26"/>
                  <a:pt x="59" y="27"/>
                  <a:pt x="59" y="28"/>
                </a:cubicBezTo>
                <a:cubicBezTo>
                  <a:pt x="58" y="28"/>
                  <a:pt x="58" y="28"/>
                  <a:pt x="58" y="28"/>
                </a:cubicBezTo>
                <a:cubicBezTo>
                  <a:pt x="57" y="29"/>
                  <a:pt x="57" y="29"/>
                  <a:pt x="57" y="29"/>
                </a:cubicBezTo>
                <a:cubicBezTo>
                  <a:pt x="57" y="30"/>
                  <a:pt x="58" y="31"/>
                  <a:pt x="57" y="32"/>
                </a:cubicBezTo>
                <a:cubicBezTo>
                  <a:pt x="56" y="34"/>
                  <a:pt x="55" y="35"/>
                  <a:pt x="53" y="36"/>
                </a:cubicBezTo>
                <a:cubicBezTo>
                  <a:pt x="53" y="36"/>
                  <a:pt x="53" y="36"/>
                  <a:pt x="52" y="36"/>
                </a:cubicBezTo>
                <a:cubicBezTo>
                  <a:pt x="53" y="36"/>
                  <a:pt x="53" y="36"/>
                  <a:pt x="53" y="36"/>
                </a:cubicBezTo>
                <a:cubicBezTo>
                  <a:pt x="53" y="37"/>
                  <a:pt x="53" y="37"/>
                  <a:pt x="54" y="37"/>
                </a:cubicBezTo>
                <a:cubicBezTo>
                  <a:pt x="55" y="37"/>
                  <a:pt x="55" y="37"/>
                  <a:pt x="55" y="37"/>
                </a:cubicBezTo>
                <a:cubicBezTo>
                  <a:pt x="55" y="37"/>
                  <a:pt x="58" y="38"/>
                  <a:pt x="61" y="41"/>
                </a:cubicBezTo>
                <a:cubicBezTo>
                  <a:pt x="62" y="42"/>
                  <a:pt x="62" y="42"/>
                  <a:pt x="62" y="42"/>
                </a:cubicBezTo>
                <a:cubicBezTo>
                  <a:pt x="63" y="42"/>
                  <a:pt x="63" y="43"/>
                  <a:pt x="63" y="43"/>
                </a:cubicBezTo>
                <a:cubicBezTo>
                  <a:pt x="63" y="44"/>
                  <a:pt x="63" y="44"/>
                  <a:pt x="62" y="45"/>
                </a:cubicBezTo>
                <a:cubicBezTo>
                  <a:pt x="63" y="45"/>
                  <a:pt x="63" y="47"/>
                  <a:pt x="63" y="48"/>
                </a:cubicBezTo>
                <a:cubicBezTo>
                  <a:pt x="63" y="49"/>
                  <a:pt x="64" y="50"/>
                  <a:pt x="64" y="50"/>
                </a:cubicBezTo>
                <a:cubicBezTo>
                  <a:pt x="66" y="52"/>
                  <a:pt x="66" y="52"/>
                  <a:pt x="66" y="52"/>
                </a:cubicBezTo>
                <a:cubicBezTo>
                  <a:pt x="69" y="55"/>
                  <a:pt x="69" y="55"/>
                  <a:pt x="69" y="55"/>
                </a:cubicBezTo>
                <a:cubicBezTo>
                  <a:pt x="69" y="56"/>
                  <a:pt x="69" y="56"/>
                  <a:pt x="69" y="56"/>
                </a:cubicBezTo>
                <a:cubicBezTo>
                  <a:pt x="71" y="61"/>
                  <a:pt x="71" y="61"/>
                  <a:pt x="71" y="61"/>
                </a:cubicBezTo>
                <a:cubicBezTo>
                  <a:pt x="71" y="62"/>
                  <a:pt x="71" y="63"/>
                  <a:pt x="71" y="63"/>
                </a:cubicBezTo>
                <a:cubicBezTo>
                  <a:pt x="71" y="63"/>
                  <a:pt x="71" y="63"/>
                  <a:pt x="71" y="63"/>
                </a:cubicBezTo>
                <a:cubicBezTo>
                  <a:pt x="71" y="63"/>
                  <a:pt x="71" y="63"/>
                  <a:pt x="71" y="63"/>
                </a:cubicBezTo>
                <a:cubicBezTo>
                  <a:pt x="72" y="63"/>
                  <a:pt x="72" y="63"/>
                  <a:pt x="72" y="63"/>
                </a:cubicBezTo>
                <a:cubicBezTo>
                  <a:pt x="72" y="63"/>
                  <a:pt x="72" y="63"/>
                  <a:pt x="72" y="64"/>
                </a:cubicBezTo>
                <a:cubicBezTo>
                  <a:pt x="72" y="64"/>
                  <a:pt x="72" y="64"/>
                  <a:pt x="72" y="64"/>
                </a:cubicBezTo>
                <a:cubicBezTo>
                  <a:pt x="72" y="64"/>
                  <a:pt x="72" y="64"/>
                  <a:pt x="72" y="64"/>
                </a:cubicBezTo>
                <a:cubicBezTo>
                  <a:pt x="72" y="65"/>
                  <a:pt x="73" y="65"/>
                  <a:pt x="73" y="66"/>
                </a:cubicBezTo>
                <a:cubicBezTo>
                  <a:pt x="74" y="68"/>
                  <a:pt x="74" y="69"/>
                  <a:pt x="73" y="70"/>
                </a:cubicBezTo>
                <a:cubicBezTo>
                  <a:pt x="73" y="70"/>
                  <a:pt x="73" y="70"/>
                  <a:pt x="73" y="71"/>
                </a:cubicBezTo>
                <a:cubicBezTo>
                  <a:pt x="73" y="71"/>
                  <a:pt x="73" y="71"/>
                  <a:pt x="73" y="71"/>
                </a:cubicBezTo>
                <a:cubicBezTo>
                  <a:pt x="73" y="71"/>
                  <a:pt x="73" y="71"/>
                  <a:pt x="74" y="71"/>
                </a:cubicBezTo>
                <a:cubicBezTo>
                  <a:pt x="74" y="72"/>
                  <a:pt x="75" y="72"/>
                  <a:pt x="76" y="73"/>
                </a:cubicBezTo>
                <a:cubicBezTo>
                  <a:pt x="76" y="73"/>
                  <a:pt x="77" y="73"/>
                  <a:pt x="77" y="74"/>
                </a:cubicBezTo>
                <a:cubicBezTo>
                  <a:pt x="78" y="74"/>
                  <a:pt x="79" y="75"/>
                  <a:pt x="79" y="76"/>
                </a:cubicBezTo>
                <a:cubicBezTo>
                  <a:pt x="80" y="78"/>
                  <a:pt x="79" y="80"/>
                  <a:pt x="78" y="81"/>
                </a:cubicBezTo>
                <a:cubicBezTo>
                  <a:pt x="78" y="82"/>
                  <a:pt x="77" y="82"/>
                  <a:pt x="76" y="81"/>
                </a:cubicBezTo>
                <a:cubicBezTo>
                  <a:pt x="75" y="81"/>
                  <a:pt x="75" y="81"/>
                  <a:pt x="74" y="81"/>
                </a:cubicBezTo>
                <a:cubicBezTo>
                  <a:pt x="75" y="82"/>
                  <a:pt x="75" y="83"/>
                  <a:pt x="74" y="84"/>
                </a:cubicBezTo>
                <a:cubicBezTo>
                  <a:pt x="73" y="86"/>
                  <a:pt x="72" y="87"/>
                  <a:pt x="72" y="87"/>
                </a:cubicBezTo>
                <a:cubicBezTo>
                  <a:pt x="71" y="88"/>
                  <a:pt x="71" y="88"/>
                  <a:pt x="71" y="88"/>
                </a:cubicBezTo>
                <a:cubicBezTo>
                  <a:pt x="70" y="89"/>
                  <a:pt x="69" y="90"/>
                  <a:pt x="69" y="90"/>
                </a:cubicBezTo>
                <a:cubicBezTo>
                  <a:pt x="68" y="90"/>
                  <a:pt x="67" y="91"/>
                  <a:pt x="67" y="91"/>
                </a:cubicBezTo>
                <a:cubicBezTo>
                  <a:pt x="66" y="92"/>
                  <a:pt x="66" y="92"/>
                  <a:pt x="66" y="92"/>
                </a:cubicBezTo>
                <a:cubicBezTo>
                  <a:pt x="66" y="93"/>
                  <a:pt x="65" y="93"/>
                  <a:pt x="65" y="94"/>
                </a:cubicBezTo>
                <a:cubicBezTo>
                  <a:pt x="63" y="96"/>
                  <a:pt x="61" y="95"/>
                  <a:pt x="60" y="94"/>
                </a:cubicBezTo>
                <a:cubicBezTo>
                  <a:pt x="59" y="94"/>
                  <a:pt x="59" y="94"/>
                  <a:pt x="58" y="94"/>
                </a:cubicBezTo>
                <a:cubicBezTo>
                  <a:pt x="58" y="94"/>
                  <a:pt x="57" y="94"/>
                  <a:pt x="56" y="96"/>
                </a:cubicBezTo>
                <a:cubicBezTo>
                  <a:pt x="56" y="96"/>
                  <a:pt x="55" y="97"/>
                  <a:pt x="54" y="98"/>
                </a:cubicBezTo>
                <a:cubicBezTo>
                  <a:pt x="53" y="99"/>
                  <a:pt x="53" y="99"/>
                  <a:pt x="52" y="100"/>
                </a:cubicBezTo>
                <a:cubicBezTo>
                  <a:pt x="52" y="101"/>
                  <a:pt x="52" y="101"/>
                  <a:pt x="52" y="101"/>
                </a:cubicBezTo>
                <a:cubicBezTo>
                  <a:pt x="52" y="101"/>
                  <a:pt x="52" y="102"/>
                  <a:pt x="51" y="102"/>
                </a:cubicBezTo>
                <a:cubicBezTo>
                  <a:pt x="51" y="102"/>
                  <a:pt x="51" y="102"/>
                  <a:pt x="51" y="102"/>
                </a:cubicBezTo>
                <a:cubicBezTo>
                  <a:pt x="51" y="102"/>
                  <a:pt x="51" y="102"/>
                  <a:pt x="51" y="102"/>
                </a:cubicBezTo>
                <a:cubicBezTo>
                  <a:pt x="51" y="102"/>
                  <a:pt x="51" y="102"/>
                  <a:pt x="51" y="102"/>
                </a:cubicBezTo>
                <a:cubicBezTo>
                  <a:pt x="51" y="102"/>
                  <a:pt x="51" y="102"/>
                  <a:pt x="51" y="102"/>
                </a:cubicBezTo>
                <a:cubicBezTo>
                  <a:pt x="51" y="103"/>
                  <a:pt x="51" y="103"/>
                  <a:pt x="51" y="103"/>
                </a:cubicBezTo>
                <a:cubicBezTo>
                  <a:pt x="51" y="103"/>
                  <a:pt x="51" y="103"/>
                  <a:pt x="51" y="103"/>
                </a:cubicBezTo>
                <a:cubicBezTo>
                  <a:pt x="51" y="104"/>
                  <a:pt x="51" y="105"/>
                  <a:pt x="51" y="107"/>
                </a:cubicBezTo>
                <a:cubicBezTo>
                  <a:pt x="51" y="107"/>
                  <a:pt x="51" y="109"/>
                  <a:pt x="50" y="109"/>
                </a:cubicBezTo>
                <a:cubicBezTo>
                  <a:pt x="48" y="110"/>
                  <a:pt x="47" y="109"/>
                  <a:pt x="47" y="109"/>
                </a:cubicBezTo>
                <a:cubicBezTo>
                  <a:pt x="46" y="109"/>
                  <a:pt x="46" y="108"/>
                  <a:pt x="46" y="108"/>
                </a:cubicBezTo>
                <a:cubicBezTo>
                  <a:pt x="45" y="108"/>
                  <a:pt x="45" y="108"/>
                  <a:pt x="45" y="108"/>
                </a:cubicBezTo>
                <a:cubicBezTo>
                  <a:pt x="44" y="108"/>
                  <a:pt x="44" y="108"/>
                  <a:pt x="42" y="108"/>
                </a:cubicBezTo>
                <a:cubicBezTo>
                  <a:pt x="41" y="108"/>
                  <a:pt x="41" y="108"/>
                  <a:pt x="41" y="108"/>
                </a:cubicBezTo>
                <a:cubicBezTo>
                  <a:pt x="40" y="108"/>
                  <a:pt x="40" y="108"/>
                  <a:pt x="40" y="108"/>
                </a:cubicBezTo>
                <a:cubicBezTo>
                  <a:pt x="34" y="108"/>
                  <a:pt x="34" y="108"/>
                  <a:pt x="34" y="108"/>
                </a:cubicBezTo>
                <a:cubicBezTo>
                  <a:pt x="33" y="109"/>
                  <a:pt x="32" y="109"/>
                  <a:pt x="31" y="109"/>
                </a:cubicBezTo>
                <a:cubicBezTo>
                  <a:pt x="31" y="110"/>
                  <a:pt x="30" y="110"/>
                  <a:pt x="30" y="111"/>
                </a:cubicBezTo>
                <a:cubicBezTo>
                  <a:pt x="29" y="112"/>
                  <a:pt x="27" y="113"/>
                  <a:pt x="26" y="114"/>
                </a:cubicBezTo>
                <a:cubicBezTo>
                  <a:pt x="25" y="116"/>
                  <a:pt x="24" y="116"/>
                  <a:pt x="23" y="116"/>
                </a:cubicBezTo>
                <a:cubicBezTo>
                  <a:pt x="19" y="123"/>
                  <a:pt x="19" y="123"/>
                  <a:pt x="19" y="123"/>
                </a:cubicBezTo>
                <a:cubicBezTo>
                  <a:pt x="19" y="127"/>
                  <a:pt x="19" y="127"/>
                  <a:pt x="19" y="127"/>
                </a:cubicBezTo>
                <a:cubicBezTo>
                  <a:pt x="18" y="130"/>
                  <a:pt x="17" y="131"/>
                  <a:pt x="15" y="131"/>
                </a:cubicBezTo>
                <a:cubicBezTo>
                  <a:pt x="15" y="132"/>
                  <a:pt x="14" y="133"/>
                  <a:pt x="11" y="134"/>
                </a:cubicBezTo>
                <a:cubicBezTo>
                  <a:pt x="10" y="134"/>
                  <a:pt x="8" y="135"/>
                  <a:pt x="7" y="136"/>
                </a:cubicBezTo>
                <a:cubicBezTo>
                  <a:pt x="7" y="136"/>
                  <a:pt x="7" y="136"/>
                  <a:pt x="7" y="136"/>
                </a:cubicBezTo>
                <a:cubicBezTo>
                  <a:pt x="7" y="137"/>
                  <a:pt x="8" y="139"/>
                  <a:pt x="8" y="143"/>
                </a:cubicBezTo>
                <a:cubicBezTo>
                  <a:pt x="7" y="146"/>
                  <a:pt x="7" y="147"/>
                  <a:pt x="5" y="147"/>
                </a:cubicBezTo>
                <a:cubicBezTo>
                  <a:pt x="5" y="147"/>
                  <a:pt x="5" y="147"/>
                  <a:pt x="5" y="147"/>
                </a:cubicBezTo>
                <a:cubicBezTo>
                  <a:pt x="4" y="148"/>
                  <a:pt x="3" y="148"/>
                  <a:pt x="2" y="148"/>
                </a:cubicBezTo>
                <a:cubicBezTo>
                  <a:pt x="2" y="148"/>
                  <a:pt x="2" y="148"/>
                  <a:pt x="1" y="147"/>
                </a:cubicBezTo>
                <a:cubicBezTo>
                  <a:pt x="1" y="148"/>
                  <a:pt x="1" y="148"/>
                  <a:pt x="1" y="148"/>
                </a:cubicBezTo>
                <a:cubicBezTo>
                  <a:pt x="0" y="149"/>
                  <a:pt x="0" y="149"/>
                  <a:pt x="0" y="149"/>
                </a:cubicBezTo>
                <a:cubicBezTo>
                  <a:pt x="1" y="150"/>
                  <a:pt x="1" y="151"/>
                  <a:pt x="0" y="153"/>
                </a:cubicBezTo>
                <a:cubicBezTo>
                  <a:pt x="0" y="154"/>
                  <a:pt x="0" y="155"/>
                  <a:pt x="0" y="156"/>
                </a:cubicBezTo>
                <a:cubicBezTo>
                  <a:pt x="0" y="157"/>
                  <a:pt x="0" y="157"/>
                  <a:pt x="0" y="157"/>
                </a:cubicBezTo>
                <a:cubicBezTo>
                  <a:pt x="0" y="161"/>
                  <a:pt x="0" y="161"/>
                  <a:pt x="0" y="161"/>
                </a:cubicBezTo>
                <a:cubicBezTo>
                  <a:pt x="0" y="162"/>
                  <a:pt x="0" y="162"/>
                  <a:pt x="0" y="162"/>
                </a:cubicBezTo>
                <a:cubicBezTo>
                  <a:pt x="1" y="162"/>
                  <a:pt x="1" y="162"/>
                  <a:pt x="1" y="162"/>
                </a:cubicBezTo>
                <a:cubicBezTo>
                  <a:pt x="2" y="162"/>
                  <a:pt x="3" y="163"/>
                  <a:pt x="3" y="164"/>
                </a:cubicBezTo>
                <a:cubicBezTo>
                  <a:pt x="3" y="165"/>
                  <a:pt x="3" y="165"/>
                  <a:pt x="3" y="165"/>
                </a:cubicBezTo>
                <a:cubicBezTo>
                  <a:pt x="3" y="165"/>
                  <a:pt x="3" y="165"/>
                  <a:pt x="3" y="165"/>
                </a:cubicBezTo>
                <a:cubicBezTo>
                  <a:pt x="5" y="165"/>
                  <a:pt x="5" y="165"/>
                  <a:pt x="5" y="165"/>
                </a:cubicBezTo>
                <a:cubicBezTo>
                  <a:pt x="5" y="165"/>
                  <a:pt x="5" y="165"/>
                  <a:pt x="5" y="165"/>
                </a:cubicBezTo>
                <a:cubicBezTo>
                  <a:pt x="8" y="167"/>
                  <a:pt x="8" y="167"/>
                  <a:pt x="8" y="167"/>
                </a:cubicBezTo>
                <a:cubicBezTo>
                  <a:pt x="9" y="168"/>
                  <a:pt x="9" y="168"/>
                  <a:pt x="9" y="168"/>
                </a:cubicBezTo>
                <a:cubicBezTo>
                  <a:pt x="9" y="170"/>
                  <a:pt x="9" y="170"/>
                  <a:pt x="9" y="170"/>
                </a:cubicBezTo>
                <a:cubicBezTo>
                  <a:pt x="10" y="170"/>
                  <a:pt x="10" y="170"/>
                  <a:pt x="10" y="170"/>
                </a:cubicBezTo>
                <a:cubicBezTo>
                  <a:pt x="11" y="170"/>
                  <a:pt x="11" y="170"/>
                  <a:pt x="11" y="171"/>
                </a:cubicBezTo>
                <a:cubicBezTo>
                  <a:pt x="13" y="172"/>
                  <a:pt x="13" y="172"/>
                  <a:pt x="13" y="172"/>
                </a:cubicBezTo>
                <a:cubicBezTo>
                  <a:pt x="13" y="172"/>
                  <a:pt x="14" y="172"/>
                  <a:pt x="14" y="173"/>
                </a:cubicBezTo>
                <a:cubicBezTo>
                  <a:pt x="15" y="177"/>
                  <a:pt x="15" y="177"/>
                  <a:pt x="15" y="177"/>
                </a:cubicBezTo>
                <a:cubicBezTo>
                  <a:pt x="15" y="177"/>
                  <a:pt x="15" y="177"/>
                  <a:pt x="15" y="177"/>
                </a:cubicBezTo>
                <a:cubicBezTo>
                  <a:pt x="16" y="177"/>
                  <a:pt x="16" y="177"/>
                  <a:pt x="16" y="177"/>
                </a:cubicBezTo>
                <a:cubicBezTo>
                  <a:pt x="17" y="178"/>
                  <a:pt x="18" y="178"/>
                  <a:pt x="18" y="179"/>
                </a:cubicBezTo>
                <a:cubicBezTo>
                  <a:pt x="18" y="181"/>
                  <a:pt x="18" y="181"/>
                  <a:pt x="18" y="181"/>
                </a:cubicBezTo>
                <a:cubicBezTo>
                  <a:pt x="20" y="183"/>
                  <a:pt x="20" y="183"/>
                  <a:pt x="20" y="183"/>
                </a:cubicBezTo>
                <a:cubicBezTo>
                  <a:pt x="29" y="183"/>
                  <a:pt x="29" y="183"/>
                  <a:pt x="29" y="183"/>
                </a:cubicBezTo>
                <a:cubicBezTo>
                  <a:pt x="30" y="183"/>
                  <a:pt x="31" y="184"/>
                  <a:pt x="31" y="185"/>
                </a:cubicBezTo>
                <a:cubicBezTo>
                  <a:pt x="31" y="186"/>
                  <a:pt x="31" y="186"/>
                  <a:pt x="31" y="186"/>
                </a:cubicBezTo>
                <a:cubicBezTo>
                  <a:pt x="32" y="186"/>
                  <a:pt x="32" y="186"/>
                  <a:pt x="32" y="186"/>
                </a:cubicBezTo>
                <a:cubicBezTo>
                  <a:pt x="32" y="187"/>
                  <a:pt x="33" y="187"/>
                  <a:pt x="32" y="188"/>
                </a:cubicBezTo>
                <a:cubicBezTo>
                  <a:pt x="32" y="189"/>
                  <a:pt x="32" y="189"/>
                  <a:pt x="32" y="189"/>
                </a:cubicBezTo>
                <a:cubicBezTo>
                  <a:pt x="33" y="190"/>
                  <a:pt x="33" y="190"/>
                  <a:pt x="33" y="190"/>
                </a:cubicBezTo>
                <a:cubicBezTo>
                  <a:pt x="33" y="191"/>
                  <a:pt x="34" y="191"/>
                  <a:pt x="34" y="192"/>
                </a:cubicBezTo>
                <a:cubicBezTo>
                  <a:pt x="34" y="195"/>
                  <a:pt x="34" y="195"/>
                  <a:pt x="34" y="195"/>
                </a:cubicBezTo>
                <a:cubicBezTo>
                  <a:pt x="34" y="196"/>
                  <a:pt x="33" y="197"/>
                  <a:pt x="32" y="197"/>
                </a:cubicBezTo>
                <a:cubicBezTo>
                  <a:pt x="32" y="197"/>
                  <a:pt x="29" y="197"/>
                  <a:pt x="28" y="198"/>
                </a:cubicBezTo>
                <a:cubicBezTo>
                  <a:pt x="27" y="199"/>
                  <a:pt x="27" y="199"/>
                  <a:pt x="27" y="199"/>
                </a:cubicBezTo>
                <a:cubicBezTo>
                  <a:pt x="27" y="200"/>
                  <a:pt x="26" y="200"/>
                  <a:pt x="25" y="200"/>
                </a:cubicBezTo>
                <a:cubicBezTo>
                  <a:pt x="24" y="200"/>
                  <a:pt x="24" y="200"/>
                  <a:pt x="24" y="200"/>
                </a:cubicBezTo>
                <a:cubicBezTo>
                  <a:pt x="23" y="201"/>
                  <a:pt x="22" y="202"/>
                  <a:pt x="21" y="202"/>
                </a:cubicBezTo>
                <a:cubicBezTo>
                  <a:pt x="20" y="203"/>
                  <a:pt x="20" y="203"/>
                  <a:pt x="20" y="203"/>
                </a:cubicBezTo>
                <a:cubicBezTo>
                  <a:pt x="21" y="204"/>
                  <a:pt x="21" y="206"/>
                  <a:pt x="20" y="207"/>
                </a:cubicBezTo>
                <a:cubicBezTo>
                  <a:pt x="20" y="208"/>
                  <a:pt x="20" y="208"/>
                  <a:pt x="20" y="208"/>
                </a:cubicBezTo>
                <a:cubicBezTo>
                  <a:pt x="19" y="209"/>
                  <a:pt x="18" y="211"/>
                  <a:pt x="16" y="212"/>
                </a:cubicBezTo>
                <a:cubicBezTo>
                  <a:pt x="16" y="212"/>
                  <a:pt x="16" y="212"/>
                  <a:pt x="16" y="212"/>
                </a:cubicBezTo>
                <a:cubicBezTo>
                  <a:pt x="18" y="212"/>
                  <a:pt x="18" y="212"/>
                  <a:pt x="18" y="212"/>
                </a:cubicBezTo>
                <a:cubicBezTo>
                  <a:pt x="19" y="212"/>
                  <a:pt x="20" y="213"/>
                  <a:pt x="20" y="214"/>
                </a:cubicBezTo>
                <a:cubicBezTo>
                  <a:pt x="20" y="214"/>
                  <a:pt x="20" y="214"/>
                  <a:pt x="20" y="214"/>
                </a:cubicBezTo>
                <a:cubicBezTo>
                  <a:pt x="20" y="215"/>
                  <a:pt x="20" y="215"/>
                  <a:pt x="20" y="216"/>
                </a:cubicBezTo>
                <a:cubicBezTo>
                  <a:pt x="20" y="216"/>
                  <a:pt x="20" y="216"/>
                  <a:pt x="20" y="216"/>
                </a:cubicBezTo>
                <a:cubicBezTo>
                  <a:pt x="20" y="216"/>
                  <a:pt x="20" y="216"/>
                  <a:pt x="20" y="216"/>
                </a:cubicBezTo>
                <a:cubicBezTo>
                  <a:pt x="20" y="217"/>
                  <a:pt x="20" y="218"/>
                  <a:pt x="20" y="220"/>
                </a:cubicBezTo>
                <a:cubicBezTo>
                  <a:pt x="19" y="228"/>
                  <a:pt x="19" y="228"/>
                  <a:pt x="19" y="228"/>
                </a:cubicBezTo>
                <a:cubicBezTo>
                  <a:pt x="19" y="229"/>
                  <a:pt x="19" y="229"/>
                  <a:pt x="19" y="229"/>
                </a:cubicBezTo>
                <a:cubicBezTo>
                  <a:pt x="21" y="229"/>
                  <a:pt x="21" y="229"/>
                  <a:pt x="21" y="229"/>
                </a:cubicBezTo>
                <a:cubicBezTo>
                  <a:pt x="22" y="230"/>
                  <a:pt x="22" y="230"/>
                  <a:pt x="22" y="230"/>
                </a:cubicBezTo>
                <a:cubicBezTo>
                  <a:pt x="23" y="231"/>
                  <a:pt x="23" y="231"/>
                  <a:pt x="23" y="232"/>
                </a:cubicBezTo>
                <a:cubicBezTo>
                  <a:pt x="22" y="234"/>
                  <a:pt x="22" y="234"/>
                  <a:pt x="22" y="234"/>
                </a:cubicBezTo>
                <a:cubicBezTo>
                  <a:pt x="22" y="235"/>
                  <a:pt x="21" y="235"/>
                  <a:pt x="21" y="236"/>
                </a:cubicBezTo>
                <a:cubicBezTo>
                  <a:pt x="21" y="236"/>
                  <a:pt x="21" y="236"/>
                  <a:pt x="20" y="237"/>
                </a:cubicBezTo>
                <a:cubicBezTo>
                  <a:pt x="19" y="239"/>
                  <a:pt x="19" y="239"/>
                  <a:pt x="19" y="239"/>
                </a:cubicBezTo>
                <a:cubicBezTo>
                  <a:pt x="19" y="241"/>
                  <a:pt x="19" y="241"/>
                  <a:pt x="19" y="241"/>
                </a:cubicBezTo>
                <a:cubicBezTo>
                  <a:pt x="19" y="242"/>
                  <a:pt x="19" y="242"/>
                  <a:pt x="18" y="243"/>
                </a:cubicBezTo>
                <a:cubicBezTo>
                  <a:pt x="18" y="243"/>
                  <a:pt x="18" y="243"/>
                  <a:pt x="18" y="243"/>
                </a:cubicBezTo>
                <a:cubicBezTo>
                  <a:pt x="18" y="244"/>
                  <a:pt x="19" y="246"/>
                  <a:pt x="19" y="248"/>
                </a:cubicBezTo>
                <a:cubicBezTo>
                  <a:pt x="19" y="249"/>
                  <a:pt x="19" y="249"/>
                  <a:pt x="19" y="249"/>
                </a:cubicBezTo>
                <a:cubicBezTo>
                  <a:pt x="23" y="249"/>
                  <a:pt x="23" y="249"/>
                  <a:pt x="23" y="249"/>
                </a:cubicBezTo>
                <a:cubicBezTo>
                  <a:pt x="24" y="249"/>
                  <a:pt x="24" y="249"/>
                  <a:pt x="24" y="250"/>
                </a:cubicBezTo>
                <a:cubicBezTo>
                  <a:pt x="26" y="251"/>
                  <a:pt x="26" y="251"/>
                  <a:pt x="26" y="251"/>
                </a:cubicBezTo>
                <a:cubicBezTo>
                  <a:pt x="27" y="251"/>
                  <a:pt x="28" y="251"/>
                  <a:pt x="29" y="252"/>
                </a:cubicBezTo>
                <a:cubicBezTo>
                  <a:pt x="29" y="252"/>
                  <a:pt x="30" y="252"/>
                  <a:pt x="31" y="252"/>
                </a:cubicBezTo>
                <a:cubicBezTo>
                  <a:pt x="31" y="252"/>
                  <a:pt x="31" y="252"/>
                  <a:pt x="31" y="252"/>
                </a:cubicBezTo>
                <a:cubicBezTo>
                  <a:pt x="31" y="251"/>
                  <a:pt x="31" y="251"/>
                  <a:pt x="31" y="251"/>
                </a:cubicBezTo>
                <a:cubicBezTo>
                  <a:pt x="31" y="249"/>
                  <a:pt x="33" y="248"/>
                  <a:pt x="35" y="247"/>
                </a:cubicBezTo>
                <a:cubicBezTo>
                  <a:pt x="36" y="247"/>
                  <a:pt x="36" y="247"/>
                  <a:pt x="37" y="247"/>
                </a:cubicBezTo>
                <a:cubicBezTo>
                  <a:pt x="37" y="247"/>
                  <a:pt x="37" y="246"/>
                  <a:pt x="38" y="246"/>
                </a:cubicBezTo>
                <a:cubicBezTo>
                  <a:pt x="40" y="245"/>
                  <a:pt x="41" y="243"/>
                  <a:pt x="41" y="243"/>
                </a:cubicBezTo>
                <a:cubicBezTo>
                  <a:pt x="42" y="243"/>
                  <a:pt x="43" y="242"/>
                  <a:pt x="45" y="242"/>
                </a:cubicBezTo>
                <a:cubicBezTo>
                  <a:pt x="45" y="242"/>
                  <a:pt x="45" y="242"/>
                  <a:pt x="45" y="242"/>
                </a:cubicBezTo>
                <a:cubicBezTo>
                  <a:pt x="46" y="242"/>
                  <a:pt x="46" y="242"/>
                  <a:pt x="47" y="242"/>
                </a:cubicBezTo>
                <a:cubicBezTo>
                  <a:pt x="48" y="244"/>
                  <a:pt x="49" y="246"/>
                  <a:pt x="49" y="246"/>
                </a:cubicBezTo>
                <a:cubicBezTo>
                  <a:pt x="49" y="246"/>
                  <a:pt x="49" y="246"/>
                  <a:pt x="49" y="247"/>
                </a:cubicBezTo>
                <a:cubicBezTo>
                  <a:pt x="52" y="247"/>
                  <a:pt x="52" y="247"/>
                  <a:pt x="52" y="247"/>
                </a:cubicBezTo>
                <a:cubicBezTo>
                  <a:pt x="53" y="247"/>
                  <a:pt x="53" y="248"/>
                  <a:pt x="53" y="248"/>
                </a:cubicBezTo>
                <a:cubicBezTo>
                  <a:pt x="57" y="251"/>
                  <a:pt x="57" y="251"/>
                  <a:pt x="57" y="251"/>
                </a:cubicBezTo>
                <a:cubicBezTo>
                  <a:pt x="57" y="251"/>
                  <a:pt x="57" y="251"/>
                  <a:pt x="57" y="252"/>
                </a:cubicBezTo>
                <a:cubicBezTo>
                  <a:pt x="59" y="256"/>
                  <a:pt x="59" y="256"/>
                  <a:pt x="59" y="256"/>
                </a:cubicBezTo>
                <a:cubicBezTo>
                  <a:pt x="60" y="256"/>
                  <a:pt x="60" y="256"/>
                  <a:pt x="60" y="257"/>
                </a:cubicBezTo>
                <a:cubicBezTo>
                  <a:pt x="60" y="257"/>
                  <a:pt x="60" y="257"/>
                  <a:pt x="60" y="257"/>
                </a:cubicBezTo>
                <a:cubicBezTo>
                  <a:pt x="61" y="257"/>
                  <a:pt x="61" y="257"/>
                  <a:pt x="61" y="257"/>
                </a:cubicBezTo>
                <a:cubicBezTo>
                  <a:pt x="61" y="257"/>
                  <a:pt x="61" y="257"/>
                  <a:pt x="61" y="257"/>
                </a:cubicBezTo>
                <a:cubicBezTo>
                  <a:pt x="61" y="257"/>
                  <a:pt x="61" y="257"/>
                  <a:pt x="61" y="257"/>
                </a:cubicBezTo>
                <a:cubicBezTo>
                  <a:pt x="61" y="257"/>
                  <a:pt x="62" y="257"/>
                  <a:pt x="63" y="257"/>
                </a:cubicBezTo>
                <a:cubicBezTo>
                  <a:pt x="64" y="257"/>
                  <a:pt x="65" y="257"/>
                  <a:pt x="66" y="258"/>
                </a:cubicBezTo>
                <a:cubicBezTo>
                  <a:pt x="67" y="255"/>
                  <a:pt x="68" y="254"/>
                  <a:pt x="68" y="254"/>
                </a:cubicBezTo>
                <a:cubicBezTo>
                  <a:pt x="68" y="253"/>
                  <a:pt x="69" y="253"/>
                  <a:pt x="70" y="253"/>
                </a:cubicBezTo>
                <a:cubicBezTo>
                  <a:pt x="70" y="253"/>
                  <a:pt x="71" y="253"/>
                  <a:pt x="71" y="254"/>
                </a:cubicBezTo>
                <a:cubicBezTo>
                  <a:pt x="71" y="254"/>
                  <a:pt x="71" y="254"/>
                  <a:pt x="71" y="254"/>
                </a:cubicBezTo>
                <a:cubicBezTo>
                  <a:pt x="73" y="251"/>
                  <a:pt x="74" y="250"/>
                  <a:pt x="75" y="249"/>
                </a:cubicBezTo>
                <a:cubicBezTo>
                  <a:pt x="76" y="249"/>
                  <a:pt x="76" y="249"/>
                  <a:pt x="77" y="249"/>
                </a:cubicBezTo>
                <a:cubicBezTo>
                  <a:pt x="77" y="248"/>
                  <a:pt x="77" y="248"/>
                  <a:pt x="78" y="248"/>
                </a:cubicBezTo>
                <a:cubicBezTo>
                  <a:pt x="78" y="248"/>
                  <a:pt x="78" y="248"/>
                  <a:pt x="79" y="247"/>
                </a:cubicBezTo>
                <a:cubicBezTo>
                  <a:pt x="82" y="244"/>
                  <a:pt x="85" y="243"/>
                  <a:pt x="85" y="243"/>
                </a:cubicBezTo>
                <a:cubicBezTo>
                  <a:pt x="85" y="243"/>
                  <a:pt x="85" y="243"/>
                  <a:pt x="86" y="243"/>
                </a:cubicBezTo>
                <a:cubicBezTo>
                  <a:pt x="92" y="243"/>
                  <a:pt x="92" y="243"/>
                  <a:pt x="92" y="243"/>
                </a:cubicBezTo>
                <a:cubicBezTo>
                  <a:pt x="94" y="239"/>
                  <a:pt x="94" y="239"/>
                  <a:pt x="94" y="239"/>
                </a:cubicBezTo>
                <a:cubicBezTo>
                  <a:pt x="94" y="238"/>
                  <a:pt x="94" y="238"/>
                  <a:pt x="95" y="238"/>
                </a:cubicBezTo>
                <a:cubicBezTo>
                  <a:pt x="98" y="236"/>
                  <a:pt x="98" y="236"/>
                  <a:pt x="98" y="236"/>
                </a:cubicBezTo>
                <a:cubicBezTo>
                  <a:pt x="99" y="236"/>
                  <a:pt x="100" y="236"/>
                  <a:pt x="100" y="236"/>
                </a:cubicBezTo>
                <a:cubicBezTo>
                  <a:pt x="106" y="238"/>
                  <a:pt x="106" y="238"/>
                  <a:pt x="106" y="238"/>
                </a:cubicBezTo>
                <a:cubicBezTo>
                  <a:pt x="109" y="240"/>
                  <a:pt x="109" y="240"/>
                  <a:pt x="109" y="240"/>
                </a:cubicBezTo>
                <a:cubicBezTo>
                  <a:pt x="116" y="243"/>
                  <a:pt x="116" y="243"/>
                  <a:pt x="116" y="243"/>
                </a:cubicBezTo>
                <a:cubicBezTo>
                  <a:pt x="117" y="244"/>
                  <a:pt x="118" y="244"/>
                  <a:pt x="119" y="244"/>
                </a:cubicBezTo>
                <a:cubicBezTo>
                  <a:pt x="119" y="243"/>
                  <a:pt x="119" y="243"/>
                  <a:pt x="119" y="243"/>
                </a:cubicBezTo>
                <a:cubicBezTo>
                  <a:pt x="120" y="239"/>
                  <a:pt x="122" y="234"/>
                  <a:pt x="123" y="233"/>
                </a:cubicBezTo>
                <a:cubicBezTo>
                  <a:pt x="124" y="232"/>
                  <a:pt x="124" y="232"/>
                  <a:pt x="124" y="232"/>
                </a:cubicBezTo>
                <a:cubicBezTo>
                  <a:pt x="125" y="232"/>
                  <a:pt x="125" y="232"/>
                  <a:pt x="126" y="232"/>
                </a:cubicBezTo>
                <a:cubicBezTo>
                  <a:pt x="126" y="231"/>
                  <a:pt x="125" y="231"/>
                  <a:pt x="125" y="230"/>
                </a:cubicBezTo>
                <a:cubicBezTo>
                  <a:pt x="125" y="230"/>
                  <a:pt x="125" y="230"/>
                  <a:pt x="125" y="230"/>
                </a:cubicBezTo>
                <a:cubicBezTo>
                  <a:pt x="125" y="229"/>
                  <a:pt x="125" y="230"/>
                  <a:pt x="124" y="230"/>
                </a:cubicBezTo>
                <a:cubicBezTo>
                  <a:pt x="123" y="230"/>
                  <a:pt x="122" y="229"/>
                  <a:pt x="122" y="229"/>
                </a:cubicBezTo>
                <a:cubicBezTo>
                  <a:pt x="121" y="227"/>
                  <a:pt x="122" y="227"/>
                  <a:pt x="123" y="225"/>
                </a:cubicBezTo>
                <a:cubicBezTo>
                  <a:pt x="124" y="223"/>
                  <a:pt x="125" y="222"/>
                  <a:pt x="126" y="222"/>
                </a:cubicBezTo>
                <a:cubicBezTo>
                  <a:pt x="126" y="221"/>
                  <a:pt x="127" y="221"/>
                  <a:pt x="127" y="221"/>
                </a:cubicBezTo>
                <a:cubicBezTo>
                  <a:pt x="127" y="221"/>
                  <a:pt x="127" y="221"/>
                  <a:pt x="127" y="221"/>
                </a:cubicBezTo>
                <a:cubicBezTo>
                  <a:pt x="127" y="220"/>
                  <a:pt x="127" y="220"/>
                  <a:pt x="127" y="219"/>
                </a:cubicBezTo>
                <a:cubicBezTo>
                  <a:pt x="126" y="219"/>
                  <a:pt x="127" y="218"/>
                  <a:pt x="127" y="216"/>
                </a:cubicBezTo>
                <a:cubicBezTo>
                  <a:pt x="127" y="216"/>
                  <a:pt x="127" y="216"/>
                  <a:pt x="127" y="215"/>
                </a:cubicBezTo>
                <a:cubicBezTo>
                  <a:pt x="127" y="214"/>
                  <a:pt x="127" y="214"/>
                  <a:pt x="127" y="214"/>
                </a:cubicBezTo>
                <a:cubicBezTo>
                  <a:pt x="127" y="213"/>
                  <a:pt x="127" y="213"/>
                  <a:pt x="128" y="212"/>
                </a:cubicBezTo>
                <a:cubicBezTo>
                  <a:pt x="131" y="210"/>
                  <a:pt x="131" y="210"/>
                  <a:pt x="131" y="210"/>
                </a:cubicBezTo>
                <a:cubicBezTo>
                  <a:pt x="131" y="209"/>
                  <a:pt x="131" y="209"/>
                  <a:pt x="132" y="209"/>
                </a:cubicBezTo>
                <a:cubicBezTo>
                  <a:pt x="136" y="209"/>
                  <a:pt x="136" y="209"/>
                  <a:pt x="136" y="209"/>
                </a:cubicBezTo>
                <a:cubicBezTo>
                  <a:pt x="137" y="209"/>
                  <a:pt x="137" y="209"/>
                  <a:pt x="137" y="210"/>
                </a:cubicBezTo>
                <a:cubicBezTo>
                  <a:pt x="139" y="209"/>
                  <a:pt x="141" y="209"/>
                  <a:pt x="142" y="209"/>
                </a:cubicBezTo>
                <a:cubicBezTo>
                  <a:pt x="145" y="209"/>
                  <a:pt x="145" y="209"/>
                  <a:pt x="145" y="209"/>
                </a:cubicBezTo>
                <a:cubicBezTo>
                  <a:pt x="146" y="209"/>
                  <a:pt x="147" y="209"/>
                  <a:pt x="147" y="210"/>
                </a:cubicBezTo>
                <a:cubicBezTo>
                  <a:pt x="147" y="211"/>
                  <a:pt x="147" y="211"/>
                  <a:pt x="147" y="211"/>
                </a:cubicBezTo>
                <a:cubicBezTo>
                  <a:pt x="149" y="212"/>
                  <a:pt x="149" y="212"/>
                  <a:pt x="149" y="212"/>
                </a:cubicBezTo>
                <a:cubicBezTo>
                  <a:pt x="153" y="213"/>
                  <a:pt x="153" y="213"/>
                  <a:pt x="153" y="213"/>
                </a:cubicBezTo>
                <a:cubicBezTo>
                  <a:pt x="159" y="213"/>
                  <a:pt x="159" y="213"/>
                  <a:pt x="159" y="213"/>
                </a:cubicBezTo>
                <a:cubicBezTo>
                  <a:pt x="160" y="213"/>
                  <a:pt x="160" y="214"/>
                  <a:pt x="161" y="214"/>
                </a:cubicBezTo>
                <a:cubicBezTo>
                  <a:pt x="162" y="214"/>
                  <a:pt x="162" y="214"/>
                  <a:pt x="162" y="214"/>
                </a:cubicBezTo>
                <a:cubicBezTo>
                  <a:pt x="167" y="211"/>
                  <a:pt x="170" y="212"/>
                  <a:pt x="171" y="212"/>
                </a:cubicBezTo>
                <a:cubicBezTo>
                  <a:pt x="172" y="213"/>
                  <a:pt x="172" y="213"/>
                  <a:pt x="172" y="213"/>
                </a:cubicBezTo>
                <a:cubicBezTo>
                  <a:pt x="173" y="213"/>
                  <a:pt x="173" y="213"/>
                  <a:pt x="173" y="213"/>
                </a:cubicBezTo>
                <a:cubicBezTo>
                  <a:pt x="173" y="211"/>
                  <a:pt x="173" y="211"/>
                  <a:pt x="173" y="211"/>
                </a:cubicBezTo>
                <a:cubicBezTo>
                  <a:pt x="173" y="210"/>
                  <a:pt x="173" y="210"/>
                  <a:pt x="173" y="210"/>
                </a:cubicBezTo>
                <a:cubicBezTo>
                  <a:pt x="174" y="209"/>
                  <a:pt x="174" y="209"/>
                  <a:pt x="175" y="209"/>
                </a:cubicBezTo>
                <a:cubicBezTo>
                  <a:pt x="175" y="209"/>
                  <a:pt x="175" y="209"/>
                  <a:pt x="175" y="209"/>
                </a:cubicBezTo>
                <a:cubicBezTo>
                  <a:pt x="179" y="207"/>
                  <a:pt x="179" y="207"/>
                  <a:pt x="179" y="207"/>
                </a:cubicBezTo>
                <a:lnTo>
                  <a:pt x="179" y="20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Freeform 80">
            <a:extLst>
              <a:ext uri="{FF2B5EF4-FFF2-40B4-BE49-F238E27FC236}">
                <a16:creationId xmlns:a16="http://schemas.microsoft.com/office/drawing/2014/main" id="{68A21D96-5754-47CF-A6EF-67159BBF30BD}"/>
              </a:ext>
            </a:extLst>
          </p:cNvPr>
          <p:cNvSpPr>
            <a:spLocks/>
          </p:cNvSpPr>
          <p:nvPr/>
        </p:nvSpPr>
        <p:spPr bwMode="auto">
          <a:xfrm>
            <a:off x="5146820" y="2715744"/>
            <a:ext cx="309563" cy="201613"/>
          </a:xfrm>
          <a:custGeom>
            <a:avLst/>
            <a:gdLst>
              <a:gd name="T0" fmla="*/ 128 w 128"/>
              <a:gd name="T1" fmla="*/ 37 h 90"/>
              <a:gd name="T2" fmla="*/ 107 w 128"/>
              <a:gd name="T3" fmla="*/ 4 h 90"/>
              <a:gd name="T4" fmla="*/ 96 w 128"/>
              <a:gd name="T5" fmla="*/ 1 h 90"/>
              <a:gd name="T6" fmla="*/ 91 w 128"/>
              <a:gd name="T7" fmla="*/ 1 h 90"/>
              <a:gd name="T8" fmla="*/ 89 w 128"/>
              <a:gd name="T9" fmla="*/ 2 h 90"/>
              <a:gd name="T10" fmla="*/ 84 w 128"/>
              <a:gd name="T11" fmla="*/ 4 h 90"/>
              <a:gd name="T12" fmla="*/ 82 w 128"/>
              <a:gd name="T13" fmla="*/ 8 h 90"/>
              <a:gd name="T14" fmla="*/ 76 w 128"/>
              <a:gd name="T15" fmla="*/ 13 h 90"/>
              <a:gd name="T16" fmla="*/ 78 w 128"/>
              <a:gd name="T17" fmla="*/ 15 h 90"/>
              <a:gd name="T18" fmla="*/ 79 w 128"/>
              <a:gd name="T19" fmla="*/ 21 h 90"/>
              <a:gd name="T20" fmla="*/ 75 w 128"/>
              <a:gd name="T21" fmla="*/ 23 h 90"/>
              <a:gd name="T22" fmla="*/ 71 w 128"/>
              <a:gd name="T23" fmla="*/ 22 h 90"/>
              <a:gd name="T24" fmla="*/ 64 w 128"/>
              <a:gd name="T25" fmla="*/ 22 h 90"/>
              <a:gd name="T26" fmla="*/ 60 w 128"/>
              <a:gd name="T27" fmla="*/ 26 h 90"/>
              <a:gd name="T28" fmla="*/ 55 w 128"/>
              <a:gd name="T29" fmla="*/ 27 h 90"/>
              <a:gd name="T30" fmla="*/ 52 w 128"/>
              <a:gd name="T31" fmla="*/ 29 h 90"/>
              <a:gd name="T32" fmla="*/ 46 w 128"/>
              <a:gd name="T33" fmla="*/ 29 h 90"/>
              <a:gd name="T34" fmla="*/ 40 w 128"/>
              <a:gd name="T35" fmla="*/ 29 h 90"/>
              <a:gd name="T36" fmla="*/ 32 w 128"/>
              <a:gd name="T37" fmla="*/ 28 h 90"/>
              <a:gd name="T38" fmla="*/ 26 w 128"/>
              <a:gd name="T39" fmla="*/ 29 h 90"/>
              <a:gd name="T40" fmla="*/ 18 w 128"/>
              <a:gd name="T41" fmla="*/ 29 h 90"/>
              <a:gd name="T42" fmla="*/ 16 w 128"/>
              <a:gd name="T43" fmla="*/ 31 h 90"/>
              <a:gd name="T44" fmla="*/ 7 w 128"/>
              <a:gd name="T45" fmla="*/ 35 h 90"/>
              <a:gd name="T46" fmla="*/ 4 w 128"/>
              <a:gd name="T47" fmla="*/ 35 h 90"/>
              <a:gd name="T48" fmla="*/ 3 w 128"/>
              <a:gd name="T49" fmla="*/ 35 h 90"/>
              <a:gd name="T50" fmla="*/ 0 w 128"/>
              <a:gd name="T51" fmla="*/ 37 h 90"/>
              <a:gd name="T52" fmla="*/ 7 w 128"/>
              <a:gd name="T53" fmla="*/ 39 h 90"/>
              <a:gd name="T54" fmla="*/ 10 w 128"/>
              <a:gd name="T55" fmla="*/ 41 h 90"/>
              <a:gd name="T56" fmla="*/ 10 w 128"/>
              <a:gd name="T57" fmla="*/ 48 h 90"/>
              <a:gd name="T58" fmla="*/ 10 w 128"/>
              <a:gd name="T59" fmla="*/ 52 h 90"/>
              <a:gd name="T60" fmla="*/ 11 w 128"/>
              <a:gd name="T61" fmla="*/ 53 h 90"/>
              <a:gd name="T62" fmla="*/ 15 w 128"/>
              <a:gd name="T63" fmla="*/ 56 h 90"/>
              <a:gd name="T64" fmla="*/ 26 w 128"/>
              <a:gd name="T65" fmla="*/ 55 h 90"/>
              <a:gd name="T66" fmla="*/ 28 w 128"/>
              <a:gd name="T67" fmla="*/ 61 h 90"/>
              <a:gd name="T68" fmla="*/ 26 w 128"/>
              <a:gd name="T69" fmla="*/ 67 h 90"/>
              <a:gd name="T70" fmla="*/ 23 w 128"/>
              <a:gd name="T71" fmla="*/ 68 h 90"/>
              <a:gd name="T72" fmla="*/ 25 w 128"/>
              <a:gd name="T73" fmla="*/ 70 h 90"/>
              <a:gd name="T74" fmla="*/ 29 w 128"/>
              <a:gd name="T75" fmla="*/ 72 h 90"/>
              <a:gd name="T76" fmla="*/ 31 w 128"/>
              <a:gd name="T77" fmla="*/ 78 h 90"/>
              <a:gd name="T78" fmla="*/ 38 w 128"/>
              <a:gd name="T79" fmla="*/ 86 h 90"/>
              <a:gd name="T80" fmla="*/ 47 w 128"/>
              <a:gd name="T81" fmla="*/ 90 h 90"/>
              <a:gd name="T82" fmla="*/ 44 w 128"/>
              <a:gd name="T83" fmla="*/ 82 h 90"/>
              <a:gd name="T84" fmla="*/ 51 w 128"/>
              <a:gd name="T85" fmla="*/ 77 h 90"/>
              <a:gd name="T86" fmla="*/ 56 w 128"/>
              <a:gd name="T87" fmla="*/ 78 h 90"/>
              <a:gd name="T88" fmla="*/ 64 w 128"/>
              <a:gd name="T89" fmla="*/ 80 h 90"/>
              <a:gd name="T90" fmla="*/ 60 w 128"/>
              <a:gd name="T91" fmla="*/ 74 h 90"/>
              <a:gd name="T92" fmla="*/ 61 w 128"/>
              <a:gd name="T93" fmla="*/ 71 h 90"/>
              <a:gd name="T94" fmla="*/ 67 w 128"/>
              <a:gd name="T95" fmla="*/ 72 h 90"/>
              <a:gd name="T96" fmla="*/ 75 w 128"/>
              <a:gd name="T97" fmla="*/ 70 h 90"/>
              <a:gd name="T98" fmla="*/ 88 w 128"/>
              <a:gd name="T99" fmla="*/ 73 h 90"/>
              <a:gd name="T100" fmla="*/ 99 w 128"/>
              <a:gd name="T101" fmla="*/ 73 h 90"/>
              <a:gd name="T102" fmla="*/ 102 w 128"/>
              <a:gd name="T103" fmla="*/ 72 h 90"/>
              <a:gd name="T104" fmla="*/ 104 w 128"/>
              <a:gd name="T105" fmla="*/ 66 h 90"/>
              <a:gd name="T106" fmla="*/ 110 w 128"/>
              <a:gd name="T107" fmla="*/ 62 h 90"/>
              <a:gd name="T108" fmla="*/ 112 w 128"/>
              <a:gd name="T109" fmla="*/ 60 h 90"/>
              <a:gd name="T110" fmla="*/ 116 w 128"/>
              <a:gd name="T111" fmla="*/ 57 h 90"/>
              <a:gd name="T112" fmla="*/ 121 w 128"/>
              <a:gd name="T113" fmla="*/ 52 h 90"/>
              <a:gd name="T114" fmla="*/ 125 w 128"/>
              <a:gd name="T115" fmla="*/ 47 h 90"/>
              <a:gd name="T116" fmla="*/ 126 w 128"/>
              <a:gd name="T117" fmla="*/ 45 h 90"/>
              <a:gd name="T118" fmla="*/ 126 w 128"/>
              <a:gd name="T119" fmla="*/ 39 h 90"/>
              <a:gd name="T120" fmla="*/ 128 w 128"/>
              <a:gd name="T121" fmla="*/ 37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28" h="90">
                <a:moveTo>
                  <a:pt x="128" y="37"/>
                </a:moveTo>
                <a:cubicBezTo>
                  <a:pt x="128" y="37"/>
                  <a:pt x="128" y="37"/>
                  <a:pt x="128" y="37"/>
                </a:cubicBezTo>
                <a:cubicBezTo>
                  <a:pt x="128" y="37"/>
                  <a:pt x="128" y="37"/>
                  <a:pt x="128" y="37"/>
                </a:cubicBezTo>
                <a:cubicBezTo>
                  <a:pt x="107" y="4"/>
                  <a:pt x="107" y="4"/>
                  <a:pt x="107" y="4"/>
                </a:cubicBezTo>
                <a:cubicBezTo>
                  <a:pt x="106" y="4"/>
                  <a:pt x="106" y="4"/>
                  <a:pt x="106" y="4"/>
                </a:cubicBezTo>
                <a:cubicBezTo>
                  <a:pt x="96" y="1"/>
                  <a:pt x="96" y="1"/>
                  <a:pt x="96" y="1"/>
                </a:cubicBezTo>
                <a:cubicBezTo>
                  <a:pt x="92" y="0"/>
                  <a:pt x="92" y="0"/>
                  <a:pt x="92" y="0"/>
                </a:cubicBezTo>
                <a:cubicBezTo>
                  <a:pt x="91" y="1"/>
                  <a:pt x="91" y="1"/>
                  <a:pt x="91" y="1"/>
                </a:cubicBezTo>
                <a:cubicBezTo>
                  <a:pt x="90" y="2"/>
                  <a:pt x="90" y="2"/>
                  <a:pt x="90" y="2"/>
                </a:cubicBezTo>
                <a:cubicBezTo>
                  <a:pt x="89" y="2"/>
                  <a:pt x="89" y="2"/>
                  <a:pt x="89" y="2"/>
                </a:cubicBezTo>
                <a:cubicBezTo>
                  <a:pt x="85" y="1"/>
                  <a:pt x="85" y="1"/>
                  <a:pt x="85" y="1"/>
                </a:cubicBezTo>
                <a:cubicBezTo>
                  <a:pt x="84" y="4"/>
                  <a:pt x="84" y="4"/>
                  <a:pt x="84" y="4"/>
                </a:cubicBezTo>
                <a:cubicBezTo>
                  <a:pt x="84" y="4"/>
                  <a:pt x="84" y="6"/>
                  <a:pt x="82" y="7"/>
                </a:cubicBezTo>
                <a:cubicBezTo>
                  <a:pt x="82" y="8"/>
                  <a:pt x="82" y="8"/>
                  <a:pt x="82" y="8"/>
                </a:cubicBezTo>
                <a:cubicBezTo>
                  <a:pt x="79" y="11"/>
                  <a:pt x="79" y="11"/>
                  <a:pt x="79" y="11"/>
                </a:cubicBezTo>
                <a:cubicBezTo>
                  <a:pt x="78" y="12"/>
                  <a:pt x="77" y="12"/>
                  <a:pt x="76" y="13"/>
                </a:cubicBezTo>
                <a:cubicBezTo>
                  <a:pt x="77" y="13"/>
                  <a:pt x="77" y="14"/>
                  <a:pt x="78" y="14"/>
                </a:cubicBezTo>
                <a:cubicBezTo>
                  <a:pt x="78" y="15"/>
                  <a:pt x="78" y="15"/>
                  <a:pt x="78" y="15"/>
                </a:cubicBezTo>
                <a:cubicBezTo>
                  <a:pt x="79" y="16"/>
                  <a:pt x="80" y="18"/>
                  <a:pt x="78" y="21"/>
                </a:cubicBezTo>
                <a:cubicBezTo>
                  <a:pt x="79" y="21"/>
                  <a:pt x="79" y="21"/>
                  <a:pt x="79" y="21"/>
                </a:cubicBezTo>
                <a:cubicBezTo>
                  <a:pt x="79" y="22"/>
                  <a:pt x="78" y="23"/>
                  <a:pt x="78" y="23"/>
                </a:cubicBezTo>
                <a:cubicBezTo>
                  <a:pt x="77" y="24"/>
                  <a:pt x="76" y="24"/>
                  <a:pt x="75" y="23"/>
                </a:cubicBezTo>
                <a:cubicBezTo>
                  <a:pt x="72" y="22"/>
                  <a:pt x="72" y="22"/>
                  <a:pt x="72" y="22"/>
                </a:cubicBezTo>
                <a:cubicBezTo>
                  <a:pt x="71" y="22"/>
                  <a:pt x="71" y="22"/>
                  <a:pt x="71" y="22"/>
                </a:cubicBezTo>
                <a:cubicBezTo>
                  <a:pt x="69" y="21"/>
                  <a:pt x="69" y="21"/>
                  <a:pt x="69" y="21"/>
                </a:cubicBezTo>
                <a:cubicBezTo>
                  <a:pt x="68" y="21"/>
                  <a:pt x="65" y="22"/>
                  <a:pt x="64" y="22"/>
                </a:cubicBezTo>
                <a:cubicBezTo>
                  <a:pt x="63" y="22"/>
                  <a:pt x="62" y="22"/>
                  <a:pt x="62" y="23"/>
                </a:cubicBezTo>
                <a:cubicBezTo>
                  <a:pt x="61" y="23"/>
                  <a:pt x="61" y="24"/>
                  <a:pt x="60" y="26"/>
                </a:cubicBezTo>
                <a:cubicBezTo>
                  <a:pt x="59" y="27"/>
                  <a:pt x="58" y="28"/>
                  <a:pt x="56" y="27"/>
                </a:cubicBezTo>
                <a:cubicBezTo>
                  <a:pt x="55" y="27"/>
                  <a:pt x="55" y="27"/>
                  <a:pt x="55" y="27"/>
                </a:cubicBezTo>
                <a:cubicBezTo>
                  <a:pt x="54" y="27"/>
                  <a:pt x="54" y="27"/>
                  <a:pt x="54" y="28"/>
                </a:cubicBezTo>
                <a:cubicBezTo>
                  <a:pt x="52" y="29"/>
                  <a:pt x="52" y="29"/>
                  <a:pt x="52" y="29"/>
                </a:cubicBezTo>
                <a:cubicBezTo>
                  <a:pt x="52" y="30"/>
                  <a:pt x="51" y="30"/>
                  <a:pt x="50" y="30"/>
                </a:cubicBezTo>
                <a:cubicBezTo>
                  <a:pt x="46" y="29"/>
                  <a:pt x="46" y="29"/>
                  <a:pt x="46" y="29"/>
                </a:cubicBezTo>
                <a:cubicBezTo>
                  <a:pt x="42" y="28"/>
                  <a:pt x="42" y="28"/>
                  <a:pt x="42" y="28"/>
                </a:cubicBezTo>
                <a:cubicBezTo>
                  <a:pt x="40" y="29"/>
                  <a:pt x="40" y="29"/>
                  <a:pt x="40" y="29"/>
                </a:cubicBezTo>
                <a:cubicBezTo>
                  <a:pt x="38" y="28"/>
                  <a:pt x="34" y="28"/>
                  <a:pt x="33" y="28"/>
                </a:cubicBezTo>
                <a:cubicBezTo>
                  <a:pt x="33" y="28"/>
                  <a:pt x="33" y="28"/>
                  <a:pt x="32" y="28"/>
                </a:cubicBezTo>
                <a:cubicBezTo>
                  <a:pt x="32" y="28"/>
                  <a:pt x="31" y="28"/>
                  <a:pt x="29" y="29"/>
                </a:cubicBezTo>
                <a:cubicBezTo>
                  <a:pt x="27" y="29"/>
                  <a:pt x="27" y="29"/>
                  <a:pt x="26" y="29"/>
                </a:cubicBezTo>
                <a:cubicBezTo>
                  <a:pt x="25" y="29"/>
                  <a:pt x="25" y="29"/>
                  <a:pt x="23" y="29"/>
                </a:cubicBezTo>
                <a:cubicBezTo>
                  <a:pt x="18" y="29"/>
                  <a:pt x="18" y="29"/>
                  <a:pt x="18" y="29"/>
                </a:cubicBezTo>
                <a:cubicBezTo>
                  <a:pt x="17" y="29"/>
                  <a:pt x="17" y="30"/>
                  <a:pt x="17" y="30"/>
                </a:cubicBezTo>
                <a:cubicBezTo>
                  <a:pt x="16" y="30"/>
                  <a:pt x="16" y="30"/>
                  <a:pt x="16" y="31"/>
                </a:cubicBezTo>
                <a:cubicBezTo>
                  <a:pt x="13" y="32"/>
                  <a:pt x="13" y="32"/>
                  <a:pt x="13" y="32"/>
                </a:cubicBezTo>
                <a:cubicBezTo>
                  <a:pt x="11" y="32"/>
                  <a:pt x="8" y="34"/>
                  <a:pt x="7" y="35"/>
                </a:cubicBezTo>
                <a:cubicBezTo>
                  <a:pt x="6" y="35"/>
                  <a:pt x="5" y="36"/>
                  <a:pt x="4" y="36"/>
                </a:cubicBezTo>
                <a:cubicBezTo>
                  <a:pt x="4" y="36"/>
                  <a:pt x="4" y="36"/>
                  <a:pt x="4" y="35"/>
                </a:cubicBezTo>
                <a:cubicBezTo>
                  <a:pt x="3" y="35"/>
                  <a:pt x="3" y="35"/>
                  <a:pt x="3" y="35"/>
                </a:cubicBezTo>
                <a:cubicBezTo>
                  <a:pt x="3" y="35"/>
                  <a:pt x="3" y="35"/>
                  <a:pt x="3" y="35"/>
                </a:cubicBezTo>
                <a:cubicBezTo>
                  <a:pt x="3" y="36"/>
                  <a:pt x="2" y="37"/>
                  <a:pt x="1" y="37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39"/>
                  <a:pt x="0" y="39"/>
                  <a:pt x="0" y="39"/>
                </a:cubicBezTo>
                <a:cubicBezTo>
                  <a:pt x="7" y="39"/>
                  <a:pt x="7" y="39"/>
                  <a:pt x="7" y="39"/>
                </a:cubicBezTo>
                <a:cubicBezTo>
                  <a:pt x="8" y="39"/>
                  <a:pt x="8" y="39"/>
                  <a:pt x="9" y="39"/>
                </a:cubicBezTo>
                <a:cubicBezTo>
                  <a:pt x="10" y="41"/>
                  <a:pt x="10" y="41"/>
                  <a:pt x="10" y="41"/>
                </a:cubicBezTo>
                <a:cubicBezTo>
                  <a:pt x="10" y="41"/>
                  <a:pt x="10" y="41"/>
                  <a:pt x="11" y="42"/>
                </a:cubicBezTo>
                <a:cubicBezTo>
                  <a:pt x="11" y="42"/>
                  <a:pt x="12" y="45"/>
                  <a:pt x="10" y="48"/>
                </a:cubicBezTo>
                <a:cubicBezTo>
                  <a:pt x="10" y="49"/>
                  <a:pt x="9" y="50"/>
                  <a:pt x="9" y="51"/>
                </a:cubicBezTo>
                <a:cubicBezTo>
                  <a:pt x="10" y="52"/>
                  <a:pt x="10" y="52"/>
                  <a:pt x="10" y="52"/>
                </a:cubicBezTo>
                <a:cubicBezTo>
                  <a:pt x="10" y="53"/>
                  <a:pt x="10" y="53"/>
                  <a:pt x="10" y="53"/>
                </a:cubicBezTo>
                <a:cubicBezTo>
                  <a:pt x="11" y="53"/>
                  <a:pt x="11" y="53"/>
                  <a:pt x="11" y="53"/>
                </a:cubicBezTo>
                <a:cubicBezTo>
                  <a:pt x="11" y="53"/>
                  <a:pt x="12" y="53"/>
                  <a:pt x="12" y="54"/>
                </a:cubicBezTo>
                <a:cubicBezTo>
                  <a:pt x="15" y="56"/>
                  <a:pt x="15" y="56"/>
                  <a:pt x="15" y="56"/>
                </a:cubicBezTo>
                <a:cubicBezTo>
                  <a:pt x="23" y="56"/>
                  <a:pt x="23" y="56"/>
                  <a:pt x="23" y="56"/>
                </a:cubicBezTo>
                <a:cubicBezTo>
                  <a:pt x="24" y="55"/>
                  <a:pt x="25" y="55"/>
                  <a:pt x="26" y="55"/>
                </a:cubicBezTo>
                <a:cubicBezTo>
                  <a:pt x="26" y="55"/>
                  <a:pt x="27" y="55"/>
                  <a:pt x="28" y="57"/>
                </a:cubicBezTo>
                <a:cubicBezTo>
                  <a:pt x="28" y="59"/>
                  <a:pt x="28" y="60"/>
                  <a:pt x="28" y="61"/>
                </a:cubicBezTo>
                <a:cubicBezTo>
                  <a:pt x="29" y="62"/>
                  <a:pt x="30" y="63"/>
                  <a:pt x="29" y="64"/>
                </a:cubicBezTo>
                <a:cubicBezTo>
                  <a:pt x="29" y="65"/>
                  <a:pt x="29" y="66"/>
                  <a:pt x="26" y="67"/>
                </a:cubicBezTo>
                <a:cubicBezTo>
                  <a:pt x="23" y="68"/>
                  <a:pt x="23" y="68"/>
                  <a:pt x="23" y="68"/>
                </a:cubicBezTo>
                <a:cubicBezTo>
                  <a:pt x="23" y="68"/>
                  <a:pt x="23" y="68"/>
                  <a:pt x="23" y="68"/>
                </a:cubicBezTo>
                <a:cubicBezTo>
                  <a:pt x="23" y="69"/>
                  <a:pt x="23" y="69"/>
                  <a:pt x="23" y="69"/>
                </a:cubicBezTo>
                <a:cubicBezTo>
                  <a:pt x="25" y="70"/>
                  <a:pt x="25" y="70"/>
                  <a:pt x="25" y="70"/>
                </a:cubicBezTo>
                <a:cubicBezTo>
                  <a:pt x="27" y="70"/>
                  <a:pt x="27" y="70"/>
                  <a:pt x="27" y="70"/>
                </a:cubicBezTo>
                <a:cubicBezTo>
                  <a:pt x="28" y="70"/>
                  <a:pt x="29" y="71"/>
                  <a:pt x="29" y="72"/>
                </a:cubicBezTo>
                <a:cubicBezTo>
                  <a:pt x="31" y="78"/>
                  <a:pt x="31" y="78"/>
                  <a:pt x="31" y="78"/>
                </a:cubicBezTo>
                <a:cubicBezTo>
                  <a:pt x="31" y="78"/>
                  <a:pt x="31" y="78"/>
                  <a:pt x="31" y="78"/>
                </a:cubicBezTo>
                <a:cubicBezTo>
                  <a:pt x="34" y="79"/>
                  <a:pt x="36" y="81"/>
                  <a:pt x="36" y="81"/>
                </a:cubicBezTo>
                <a:cubicBezTo>
                  <a:pt x="38" y="86"/>
                  <a:pt x="38" y="86"/>
                  <a:pt x="38" y="86"/>
                </a:cubicBezTo>
                <a:cubicBezTo>
                  <a:pt x="39" y="86"/>
                  <a:pt x="39" y="86"/>
                  <a:pt x="41" y="87"/>
                </a:cubicBezTo>
                <a:cubicBezTo>
                  <a:pt x="44" y="88"/>
                  <a:pt x="46" y="89"/>
                  <a:pt x="47" y="90"/>
                </a:cubicBezTo>
                <a:cubicBezTo>
                  <a:pt x="48" y="90"/>
                  <a:pt x="48" y="90"/>
                  <a:pt x="48" y="90"/>
                </a:cubicBezTo>
                <a:cubicBezTo>
                  <a:pt x="45" y="86"/>
                  <a:pt x="44" y="82"/>
                  <a:pt x="44" y="82"/>
                </a:cubicBezTo>
                <a:cubicBezTo>
                  <a:pt x="44" y="81"/>
                  <a:pt x="44" y="80"/>
                  <a:pt x="45" y="80"/>
                </a:cubicBezTo>
                <a:cubicBezTo>
                  <a:pt x="51" y="77"/>
                  <a:pt x="51" y="77"/>
                  <a:pt x="51" y="77"/>
                </a:cubicBezTo>
                <a:cubicBezTo>
                  <a:pt x="51" y="76"/>
                  <a:pt x="52" y="76"/>
                  <a:pt x="52" y="77"/>
                </a:cubicBezTo>
                <a:cubicBezTo>
                  <a:pt x="56" y="78"/>
                  <a:pt x="56" y="78"/>
                  <a:pt x="56" y="78"/>
                </a:cubicBezTo>
                <a:cubicBezTo>
                  <a:pt x="61" y="79"/>
                  <a:pt x="61" y="79"/>
                  <a:pt x="61" y="79"/>
                </a:cubicBezTo>
                <a:cubicBezTo>
                  <a:pt x="64" y="80"/>
                  <a:pt x="64" y="80"/>
                  <a:pt x="64" y="80"/>
                </a:cubicBezTo>
                <a:cubicBezTo>
                  <a:pt x="64" y="80"/>
                  <a:pt x="64" y="79"/>
                  <a:pt x="63" y="79"/>
                </a:cubicBezTo>
                <a:cubicBezTo>
                  <a:pt x="60" y="74"/>
                  <a:pt x="60" y="74"/>
                  <a:pt x="60" y="74"/>
                </a:cubicBezTo>
                <a:cubicBezTo>
                  <a:pt x="59" y="74"/>
                  <a:pt x="59" y="73"/>
                  <a:pt x="60" y="72"/>
                </a:cubicBezTo>
                <a:cubicBezTo>
                  <a:pt x="60" y="72"/>
                  <a:pt x="60" y="71"/>
                  <a:pt x="61" y="71"/>
                </a:cubicBezTo>
                <a:cubicBezTo>
                  <a:pt x="65" y="70"/>
                  <a:pt x="65" y="70"/>
                  <a:pt x="65" y="70"/>
                </a:cubicBezTo>
                <a:cubicBezTo>
                  <a:pt x="66" y="70"/>
                  <a:pt x="67" y="71"/>
                  <a:pt x="67" y="72"/>
                </a:cubicBezTo>
                <a:cubicBezTo>
                  <a:pt x="68" y="72"/>
                  <a:pt x="68" y="72"/>
                  <a:pt x="68" y="72"/>
                </a:cubicBezTo>
                <a:cubicBezTo>
                  <a:pt x="69" y="71"/>
                  <a:pt x="71" y="69"/>
                  <a:pt x="75" y="70"/>
                </a:cubicBezTo>
                <a:cubicBezTo>
                  <a:pt x="79" y="71"/>
                  <a:pt x="83" y="73"/>
                  <a:pt x="84" y="73"/>
                </a:cubicBezTo>
                <a:cubicBezTo>
                  <a:pt x="85" y="73"/>
                  <a:pt x="87" y="73"/>
                  <a:pt x="88" y="73"/>
                </a:cubicBezTo>
                <a:cubicBezTo>
                  <a:pt x="89" y="73"/>
                  <a:pt x="90" y="73"/>
                  <a:pt x="91" y="73"/>
                </a:cubicBezTo>
                <a:cubicBezTo>
                  <a:pt x="94" y="73"/>
                  <a:pt x="98" y="73"/>
                  <a:pt x="99" y="73"/>
                </a:cubicBezTo>
                <a:cubicBezTo>
                  <a:pt x="100" y="73"/>
                  <a:pt x="100" y="73"/>
                  <a:pt x="101" y="73"/>
                </a:cubicBezTo>
                <a:cubicBezTo>
                  <a:pt x="102" y="72"/>
                  <a:pt x="102" y="72"/>
                  <a:pt x="102" y="72"/>
                </a:cubicBezTo>
                <a:cubicBezTo>
                  <a:pt x="101" y="69"/>
                  <a:pt x="102" y="68"/>
                  <a:pt x="103" y="67"/>
                </a:cubicBezTo>
                <a:cubicBezTo>
                  <a:pt x="104" y="66"/>
                  <a:pt x="104" y="66"/>
                  <a:pt x="104" y="66"/>
                </a:cubicBezTo>
                <a:cubicBezTo>
                  <a:pt x="105" y="66"/>
                  <a:pt x="107" y="63"/>
                  <a:pt x="109" y="62"/>
                </a:cubicBezTo>
                <a:cubicBezTo>
                  <a:pt x="109" y="62"/>
                  <a:pt x="109" y="62"/>
                  <a:pt x="110" y="62"/>
                </a:cubicBezTo>
                <a:cubicBezTo>
                  <a:pt x="110" y="62"/>
                  <a:pt x="110" y="62"/>
                  <a:pt x="110" y="61"/>
                </a:cubicBezTo>
                <a:cubicBezTo>
                  <a:pt x="111" y="61"/>
                  <a:pt x="112" y="60"/>
                  <a:pt x="112" y="60"/>
                </a:cubicBezTo>
                <a:cubicBezTo>
                  <a:pt x="112" y="60"/>
                  <a:pt x="113" y="60"/>
                  <a:pt x="113" y="59"/>
                </a:cubicBezTo>
                <a:cubicBezTo>
                  <a:pt x="115" y="58"/>
                  <a:pt x="115" y="57"/>
                  <a:pt x="116" y="57"/>
                </a:cubicBezTo>
                <a:cubicBezTo>
                  <a:pt x="116" y="57"/>
                  <a:pt x="116" y="57"/>
                  <a:pt x="116" y="57"/>
                </a:cubicBezTo>
                <a:cubicBezTo>
                  <a:pt x="117" y="54"/>
                  <a:pt x="120" y="52"/>
                  <a:pt x="121" y="52"/>
                </a:cubicBezTo>
                <a:cubicBezTo>
                  <a:pt x="122" y="52"/>
                  <a:pt x="124" y="50"/>
                  <a:pt x="124" y="49"/>
                </a:cubicBezTo>
                <a:cubicBezTo>
                  <a:pt x="125" y="47"/>
                  <a:pt x="125" y="47"/>
                  <a:pt x="125" y="47"/>
                </a:cubicBezTo>
                <a:cubicBezTo>
                  <a:pt x="126" y="46"/>
                  <a:pt x="126" y="46"/>
                  <a:pt x="126" y="45"/>
                </a:cubicBezTo>
                <a:cubicBezTo>
                  <a:pt x="126" y="45"/>
                  <a:pt x="126" y="45"/>
                  <a:pt x="126" y="45"/>
                </a:cubicBezTo>
                <a:cubicBezTo>
                  <a:pt x="125" y="44"/>
                  <a:pt x="125" y="42"/>
                  <a:pt x="126" y="40"/>
                </a:cubicBezTo>
                <a:cubicBezTo>
                  <a:pt x="126" y="40"/>
                  <a:pt x="126" y="40"/>
                  <a:pt x="126" y="39"/>
                </a:cubicBezTo>
                <a:cubicBezTo>
                  <a:pt x="127" y="38"/>
                  <a:pt x="127" y="38"/>
                  <a:pt x="127" y="38"/>
                </a:cubicBezTo>
                <a:lnTo>
                  <a:pt x="128" y="3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Freeform 13">
            <a:extLst>
              <a:ext uri="{FF2B5EF4-FFF2-40B4-BE49-F238E27FC236}">
                <a16:creationId xmlns:a16="http://schemas.microsoft.com/office/drawing/2014/main" id="{69D335B1-B9FA-4F95-9E76-69440B2A832F}"/>
              </a:ext>
            </a:extLst>
          </p:cNvPr>
          <p:cNvSpPr>
            <a:spLocks/>
          </p:cNvSpPr>
          <p:nvPr/>
        </p:nvSpPr>
        <p:spPr bwMode="auto">
          <a:xfrm>
            <a:off x="4787384" y="1723554"/>
            <a:ext cx="701675" cy="452438"/>
          </a:xfrm>
          <a:custGeom>
            <a:avLst/>
            <a:gdLst>
              <a:gd name="T0" fmla="*/ 230 w 290"/>
              <a:gd name="T1" fmla="*/ 13 h 203"/>
              <a:gd name="T2" fmla="*/ 221 w 290"/>
              <a:gd name="T3" fmla="*/ 21 h 203"/>
              <a:gd name="T4" fmla="*/ 197 w 290"/>
              <a:gd name="T5" fmla="*/ 25 h 203"/>
              <a:gd name="T6" fmla="*/ 201 w 290"/>
              <a:gd name="T7" fmla="*/ 38 h 203"/>
              <a:gd name="T8" fmla="*/ 193 w 290"/>
              <a:gd name="T9" fmla="*/ 46 h 203"/>
              <a:gd name="T10" fmla="*/ 187 w 290"/>
              <a:gd name="T11" fmla="*/ 60 h 203"/>
              <a:gd name="T12" fmla="*/ 175 w 290"/>
              <a:gd name="T13" fmla="*/ 52 h 203"/>
              <a:gd name="T14" fmla="*/ 163 w 290"/>
              <a:gd name="T15" fmla="*/ 48 h 203"/>
              <a:gd name="T16" fmla="*/ 142 w 290"/>
              <a:gd name="T17" fmla="*/ 54 h 203"/>
              <a:gd name="T18" fmla="*/ 129 w 290"/>
              <a:gd name="T19" fmla="*/ 57 h 203"/>
              <a:gd name="T20" fmla="*/ 135 w 290"/>
              <a:gd name="T21" fmla="*/ 69 h 203"/>
              <a:gd name="T22" fmla="*/ 132 w 290"/>
              <a:gd name="T23" fmla="*/ 82 h 203"/>
              <a:gd name="T24" fmla="*/ 130 w 290"/>
              <a:gd name="T25" fmla="*/ 90 h 203"/>
              <a:gd name="T26" fmla="*/ 122 w 290"/>
              <a:gd name="T27" fmla="*/ 90 h 203"/>
              <a:gd name="T28" fmla="*/ 109 w 290"/>
              <a:gd name="T29" fmla="*/ 100 h 203"/>
              <a:gd name="T30" fmla="*/ 103 w 290"/>
              <a:gd name="T31" fmla="*/ 109 h 203"/>
              <a:gd name="T32" fmla="*/ 91 w 290"/>
              <a:gd name="T33" fmla="*/ 119 h 203"/>
              <a:gd name="T34" fmla="*/ 74 w 290"/>
              <a:gd name="T35" fmla="*/ 127 h 203"/>
              <a:gd name="T36" fmla="*/ 77 w 290"/>
              <a:gd name="T37" fmla="*/ 138 h 203"/>
              <a:gd name="T38" fmla="*/ 63 w 290"/>
              <a:gd name="T39" fmla="*/ 146 h 203"/>
              <a:gd name="T40" fmla="*/ 44 w 290"/>
              <a:gd name="T41" fmla="*/ 154 h 203"/>
              <a:gd name="T42" fmla="*/ 34 w 290"/>
              <a:gd name="T43" fmla="*/ 155 h 203"/>
              <a:gd name="T44" fmla="*/ 20 w 290"/>
              <a:gd name="T45" fmla="*/ 152 h 203"/>
              <a:gd name="T46" fmla="*/ 13 w 290"/>
              <a:gd name="T47" fmla="*/ 166 h 203"/>
              <a:gd name="T48" fmla="*/ 11 w 290"/>
              <a:gd name="T49" fmla="*/ 179 h 203"/>
              <a:gd name="T50" fmla="*/ 0 w 290"/>
              <a:gd name="T51" fmla="*/ 190 h 203"/>
              <a:gd name="T52" fmla="*/ 10 w 290"/>
              <a:gd name="T53" fmla="*/ 190 h 203"/>
              <a:gd name="T54" fmla="*/ 18 w 290"/>
              <a:gd name="T55" fmla="*/ 192 h 203"/>
              <a:gd name="T56" fmla="*/ 27 w 290"/>
              <a:gd name="T57" fmla="*/ 188 h 203"/>
              <a:gd name="T58" fmla="*/ 37 w 290"/>
              <a:gd name="T59" fmla="*/ 189 h 203"/>
              <a:gd name="T60" fmla="*/ 40 w 290"/>
              <a:gd name="T61" fmla="*/ 198 h 203"/>
              <a:gd name="T62" fmla="*/ 51 w 290"/>
              <a:gd name="T63" fmla="*/ 201 h 203"/>
              <a:gd name="T64" fmla="*/ 67 w 290"/>
              <a:gd name="T65" fmla="*/ 203 h 203"/>
              <a:gd name="T66" fmla="*/ 80 w 290"/>
              <a:gd name="T67" fmla="*/ 190 h 203"/>
              <a:gd name="T68" fmla="*/ 95 w 290"/>
              <a:gd name="T69" fmla="*/ 194 h 203"/>
              <a:gd name="T70" fmla="*/ 105 w 290"/>
              <a:gd name="T71" fmla="*/ 192 h 203"/>
              <a:gd name="T72" fmla="*/ 120 w 290"/>
              <a:gd name="T73" fmla="*/ 180 h 203"/>
              <a:gd name="T74" fmla="*/ 133 w 290"/>
              <a:gd name="T75" fmla="*/ 181 h 203"/>
              <a:gd name="T76" fmla="*/ 147 w 290"/>
              <a:gd name="T77" fmla="*/ 178 h 203"/>
              <a:gd name="T78" fmla="*/ 160 w 290"/>
              <a:gd name="T79" fmla="*/ 183 h 203"/>
              <a:gd name="T80" fmla="*/ 170 w 290"/>
              <a:gd name="T81" fmla="*/ 179 h 203"/>
              <a:gd name="T82" fmla="*/ 185 w 290"/>
              <a:gd name="T83" fmla="*/ 167 h 203"/>
              <a:gd name="T84" fmla="*/ 182 w 290"/>
              <a:gd name="T85" fmla="*/ 159 h 203"/>
              <a:gd name="T86" fmla="*/ 190 w 290"/>
              <a:gd name="T87" fmla="*/ 150 h 203"/>
              <a:gd name="T88" fmla="*/ 205 w 290"/>
              <a:gd name="T89" fmla="*/ 146 h 203"/>
              <a:gd name="T90" fmla="*/ 213 w 290"/>
              <a:gd name="T91" fmla="*/ 152 h 203"/>
              <a:gd name="T92" fmla="*/ 227 w 290"/>
              <a:gd name="T93" fmla="*/ 155 h 203"/>
              <a:gd name="T94" fmla="*/ 235 w 290"/>
              <a:gd name="T95" fmla="*/ 151 h 203"/>
              <a:gd name="T96" fmla="*/ 248 w 290"/>
              <a:gd name="T97" fmla="*/ 148 h 203"/>
              <a:gd name="T98" fmla="*/ 255 w 290"/>
              <a:gd name="T99" fmla="*/ 143 h 203"/>
              <a:gd name="T100" fmla="*/ 250 w 290"/>
              <a:gd name="T101" fmla="*/ 131 h 203"/>
              <a:gd name="T102" fmla="*/ 272 w 290"/>
              <a:gd name="T103" fmla="*/ 81 h 203"/>
              <a:gd name="T104" fmla="*/ 276 w 290"/>
              <a:gd name="T105" fmla="*/ 17 h 203"/>
              <a:gd name="T106" fmla="*/ 241 w 290"/>
              <a:gd name="T107" fmla="*/ 0 h 203"/>
              <a:gd name="T108" fmla="*/ 233 w 290"/>
              <a:gd name="T109" fmla="*/ 5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90" h="203">
                <a:moveTo>
                  <a:pt x="233" y="7"/>
                </a:moveTo>
                <a:cubicBezTo>
                  <a:pt x="233" y="8"/>
                  <a:pt x="233" y="8"/>
                  <a:pt x="233" y="8"/>
                </a:cubicBezTo>
                <a:cubicBezTo>
                  <a:pt x="233" y="10"/>
                  <a:pt x="233" y="10"/>
                  <a:pt x="233" y="10"/>
                </a:cubicBezTo>
                <a:cubicBezTo>
                  <a:pt x="233" y="11"/>
                  <a:pt x="233" y="12"/>
                  <a:pt x="232" y="13"/>
                </a:cubicBezTo>
                <a:cubicBezTo>
                  <a:pt x="231" y="13"/>
                  <a:pt x="231" y="13"/>
                  <a:pt x="231" y="13"/>
                </a:cubicBezTo>
                <a:cubicBezTo>
                  <a:pt x="230" y="13"/>
                  <a:pt x="230" y="13"/>
                  <a:pt x="230" y="13"/>
                </a:cubicBezTo>
                <a:cubicBezTo>
                  <a:pt x="230" y="14"/>
                  <a:pt x="230" y="14"/>
                  <a:pt x="230" y="15"/>
                </a:cubicBezTo>
                <a:cubicBezTo>
                  <a:pt x="230" y="16"/>
                  <a:pt x="230" y="17"/>
                  <a:pt x="229" y="17"/>
                </a:cubicBezTo>
                <a:cubicBezTo>
                  <a:pt x="228" y="18"/>
                  <a:pt x="226" y="19"/>
                  <a:pt x="226" y="19"/>
                </a:cubicBezTo>
                <a:cubicBezTo>
                  <a:pt x="226" y="19"/>
                  <a:pt x="225" y="20"/>
                  <a:pt x="224" y="19"/>
                </a:cubicBezTo>
                <a:cubicBezTo>
                  <a:pt x="224" y="19"/>
                  <a:pt x="224" y="19"/>
                  <a:pt x="224" y="19"/>
                </a:cubicBezTo>
                <a:cubicBezTo>
                  <a:pt x="223" y="20"/>
                  <a:pt x="222" y="21"/>
                  <a:pt x="221" y="21"/>
                </a:cubicBezTo>
                <a:cubicBezTo>
                  <a:pt x="219" y="22"/>
                  <a:pt x="215" y="23"/>
                  <a:pt x="214" y="22"/>
                </a:cubicBezTo>
                <a:cubicBezTo>
                  <a:pt x="210" y="24"/>
                  <a:pt x="210" y="24"/>
                  <a:pt x="210" y="24"/>
                </a:cubicBezTo>
                <a:cubicBezTo>
                  <a:pt x="209" y="24"/>
                  <a:pt x="209" y="24"/>
                  <a:pt x="208" y="24"/>
                </a:cubicBezTo>
                <a:cubicBezTo>
                  <a:pt x="205" y="21"/>
                  <a:pt x="205" y="21"/>
                  <a:pt x="205" y="21"/>
                </a:cubicBezTo>
                <a:cubicBezTo>
                  <a:pt x="197" y="21"/>
                  <a:pt x="197" y="21"/>
                  <a:pt x="197" y="21"/>
                </a:cubicBezTo>
                <a:cubicBezTo>
                  <a:pt x="197" y="23"/>
                  <a:pt x="197" y="24"/>
                  <a:pt x="197" y="25"/>
                </a:cubicBezTo>
                <a:cubicBezTo>
                  <a:pt x="196" y="26"/>
                  <a:pt x="196" y="26"/>
                  <a:pt x="196" y="27"/>
                </a:cubicBezTo>
                <a:cubicBezTo>
                  <a:pt x="196" y="27"/>
                  <a:pt x="196" y="28"/>
                  <a:pt x="196" y="30"/>
                </a:cubicBezTo>
                <a:cubicBezTo>
                  <a:pt x="196" y="31"/>
                  <a:pt x="196" y="31"/>
                  <a:pt x="196" y="31"/>
                </a:cubicBezTo>
                <a:cubicBezTo>
                  <a:pt x="197" y="31"/>
                  <a:pt x="197" y="32"/>
                  <a:pt x="198" y="32"/>
                </a:cubicBezTo>
                <a:cubicBezTo>
                  <a:pt x="198" y="33"/>
                  <a:pt x="198" y="33"/>
                  <a:pt x="199" y="33"/>
                </a:cubicBezTo>
                <a:cubicBezTo>
                  <a:pt x="200" y="34"/>
                  <a:pt x="200" y="35"/>
                  <a:pt x="201" y="38"/>
                </a:cubicBezTo>
                <a:cubicBezTo>
                  <a:pt x="202" y="40"/>
                  <a:pt x="203" y="41"/>
                  <a:pt x="202" y="43"/>
                </a:cubicBezTo>
                <a:cubicBezTo>
                  <a:pt x="201" y="44"/>
                  <a:pt x="201" y="44"/>
                  <a:pt x="201" y="44"/>
                </a:cubicBezTo>
                <a:cubicBezTo>
                  <a:pt x="201" y="45"/>
                  <a:pt x="201" y="46"/>
                  <a:pt x="200" y="46"/>
                </a:cubicBezTo>
                <a:cubicBezTo>
                  <a:pt x="199" y="46"/>
                  <a:pt x="198" y="46"/>
                  <a:pt x="198" y="46"/>
                </a:cubicBezTo>
                <a:cubicBezTo>
                  <a:pt x="198" y="46"/>
                  <a:pt x="197" y="46"/>
                  <a:pt x="196" y="46"/>
                </a:cubicBezTo>
                <a:cubicBezTo>
                  <a:pt x="195" y="46"/>
                  <a:pt x="194" y="46"/>
                  <a:pt x="193" y="46"/>
                </a:cubicBezTo>
                <a:cubicBezTo>
                  <a:pt x="193" y="47"/>
                  <a:pt x="192" y="50"/>
                  <a:pt x="191" y="51"/>
                </a:cubicBezTo>
                <a:cubicBezTo>
                  <a:pt x="191" y="52"/>
                  <a:pt x="191" y="52"/>
                  <a:pt x="191" y="53"/>
                </a:cubicBezTo>
                <a:cubicBezTo>
                  <a:pt x="191" y="57"/>
                  <a:pt x="191" y="57"/>
                  <a:pt x="191" y="57"/>
                </a:cubicBezTo>
                <a:cubicBezTo>
                  <a:pt x="191" y="57"/>
                  <a:pt x="191" y="58"/>
                  <a:pt x="190" y="58"/>
                </a:cubicBezTo>
                <a:cubicBezTo>
                  <a:pt x="188" y="60"/>
                  <a:pt x="188" y="60"/>
                  <a:pt x="188" y="60"/>
                </a:cubicBezTo>
                <a:cubicBezTo>
                  <a:pt x="187" y="60"/>
                  <a:pt x="187" y="60"/>
                  <a:pt x="187" y="60"/>
                </a:cubicBezTo>
                <a:cubicBezTo>
                  <a:pt x="183" y="60"/>
                  <a:pt x="183" y="60"/>
                  <a:pt x="183" y="60"/>
                </a:cubicBezTo>
                <a:cubicBezTo>
                  <a:pt x="181" y="60"/>
                  <a:pt x="180" y="60"/>
                  <a:pt x="179" y="58"/>
                </a:cubicBezTo>
                <a:cubicBezTo>
                  <a:pt x="178" y="57"/>
                  <a:pt x="177" y="56"/>
                  <a:pt x="177" y="56"/>
                </a:cubicBezTo>
                <a:cubicBezTo>
                  <a:pt x="177" y="55"/>
                  <a:pt x="177" y="55"/>
                  <a:pt x="177" y="55"/>
                </a:cubicBezTo>
                <a:cubicBezTo>
                  <a:pt x="177" y="53"/>
                  <a:pt x="177" y="53"/>
                  <a:pt x="177" y="53"/>
                </a:cubicBezTo>
                <a:cubicBezTo>
                  <a:pt x="175" y="52"/>
                  <a:pt x="175" y="52"/>
                  <a:pt x="175" y="52"/>
                </a:cubicBezTo>
                <a:cubicBezTo>
                  <a:pt x="175" y="51"/>
                  <a:pt x="175" y="51"/>
                  <a:pt x="174" y="51"/>
                </a:cubicBezTo>
                <a:cubicBezTo>
                  <a:pt x="174" y="52"/>
                  <a:pt x="174" y="52"/>
                  <a:pt x="173" y="51"/>
                </a:cubicBezTo>
                <a:cubicBezTo>
                  <a:pt x="173" y="51"/>
                  <a:pt x="171" y="51"/>
                  <a:pt x="170" y="51"/>
                </a:cubicBezTo>
                <a:cubicBezTo>
                  <a:pt x="167" y="51"/>
                  <a:pt x="167" y="51"/>
                  <a:pt x="167" y="51"/>
                </a:cubicBezTo>
                <a:cubicBezTo>
                  <a:pt x="165" y="51"/>
                  <a:pt x="164" y="50"/>
                  <a:pt x="164" y="50"/>
                </a:cubicBezTo>
                <a:cubicBezTo>
                  <a:pt x="164" y="50"/>
                  <a:pt x="163" y="50"/>
                  <a:pt x="163" y="48"/>
                </a:cubicBezTo>
                <a:cubicBezTo>
                  <a:pt x="162" y="48"/>
                  <a:pt x="162" y="48"/>
                  <a:pt x="162" y="48"/>
                </a:cubicBezTo>
                <a:cubicBezTo>
                  <a:pt x="161" y="48"/>
                  <a:pt x="160" y="48"/>
                  <a:pt x="160" y="48"/>
                </a:cubicBezTo>
                <a:cubicBezTo>
                  <a:pt x="159" y="48"/>
                  <a:pt x="158" y="51"/>
                  <a:pt x="157" y="53"/>
                </a:cubicBezTo>
                <a:cubicBezTo>
                  <a:pt x="156" y="54"/>
                  <a:pt x="156" y="54"/>
                  <a:pt x="155" y="54"/>
                </a:cubicBezTo>
                <a:cubicBezTo>
                  <a:pt x="143" y="54"/>
                  <a:pt x="143" y="54"/>
                  <a:pt x="143" y="54"/>
                </a:cubicBezTo>
                <a:cubicBezTo>
                  <a:pt x="142" y="54"/>
                  <a:pt x="142" y="54"/>
                  <a:pt x="142" y="54"/>
                </a:cubicBezTo>
                <a:cubicBezTo>
                  <a:pt x="141" y="54"/>
                  <a:pt x="141" y="54"/>
                  <a:pt x="141" y="54"/>
                </a:cubicBezTo>
                <a:cubicBezTo>
                  <a:pt x="140" y="54"/>
                  <a:pt x="140" y="54"/>
                  <a:pt x="140" y="54"/>
                </a:cubicBezTo>
                <a:cubicBezTo>
                  <a:pt x="138" y="55"/>
                  <a:pt x="137" y="55"/>
                  <a:pt x="136" y="54"/>
                </a:cubicBezTo>
                <a:cubicBezTo>
                  <a:pt x="133" y="54"/>
                  <a:pt x="133" y="54"/>
                  <a:pt x="133" y="54"/>
                </a:cubicBezTo>
                <a:cubicBezTo>
                  <a:pt x="131" y="55"/>
                  <a:pt x="131" y="55"/>
                  <a:pt x="131" y="55"/>
                </a:cubicBezTo>
                <a:cubicBezTo>
                  <a:pt x="131" y="55"/>
                  <a:pt x="130" y="56"/>
                  <a:pt x="129" y="57"/>
                </a:cubicBezTo>
                <a:cubicBezTo>
                  <a:pt x="129" y="57"/>
                  <a:pt x="129" y="58"/>
                  <a:pt x="128" y="59"/>
                </a:cubicBezTo>
                <a:cubicBezTo>
                  <a:pt x="127" y="59"/>
                  <a:pt x="127" y="60"/>
                  <a:pt x="127" y="61"/>
                </a:cubicBezTo>
                <a:cubicBezTo>
                  <a:pt x="127" y="61"/>
                  <a:pt x="127" y="61"/>
                  <a:pt x="127" y="61"/>
                </a:cubicBezTo>
                <a:cubicBezTo>
                  <a:pt x="128" y="62"/>
                  <a:pt x="129" y="63"/>
                  <a:pt x="130" y="63"/>
                </a:cubicBezTo>
                <a:cubicBezTo>
                  <a:pt x="131" y="64"/>
                  <a:pt x="133" y="65"/>
                  <a:pt x="135" y="67"/>
                </a:cubicBezTo>
                <a:cubicBezTo>
                  <a:pt x="135" y="68"/>
                  <a:pt x="136" y="68"/>
                  <a:pt x="135" y="69"/>
                </a:cubicBezTo>
                <a:cubicBezTo>
                  <a:pt x="135" y="70"/>
                  <a:pt x="135" y="70"/>
                  <a:pt x="135" y="70"/>
                </a:cubicBezTo>
                <a:cubicBezTo>
                  <a:pt x="135" y="72"/>
                  <a:pt x="135" y="72"/>
                  <a:pt x="135" y="72"/>
                </a:cubicBezTo>
                <a:cubicBezTo>
                  <a:pt x="135" y="74"/>
                  <a:pt x="135" y="74"/>
                  <a:pt x="135" y="75"/>
                </a:cubicBezTo>
                <a:cubicBezTo>
                  <a:pt x="135" y="75"/>
                  <a:pt x="134" y="75"/>
                  <a:pt x="134" y="76"/>
                </a:cubicBezTo>
                <a:cubicBezTo>
                  <a:pt x="134" y="77"/>
                  <a:pt x="134" y="77"/>
                  <a:pt x="134" y="77"/>
                </a:cubicBezTo>
                <a:cubicBezTo>
                  <a:pt x="135" y="80"/>
                  <a:pt x="133" y="82"/>
                  <a:pt x="132" y="82"/>
                </a:cubicBezTo>
                <a:cubicBezTo>
                  <a:pt x="132" y="82"/>
                  <a:pt x="131" y="84"/>
                  <a:pt x="130" y="85"/>
                </a:cubicBezTo>
                <a:cubicBezTo>
                  <a:pt x="131" y="86"/>
                  <a:pt x="131" y="87"/>
                  <a:pt x="130" y="88"/>
                </a:cubicBezTo>
                <a:cubicBezTo>
                  <a:pt x="130" y="89"/>
                  <a:pt x="130" y="89"/>
                  <a:pt x="130" y="89"/>
                </a:cubicBezTo>
                <a:cubicBezTo>
                  <a:pt x="130" y="89"/>
                  <a:pt x="130" y="89"/>
                  <a:pt x="130" y="90"/>
                </a:cubicBezTo>
                <a:cubicBezTo>
                  <a:pt x="130" y="90"/>
                  <a:pt x="130" y="90"/>
                  <a:pt x="130" y="90"/>
                </a:cubicBezTo>
                <a:cubicBezTo>
                  <a:pt x="130" y="90"/>
                  <a:pt x="130" y="90"/>
                  <a:pt x="130" y="90"/>
                </a:cubicBezTo>
                <a:cubicBezTo>
                  <a:pt x="130" y="90"/>
                  <a:pt x="130" y="90"/>
                  <a:pt x="130" y="90"/>
                </a:cubicBezTo>
                <a:cubicBezTo>
                  <a:pt x="130" y="90"/>
                  <a:pt x="130" y="90"/>
                  <a:pt x="130" y="90"/>
                </a:cubicBezTo>
                <a:cubicBezTo>
                  <a:pt x="129" y="91"/>
                  <a:pt x="129" y="92"/>
                  <a:pt x="128" y="92"/>
                </a:cubicBezTo>
                <a:cubicBezTo>
                  <a:pt x="127" y="92"/>
                  <a:pt x="126" y="92"/>
                  <a:pt x="125" y="92"/>
                </a:cubicBezTo>
                <a:cubicBezTo>
                  <a:pt x="125" y="91"/>
                  <a:pt x="125" y="91"/>
                  <a:pt x="125" y="91"/>
                </a:cubicBezTo>
                <a:cubicBezTo>
                  <a:pt x="123" y="91"/>
                  <a:pt x="122" y="91"/>
                  <a:pt x="122" y="90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5" y="89"/>
                  <a:pt x="115" y="89"/>
                  <a:pt x="115" y="89"/>
                </a:cubicBezTo>
                <a:cubicBezTo>
                  <a:pt x="112" y="93"/>
                  <a:pt x="112" y="93"/>
                  <a:pt x="112" y="93"/>
                </a:cubicBezTo>
                <a:cubicBezTo>
                  <a:pt x="112" y="95"/>
                  <a:pt x="112" y="95"/>
                  <a:pt x="112" y="95"/>
                </a:cubicBezTo>
                <a:cubicBezTo>
                  <a:pt x="112" y="96"/>
                  <a:pt x="111" y="96"/>
                  <a:pt x="111" y="96"/>
                </a:cubicBezTo>
                <a:cubicBezTo>
                  <a:pt x="109" y="100"/>
                  <a:pt x="109" y="100"/>
                  <a:pt x="109" y="100"/>
                </a:cubicBezTo>
                <a:cubicBezTo>
                  <a:pt x="109" y="100"/>
                  <a:pt x="109" y="100"/>
                  <a:pt x="109" y="100"/>
                </a:cubicBezTo>
                <a:cubicBezTo>
                  <a:pt x="109" y="100"/>
                  <a:pt x="109" y="101"/>
                  <a:pt x="109" y="102"/>
                </a:cubicBezTo>
                <a:cubicBezTo>
                  <a:pt x="109" y="103"/>
                  <a:pt x="109" y="103"/>
                  <a:pt x="109" y="103"/>
                </a:cubicBezTo>
                <a:cubicBezTo>
                  <a:pt x="109" y="103"/>
                  <a:pt x="108" y="106"/>
                  <a:pt x="105" y="106"/>
                </a:cubicBezTo>
                <a:cubicBezTo>
                  <a:pt x="105" y="106"/>
                  <a:pt x="105" y="107"/>
                  <a:pt x="104" y="107"/>
                </a:cubicBezTo>
                <a:cubicBezTo>
                  <a:pt x="104" y="108"/>
                  <a:pt x="104" y="108"/>
                  <a:pt x="103" y="109"/>
                </a:cubicBezTo>
                <a:cubicBezTo>
                  <a:pt x="102" y="110"/>
                  <a:pt x="101" y="110"/>
                  <a:pt x="100" y="110"/>
                </a:cubicBezTo>
                <a:cubicBezTo>
                  <a:pt x="96" y="112"/>
                  <a:pt x="96" y="112"/>
                  <a:pt x="96" y="112"/>
                </a:cubicBezTo>
                <a:cubicBezTo>
                  <a:pt x="96" y="112"/>
                  <a:pt x="94" y="113"/>
                  <a:pt x="93" y="115"/>
                </a:cubicBezTo>
                <a:cubicBezTo>
                  <a:pt x="93" y="116"/>
                  <a:pt x="92" y="116"/>
                  <a:pt x="91" y="117"/>
                </a:cubicBezTo>
                <a:cubicBezTo>
                  <a:pt x="91" y="118"/>
                  <a:pt x="91" y="118"/>
                  <a:pt x="91" y="118"/>
                </a:cubicBezTo>
                <a:cubicBezTo>
                  <a:pt x="91" y="119"/>
                  <a:pt x="91" y="119"/>
                  <a:pt x="91" y="119"/>
                </a:cubicBezTo>
                <a:cubicBezTo>
                  <a:pt x="90" y="122"/>
                  <a:pt x="90" y="122"/>
                  <a:pt x="90" y="122"/>
                </a:cubicBezTo>
                <a:cubicBezTo>
                  <a:pt x="90" y="123"/>
                  <a:pt x="90" y="123"/>
                  <a:pt x="90" y="123"/>
                </a:cubicBezTo>
                <a:cubicBezTo>
                  <a:pt x="90" y="124"/>
                  <a:pt x="90" y="125"/>
                  <a:pt x="90" y="126"/>
                </a:cubicBezTo>
                <a:cubicBezTo>
                  <a:pt x="90" y="127"/>
                  <a:pt x="89" y="127"/>
                  <a:pt x="89" y="128"/>
                </a:cubicBezTo>
                <a:cubicBezTo>
                  <a:pt x="87" y="128"/>
                  <a:pt x="86" y="128"/>
                  <a:pt x="86" y="127"/>
                </a:cubicBezTo>
                <a:cubicBezTo>
                  <a:pt x="74" y="127"/>
                  <a:pt x="74" y="127"/>
                  <a:pt x="74" y="127"/>
                </a:cubicBezTo>
                <a:cubicBezTo>
                  <a:pt x="74" y="128"/>
                  <a:pt x="73" y="129"/>
                  <a:pt x="73" y="129"/>
                </a:cubicBezTo>
                <a:cubicBezTo>
                  <a:pt x="73" y="130"/>
                  <a:pt x="73" y="130"/>
                  <a:pt x="73" y="130"/>
                </a:cubicBezTo>
                <a:cubicBezTo>
                  <a:pt x="73" y="130"/>
                  <a:pt x="73" y="130"/>
                  <a:pt x="73" y="130"/>
                </a:cubicBezTo>
                <a:cubicBezTo>
                  <a:pt x="73" y="130"/>
                  <a:pt x="73" y="132"/>
                  <a:pt x="75" y="135"/>
                </a:cubicBezTo>
                <a:cubicBezTo>
                  <a:pt x="75" y="136"/>
                  <a:pt x="76" y="136"/>
                  <a:pt x="76" y="136"/>
                </a:cubicBezTo>
                <a:cubicBezTo>
                  <a:pt x="76" y="137"/>
                  <a:pt x="77" y="137"/>
                  <a:pt x="77" y="138"/>
                </a:cubicBezTo>
                <a:cubicBezTo>
                  <a:pt x="78" y="139"/>
                  <a:pt x="79" y="141"/>
                  <a:pt x="78" y="143"/>
                </a:cubicBezTo>
                <a:cubicBezTo>
                  <a:pt x="77" y="143"/>
                  <a:pt x="77" y="143"/>
                  <a:pt x="76" y="143"/>
                </a:cubicBezTo>
                <a:cubicBezTo>
                  <a:pt x="71" y="146"/>
                  <a:pt x="71" y="146"/>
                  <a:pt x="71" y="146"/>
                </a:cubicBezTo>
                <a:cubicBezTo>
                  <a:pt x="70" y="146"/>
                  <a:pt x="70" y="146"/>
                  <a:pt x="70" y="146"/>
                </a:cubicBezTo>
                <a:cubicBezTo>
                  <a:pt x="64" y="146"/>
                  <a:pt x="64" y="146"/>
                  <a:pt x="64" y="146"/>
                </a:cubicBezTo>
                <a:cubicBezTo>
                  <a:pt x="63" y="146"/>
                  <a:pt x="63" y="146"/>
                  <a:pt x="63" y="146"/>
                </a:cubicBezTo>
                <a:cubicBezTo>
                  <a:pt x="63" y="147"/>
                  <a:pt x="62" y="148"/>
                  <a:pt x="61" y="148"/>
                </a:cubicBezTo>
                <a:cubicBezTo>
                  <a:pt x="56" y="148"/>
                  <a:pt x="56" y="148"/>
                  <a:pt x="56" y="148"/>
                </a:cubicBezTo>
                <a:cubicBezTo>
                  <a:pt x="56" y="148"/>
                  <a:pt x="55" y="149"/>
                  <a:pt x="54" y="150"/>
                </a:cubicBezTo>
                <a:cubicBezTo>
                  <a:pt x="53" y="150"/>
                  <a:pt x="52" y="150"/>
                  <a:pt x="52" y="151"/>
                </a:cubicBezTo>
                <a:cubicBezTo>
                  <a:pt x="51" y="151"/>
                  <a:pt x="50" y="151"/>
                  <a:pt x="50" y="152"/>
                </a:cubicBezTo>
                <a:cubicBezTo>
                  <a:pt x="49" y="152"/>
                  <a:pt x="47" y="153"/>
                  <a:pt x="44" y="154"/>
                </a:cubicBezTo>
                <a:cubicBezTo>
                  <a:pt x="43" y="155"/>
                  <a:pt x="43" y="155"/>
                  <a:pt x="43" y="155"/>
                </a:cubicBezTo>
                <a:cubicBezTo>
                  <a:pt x="43" y="155"/>
                  <a:pt x="43" y="155"/>
                  <a:pt x="43" y="156"/>
                </a:cubicBezTo>
                <a:cubicBezTo>
                  <a:pt x="42" y="157"/>
                  <a:pt x="42" y="158"/>
                  <a:pt x="41" y="158"/>
                </a:cubicBezTo>
                <a:cubicBezTo>
                  <a:pt x="38" y="158"/>
                  <a:pt x="38" y="158"/>
                  <a:pt x="38" y="158"/>
                </a:cubicBezTo>
                <a:cubicBezTo>
                  <a:pt x="37" y="157"/>
                  <a:pt x="37" y="157"/>
                  <a:pt x="37" y="157"/>
                </a:cubicBezTo>
                <a:cubicBezTo>
                  <a:pt x="34" y="155"/>
                  <a:pt x="34" y="155"/>
                  <a:pt x="34" y="155"/>
                </a:cubicBezTo>
                <a:cubicBezTo>
                  <a:pt x="30" y="155"/>
                  <a:pt x="30" y="155"/>
                  <a:pt x="30" y="155"/>
                </a:cubicBezTo>
                <a:cubicBezTo>
                  <a:pt x="29" y="155"/>
                  <a:pt x="29" y="155"/>
                  <a:pt x="29" y="155"/>
                </a:cubicBezTo>
                <a:cubicBezTo>
                  <a:pt x="27" y="154"/>
                  <a:pt x="27" y="154"/>
                  <a:pt x="27" y="154"/>
                </a:cubicBezTo>
                <a:cubicBezTo>
                  <a:pt x="23" y="154"/>
                  <a:pt x="23" y="154"/>
                  <a:pt x="23" y="154"/>
                </a:cubicBezTo>
                <a:cubicBezTo>
                  <a:pt x="22" y="154"/>
                  <a:pt x="22" y="154"/>
                  <a:pt x="21" y="153"/>
                </a:cubicBezTo>
                <a:cubicBezTo>
                  <a:pt x="20" y="152"/>
                  <a:pt x="20" y="152"/>
                  <a:pt x="20" y="152"/>
                </a:cubicBezTo>
                <a:cubicBezTo>
                  <a:pt x="16" y="152"/>
                  <a:pt x="16" y="152"/>
                  <a:pt x="16" y="152"/>
                </a:cubicBezTo>
                <a:cubicBezTo>
                  <a:pt x="15" y="152"/>
                  <a:pt x="15" y="152"/>
                  <a:pt x="15" y="152"/>
                </a:cubicBezTo>
                <a:cubicBezTo>
                  <a:pt x="14" y="153"/>
                  <a:pt x="14" y="153"/>
                  <a:pt x="14" y="153"/>
                </a:cubicBezTo>
                <a:cubicBezTo>
                  <a:pt x="13" y="153"/>
                  <a:pt x="13" y="154"/>
                  <a:pt x="13" y="154"/>
                </a:cubicBezTo>
                <a:cubicBezTo>
                  <a:pt x="13" y="164"/>
                  <a:pt x="13" y="164"/>
                  <a:pt x="13" y="164"/>
                </a:cubicBezTo>
                <a:cubicBezTo>
                  <a:pt x="13" y="166"/>
                  <a:pt x="13" y="166"/>
                  <a:pt x="13" y="166"/>
                </a:cubicBezTo>
                <a:cubicBezTo>
                  <a:pt x="14" y="169"/>
                  <a:pt x="14" y="169"/>
                  <a:pt x="14" y="169"/>
                </a:cubicBezTo>
                <a:cubicBezTo>
                  <a:pt x="14" y="170"/>
                  <a:pt x="14" y="170"/>
                  <a:pt x="14" y="170"/>
                </a:cubicBezTo>
                <a:cubicBezTo>
                  <a:pt x="13" y="174"/>
                  <a:pt x="13" y="174"/>
                  <a:pt x="13" y="174"/>
                </a:cubicBezTo>
                <a:cubicBezTo>
                  <a:pt x="13" y="176"/>
                  <a:pt x="13" y="176"/>
                  <a:pt x="12" y="177"/>
                </a:cubicBezTo>
                <a:cubicBezTo>
                  <a:pt x="12" y="177"/>
                  <a:pt x="12" y="177"/>
                  <a:pt x="12" y="177"/>
                </a:cubicBezTo>
                <a:cubicBezTo>
                  <a:pt x="12" y="178"/>
                  <a:pt x="12" y="178"/>
                  <a:pt x="11" y="179"/>
                </a:cubicBezTo>
                <a:cubicBezTo>
                  <a:pt x="9" y="181"/>
                  <a:pt x="9" y="181"/>
                  <a:pt x="9" y="181"/>
                </a:cubicBezTo>
                <a:cubicBezTo>
                  <a:pt x="6" y="184"/>
                  <a:pt x="6" y="184"/>
                  <a:pt x="6" y="184"/>
                </a:cubicBezTo>
                <a:cubicBezTo>
                  <a:pt x="6" y="185"/>
                  <a:pt x="6" y="185"/>
                  <a:pt x="6" y="185"/>
                </a:cubicBezTo>
                <a:cubicBezTo>
                  <a:pt x="5" y="187"/>
                  <a:pt x="4" y="189"/>
                  <a:pt x="4" y="189"/>
                </a:cubicBezTo>
                <a:cubicBezTo>
                  <a:pt x="3" y="190"/>
                  <a:pt x="3" y="190"/>
                  <a:pt x="2" y="190"/>
                </a:cubicBezTo>
                <a:cubicBezTo>
                  <a:pt x="0" y="190"/>
                  <a:pt x="0" y="190"/>
                  <a:pt x="0" y="190"/>
                </a:cubicBezTo>
                <a:cubicBezTo>
                  <a:pt x="0" y="191"/>
                  <a:pt x="0" y="191"/>
                  <a:pt x="0" y="191"/>
                </a:cubicBezTo>
                <a:cubicBezTo>
                  <a:pt x="2" y="191"/>
                  <a:pt x="2" y="191"/>
                  <a:pt x="2" y="191"/>
                </a:cubicBezTo>
                <a:cubicBezTo>
                  <a:pt x="3" y="191"/>
                  <a:pt x="3" y="191"/>
                  <a:pt x="3" y="191"/>
                </a:cubicBezTo>
                <a:cubicBezTo>
                  <a:pt x="3" y="191"/>
                  <a:pt x="3" y="191"/>
                  <a:pt x="3" y="191"/>
                </a:cubicBezTo>
                <a:cubicBezTo>
                  <a:pt x="4" y="191"/>
                  <a:pt x="4" y="191"/>
                  <a:pt x="5" y="191"/>
                </a:cubicBezTo>
                <a:cubicBezTo>
                  <a:pt x="10" y="190"/>
                  <a:pt x="10" y="190"/>
                  <a:pt x="10" y="190"/>
                </a:cubicBezTo>
                <a:cubicBezTo>
                  <a:pt x="11" y="190"/>
                  <a:pt x="11" y="190"/>
                  <a:pt x="11" y="190"/>
                </a:cubicBezTo>
                <a:cubicBezTo>
                  <a:pt x="14" y="191"/>
                  <a:pt x="14" y="191"/>
                  <a:pt x="14" y="191"/>
                </a:cubicBezTo>
                <a:cubicBezTo>
                  <a:pt x="14" y="191"/>
                  <a:pt x="14" y="191"/>
                  <a:pt x="14" y="191"/>
                </a:cubicBezTo>
                <a:cubicBezTo>
                  <a:pt x="15" y="193"/>
                  <a:pt x="15" y="193"/>
                  <a:pt x="15" y="193"/>
                </a:cubicBezTo>
                <a:cubicBezTo>
                  <a:pt x="16" y="193"/>
                  <a:pt x="16" y="193"/>
                  <a:pt x="16" y="193"/>
                </a:cubicBezTo>
                <a:cubicBezTo>
                  <a:pt x="16" y="192"/>
                  <a:pt x="17" y="192"/>
                  <a:pt x="18" y="192"/>
                </a:cubicBezTo>
                <a:cubicBezTo>
                  <a:pt x="19" y="192"/>
                  <a:pt x="19" y="192"/>
                  <a:pt x="19" y="192"/>
                </a:cubicBezTo>
                <a:cubicBezTo>
                  <a:pt x="20" y="192"/>
                  <a:pt x="20" y="192"/>
                  <a:pt x="21" y="192"/>
                </a:cubicBezTo>
                <a:cubicBezTo>
                  <a:pt x="21" y="192"/>
                  <a:pt x="21" y="192"/>
                  <a:pt x="21" y="191"/>
                </a:cubicBezTo>
                <a:cubicBezTo>
                  <a:pt x="23" y="188"/>
                  <a:pt x="23" y="188"/>
                  <a:pt x="23" y="188"/>
                </a:cubicBezTo>
                <a:cubicBezTo>
                  <a:pt x="24" y="188"/>
                  <a:pt x="24" y="188"/>
                  <a:pt x="25" y="188"/>
                </a:cubicBezTo>
                <a:cubicBezTo>
                  <a:pt x="27" y="188"/>
                  <a:pt x="27" y="188"/>
                  <a:pt x="27" y="188"/>
                </a:cubicBezTo>
                <a:cubicBezTo>
                  <a:pt x="28" y="188"/>
                  <a:pt x="28" y="188"/>
                  <a:pt x="28" y="188"/>
                </a:cubicBezTo>
                <a:cubicBezTo>
                  <a:pt x="28" y="188"/>
                  <a:pt x="29" y="188"/>
                  <a:pt x="29" y="189"/>
                </a:cubicBezTo>
                <a:cubicBezTo>
                  <a:pt x="29" y="188"/>
                  <a:pt x="29" y="188"/>
                  <a:pt x="29" y="188"/>
                </a:cubicBezTo>
                <a:cubicBezTo>
                  <a:pt x="30" y="187"/>
                  <a:pt x="30" y="187"/>
                  <a:pt x="31" y="188"/>
                </a:cubicBezTo>
                <a:cubicBezTo>
                  <a:pt x="32" y="188"/>
                  <a:pt x="32" y="188"/>
                  <a:pt x="33" y="188"/>
                </a:cubicBezTo>
                <a:cubicBezTo>
                  <a:pt x="34" y="187"/>
                  <a:pt x="36" y="188"/>
                  <a:pt x="37" y="189"/>
                </a:cubicBezTo>
                <a:cubicBezTo>
                  <a:pt x="39" y="190"/>
                  <a:pt x="39" y="190"/>
                  <a:pt x="39" y="190"/>
                </a:cubicBezTo>
                <a:cubicBezTo>
                  <a:pt x="40" y="191"/>
                  <a:pt x="41" y="191"/>
                  <a:pt x="41" y="193"/>
                </a:cubicBezTo>
                <a:cubicBezTo>
                  <a:pt x="41" y="194"/>
                  <a:pt x="41" y="195"/>
                  <a:pt x="40" y="195"/>
                </a:cubicBezTo>
                <a:cubicBezTo>
                  <a:pt x="40" y="196"/>
                  <a:pt x="40" y="196"/>
                  <a:pt x="40" y="196"/>
                </a:cubicBezTo>
                <a:cubicBezTo>
                  <a:pt x="40" y="197"/>
                  <a:pt x="40" y="197"/>
                  <a:pt x="40" y="197"/>
                </a:cubicBezTo>
                <a:cubicBezTo>
                  <a:pt x="40" y="197"/>
                  <a:pt x="40" y="197"/>
                  <a:pt x="40" y="198"/>
                </a:cubicBezTo>
                <a:cubicBezTo>
                  <a:pt x="41" y="198"/>
                  <a:pt x="41" y="198"/>
                  <a:pt x="41" y="198"/>
                </a:cubicBezTo>
                <a:cubicBezTo>
                  <a:pt x="42" y="198"/>
                  <a:pt x="42" y="198"/>
                  <a:pt x="42" y="198"/>
                </a:cubicBezTo>
                <a:cubicBezTo>
                  <a:pt x="45" y="199"/>
                  <a:pt x="45" y="199"/>
                  <a:pt x="45" y="199"/>
                </a:cubicBezTo>
                <a:cubicBezTo>
                  <a:pt x="46" y="199"/>
                  <a:pt x="46" y="199"/>
                  <a:pt x="46" y="199"/>
                </a:cubicBezTo>
                <a:cubicBezTo>
                  <a:pt x="47" y="199"/>
                  <a:pt x="48" y="200"/>
                  <a:pt x="49" y="201"/>
                </a:cubicBezTo>
                <a:cubicBezTo>
                  <a:pt x="49" y="201"/>
                  <a:pt x="50" y="201"/>
                  <a:pt x="51" y="201"/>
                </a:cubicBezTo>
                <a:cubicBezTo>
                  <a:pt x="52" y="201"/>
                  <a:pt x="53" y="201"/>
                  <a:pt x="53" y="201"/>
                </a:cubicBezTo>
                <a:cubicBezTo>
                  <a:pt x="54" y="201"/>
                  <a:pt x="56" y="201"/>
                  <a:pt x="57" y="200"/>
                </a:cubicBezTo>
                <a:cubicBezTo>
                  <a:pt x="58" y="199"/>
                  <a:pt x="60" y="200"/>
                  <a:pt x="60" y="200"/>
                </a:cubicBezTo>
                <a:cubicBezTo>
                  <a:pt x="61" y="200"/>
                  <a:pt x="61" y="200"/>
                  <a:pt x="61" y="200"/>
                </a:cubicBezTo>
                <a:cubicBezTo>
                  <a:pt x="62" y="200"/>
                  <a:pt x="64" y="201"/>
                  <a:pt x="65" y="202"/>
                </a:cubicBezTo>
                <a:cubicBezTo>
                  <a:pt x="65" y="202"/>
                  <a:pt x="66" y="202"/>
                  <a:pt x="67" y="203"/>
                </a:cubicBezTo>
                <a:cubicBezTo>
                  <a:pt x="67" y="203"/>
                  <a:pt x="67" y="203"/>
                  <a:pt x="67" y="202"/>
                </a:cubicBezTo>
                <a:cubicBezTo>
                  <a:pt x="67" y="201"/>
                  <a:pt x="69" y="200"/>
                  <a:pt x="72" y="198"/>
                </a:cubicBezTo>
                <a:cubicBezTo>
                  <a:pt x="73" y="198"/>
                  <a:pt x="73" y="198"/>
                  <a:pt x="73" y="198"/>
                </a:cubicBezTo>
                <a:cubicBezTo>
                  <a:pt x="74" y="197"/>
                  <a:pt x="76" y="197"/>
                  <a:pt x="77" y="197"/>
                </a:cubicBezTo>
                <a:cubicBezTo>
                  <a:pt x="78" y="191"/>
                  <a:pt x="78" y="191"/>
                  <a:pt x="78" y="191"/>
                </a:cubicBezTo>
                <a:cubicBezTo>
                  <a:pt x="79" y="191"/>
                  <a:pt x="79" y="190"/>
                  <a:pt x="80" y="190"/>
                </a:cubicBezTo>
                <a:cubicBezTo>
                  <a:pt x="81" y="190"/>
                  <a:pt x="81" y="190"/>
                  <a:pt x="81" y="190"/>
                </a:cubicBezTo>
                <a:cubicBezTo>
                  <a:pt x="82" y="190"/>
                  <a:pt x="82" y="190"/>
                  <a:pt x="82" y="190"/>
                </a:cubicBezTo>
                <a:cubicBezTo>
                  <a:pt x="84" y="189"/>
                  <a:pt x="87" y="190"/>
                  <a:pt x="89" y="192"/>
                </a:cubicBezTo>
                <a:cubicBezTo>
                  <a:pt x="92" y="192"/>
                  <a:pt x="92" y="192"/>
                  <a:pt x="92" y="192"/>
                </a:cubicBezTo>
                <a:cubicBezTo>
                  <a:pt x="93" y="192"/>
                  <a:pt x="93" y="192"/>
                  <a:pt x="94" y="193"/>
                </a:cubicBezTo>
                <a:cubicBezTo>
                  <a:pt x="95" y="194"/>
                  <a:pt x="95" y="194"/>
                  <a:pt x="95" y="194"/>
                </a:cubicBezTo>
                <a:cubicBezTo>
                  <a:pt x="98" y="195"/>
                  <a:pt x="98" y="195"/>
                  <a:pt x="98" y="195"/>
                </a:cubicBezTo>
                <a:cubicBezTo>
                  <a:pt x="101" y="195"/>
                  <a:pt x="101" y="195"/>
                  <a:pt x="101" y="195"/>
                </a:cubicBezTo>
                <a:cubicBezTo>
                  <a:pt x="102" y="194"/>
                  <a:pt x="102" y="194"/>
                  <a:pt x="102" y="194"/>
                </a:cubicBezTo>
                <a:cubicBezTo>
                  <a:pt x="103" y="194"/>
                  <a:pt x="103" y="193"/>
                  <a:pt x="103" y="193"/>
                </a:cubicBezTo>
                <a:cubicBezTo>
                  <a:pt x="104" y="193"/>
                  <a:pt x="104" y="193"/>
                  <a:pt x="104" y="193"/>
                </a:cubicBezTo>
                <a:cubicBezTo>
                  <a:pt x="105" y="192"/>
                  <a:pt x="105" y="192"/>
                  <a:pt x="105" y="192"/>
                </a:cubicBezTo>
                <a:cubicBezTo>
                  <a:pt x="105" y="192"/>
                  <a:pt x="105" y="192"/>
                  <a:pt x="106" y="191"/>
                </a:cubicBezTo>
                <a:cubicBezTo>
                  <a:pt x="108" y="188"/>
                  <a:pt x="108" y="188"/>
                  <a:pt x="108" y="188"/>
                </a:cubicBezTo>
                <a:cubicBezTo>
                  <a:pt x="109" y="187"/>
                  <a:pt x="110" y="186"/>
                  <a:pt x="111" y="185"/>
                </a:cubicBezTo>
                <a:cubicBezTo>
                  <a:pt x="112" y="185"/>
                  <a:pt x="112" y="185"/>
                  <a:pt x="112" y="185"/>
                </a:cubicBezTo>
                <a:cubicBezTo>
                  <a:pt x="112" y="185"/>
                  <a:pt x="112" y="185"/>
                  <a:pt x="112" y="185"/>
                </a:cubicBezTo>
                <a:cubicBezTo>
                  <a:pt x="117" y="181"/>
                  <a:pt x="120" y="180"/>
                  <a:pt x="120" y="180"/>
                </a:cubicBezTo>
                <a:cubicBezTo>
                  <a:pt x="120" y="180"/>
                  <a:pt x="120" y="180"/>
                  <a:pt x="120" y="180"/>
                </a:cubicBezTo>
                <a:cubicBezTo>
                  <a:pt x="125" y="180"/>
                  <a:pt x="125" y="180"/>
                  <a:pt x="125" y="180"/>
                </a:cubicBezTo>
                <a:cubicBezTo>
                  <a:pt x="126" y="180"/>
                  <a:pt x="126" y="180"/>
                  <a:pt x="126" y="180"/>
                </a:cubicBezTo>
                <a:cubicBezTo>
                  <a:pt x="128" y="181"/>
                  <a:pt x="128" y="181"/>
                  <a:pt x="128" y="181"/>
                </a:cubicBezTo>
                <a:cubicBezTo>
                  <a:pt x="129" y="180"/>
                  <a:pt x="130" y="180"/>
                  <a:pt x="130" y="180"/>
                </a:cubicBezTo>
                <a:cubicBezTo>
                  <a:pt x="131" y="180"/>
                  <a:pt x="132" y="180"/>
                  <a:pt x="133" y="181"/>
                </a:cubicBezTo>
                <a:cubicBezTo>
                  <a:pt x="133" y="181"/>
                  <a:pt x="133" y="181"/>
                  <a:pt x="133" y="181"/>
                </a:cubicBezTo>
                <a:cubicBezTo>
                  <a:pt x="138" y="181"/>
                  <a:pt x="138" y="181"/>
                  <a:pt x="138" y="181"/>
                </a:cubicBezTo>
                <a:cubicBezTo>
                  <a:pt x="141" y="180"/>
                  <a:pt x="141" y="180"/>
                  <a:pt x="141" y="180"/>
                </a:cubicBezTo>
                <a:cubicBezTo>
                  <a:pt x="141" y="180"/>
                  <a:pt x="141" y="180"/>
                  <a:pt x="141" y="180"/>
                </a:cubicBezTo>
                <a:cubicBezTo>
                  <a:pt x="142" y="179"/>
                  <a:pt x="143" y="178"/>
                  <a:pt x="145" y="178"/>
                </a:cubicBezTo>
                <a:cubicBezTo>
                  <a:pt x="145" y="178"/>
                  <a:pt x="146" y="178"/>
                  <a:pt x="147" y="178"/>
                </a:cubicBezTo>
                <a:cubicBezTo>
                  <a:pt x="148" y="178"/>
                  <a:pt x="149" y="177"/>
                  <a:pt x="151" y="178"/>
                </a:cubicBezTo>
                <a:cubicBezTo>
                  <a:pt x="151" y="178"/>
                  <a:pt x="152" y="179"/>
                  <a:pt x="152" y="180"/>
                </a:cubicBezTo>
                <a:cubicBezTo>
                  <a:pt x="153" y="180"/>
                  <a:pt x="153" y="181"/>
                  <a:pt x="153" y="181"/>
                </a:cubicBezTo>
                <a:cubicBezTo>
                  <a:pt x="154" y="181"/>
                  <a:pt x="154" y="181"/>
                  <a:pt x="155" y="182"/>
                </a:cubicBezTo>
                <a:cubicBezTo>
                  <a:pt x="156" y="182"/>
                  <a:pt x="156" y="182"/>
                  <a:pt x="156" y="182"/>
                </a:cubicBezTo>
                <a:cubicBezTo>
                  <a:pt x="157" y="183"/>
                  <a:pt x="159" y="183"/>
                  <a:pt x="160" y="183"/>
                </a:cubicBezTo>
                <a:cubicBezTo>
                  <a:pt x="163" y="184"/>
                  <a:pt x="163" y="184"/>
                  <a:pt x="163" y="184"/>
                </a:cubicBezTo>
                <a:cubicBezTo>
                  <a:pt x="164" y="184"/>
                  <a:pt x="164" y="184"/>
                  <a:pt x="164" y="184"/>
                </a:cubicBezTo>
                <a:cubicBezTo>
                  <a:pt x="164" y="183"/>
                  <a:pt x="165" y="182"/>
                  <a:pt x="165" y="180"/>
                </a:cubicBezTo>
                <a:cubicBezTo>
                  <a:pt x="165" y="180"/>
                  <a:pt x="166" y="179"/>
                  <a:pt x="167" y="179"/>
                </a:cubicBezTo>
                <a:cubicBezTo>
                  <a:pt x="169" y="179"/>
                  <a:pt x="169" y="179"/>
                  <a:pt x="169" y="179"/>
                </a:cubicBezTo>
                <a:cubicBezTo>
                  <a:pt x="170" y="179"/>
                  <a:pt x="170" y="179"/>
                  <a:pt x="170" y="179"/>
                </a:cubicBezTo>
                <a:cubicBezTo>
                  <a:pt x="174" y="177"/>
                  <a:pt x="174" y="177"/>
                  <a:pt x="174" y="177"/>
                </a:cubicBezTo>
                <a:cubicBezTo>
                  <a:pt x="181" y="173"/>
                  <a:pt x="181" y="173"/>
                  <a:pt x="181" y="173"/>
                </a:cubicBezTo>
                <a:cubicBezTo>
                  <a:pt x="182" y="173"/>
                  <a:pt x="182" y="173"/>
                  <a:pt x="183" y="173"/>
                </a:cubicBezTo>
                <a:cubicBezTo>
                  <a:pt x="184" y="170"/>
                  <a:pt x="185" y="169"/>
                  <a:pt x="185" y="169"/>
                </a:cubicBezTo>
                <a:cubicBezTo>
                  <a:pt x="185" y="169"/>
                  <a:pt x="185" y="169"/>
                  <a:pt x="185" y="169"/>
                </a:cubicBezTo>
                <a:cubicBezTo>
                  <a:pt x="185" y="167"/>
                  <a:pt x="185" y="167"/>
                  <a:pt x="185" y="167"/>
                </a:cubicBezTo>
                <a:cubicBezTo>
                  <a:pt x="184" y="164"/>
                  <a:pt x="184" y="164"/>
                  <a:pt x="184" y="164"/>
                </a:cubicBezTo>
                <a:cubicBezTo>
                  <a:pt x="184" y="164"/>
                  <a:pt x="184" y="164"/>
                  <a:pt x="184" y="164"/>
                </a:cubicBezTo>
                <a:cubicBezTo>
                  <a:pt x="183" y="164"/>
                  <a:pt x="182" y="163"/>
                  <a:pt x="182" y="163"/>
                </a:cubicBezTo>
                <a:cubicBezTo>
                  <a:pt x="182" y="162"/>
                  <a:pt x="182" y="161"/>
                  <a:pt x="182" y="161"/>
                </a:cubicBezTo>
                <a:cubicBezTo>
                  <a:pt x="182" y="161"/>
                  <a:pt x="182" y="161"/>
                  <a:pt x="182" y="161"/>
                </a:cubicBezTo>
                <a:cubicBezTo>
                  <a:pt x="182" y="160"/>
                  <a:pt x="182" y="159"/>
                  <a:pt x="182" y="159"/>
                </a:cubicBezTo>
                <a:cubicBezTo>
                  <a:pt x="182" y="158"/>
                  <a:pt x="183" y="158"/>
                  <a:pt x="185" y="157"/>
                </a:cubicBezTo>
                <a:cubicBezTo>
                  <a:pt x="185" y="157"/>
                  <a:pt x="186" y="157"/>
                  <a:pt x="186" y="158"/>
                </a:cubicBezTo>
                <a:cubicBezTo>
                  <a:pt x="187" y="156"/>
                  <a:pt x="187" y="156"/>
                  <a:pt x="187" y="155"/>
                </a:cubicBezTo>
                <a:cubicBezTo>
                  <a:pt x="188" y="155"/>
                  <a:pt x="188" y="154"/>
                  <a:pt x="188" y="154"/>
                </a:cubicBezTo>
                <a:cubicBezTo>
                  <a:pt x="188" y="153"/>
                  <a:pt x="189" y="152"/>
                  <a:pt x="189" y="151"/>
                </a:cubicBezTo>
                <a:cubicBezTo>
                  <a:pt x="189" y="151"/>
                  <a:pt x="189" y="150"/>
                  <a:pt x="190" y="150"/>
                </a:cubicBezTo>
                <a:cubicBezTo>
                  <a:pt x="193" y="148"/>
                  <a:pt x="193" y="148"/>
                  <a:pt x="193" y="148"/>
                </a:cubicBezTo>
                <a:cubicBezTo>
                  <a:pt x="193" y="148"/>
                  <a:pt x="193" y="148"/>
                  <a:pt x="194" y="148"/>
                </a:cubicBezTo>
                <a:cubicBezTo>
                  <a:pt x="195" y="148"/>
                  <a:pt x="195" y="148"/>
                  <a:pt x="195" y="148"/>
                </a:cubicBezTo>
                <a:cubicBezTo>
                  <a:pt x="198" y="146"/>
                  <a:pt x="198" y="146"/>
                  <a:pt x="198" y="146"/>
                </a:cubicBezTo>
                <a:cubicBezTo>
                  <a:pt x="199" y="146"/>
                  <a:pt x="199" y="146"/>
                  <a:pt x="199" y="146"/>
                </a:cubicBezTo>
                <a:cubicBezTo>
                  <a:pt x="205" y="146"/>
                  <a:pt x="205" y="146"/>
                  <a:pt x="205" y="146"/>
                </a:cubicBezTo>
                <a:cubicBezTo>
                  <a:pt x="205" y="146"/>
                  <a:pt x="206" y="146"/>
                  <a:pt x="206" y="147"/>
                </a:cubicBezTo>
                <a:cubicBezTo>
                  <a:pt x="207" y="148"/>
                  <a:pt x="207" y="148"/>
                  <a:pt x="207" y="148"/>
                </a:cubicBezTo>
                <a:cubicBezTo>
                  <a:pt x="209" y="148"/>
                  <a:pt x="209" y="148"/>
                  <a:pt x="209" y="148"/>
                </a:cubicBezTo>
                <a:cubicBezTo>
                  <a:pt x="209" y="148"/>
                  <a:pt x="209" y="148"/>
                  <a:pt x="210" y="148"/>
                </a:cubicBezTo>
                <a:cubicBezTo>
                  <a:pt x="212" y="150"/>
                  <a:pt x="212" y="150"/>
                  <a:pt x="212" y="150"/>
                </a:cubicBezTo>
                <a:cubicBezTo>
                  <a:pt x="213" y="150"/>
                  <a:pt x="213" y="151"/>
                  <a:pt x="213" y="152"/>
                </a:cubicBezTo>
                <a:cubicBezTo>
                  <a:pt x="213" y="152"/>
                  <a:pt x="213" y="152"/>
                  <a:pt x="213" y="152"/>
                </a:cubicBezTo>
                <a:cubicBezTo>
                  <a:pt x="214" y="152"/>
                  <a:pt x="215" y="154"/>
                  <a:pt x="215" y="154"/>
                </a:cubicBezTo>
                <a:cubicBezTo>
                  <a:pt x="216" y="156"/>
                  <a:pt x="216" y="156"/>
                  <a:pt x="216" y="156"/>
                </a:cubicBezTo>
                <a:cubicBezTo>
                  <a:pt x="218" y="156"/>
                  <a:pt x="218" y="156"/>
                  <a:pt x="218" y="156"/>
                </a:cubicBezTo>
                <a:cubicBezTo>
                  <a:pt x="219" y="157"/>
                  <a:pt x="219" y="157"/>
                  <a:pt x="219" y="157"/>
                </a:cubicBezTo>
                <a:cubicBezTo>
                  <a:pt x="227" y="155"/>
                  <a:pt x="227" y="155"/>
                  <a:pt x="227" y="155"/>
                </a:cubicBezTo>
                <a:cubicBezTo>
                  <a:pt x="227" y="154"/>
                  <a:pt x="227" y="154"/>
                  <a:pt x="228" y="155"/>
                </a:cubicBezTo>
                <a:cubicBezTo>
                  <a:pt x="228" y="155"/>
                  <a:pt x="228" y="155"/>
                  <a:pt x="228" y="155"/>
                </a:cubicBezTo>
                <a:cubicBezTo>
                  <a:pt x="229" y="154"/>
                  <a:pt x="229" y="154"/>
                  <a:pt x="230" y="154"/>
                </a:cubicBezTo>
                <a:cubicBezTo>
                  <a:pt x="233" y="153"/>
                  <a:pt x="233" y="153"/>
                  <a:pt x="233" y="153"/>
                </a:cubicBezTo>
                <a:cubicBezTo>
                  <a:pt x="233" y="152"/>
                  <a:pt x="233" y="152"/>
                  <a:pt x="233" y="152"/>
                </a:cubicBezTo>
                <a:cubicBezTo>
                  <a:pt x="233" y="152"/>
                  <a:pt x="234" y="151"/>
                  <a:pt x="235" y="151"/>
                </a:cubicBezTo>
                <a:cubicBezTo>
                  <a:pt x="238" y="150"/>
                  <a:pt x="238" y="150"/>
                  <a:pt x="238" y="150"/>
                </a:cubicBezTo>
                <a:cubicBezTo>
                  <a:pt x="238" y="149"/>
                  <a:pt x="239" y="148"/>
                  <a:pt x="241" y="148"/>
                </a:cubicBezTo>
                <a:cubicBezTo>
                  <a:pt x="245" y="148"/>
                  <a:pt x="245" y="148"/>
                  <a:pt x="245" y="148"/>
                </a:cubicBezTo>
                <a:cubicBezTo>
                  <a:pt x="246" y="148"/>
                  <a:pt x="246" y="148"/>
                  <a:pt x="246" y="148"/>
                </a:cubicBezTo>
                <a:cubicBezTo>
                  <a:pt x="246" y="148"/>
                  <a:pt x="246" y="148"/>
                  <a:pt x="247" y="148"/>
                </a:cubicBezTo>
                <a:cubicBezTo>
                  <a:pt x="247" y="148"/>
                  <a:pt x="247" y="148"/>
                  <a:pt x="248" y="148"/>
                </a:cubicBezTo>
                <a:cubicBezTo>
                  <a:pt x="248" y="147"/>
                  <a:pt x="249" y="147"/>
                  <a:pt x="251" y="146"/>
                </a:cubicBezTo>
                <a:cubicBezTo>
                  <a:pt x="253" y="146"/>
                  <a:pt x="253" y="146"/>
                  <a:pt x="253" y="146"/>
                </a:cubicBezTo>
                <a:cubicBezTo>
                  <a:pt x="254" y="146"/>
                  <a:pt x="254" y="146"/>
                  <a:pt x="254" y="146"/>
                </a:cubicBezTo>
                <a:cubicBezTo>
                  <a:pt x="253" y="148"/>
                  <a:pt x="253" y="148"/>
                  <a:pt x="253" y="148"/>
                </a:cubicBezTo>
                <a:cubicBezTo>
                  <a:pt x="254" y="145"/>
                  <a:pt x="254" y="145"/>
                  <a:pt x="254" y="145"/>
                </a:cubicBezTo>
                <a:cubicBezTo>
                  <a:pt x="255" y="143"/>
                  <a:pt x="255" y="143"/>
                  <a:pt x="255" y="143"/>
                </a:cubicBezTo>
                <a:cubicBezTo>
                  <a:pt x="255" y="143"/>
                  <a:pt x="255" y="143"/>
                  <a:pt x="255" y="143"/>
                </a:cubicBezTo>
                <a:cubicBezTo>
                  <a:pt x="252" y="140"/>
                  <a:pt x="252" y="140"/>
                  <a:pt x="252" y="140"/>
                </a:cubicBezTo>
                <a:cubicBezTo>
                  <a:pt x="250" y="137"/>
                  <a:pt x="250" y="137"/>
                  <a:pt x="250" y="137"/>
                </a:cubicBezTo>
                <a:cubicBezTo>
                  <a:pt x="250" y="135"/>
                  <a:pt x="250" y="135"/>
                  <a:pt x="250" y="135"/>
                </a:cubicBezTo>
                <a:cubicBezTo>
                  <a:pt x="250" y="135"/>
                  <a:pt x="250" y="135"/>
                  <a:pt x="250" y="135"/>
                </a:cubicBezTo>
                <a:cubicBezTo>
                  <a:pt x="250" y="131"/>
                  <a:pt x="250" y="131"/>
                  <a:pt x="250" y="131"/>
                </a:cubicBezTo>
                <a:cubicBezTo>
                  <a:pt x="251" y="123"/>
                  <a:pt x="251" y="123"/>
                  <a:pt x="251" y="123"/>
                </a:cubicBezTo>
                <a:cubicBezTo>
                  <a:pt x="251" y="122"/>
                  <a:pt x="251" y="122"/>
                  <a:pt x="251" y="122"/>
                </a:cubicBezTo>
                <a:cubicBezTo>
                  <a:pt x="257" y="106"/>
                  <a:pt x="257" y="106"/>
                  <a:pt x="257" y="106"/>
                </a:cubicBezTo>
                <a:cubicBezTo>
                  <a:pt x="259" y="102"/>
                  <a:pt x="259" y="102"/>
                  <a:pt x="259" y="102"/>
                </a:cubicBezTo>
                <a:cubicBezTo>
                  <a:pt x="269" y="84"/>
                  <a:pt x="269" y="84"/>
                  <a:pt x="269" y="84"/>
                </a:cubicBezTo>
                <a:cubicBezTo>
                  <a:pt x="272" y="81"/>
                  <a:pt x="272" y="81"/>
                  <a:pt x="272" y="81"/>
                </a:cubicBezTo>
                <a:cubicBezTo>
                  <a:pt x="278" y="74"/>
                  <a:pt x="278" y="74"/>
                  <a:pt x="278" y="74"/>
                </a:cubicBezTo>
                <a:cubicBezTo>
                  <a:pt x="284" y="65"/>
                  <a:pt x="284" y="65"/>
                  <a:pt x="284" y="65"/>
                </a:cubicBezTo>
                <a:cubicBezTo>
                  <a:pt x="285" y="64"/>
                  <a:pt x="285" y="64"/>
                  <a:pt x="285" y="64"/>
                </a:cubicBezTo>
                <a:cubicBezTo>
                  <a:pt x="290" y="54"/>
                  <a:pt x="290" y="54"/>
                  <a:pt x="290" y="54"/>
                </a:cubicBezTo>
                <a:cubicBezTo>
                  <a:pt x="279" y="26"/>
                  <a:pt x="279" y="26"/>
                  <a:pt x="279" y="26"/>
                </a:cubicBezTo>
                <a:cubicBezTo>
                  <a:pt x="276" y="17"/>
                  <a:pt x="276" y="17"/>
                  <a:pt x="276" y="17"/>
                </a:cubicBezTo>
                <a:cubicBezTo>
                  <a:pt x="266" y="4"/>
                  <a:pt x="266" y="4"/>
                  <a:pt x="266" y="4"/>
                </a:cubicBezTo>
                <a:cubicBezTo>
                  <a:pt x="265" y="4"/>
                  <a:pt x="265" y="4"/>
                  <a:pt x="265" y="4"/>
                </a:cubicBezTo>
                <a:cubicBezTo>
                  <a:pt x="255" y="0"/>
                  <a:pt x="255" y="0"/>
                  <a:pt x="255" y="0"/>
                </a:cubicBezTo>
                <a:cubicBezTo>
                  <a:pt x="254" y="0"/>
                  <a:pt x="254" y="0"/>
                  <a:pt x="254" y="0"/>
                </a:cubicBezTo>
                <a:cubicBezTo>
                  <a:pt x="246" y="0"/>
                  <a:pt x="246" y="0"/>
                  <a:pt x="246" y="0"/>
                </a:cubicBezTo>
                <a:cubicBezTo>
                  <a:pt x="241" y="0"/>
                  <a:pt x="241" y="0"/>
                  <a:pt x="241" y="0"/>
                </a:cubicBezTo>
                <a:cubicBezTo>
                  <a:pt x="238" y="0"/>
                  <a:pt x="238" y="0"/>
                  <a:pt x="238" y="0"/>
                </a:cubicBezTo>
                <a:cubicBezTo>
                  <a:pt x="237" y="1"/>
                  <a:pt x="237" y="1"/>
                  <a:pt x="237" y="1"/>
                </a:cubicBezTo>
                <a:cubicBezTo>
                  <a:pt x="236" y="2"/>
                  <a:pt x="236" y="2"/>
                  <a:pt x="236" y="2"/>
                </a:cubicBezTo>
                <a:cubicBezTo>
                  <a:pt x="235" y="3"/>
                  <a:pt x="235" y="3"/>
                  <a:pt x="235" y="3"/>
                </a:cubicBezTo>
                <a:cubicBezTo>
                  <a:pt x="234" y="5"/>
                  <a:pt x="234" y="5"/>
                  <a:pt x="234" y="5"/>
                </a:cubicBezTo>
                <a:cubicBezTo>
                  <a:pt x="233" y="5"/>
                  <a:pt x="233" y="5"/>
                  <a:pt x="233" y="5"/>
                </a:cubicBezTo>
                <a:cubicBezTo>
                  <a:pt x="233" y="5"/>
                  <a:pt x="233" y="5"/>
                  <a:pt x="233" y="5"/>
                </a:cubicBezTo>
                <a:lnTo>
                  <a:pt x="233" y="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Freeform 14">
            <a:extLst>
              <a:ext uri="{FF2B5EF4-FFF2-40B4-BE49-F238E27FC236}">
                <a16:creationId xmlns:a16="http://schemas.microsoft.com/office/drawing/2014/main" id="{534F776D-82D2-49EA-87EF-38263371D653}"/>
              </a:ext>
            </a:extLst>
          </p:cNvPr>
          <p:cNvSpPr>
            <a:spLocks/>
          </p:cNvSpPr>
          <p:nvPr/>
        </p:nvSpPr>
        <p:spPr bwMode="auto">
          <a:xfrm>
            <a:off x="5191535" y="2058519"/>
            <a:ext cx="204656" cy="193675"/>
          </a:xfrm>
          <a:custGeom>
            <a:avLst/>
            <a:gdLst>
              <a:gd name="T0" fmla="*/ 80 w 85"/>
              <a:gd name="T1" fmla="*/ 2 h 87"/>
              <a:gd name="T2" fmla="*/ 74 w 85"/>
              <a:gd name="T3" fmla="*/ 2 h 87"/>
              <a:gd name="T4" fmla="*/ 70 w 85"/>
              <a:gd name="T5" fmla="*/ 4 h 87"/>
              <a:gd name="T6" fmla="*/ 65 w 85"/>
              <a:gd name="T7" fmla="*/ 7 h 87"/>
              <a:gd name="T8" fmla="*/ 63 w 85"/>
              <a:gd name="T9" fmla="*/ 9 h 87"/>
              <a:gd name="T10" fmla="*/ 53 w 85"/>
              <a:gd name="T11" fmla="*/ 10 h 87"/>
              <a:gd name="T12" fmla="*/ 50 w 85"/>
              <a:gd name="T13" fmla="*/ 10 h 87"/>
              <a:gd name="T14" fmla="*/ 47 w 85"/>
              <a:gd name="T15" fmla="*/ 9 h 87"/>
              <a:gd name="T16" fmla="*/ 44 w 85"/>
              <a:gd name="T17" fmla="*/ 6 h 87"/>
              <a:gd name="T18" fmla="*/ 42 w 85"/>
              <a:gd name="T19" fmla="*/ 2 h 87"/>
              <a:gd name="T20" fmla="*/ 39 w 85"/>
              <a:gd name="T21" fmla="*/ 1 h 87"/>
              <a:gd name="T22" fmla="*/ 37 w 85"/>
              <a:gd name="T23" fmla="*/ 0 h 87"/>
              <a:gd name="T24" fmla="*/ 29 w 85"/>
              <a:gd name="T25" fmla="*/ 2 h 87"/>
              <a:gd name="T26" fmla="*/ 27 w 85"/>
              <a:gd name="T27" fmla="*/ 2 h 87"/>
              <a:gd name="T28" fmla="*/ 24 w 85"/>
              <a:gd name="T29" fmla="*/ 6 h 87"/>
              <a:gd name="T30" fmla="*/ 22 w 85"/>
              <a:gd name="T31" fmla="*/ 10 h 87"/>
              <a:gd name="T32" fmla="*/ 22 w 85"/>
              <a:gd name="T33" fmla="*/ 16 h 87"/>
              <a:gd name="T34" fmla="*/ 22 w 85"/>
              <a:gd name="T35" fmla="*/ 19 h 87"/>
              <a:gd name="T36" fmla="*/ 19 w 85"/>
              <a:gd name="T37" fmla="*/ 26 h 87"/>
              <a:gd name="T38" fmla="*/ 13 w 85"/>
              <a:gd name="T39" fmla="*/ 28 h 87"/>
              <a:gd name="T40" fmla="*/ 5 w 85"/>
              <a:gd name="T41" fmla="*/ 33 h 87"/>
              <a:gd name="T42" fmla="*/ 0 w 85"/>
              <a:gd name="T43" fmla="*/ 36 h 87"/>
              <a:gd name="T44" fmla="*/ 0 w 85"/>
              <a:gd name="T45" fmla="*/ 37 h 87"/>
              <a:gd name="T46" fmla="*/ 5 w 85"/>
              <a:gd name="T47" fmla="*/ 41 h 87"/>
              <a:gd name="T48" fmla="*/ 7 w 85"/>
              <a:gd name="T49" fmla="*/ 43 h 87"/>
              <a:gd name="T50" fmla="*/ 7 w 85"/>
              <a:gd name="T51" fmla="*/ 57 h 87"/>
              <a:gd name="T52" fmla="*/ 8 w 85"/>
              <a:gd name="T53" fmla="*/ 64 h 87"/>
              <a:gd name="T54" fmla="*/ 8 w 85"/>
              <a:gd name="T55" fmla="*/ 66 h 87"/>
              <a:gd name="T56" fmla="*/ 8 w 85"/>
              <a:gd name="T57" fmla="*/ 66 h 87"/>
              <a:gd name="T58" fmla="*/ 10 w 85"/>
              <a:gd name="T59" fmla="*/ 69 h 87"/>
              <a:gd name="T60" fmla="*/ 16 w 85"/>
              <a:gd name="T61" fmla="*/ 75 h 87"/>
              <a:gd name="T62" fmla="*/ 18 w 85"/>
              <a:gd name="T63" fmla="*/ 77 h 87"/>
              <a:gd name="T64" fmla="*/ 22 w 85"/>
              <a:gd name="T65" fmla="*/ 77 h 87"/>
              <a:gd name="T66" fmla="*/ 31 w 85"/>
              <a:gd name="T67" fmla="*/ 78 h 87"/>
              <a:gd name="T68" fmla="*/ 36 w 85"/>
              <a:gd name="T69" fmla="*/ 81 h 87"/>
              <a:gd name="T70" fmla="*/ 37 w 85"/>
              <a:gd name="T71" fmla="*/ 85 h 87"/>
              <a:gd name="T72" fmla="*/ 39 w 85"/>
              <a:gd name="T73" fmla="*/ 87 h 87"/>
              <a:gd name="T74" fmla="*/ 40 w 85"/>
              <a:gd name="T75" fmla="*/ 87 h 87"/>
              <a:gd name="T76" fmla="*/ 41 w 85"/>
              <a:gd name="T77" fmla="*/ 85 h 87"/>
              <a:gd name="T78" fmla="*/ 43 w 85"/>
              <a:gd name="T79" fmla="*/ 83 h 87"/>
              <a:gd name="T80" fmla="*/ 47 w 85"/>
              <a:gd name="T81" fmla="*/ 83 h 87"/>
              <a:gd name="T82" fmla="*/ 54 w 85"/>
              <a:gd name="T83" fmla="*/ 77 h 87"/>
              <a:gd name="T84" fmla="*/ 60 w 85"/>
              <a:gd name="T85" fmla="*/ 70 h 87"/>
              <a:gd name="T86" fmla="*/ 71 w 85"/>
              <a:gd name="T87" fmla="*/ 47 h 87"/>
              <a:gd name="T88" fmla="*/ 72 w 85"/>
              <a:gd name="T89" fmla="*/ 39 h 87"/>
              <a:gd name="T90" fmla="*/ 79 w 85"/>
              <a:gd name="T91" fmla="*/ 15 h 87"/>
              <a:gd name="T92" fmla="*/ 85 w 85"/>
              <a:gd name="T93" fmla="*/ 0 h 87"/>
              <a:gd name="T94" fmla="*/ 83 w 85"/>
              <a:gd name="T95" fmla="*/ 1 h 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85" h="87">
                <a:moveTo>
                  <a:pt x="83" y="1"/>
                </a:moveTo>
                <a:cubicBezTo>
                  <a:pt x="83" y="1"/>
                  <a:pt x="82" y="2"/>
                  <a:pt x="80" y="2"/>
                </a:cubicBezTo>
                <a:cubicBezTo>
                  <a:pt x="79" y="2"/>
                  <a:pt x="79" y="2"/>
                  <a:pt x="78" y="2"/>
                </a:cubicBezTo>
                <a:cubicBezTo>
                  <a:pt x="74" y="2"/>
                  <a:pt x="74" y="2"/>
                  <a:pt x="74" y="2"/>
                </a:cubicBezTo>
                <a:cubicBezTo>
                  <a:pt x="74" y="3"/>
                  <a:pt x="74" y="4"/>
                  <a:pt x="73" y="4"/>
                </a:cubicBezTo>
                <a:cubicBezTo>
                  <a:pt x="70" y="4"/>
                  <a:pt x="70" y="4"/>
                  <a:pt x="70" y="4"/>
                </a:cubicBezTo>
                <a:cubicBezTo>
                  <a:pt x="70" y="5"/>
                  <a:pt x="70" y="6"/>
                  <a:pt x="69" y="6"/>
                </a:cubicBezTo>
                <a:cubicBezTo>
                  <a:pt x="65" y="7"/>
                  <a:pt x="65" y="7"/>
                  <a:pt x="65" y="7"/>
                </a:cubicBezTo>
                <a:cubicBezTo>
                  <a:pt x="65" y="8"/>
                  <a:pt x="65" y="9"/>
                  <a:pt x="64" y="9"/>
                </a:cubicBezTo>
                <a:cubicBezTo>
                  <a:pt x="63" y="9"/>
                  <a:pt x="63" y="9"/>
                  <a:pt x="63" y="9"/>
                </a:cubicBezTo>
                <a:cubicBezTo>
                  <a:pt x="60" y="9"/>
                  <a:pt x="60" y="9"/>
                  <a:pt x="60" y="9"/>
                </a:cubicBezTo>
                <a:cubicBezTo>
                  <a:pt x="53" y="10"/>
                  <a:pt x="53" y="10"/>
                  <a:pt x="53" y="10"/>
                </a:cubicBezTo>
                <a:cubicBezTo>
                  <a:pt x="53" y="11"/>
                  <a:pt x="52" y="11"/>
                  <a:pt x="52" y="11"/>
                </a:cubicBezTo>
                <a:cubicBezTo>
                  <a:pt x="50" y="10"/>
                  <a:pt x="50" y="10"/>
                  <a:pt x="50" y="10"/>
                </a:cubicBezTo>
                <a:cubicBezTo>
                  <a:pt x="48" y="9"/>
                  <a:pt x="48" y="9"/>
                  <a:pt x="48" y="9"/>
                </a:cubicBezTo>
                <a:cubicBezTo>
                  <a:pt x="47" y="9"/>
                  <a:pt x="47" y="9"/>
                  <a:pt x="47" y="9"/>
                </a:cubicBezTo>
                <a:cubicBezTo>
                  <a:pt x="45" y="7"/>
                  <a:pt x="45" y="7"/>
                  <a:pt x="45" y="7"/>
                </a:cubicBezTo>
                <a:cubicBezTo>
                  <a:pt x="44" y="6"/>
                  <a:pt x="44" y="6"/>
                  <a:pt x="44" y="6"/>
                </a:cubicBezTo>
                <a:cubicBezTo>
                  <a:pt x="44" y="5"/>
                  <a:pt x="44" y="4"/>
                  <a:pt x="43" y="4"/>
                </a:cubicBezTo>
                <a:cubicBezTo>
                  <a:pt x="42" y="3"/>
                  <a:pt x="42" y="3"/>
                  <a:pt x="42" y="2"/>
                </a:cubicBezTo>
                <a:cubicBezTo>
                  <a:pt x="41" y="2"/>
                  <a:pt x="41" y="2"/>
                  <a:pt x="41" y="2"/>
                </a:cubicBezTo>
                <a:cubicBezTo>
                  <a:pt x="39" y="1"/>
                  <a:pt x="39" y="1"/>
                  <a:pt x="39" y="1"/>
                </a:cubicBezTo>
                <a:cubicBezTo>
                  <a:pt x="39" y="1"/>
                  <a:pt x="39" y="1"/>
                  <a:pt x="38" y="1"/>
                </a:cubicBezTo>
                <a:cubicBezTo>
                  <a:pt x="37" y="0"/>
                  <a:pt x="37" y="0"/>
                  <a:pt x="37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29" y="2"/>
                  <a:pt x="29" y="2"/>
                  <a:pt x="29" y="2"/>
                </a:cubicBezTo>
                <a:cubicBezTo>
                  <a:pt x="29" y="2"/>
                  <a:pt x="29" y="2"/>
                  <a:pt x="29" y="2"/>
                </a:cubicBezTo>
                <a:cubicBezTo>
                  <a:pt x="27" y="2"/>
                  <a:pt x="27" y="2"/>
                  <a:pt x="27" y="2"/>
                </a:cubicBezTo>
                <a:cubicBezTo>
                  <a:pt x="26" y="3"/>
                  <a:pt x="26" y="3"/>
                  <a:pt x="26" y="3"/>
                </a:cubicBezTo>
                <a:cubicBezTo>
                  <a:pt x="25" y="4"/>
                  <a:pt x="25" y="5"/>
                  <a:pt x="24" y="6"/>
                </a:cubicBezTo>
                <a:cubicBezTo>
                  <a:pt x="24" y="6"/>
                  <a:pt x="24" y="6"/>
                  <a:pt x="24" y="7"/>
                </a:cubicBezTo>
                <a:cubicBezTo>
                  <a:pt x="24" y="8"/>
                  <a:pt x="23" y="9"/>
                  <a:pt x="22" y="10"/>
                </a:cubicBezTo>
                <a:cubicBezTo>
                  <a:pt x="22" y="11"/>
                  <a:pt x="21" y="11"/>
                  <a:pt x="21" y="12"/>
                </a:cubicBezTo>
                <a:cubicBezTo>
                  <a:pt x="22" y="16"/>
                  <a:pt x="22" y="16"/>
                  <a:pt x="22" y="16"/>
                </a:cubicBezTo>
                <a:cubicBezTo>
                  <a:pt x="22" y="17"/>
                  <a:pt x="22" y="17"/>
                  <a:pt x="22" y="17"/>
                </a:cubicBezTo>
                <a:cubicBezTo>
                  <a:pt x="22" y="19"/>
                  <a:pt x="22" y="19"/>
                  <a:pt x="22" y="19"/>
                </a:cubicBezTo>
                <a:cubicBezTo>
                  <a:pt x="22" y="20"/>
                  <a:pt x="22" y="20"/>
                  <a:pt x="21" y="21"/>
                </a:cubicBezTo>
                <a:cubicBezTo>
                  <a:pt x="21" y="22"/>
                  <a:pt x="20" y="23"/>
                  <a:pt x="19" y="26"/>
                </a:cubicBezTo>
                <a:cubicBezTo>
                  <a:pt x="18" y="28"/>
                  <a:pt x="16" y="30"/>
                  <a:pt x="14" y="29"/>
                </a:cubicBezTo>
                <a:cubicBezTo>
                  <a:pt x="14" y="29"/>
                  <a:pt x="13" y="29"/>
                  <a:pt x="13" y="28"/>
                </a:cubicBezTo>
                <a:cubicBezTo>
                  <a:pt x="9" y="31"/>
                  <a:pt x="9" y="31"/>
                  <a:pt x="9" y="31"/>
                </a:cubicBezTo>
                <a:cubicBezTo>
                  <a:pt x="5" y="33"/>
                  <a:pt x="5" y="33"/>
                  <a:pt x="5" y="33"/>
                </a:cubicBezTo>
                <a:cubicBezTo>
                  <a:pt x="4" y="33"/>
                  <a:pt x="3" y="34"/>
                  <a:pt x="1" y="33"/>
                </a:cubicBezTo>
                <a:cubicBezTo>
                  <a:pt x="1" y="34"/>
                  <a:pt x="1" y="35"/>
                  <a:pt x="0" y="36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37"/>
                  <a:pt x="0" y="37"/>
                  <a:pt x="0" y="37"/>
                </a:cubicBezTo>
                <a:cubicBezTo>
                  <a:pt x="1" y="37"/>
                  <a:pt x="1" y="38"/>
                  <a:pt x="1" y="38"/>
                </a:cubicBezTo>
                <a:cubicBezTo>
                  <a:pt x="5" y="41"/>
                  <a:pt x="5" y="41"/>
                  <a:pt x="5" y="41"/>
                </a:cubicBezTo>
                <a:cubicBezTo>
                  <a:pt x="6" y="41"/>
                  <a:pt x="6" y="41"/>
                  <a:pt x="6" y="41"/>
                </a:cubicBezTo>
                <a:cubicBezTo>
                  <a:pt x="7" y="43"/>
                  <a:pt x="7" y="43"/>
                  <a:pt x="7" y="43"/>
                </a:cubicBezTo>
                <a:cubicBezTo>
                  <a:pt x="7" y="44"/>
                  <a:pt x="7" y="44"/>
                  <a:pt x="7" y="44"/>
                </a:cubicBezTo>
                <a:cubicBezTo>
                  <a:pt x="7" y="57"/>
                  <a:pt x="7" y="57"/>
                  <a:pt x="7" y="57"/>
                </a:cubicBezTo>
                <a:cubicBezTo>
                  <a:pt x="8" y="58"/>
                  <a:pt x="8" y="60"/>
                  <a:pt x="7" y="62"/>
                </a:cubicBezTo>
                <a:cubicBezTo>
                  <a:pt x="8" y="62"/>
                  <a:pt x="8" y="63"/>
                  <a:pt x="8" y="64"/>
                </a:cubicBezTo>
                <a:cubicBezTo>
                  <a:pt x="8" y="64"/>
                  <a:pt x="8" y="64"/>
                  <a:pt x="8" y="64"/>
                </a:cubicBezTo>
                <a:cubicBezTo>
                  <a:pt x="8" y="65"/>
                  <a:pt x="8" y="65"/>
                  <a:pt x="8" y="66"/>
                </a:cubicBezTo>
                <a:cubicBezTo>
                  <a:pt x="8" y="66"/>
                  <a:pt x="8" y="66"/>
                  <a:pt x="8" y="66"/>
                </a:cubicBezTo>
                <a:cubicBezTo>
                  <a:pt x="8" y="66"/>
                  <a:pt x="8" y="66"/>
                  <a:pt x="8" y="66"/>
                </a:cubicBezTo>
                <a:cubicBezTo>
                  <a:pt x="9" y="67"/>
                  <a:pt x="10" y="68"/>
                  <a:pt x="10" y="68"/>
                </a:cubicBezTo>
                <a:cubicBezTo>
                  <a:pt x="10" y="69"/>
                  <a:pt x="10" y="69"/>
                  <a:pt x="10" y="69"/>
                </a:cubicBezTo>
                <a:cubicBezTo>
                  <a:pt x="15" y="74"/>
                  <a:pt x="15" y="74"/>
                  <a:pt x="15" y="74"/>
                </a:cubicBezTo>
                <a:cubicBezTo>
                  <a:pt x="15" y="74"/>
                  <a:pt x="16" y="74"/>
                  <a:pt x="16" y="75"/>
                </a:cubicBezTo>
                <a:cubicBezTo>
                  <a:pt x="17" y="77"/>
                  <a:pt x="17" y="77"/>
                  <a:pt x="17" y="77"/>
                </a:cubicBezTo>
                <a:cubicBezTo>
                  <a:pt x="18" y="77"/>
                  <a:pt x="18" y="77"/>
                  <a:pt x="18" y="77"/>
                </a:cubicBezTo>
                <a:cubicBezTo>
                  <a:pt x="19" y="77"/>
                  <a:pt x="19" y="77"/>
                  <a:pt x="19" y="77"/>
                </a:cubicBezTo>
                <a:cubicBezTo>
                  <a:pt x="22" y="77"/>
                  <a:pt x="22" y="77"/>
                  <a:pt x="22" y="77"/>
                </a:cubicBezTo>
                <a:cubicBezTo>
                  <a:pt x="23" y="77"/>
                  <a:pt x="24" y="78"/>
                  <a:pt x="24" y="78"/>
                </a:cubicBezTo>
                <a:cubicBezTo>
                  <a:pt x="31" y="78"/>
                  <a:pt x="31" y="78"/>
                  <a:pt x="31" y="78"/>
                </a:cubicBezTo>
                <a:cubicBezTo>
                  <a:pt x="32" y="78"/>
                  <a:pt x="33" y="79"/>
                  <a:pt x="34" y="80"/>
                </a:cubicBezTo>
                <a:cubicBezTo>
                  <a:pt x="35" y="80"/>
                  <a:pt x="35" y="81"/>
                  <a:pt x="36" y="81"/>
                </a:cubicBezTo>
                <a:cubicBezTo>
                  <a:pt x="36" y="81"/>
                  <a:pt x="38" y="82"/>
                  <a:pt x="38" y="83"/>
                </a:cubicBezTo>
                <a:cubicBezTo>
                  <a:pt x="38" y="84"/>
                  <a:pt x="38" y="85"/>
                  <a:pt x="37" y="85"/>
                </a:cubicBezTo>
                <a:cubicBezTo>
                  <a:pt x="37" y="85"/>
                  <a:pt x="38" y="86"/>
                  <a:pt x="38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40" y="87"/>
                  <a:pt x="40" y="87"/>
                  <a:pt x="40" y="87"/>
                </a:cubicBezTo>
                <a:cubicBezTo>
                  <a:pt x="40" y="87"/>
                  <a:pt x="40" y="87"/>
                  <a:pt x="40" y="87"/>
                </a:cubicBezTo>
                <a:cubicBezTo>
                  <a:pt x="40" y="87"/>
                  <a:pt x="40" y="87"/>
                  <a:pt x="40" y="87"/>
                </a:cubicBezTo>
                <a:cubicBezTo>
                  <a:pt x="41" y="85"/>
                  <a:pt x="41" y="85"/>
                  <a:pt x="41" y="85"/>
                </a:cubicBezTo>
                <a:cubicBezTo>
                  <a:pt x="42" y="84"/>
                  <a:pt x="42" y="84"/>
                  <a:pt x="42" y="84"/>
                </a:cubicBezTo>
                <a:cubicBezTo>
                  <a:pt x="43" y="83"/>
                  <a:pt x="43" y="83"/>
                  <a:pt x="43" y="83"/>
                </a:cubicBezTo>
                <a:cubicBezTo>
                  <a:pt x="44" y="83"/>
                  <a:pt x="44" y="83"/>
                  <a:pt x="44" y="83"/>
                </a:cubicBezTo>
                <a:cubicBezTo>
                  <a:pt x="47" y="83"/>
                  <a:pt x="47" y="83"/>
                  <a:pt x="47" y="83"/>
                </a:cubicBezTo>
                <a:cubicBezTo>
                  <a:pt x="48" y="83"/>
                  <a:pt x="48" y="83"/>
                  <a:pt x="48" y="83"/>
                </a:cubicBezTo>
                <a:cubicBezTo>
                  <a:pt x="54" y="77"/>
                  <a:pt x="54" y="77"/>
                  <a:pt x="54" y="77"/>
                </a:cubicBezTo>
                <a:cubicBezTo>
                  <a:pt x="56" y="75"/>
                  <a:pt x="56" y="75"/>
                  <a:pt x="56" y="75"/>
                </a:cubicBezTo>
                <a:cubicBezTo>
                  <a:pt x="60" y="70"/>
                  <a:pt x="60" y="70"/>
                  <a:pt x="60" y="70"/>
                </a:cubicBezTo>
                <a:cubicBezTo>
                  <a:pt x="66" y="60"/>
                  <a:pt x="66" y="60"/>
                  <a:pt x="66" y="60"/>
                </a:cubicBezTo>
                <a:cubicBezTo>
                  <a:pt x="71" y="47"/>
                  <a:pt x="71" y="47"/>
                  <a:pt x="71" y="47"/>
                </a:cubicBezTo>
                <a:cubicBezTo>
                  <a:pt x="71" y="45"/>
                  <a:pt x="71" y="45"/>
                  <a:pt x="71" y="45"/>
                </a:cubicBezTo>
                <a:cubicBezTo>
                  <a:pt x="72" y="39"/>
                  <a:pt x="72" y="39"/>
                  <a:pt x="72" y="39"/>
                </a:cubicBezTo>
                <a:cubicBezTo>
                  <a:pt x="72" y="37"/>
                  <a:pt x="72" y="37"/>
                  <a:pt x="72" y="37"/>
                </a:cubicBezTo>
                <a:cubicBezTo>
                  <a:pt x="79" y="15"/>
                  <a:pt x="79" y="15"/>
                  <a:pt x="79" y="15"/>
                </a:cubicBezTo>
                <a:cubicBezTo>
                  <a:pt x="82" y="9"/>
                  <a:pt x="82" y="9"/>
                  <a:pt x="82" y="9"/>
                </a:cubicBezTo>
                <a:cubicBezTo>
                  <a:pt x="85" y="0"/>
                  <a:pt x="85" y="0"/>
                  <a:pt x="85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0"/>
                  <a:pt x="84" y="0"/>
                  <a:pt x="83" y="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Freeform 15">
            <a:extLst>
              <a:ext uri="{FF2B5EF4-FFF2-40B4-BE49-F238E27FC236}">
                <a16:creationId xmlns:a16="http://schemas.microsoft.com/office/drawing/2014/main" id="{48B22276-427D-4EE2-BE98-701E5019CAAC}"/>
              </a:ext>
            </a:extLst>
          </p:cNvPr>
          <p:cNvSpPr>
            <a:spLocks/>
          </p:cNvSpPr>
          <p:nvPr/>
        </p:nvSpPr>
        <p:spPr bwMode="auto">
          <a:xfrm>
            <a:off x="4825219" y="1723554"/>
            <a:ext cx="517658" cy="342900"/>
          </a:xfrm>
          <a:custGeom>
            <a:avLst/>
            <a:gdLst>
              <a:gd name="T0" fmla="*/ 100 w 214"/>
              <a:gd name="T1" fmla="*/ 20 h 154"/>
              <a:gd name="T2" fmla="*/ 106 w 214"/>
              <a:gd name="T3" fmla="*/ 26 h 154"/>
              <a:gd name="T4" fmla="*/ 112 w 214"/>
              <a:gd name="T5" fmla="*/ 31 h 154"/>
              <a:gd name="T6" fmla="*/ 115 w 214"/>
              <a:gd name="T7" fmla="*/ 37 h 154"/>
              <a:gd name="T8" fmla="*/ 113 w 214"/>
              <a:gd name="T9" fmla="*/ 44 h 154"/>
              <a:gd name="T10" fmla="*/ 97 w 214"/>
              <a:gd name="T11" fmla="*/ 46 h 154"/>
              <a:gd name="T12" fmla="*/ 87 w 214"/>
              <a:gd name="T13" fmla="*/ 51 h 154"/>
              <a:gd name="T14" fmla="*/ 87 w 214"/>
              <a:gd name="T15" fmla="*/ 59 h 154"/>
              <a:gd name="T16" fmla="*/ 75 w 214"/>
              <a:gd name="T17" fmla="*/ 67 h 154"/>
              <a:gd name="T18" fmla="*/ 62 w 214"/>
              <a:gd name="T19" fmla="*/ 69 h 154"/>
              <a:gd name="T20" fmla="*/ 56 w 214"/>
              <a:gd name="T21" fmla="*/ 76 h 154"/>
              <a:gd name="T22" fmla="*/ 53 w 214"/>
              <a:gd name="T23" fmla="*/ 90 h 154"/>
              <a:gd name="T24" fmla="*/ 46 w 214"/>
              <a:gd name="T25" fmla="*/ 97 h 154"/>
              <a:gd name="T26" fmla="*/ 44 w 214"/>
              <a:gd name="T27" fmla="*/ 102 h 154"/>
              <a:gd name="T28" fmla="*/ 44 w 214"/>
              <a:gd name="T29" fmla="*/ 113 h 154"/>
              <a:gd name="T30" fmla="*/ 47 w 214"/>
              <a:gd name="T31" fmla="*/ 123 h 154"/>
              <a:gd name="T32" fmla="*/ 35 w 214"/>
              <a:gd name="T33" fmla="*/ 133 h 154"/>
              <a:gd name="T34" fmla="*/ 23 w 214"/>
              <a:gd name="T35" fmla="*/ 140 h 154"/>
              <a:gd name="T36" fmla="*/ 9 w 214"/>
              <a:gd name="T37" fmla="*/ 141 h 154"/>
              <a:gd name="T38" fmla="*/ 3 w 214"/>
              <a:gd name="T39" fmla="*/ 141 h 154"/>
              <a:gd name="T40" fmla="*/ 7 w 214"/>
              <a:gd name="T41" fmla="*/ 150 h 154"/>
              <a:gd name="T42" fmla="*/ 19 w 214"/>
              <a:gd name="T43" fmla="*/ 152 h 154"/>
              <a:gd name="T44" fmla="*/ 32 w 214"/>
              <a:gd name="T45" fmla="*/ 148 h 154"/>
              <a:gd name="T46" fmla="*/ 44 w 214"/>
              <a:gd name="T47" fmla="*/ 144 h 154"/>
              <a:gd name="T48" fmla="*/ 56 w 214"/>
              <a:gd name="T49" fmla="*/ 137 h 154"/>
              <a:gd name="T50" fmla="*/ 60 w 214"/>
              <a:gd name="T51" fmla="*/ 123 h 154"/>
              <a:gd name="T52" fmla="*/ 70 w 214"/>
              <a:gd name="T53" fmla="*/ 121 h 154"/>
              <a:gd name="T54" fmla="*/ 75 w 214"/>
              <a:gd name="T55" fmla="*/ 112 h 154"/>
              <a:gd name="T56" fmla="*/ 85 w 214"/>
              <a:gd name="T57" fmla="*/ 105 h 154"/>
              <a:gd name="T58" fmla="*/ 92 w 214"/>
              <a:gd name="T59" fmla="*/ 93 h 154"/>
              <a:gd name="T60" fmla="*/ 104 w 214"/>
              <a:gd name="T61" fmla="*/ 86 h 154"/>
              <a:gd name="T62" fmla="*/ 110 w 214"/>
              <a:gd name="T63" fmla="*/ 86 h 154"/>
              <a:gd name="T64" fmla="*/ 115 w 214"/>
              <a:gd name="T65" fmla="*/ 73 h 154"/>
              <a:gd name="T66" fmla="*/ 111 w 214"/>
              <a:gd name="T67" fmla="*/ 67 h 154"/>
              <a:gd name="T68" fmla="*/ 107 w 214"/>
              <a:gd name="T69" fmla="*/ 60 h 154"/>
              <a:gd name="T70" fmla="*/ 116 w 214"/>
              <a:gd name="T71" fmla="*/ 50 h 154"/>
              <a:gd name="T72" fmla="*/ 122 w 214"/>
              <a:gd name="T73" fmla="*/ 50 h 154"/>
              <a:gd name="T74" fmla="*/ 146 w 214"/>
              <a:gd name="T75" fmla="*/ 44 h 154"/>
              <a:gd name="T76" fmla="*/ 154 w 214"/>
              <a:gd name="T77" fmla="*/ 47 h 154"/>
              <a:gd name="T78" fmla="*/ 165 w 214"/>
              <a:gd name="T79" fmla="*/ 54 h 154"/>
              <a:gd name="T80" fmla="*/ 171 w 214"/>
              <a:gd name="T81" fmla="*/ 53 h 154"/>
              <a:gd name="T82" fmla="*/ 173 w 214"/>
              <a:gd name="T83" fmla="*/ 42 h 154"/>
              <a:gd name="T84" fmla="*/ 182 w 214"/>
              <a:gd name="T85" fmla="*/ 41 h 154"/>
              <a:gd name="T86" fmla="*/ 176 w 214"/>
              <a:gd name="T87" fmla="*/ 30 h 154"/>
              <a:gd name="T88" fmla="*/ 189 w 214"/>
              <a:gd name="T89" fmla="*/ 17 h 154"/>
              <a:gd name="T90" fmla="*/ 200 w 214"/>
              <a:gd name="T91" fmla="*/ 18 h 154"/>
              <a:gd name="T92" fmla="*/ 210 w 214"/>
              <a:gd name="T93" fmla="*/ 12 h 154"/>
              <a:gd name="T94" fmla="*/ 214 w 214"/>
              <a:gd name="T95" fmla="*/ 6 h 154"/>
              <a:gd name="T96" fmla="*/ 131 w 214"/>
              <a:gd name="T97" fmla="*/ 1 h 154"/>
              <a:gd name="T98" fmla="*/ 112 w 214"/>
              <a:gd name="T99" fmla="*/ 5 h 154"/>
              <a:gd name="T100" fmla="*/ 100 w 214"/>
              <a:gd name="T101" fmla="*/ 11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14" h="154">
                <a:moveTo>
                  <a:pt x="100" y="14"/>
                </a:moveTo>
                <a:cubicBezTo>
                  <a:pt x="100" y="16"/>
                  <a:pt x="100" y="16"/>
                  <a:pt x="100" y="16"/>
                </a:cubicBezTo>
                <a:cubicBezTo>
                  <a:pt x="100" y="16"/>
                  <a:pt x="100" y="16"/>
                  <a:pt x="100" y="16"/>
                </a:cubicBezTo>
                <a:cubicBezTo>
                  <a:pt x="100" y="17"/>
                  <a:pt x="100" y="17"/>
                  <a:pt x="100" y="17"/>
                </a:cubicBezTo>
                <a:cubicBezTo>
                  <a:pt x="101" y="18"/>
                  <a:pt x="100" y="19"/>
                  <a:pt x="100" y="20"/>
                </a:cubicBezTo>
                <a:cubicBezTo>
                  <a:pt x="101" y="22"/>
                  <a:pt x="101" y="22"/>
                  <a:pt x="101" y="22"/>
                </a:cubicBezTo>
                <a:cubicBezTo>
                  <a:pt x="104" y="24"/>
                  <a:pt x="104" y="24"/>
                  <a:pt x="104" y="24"/>
                </a:cubicBezTo>
                <a:cubicBezTo>
                  <a:pt x="104" y="24"/>
                  <a:pt x="104" y="24"/>
                  <a:pt x="104" y="24"/>
                </a:cubicBezTo>
                <a:cubicBezTo>
                  <a:pt x="105" y="26"/>
                  <a:pt x="105" y="26"/>
                  <a:pt x="105" y="26"/>
                </a:cubicBezTo>
                <a:cubicBezTo>
                  <a:pt x="106" y="26"/>
                  <a:pt x="106" y="26"/>
                  <a:pt x="106" y="26"/>
                </a:cubicBezTo>
                <a:cubicBezTo>
                  <a:pt x="107" y="26"/>
                  <a:pt x="107" y="26"/>
                  <a:pt x="107" y="26"/>
                </a:cubicBezTo>
                <a:cubicBezTo>
                  <a:pt x="108" y="26"/>
                  <a:pt x="108" y="26"/>
                  <a:pt x="108" y="26"/>
                </a:cubicBezTo>
                <a:cubicBezTo>
                  <a:pt x="109" y="26"/>
                  <a:pt x="110" y="27"/>
                  <a:pt x="111" y="28"/>
                </a:cubicBezTo>
                <a:cubicBezTo>
                  <a:pt x="111" y="29"/>
                  <a:pt x="111" y="29"/>
                  <a:pt x="111" y="29"/>
                </a:cubicBezTo>
                <a:cubicBezTo>
                  <a:pt x="111" y="30"/>
                  <a:pt x="112" y="31"/>
                  <a:pt x="112" y="31"/>
                </a:cubicBezTo>
                <a:cubicBezTo>
                  <a:pt x="112" y="32"/>
                  <a:pt x="112" y="32"/>
                  <a:pt x="112" y="33"/>
                </a:cubicBezTo>
                <a:cubicBezTo>
                  <a:pt x="112" y="33"/>
                  <a:pt x="112" y="34"/>
                  <a:pt x="113" y="36"/>
                </a:cubicBezTo>
                <a:cubicBezTo>
                  <a:pt x="113" y="36"/>
                  <a:pt x="113" y="36"/>
                  <a:pt x="113" y="36"/>
                </a:cubicBezTo>
                <a:cubicBezTo>
                  <a:pt x="114" y="36"/>
                  <a:pt x="114" y="37"/>
                  <a:pt x="115" y="37"/>
                </a:cubicBezTo>
                <a:cubicBezTo>
                  <a:pt x="115" y="37"/>
                  <a:pt x="115" y="37"/>
                  <a:pt x="115" y="37"/>
                </a:cubicBezTo>
                <a:cubicBezTo>
                  <a:pt x="115" y="37"/>
                  <a:pt x="115" y="38"/>
                  <a:pt x="116" y="38"/>
                </a:cubicBezTo>
                <a:cubicBezTo>
                  <a:pt x="116" y="38"/>
                  <a:pt x="116" y="38"/>
                  <a:pt x="116" y="38"/>
                </a:cubicBezTo>
                <a:cubicBezTo>
                  <a:pt x="117" y="37"/>
                  <a:pt x="118" y="38"/>
                  <a:pt x="118" y="39"/>
                </a:cubicBezTo>
                <a:cubicBezTo>
                  <a:pt x="118" y="39"/>
                  <a:pt x="119" y="41"/>
                  <a:pt x="118" y="43"/>
                </a:cubicBezTo>
                <a:cubicBezTo>
                  <a:pt x="118" y="46"/>
                  <a:pt x="114" y="45"/>
                  <a:pt x="113" y="44"/>
                </a:cubicBezTo>
                <a:cubicBezTo>
                  <a:pt x="113" y="44"/>
                  <a:pt x="113" y="44"/>
                  <a:pt x="112" y="44"/>
                </a:cubicBezTo>
                <a:cubicBezTo>
                  <a:pt x="103" y="44"/>
                  <a:pt x="103" y="44"/>
                  <a:pt x="103" y="44"/>
                </a:cubicBezTo>
                <a:cubicBezTo>
                  <a:pt x="100" y="46"/>
                  <a:pt x="100" y="46"/>
                  <a:pt x="100" y="46"/>
                </a:cubicBezTo>
                <a:cubicBezTo>
                  <a:pt x="99" y="46"/>
                  <a:pt x="99" y="46"/>
                  <a:pt x="99" y="46"/>
                </a:cubicBezTo>
                <a:cubicBezTo>
                  <a:pt x="99" y="46"/>
                  <a:pt x="98" y="46"/>
                  <a:pt x="97" y="46"/>
                </a:cubicBezTo>
                <a:cubicBezTo>
                  <a:pt x="97" y="46"/>
                  <a:pt x="97" y="47"/>
                  <a:pt x="96" y="47"/>
                </a:cubicBezTo>
                <a:cubicBezTo>
                  <a:pt x="93" y="50"/>
                  <a:pt x="93" y="50"/>
                  <a:pt x="93" y="50"/>
                </a:cubicBezTo>
                <a:cubicBezTo>
                  <a:pt x="93" y="51"/>
                  <a:pt x="92" y="51"/>
                  <a:pt x="91" y="50"/>
                </a:cubicBezTo>
                <a:cubicBezTo>
                  <a:pt x="90" y="50"/>
                  <a:pt x="90" y="50"/>
                  <a:pt x="90" y="50"/>
                </a:cubicBezTo>
                <a:cubicBezTo>
                  <a:pt x="89" y="51"/>
                  <a:pt x="88" y="51"/>
                  <a:pt x="87" y="51"/>
                </a:cubicBezTo>
                <a:cubicBezTo>
                  <a:pt x="84" y="51"/>
                  <a:pt x="84" y="51"/>
                  <a:pt x="84" y="51"/>
                </a:cubicBezTo>
                <a:cubicBezTo>
                  <a:pt x="84" y="51"/>
                  <a:pt x="84" y="51"/>
                  <a:pt x="85" y="51"/>
                </a:cubicBezTo>
                <a:cubicBezTo>
                  <a:pt x="86" y="52"/>
                  <a:pt x="86" y="53"/>
                  <a:pt x="87" y="55"/>
                </a:cubicBezTo>
                <a:cubicBezTo>
                  <a:pt x="87" y="56"/>
                  <a:pt x="87" y="56"/>
                  <a:pt x="87" y="56"/>
                </a:cubicBezTo>
                <a:cubicBezTo>
                  <a:pt x="88" y="58"/>
                  <a:pt x="87" y="59"/>
                  <a:pt x="87" y="59"/>
                </a:cubicBezTo>
                <a:cubicBezTo>
                  <a:pt x="86" y="60"/>
                  <a:pt x="85" y="60"/>
                  <a:pt x="85" y="60"/>
                </a:cubicBezTo>
                <a:cubicBezTo>
                  <a:pt x="84" y="61"/>
                  <a:pt x="82" y="62"/>
                  <a:pt x="82" y="63"/>
                </a:cubicBezTo>
                <a:cubicBezTo>
                  <a:pt x="80" y="65"/>
                  <a:pt x="78" y="64"/>
                  <a:pt x="77" y="64"/>
                </a:cubicBezTo>
                <a:cubicBezTo>
                  <a:pt x="76" y="65"/>
                  <a:pt x="76" y="65"/>
                  <a:pt x="76" y="65"/>
                </a:cubicBezTo>
                <a:cubicBezTo>
                  <a:pt x="76" y="66"/>
                  <a:pt x="76" y="67"/>
                  <a:pt x="75" y="67"/>
                </a:cubicBezTo>
                <a:cubicBezTo>
                  <a:pt x="75" y="67"/>
                  <a:pt x="73" y="67"/>
                  <a:pt x="70" y="67"/>
                </a:cubicBezTo>
                <a:cubicBezTo>
                  <a:pt x="69" y="67"/>
                  <a:pt x="69" y="67"/>
                  <a:pt x="69" y="67"/>
                </a:cubicBezTo>
                <a:cubicBezTo>
                  <a:pt x="69" y="67"/>
                  <a:pt x="68" y="67"/>
                  <a:pt x="67" y="67"/>
                </a:cubicBezTo>
                <a:cubicBezTo>
                  <a:pt x="65" y="67"/>
                  <a:pt x="64" y="68"/>
                  <a:pt x="63" y="68"/>
                </a:cubicBezTo>
                <a:cubicBezTo>
                  <a:pt x="63" y="68"/>
                  <a:pt x="63" y="69"/>
                  <a:pt x="62" y="69"/>
                </a:cubicBezTo>
                <a:cubicBezTo>
                  <a:pt x="62" y="71"/>
                  <a:pt x="62" y="71"/>
                  <a:pt x="62" y="71"/>
                </a:cubicBezTo>
                <a:cubicBezTo>
                  <a:pt x="62" y="72"/>
                  <a:pt x="61" y="74"/>
                  <a:pt x="59" y="74"/>
                </a:cubicBezTo>
                <a:cubicBezTo>
                  <a:pt x="59" y="74"/>
                  <a:pt x="59" y="74"/>
                  <a:pt x="59" y="74"/>
                </a:cubicBezTo>
                <a:cubicBezTo>
                  <a:pt x="59" y="76"/>
                  <a:pt x="58" y="76"/>
                  <a:pt x="57" y="76"/>
                </a:cubicBezTo>
                <a:cubicBezTo>
                  <a:pt x="56" y="76"/>
                  <a:pt x="56" y="76"/>
                  <a:pt x="56" y="76"/>
                </a:cubicBezTo>
                <a:cubicBezTo>
                  <a:pt x="56" y="83"/>
                  <a:pt x="56" y="83"/>
                  <a:pt x="56" y="83"/>
                </a:cubicBezTo>
                <a:cubicBezTo>
                  <a:pt x="56" y="85"/>
                  <a:pt x="56" y="86"/>
                  <a:pt x="55" y="86"/>
                </a:cubicBezTo>
                <a:cubicBezTo>
                  <a:pt x="55" y="86"/>
                  <a:pt x="55" y="86"/>
                  <a:pt x="55" y="87"/>
                </a:cubicBezTo>
                <a:cubicBezTo>
                  <a:pt x="55" y="87"/>
                  <a:pt x="55" y="88"/>
                  <a:pt x="54" y="88"/>
                </a:cubicBezTo>
                <a:cubicBezTo>
                  <a:pt x="54" y="89"/>
                  <a:pt x="53" y="90"/>
                  <a:pt x="53" y="90"/>
                </a:cubicBezTo>
                <a:cubicBezTo>
                  <a:pt x="53" y="91"/>
                  <a:pt x="52" y="92"/>
                  <a:pt x="51" y="93"/>
                </a:cubicBezTo>
                <a:cubicBezTo>
                  <a:pt x="50" y="93"/>
                  <a:pt x="50" y="93"/>
                  <a:pt x="50" y="93"/>
                </a:cubicBezTo>
                <a:cubicBezTo>
                  <a:pt x="50" y="94"/>
                  <a:pt x="50" y="94"/>
                  <a:pt x="50" y="94"/>
                </a:cubicBezTo>
                <a:cubicBezTo>
                  <a:pt x="50" y="94"/>
                  <a:pt x="50" y="95"/>
                  <a:pt x="49" y="95"/>
                </a:cubicBezTo>
                <a:cubicBezTo>
                  <a:pt x="49" y="95"/>
                  <a:pt x="48" y="96"/>
                  <a:pt x="46" y="97"/>
                </a:cubicBezTo>
                <a:cubicBezTo>
                  <a:pt x="46" y="98"/>
                  <a:pt x="47" y="98"/>
                  <a:pt x="46" y="99"/>
                </a:cubicBezTo>
                <a:cubicBezTo>
                  <a:pt x="46" y="99"/>
                  <a:pt x="46" y="100"/>
                  <a:pt x="45" y="101"/>
                </a:cubicBezTo>
                <a:cubicBezTo>
                  <a:pt x="45" y="101"/>
                  <a:pt x="44" y="101"/>
                  <a:pt x="43" y="101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44" y="102"/>
                  <a:pt x="44" y="102"/>
                  <a:pt x="44" y="102"/>
                </a:cubicBezTo>
                <a:cubicBezTo>
                  <a:pt x="44" y="102"/>
                  <a:pt x="45" y="102"/>
                  <a:pt x="45" y="103"/>
                </a:cubicBezTo>
                <a:cubicBezTo>
                  <a:pt x="47" y="103"/>
                  <a:pt x="47" y="104"/>
                  <a:pt x="46" y="107"/>
                </a:cubicBezTo>
                <a:cubicBezTo>
                  <a:pt x="46" y="108"/>
                  <a:pt x="46" y="108"/>
                  <a:pt x="46" y="108"/>
                </a:cubicBezTo>
                <a:cubicBezTo>
                  <a:pt x="46" y="111"/>
                  <a:pt x="46" y="111"/>
                  <a:pt x="46" y="111"/>
                </a:cubicBezTo>
                <a:cubicBezTo>
                  <a:pt x="46" y="112"/>
                  <a:pt x="45" y="113"/>
                  <a:pt x="44" y="113"/>
                </a:cubicBezTo>
                <a:cubicBezTo>
                  <a:pt x="44" y="113"/>
                  <a:pt x="44" y="113"/>
                  <a:pt x="44" y="113"/>
                </a:cubicBezTo>
                <a:cubicBezTo>
                  <a:pt x="44" y="113"/>
                  <a:pt x="44" y="114"/>
                  <a:pt x="45" y="114"/>
                </a:cubicBezTo>
                <a:cubicBezTo>
                  <a:pt x="45" y="115"/>
                  <a:pt x="45" y="115"/>
                  <a:pt x="45" y="115"/>
                </a:cubicBezTo>
                <a:cubicBezTo>
                  <a:pt x="45" y="116"/>
                  <a:pt x="46" y="117"/>
                  <a:pt x="46" y="118"/>
                </a:cubicBezTo>
                <a:cubicBezTo>
                  <a:pt x="47" y="121"/>
                  <a:pt x="48" y="122"/>
                  <a:pt x="47" y="123"/>
                </a:cubicBezTo>
                <a:cubicBezTo>
                  <a:pt x="47" y="125"/>
                  <a:pt x="47" y="127"/>
                  <a:pt x="45" y="127"/>
                </a:cubicBezTo>
                <a:cubicBezTo>
                  <a:pt x="44" y="128"/>
                  <a:pt x="41" y="130"/>
                  <a:pt x="39" y="131"/>
                </a:cubicBezTo>
                <a:cubicBezTo>
                  <a:pt x="38" y="131"/>
                  <a:pt x="38" y="132"/>
                  <a:pt x="37" y="132"/>
                </a:cubicBezTo>
                <a:cubicBezTo>
                  <a:pt x="37" y="132"/>
                  <a:pt x="36" y="132"/>
                  <a:pt x="36" y="133"/>
                </a:cubicBezTo>
                <a:cubicBezTo>
                  <a:pt x="35" y="133"/>
                  <a:pt x="35" y="133"/>
                  <a:pt x="35" y="133"/>
                </a:cubicBezTo>
                <a:cubicBezTo>
                  <a:pt x="35" y="134"/>
                  <a:pt x="34" y="135"/>
                  <a:pt x="33" y="135"/>
                </a:cubicBezTo>
                <a:cubicBezTo>
                  <a:pt x="32" y="134"/>
                  <a:pt x="31" y="134"/>
                  <a:pt x="31" y="135"/>
                </a:cubicBezTo>
                <a:cubicBezTo>
                  <a:pt x="30" y="135"/>
                  <a:pt x="29" y="135"/>
                  <a:pt x="28" y="135"/>
                </a:cubicBezTo>
                <a:cubicBezTo>
                  <a:pt x="27" y="136"/>
                  <a:pt x="27" y="136"/>
                  <a:pt x="27" y="136"/>
                </a:cubicBezTo>
                <a:cubicBezTo>
                  <a:pt x="27" y="136"/>
                  <a:pt x="25" y="139"/>
                  <a:pt x="23" y="140"/>
                </a:cubicBezTo>
                <a:cubicBezTo>
                  <a:pt x="23" y="140"/>
                  <a:pt x="23" y="140"/>
                  <a:pt x="22" y="140"/>
                </a:cubicBezTo>
                <a:cubicBezTo>
                  <a:pt x="19" y="140"/>
                  <a:pt x="19" y="140"/>
                  <a:pt x="19" y="140"/>
                </a:cubicBezTo>
                <a:cubicBezTo>
                  <a:pt x="17" y="140"/>
                  <a:pt x="14" y="140"/>
                  <a:pt x="13" y="140"/>
                </a:cubicBezTo>
                <a:cubicBezTo>
                  <a:pt x="12" y="140"/>
                  <a:pt x="12" y="140"/>
                  <a:pt x="12" y="140"/>
                </a:cubicBezTo>
                <a:cubicBezTo>
                  <a:pt x="12" y="140"/>
                  <a:pt x="11" y="141"/>
                  <a:pt x="9" y="141"/>
                </a:cubicBezTo>
                <a:cubicBezTo>
                  <a:pt x="8" y="141"/>
                  <a:pt x="8" y="141"/>
                  <a:pt x="7" y="141"/>
                </a:cubicBezTo>
                <a:cubicBezTo>
                  <a:pt x="7" y="141"/>
                  <a:pt x="7" y="141"/>
                  <a:pt x="7" y="141"/>
                </a:cubicBezTo>
                <a:cubicBezTo>
                  <a:pt x="7" y="141"/>
                  <a:pt x="7" y="141"/>
                  <a:pt x="7" y="141"/>
                </a:cubicBezTo>
                <a:cubicBezTo>
                  <a:pt x="6" y="142"/>
                  <a:pt x="5" y="142"/>
                  <a:pt x="5" y="141"/>
                </a:cubicBezTo>
                <a:cubicBezTo>
                  <a:pt x="4" y="141"/>
                  <a:pt x="4" y="141"/>
                  <a:pt x="3" y="141"/>
                </a:cubicBezTo>
                <a:cubicBezTo>
                  <a:pt x="3" y="141"/>
                  <a:pt x="3" y="142"/>
                  <a:pt x="2" y="142"/>
                </a:cubicBezTo>
                <a:cubicBezTo>
                  <a:pt x="1" y="143"/>
                  <a:pt x="1" y="146"/>
                  <a:pt x="0" y="148"/>
                </a:cubicBezTo>
                <a:cubicBezTo>
                  <a:pt x="5" y="148"/>
                  <a:pt x="5" y="148"/>
                  <a:pt x="5" y="148"/>
                </a:cubicBezTo>
                <a:cubicBezTo>
                  <a:pt x="5" y="148"/>
                  <a:pt x="5" y="148"/>
                  <a:pt x="6" y="148"/>
                </a:cubicBezTo>
                <a:cubicBezTo>
                  <a:pt x="7" y="150"/>
                  <a:pt x="7" y="150"/>
                  <a:pt x="7" y="150"/>
                </a:cubicBezTo>
                <a:cubicBezTo>
                  <a:pt x="12" y="150"/>
                  <a:pt x="12" y="150"/>
                  <a:pt x="12" y="150"/>
                </a:cubicBezTo>
                <a:cubicBezTo>
                  <a:pt x="12" y="150"/>
                  <a:pt x="12" y="150"/>
                  <a:pt x="13" y="150"/>
                </a:cubicBezTo>
                <a:cubicBezTo>
                  <a:pt x="15" y="151"/>
                  <a:pt x="15" y="151"/>
                  <a:pt x="15" y="151"/>
                </a:cubicBezTo>
                <a:cubicBezTo>
                  <a:pt x="18" y="151"/>
                  <a:pt x="18" y="151"/>
                  <a:pt x="18" y="151"/>
                </a:cubicBezTo>
                <a:cubicBezTo>
                  <a:pt x="19" y="151"/>
                  <a:pt x="19" y="151"/>
                  <a:pt x="19" y="152"/>
                </a:cubicBezTo>
                <a:cubicBezTo>
                  <a:pt x="23" y="154"/>
                  <a:pt x="23" y="154"/>
                  <a:pt x="23" y="154"/>
                </a:cubicBezTo>
                <a:cubicBezTo>
                  <a:pt x="23" y="154"/>
                  <a:pt x="23" y="154"/>
                  <a:pt x="23" y="154"/>
                </a:cubicBezTo>
                <a:cubicBezTo>
                  <a:pt x="24" y="153"/>
                  <a:pt x="24" y="151"/>
                  <a:pt x="26" y="151"/>
                </a:cubicBezTo>
                <a:cubicBezTo>
                  <a:pt x="27" y="151"/>
                  <a:pt x="27" y="151"/>
                  <a:pt x="27" y="151"/>
                </a:cubicBezTo>
                <a:cubicBezTo>
                  <a:pt x="28" y="150"/>
                  <a:pt x="31" y="149"/>
                  <a:pt x="32" y="148"/>
                </a:cubicBezTo>
                <a:cubicBezTo>
                  <a:pt x="32" y="148"/>
                  <a:pt x="33" y="148"/>
                  <a:pt x="34" y="147"/>
                </a:cubicBezTo>
                <a:cubicBezTo>
                  <a:pt x="34" y="147"/>
                  <a:pt x="35" y="147"/>
                  <a:pt x="36" y="146"/>
                </a:cubicBezTo>
                <a:cubicBezTo>
                  <a:pt x="37" y="146"/>
                  <a:pt x="37" y="144"/>
                  <a:pt x="37" y="144"/>
                </a:cubicBezTo>
                <a:cubicBezTo>
                  <a:pt x="38" y="144"/>
                  <a:pt x="38" y="144"/>
                  <a:pt x="39" y="144"/>
                </a:cubicBezTo>
                <a:cubicBezTo>
                  <a:pt x="44" y="144"/>
                  <a:pt x="44" y="144"/>
                  <a:pt x="44" y="144"/>
                </a:cubicBezTo>
                <a:cubicBezTo>
                  <a:pt x="45" y="143"/>
                  <a:pt x="46" y="142"/>
                  <a:pt x="48" y="142"/>
                </a:cubicBezTo>
                <a:cubicBezTo>
                  <a:pt x="54" y="142"/>
                  <a:pt x="54" y="142"/>
                  <a:pt x="54" y="142"/>
                </a:cubicBezTo>
                <a:cubicBezTo>
                  <a:pt x="58" y="140"/>
                  <a:pt x="58" y="140"/>
                  <a:pt x="58" y="140"/>
                </a:cubicBezTo>
                <a:cubicBezTo>
                  <a:pt x="57" y="140"/>
                  <a:pt x="57" y="140"/>
                  <a:pt x="57" y="140"/>
                </a:cubicBezTo>
                <a:cubicBezTo>
                  <a:pt x="57" y="139"/>
                  <a:pt x="56" y="138"/>
                  <a:pt x="56" y="137"/>
                </a:cubicBezTo>
                <a:cubicBezTo>
                  <a:pt x="54" y="134"/>
                  <a:pt x="53" y="132"/>
                  <a:pt x="53" y="131"/>
                </a:cubicBezTo>
                <a:cubicBezTo>
                  <a:pt x="53" y="130"/>
                  <a:pt x="53" y="129"/>
                  <a:pt x="53" y="128"/>
                </a:cubicBezTo>
                <a:cubicBezTo>
                  <a:pt x="54" y="127"/>
                  <a:pt x="55" y="125"/>
                  <a:pt x="55" y="124"/>
                </a:cubicBezTo>
                <a:cubicBezTo>
                  <a:pt x="56" y="123"/>
                  <a:pt x="56" y="123"/>
                  <a:pt x="56" y="123"/>
                </a:cubicBezTo>
                <a:cubicBezTo>
                  <a:pt x="60" y="123"/>
                  <a:pt x="60" y="123"/>
                  <a:pt x="60" y="123"/>
                </a:cubicBezTo>
                <a:cubicBezTo>
                  <a:pt x="61" y="123"/>
                  <a:pt x="62" y="123"/>
                  <a:pt x="62" y="124"/>
                </a:cubicBezTo>
                <a:cubicBezTo>
                  <a:pt x="63" y="123"/>
                  <a:pt x="63" y="123"/>
                  <a:pt x="63" y="123"/>
                </a:cubicBezTo>
                <a:cubicBezTo>
                  <a:pt x="70" y="123"/>
                  <a:pt x="70" y="123"/>
                  <a:pt x="70" y="123"/>
                </a:cubicBezTo>
                <a:cubicBezTo>
                  <a:pt x="70" y="123"/>
                  <a:pt x="70" y="123"/>
                  <a:pt x="70" y="123"/>
                </a:cubicBezTo>
                <a:cubicBezTo>
                  <a:pt x="70" y="123"/>
                  <a:pt x="70" y="122"/>
                  <a:pt x="70" y="121"/>
                </a:cubicBezTo>
                <a:cubicBezTo>
                  <a:pt x="71" y="118"/>
                  <a:pt x="71" y="118"/>
                  <a:pt x="71" y="118"/>
                </a:cubicBezTo>
                <a:cubicBezTo>
                  <a:pt x="71" y="114"/>
                  <a:pt x="71" y="114"/>
                  <a:pt x="71" y="114"/>
                </a:cubicBezTo>
                <a:cubicBezTo>
                  <a:pt x="71" y="113"/>
                  <a:pt x="72" y="112"/>
                  <a:pt x="73" y="112"/>
                </a:cubicBezTo>
                <a:cubicBezTo>
                  <a:pt x="74" y="112"/>
                  <a:pt x="74" y="112"/>
                  <a:pt x="74" y="112"/>
                </a:cubicBezTo>
                <a:cubicBezTo>
                  <a:pt x="74" y="112"/>
                  <a:pt x="74" y="112"/>
                  <a:pt x="75" y="112"/>
                </a:cubicBezTo>
                <a:cubicBezTo>
                  <a:pt x="76" y="110"/>
                  <a:pt x="77" y="109"/>
                  <a:pt x="78" y="109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3" y="105"/>
                  <a:pt x="84" y="105"/>
                  <a:pt x="84" y="106"/>
                </a:cubicBezTo>
                <a:cubicBezTo>
                  <a:pt x="84" y="106"/>
                  <a:pt x="84" y="106"/>
                  <a:pt x="84" y="106"/>
                </a:cubicBezTo>
                <a:cubicBezTo>
                  <a:pt x="85" y="105"/>
                  <a:pt x="85" y="105"/>
                  <a:pt x="85" y="105"/>
                </a:cubicBezTo>
                <a:cubicBezTo>
                  <a:pt x="85" y="104"/>
                  <a:pt x="86" y="103"/>
                  <a:pt x="88" y="102"/>
                </a:cubicBezTo>
                <a:cubicBezTo>
                  <a:pt x="89" y="102"/>
                  <a:pt x="89" y="102"/>
                  <a:pt x="89" y="102"/>
                </a:cubicBezTo>
                <a:cubicBezTo>
                  <a:pt x="88" y="101"/>
                  <a:pt x="89" y="99"/>
                  <a:pt x="89" y="98"/>
                </a:cubicBezTo>
                <a:cubicBezTo>
                  <a:pt x="92" y="95"/>
                  <a:pt x="92" y="95"/>
                  <a:pt x="92" y="95"/>
                </a:cubicBezTo>
                <a:cubicBezTo>
                  <a:pt x="92" y="93"/>
                  <a:pt x="92" y="93"/>
                  <a:pt x="92" y="93"/>
                </a:cubicBezTo>
                <a:cubicBezTo>
                  <a:pt x="92" y="92"/>
                  <a:pt x="92" y="92"/>
                  <a:pt x="92" y="91"/>
                </a:cubicBezTo>
                <a:cubicBezTo>
                  <a:pt x="97" y="86"/>
                  <a:pt x="97" y="86"/>
                  <a:pt x="97" y="86"/>
                </a:cubicBezTo>
                <a:cubicBezTo>
                  <a:pt x="98" y="85"/>
                  <a:pt x="98" y="85"/>
                  <a:pt x="98" y="85"/>
                </a:cubicBezTo>
                <a:cubicBezTo>
                  <a:pt x="104" y="85"/>
                  <a:pt x="104" y="85"/>
                  <a:pt x="104" y="85"/>
                </a:cubicBezTo>
                <a:cubicBezTo>
                  <a:pt x="104" y="86"/>
                  <a:pt x="104" y="86"/>
                  <a:pt x="104" y="86"/>
                </a:cubicBezTo>
                <a:cubicBezTo>
                  <a:pt x="108" y="87"/>
                  <a:pt x="108" y="87"/>
                  <a:pt x="108" y="87"/>
                </a:cubicBezTo>
                <a:cubicBezTo>
                  <a:pt x="108" y="87"/>
                  <a:pt x="108" y="87"/>
                  <a:pt x="108" y="87"/>
                </a:cubicBezTo>
                <a:cubicBezTo>
                  <a:pt x="109" y="87"/>
                  <a:pt x="110" y="87"/>
                  <a:pt x="110" y="88"/>
                </a:cubicBezTo>
                <a:cubicBezTo>
                  <a:pt x="111" y="87"/>
                  <a:pt x="111" y="87"/>
                  <a:pt x="111" y="87"/>
                </a:cubicBezTo>
                <a:cubicBezTo>
                  <a:pt x="111" y="87"/>
                  <a:pt x="111" y="86"/>
                  <a:pt x="110" y="86"/>
                </a:cubicBezTo>
                <a:cubicBezTo>
                  <a:pt x="110" y="85"/>
                  <a:pt x="110" y="84"/>
                  <a:pt x="111" y="83"/>
                </a:cubicBezTo>
                <a:cubicBezTo>
                  <a:pt x="112" y="81"/>
                  <a:pt x="114" y="79"/>
                  <a:pt x="114" y="79"/>
                </a:cubicBezTo>
                <a:cubicBezTo>
                  <a:pt x="114" y="79"/>
                  <a:pt x="114" y="79"/>
                  <a:pt x="114" y="79"/>
                </a:cubicBezTo>
                <a:cubicBezTo>
                  <a:pt x="113" y="78"/>
                  <a:pt x="114" y="77"/>
                  <a:pt x="114" y="75"/>
                </a:cubicBezTo>
                <a:cubicBezTo>
                  <a:pt x="114" y="74"/>
                  <a:pt x="115" y="73"/>
                  <a:pt x="115" y="73"/>
                </a:cubicBezTo>
                <a:cubicBezTo>
                  <a:pt x="115" y="73"/>
                  <a:pt x="115" y="73"/>
                  <a:pt x="115" y="72"/>
                </a:cubicBezTo>
                <a:cubicBezTo>
                  <a:pt x="115" y="70"/>
                  <a:pt x="115" y="70"/>
                  <a:pt x="115" y="70"/>
                </a:cubicBezTo>
                <a:cubicBezTo>
                  <a:pt x="115" y="69"/>
                  <a:pt x="115" y="69"/>
                  <a:pt x="115" y="69"/>
                </a:cubicBezTo>
                <a:cubicBezTo>
                  <a:pt x="114" y="68"/>
                  <a:pt x="113" y="67"/>
                  <a:pt x="112" y="67"/>
                </a:cubicBezTo>
                <a:cubicBezTo>
                  <a:pt x="112" y="67"/>
                  <a:pt x="112" y="67"/>
                  <a:pt x="111" y="67"/>
                </a:cubicBezTo>
                <a:cubicBezTo>
                  <a:pt x="111" y="66"/>
                  <a:pt x="110" y="65"/>
                  <a:pt x="109" y="65"/>
                </a:cubicBezTo>
                <a:cubicBezTo>
                  <a:pt x="108" y="65"/>
                  <a:pt x="108" y="65"/>
                  <a:pt x="108" y="65"/>
                </a:cubicBezTo>
                <a:cubicBezTo>
                  <a:pt x="108" y="65"/>
                  <a:pt x="107" y="64"/>
                  <a:pt x="107" y="63"/>
                </a:cubicBezTo>
                <a:cubicBezTo>
                  <a:pt x="107" y="61"/>
                  <a:pt x="107" y="61"/>
                  <a:pt x="107" y="61"/>
                </a:cubicBezTo>
                <a:cubicBezTo>
                  <a:pt x="106" y="61"/>
                  <a:pt x="106" y="60"/>
                  <a:pt x="107" y="60"/>
                </a:cubicBezTo>
                <a:cubicBezTo>
                  <a:pt x="107" y="60"/>
                  <a:pt x="108" y="57"/>
                  <a:pt x="109" y="56"/>
                </a:cubicBezTo>
                <a:cubicBezTo>
                  <a:pt x="109" y="56"/>
                  <a:pt x="109" y="55"/>
                  <a:pt x="110" y="55"/>
                </a:cubicBezTo>
                <a:cubicBezTo>
                  <a:pt x="110" y="55"/>
                  <a:pt x="110" y="55"/>
                  <a:pt x="110" y="55"/>
                </a:cubicBezTo>
                <a:cubicBezTo>
                  <a:pt x="111" y="53"/>
                  <a:pt x="113" y="52"/>
                  <a:pt x="114" y="52"/>
                </a:cubicBezTo>
                <a:cubicBezTo>
                  <a:pt x="116" y="50"/>
                  <a:pt x="116" y="50"/>
                  <a:pt x="116" y="50"/>
                </a:cubicBezTo>
                <a:cubicBezTo>
                  <a:pt x="116" y="50"/>
                  <a:pt x="116" y="50"/>
                  <a:pt x="116" y="50"/>
                </a:cubicBezTo>
                <a:cubicBezTo>
                  <a:pt x="120" y="50"/>
                  <a:pt x="120" y="50"/>
                  <a:pt x="120" y="50"/>
                </a:cubicBezTo>
                <a:cubicBezTo>
                  <a:pt x="121" y="50"/>
                  <a:pt x="121" y="50"/>
                  <a:pt x="121" y="50"/>
                </a:cubicBezTo>
                <a:cubicBezTo>
                  <a:pt x="121" y="50"/>
                  <a:pt x="121" y="50"/>
                  <a:pt x="121" y="50"/>
                </a:cubicBezTo>
                <a:cubicBezTo>
                  <a:pt x="121" y="50"/>
                  <a:pt x="122" y="51"/>
                  <a:pt x="122" y="50"/>
                </a:cubicBezTo>
                <a:cubicBezTo>
                  <a:pt x="123" y="50"/>
                  <a:pt x="125" y="50"/>
                  <a:pt x="126" y="50"/>
                </a:cubicBezTo>
                <a:cubicBezTo>
                  <a:pt x="127" y="50"/>
                  <a:pt x="127" y="50"/>
                  <a:pt x="127" y="50"/>
                </a:cubicBezTo>
                <a:cubicBezTo>
                  <a:pt x="138" y="50"/>
                  <a:pt x="138" y="50"/>
                  <a:pt x="138" y="50"/>
                </a:cubicBezTo>
                <a:cubicBezTo>
                  <a:pt x="139" y="47"/>
                  <a:pt x="141" y="45"/>
                  <a:pt x="142" y="44"/>
                </a:cubicBezTo>
                <a:cubicBezTo>
                  <a:pt x="143" y="44"/>
                  <a:pt x="145" y="44"/>
                  <a:pt x="146" y="44"/>
                </a:cubicBezTo>
                <a:cubicBezTo>
                  <a:pt x="147" y="44"/>
                  <a:pt x="147" y="44"/>
                  <a:pt x="147" y="44"/>
                </a:cubicBezTo>
                <a:cubicBezTo>
                  <a:pt x="148" y="44"/>
                  <a:pt x="149" y="44"/>
                  <a:pt x="149" y="45"/>
                </a:cubicBezTo>
                <a:cubicBezTo>
                  <a:pt x="149" y="45"/>
                  <a:pt x="150" y="46"/>
                  <a:pt x="150" y="47"/>
                </a:cubicBezTo>
                <a:cubicBezTo>
                  <a:pt x="151" y="47"/>
                  <a:pt x="151" y="47"/>
                  <a:pt x="151" y="47"/>
                </a:cubicBezTo>
                <a:cubicBezTo>
                  <a:pt x="154" y="47"/>
                  <a:pt x="154" y="47"/>
                  <a:pt x="154" y="47"/>
                </a:cubicBezTo>
                <a:cubicBezTo>
                  <a:pt x="155" y="47"/>
                  <a:pt x="157" y="47"/>
                  <a:pt x="158" y="47"/>
                </a:cubicBezTo>
                <a:cubicBezTo>
                  <a:pt x="159" y="47"/>
                  <a:pt x="161" y="47"/>
                  <a:pt x="162" y="49"/>
                </a:cubicBezTo>
                <a:cubicBezTo>
                  <a:pt x="164" y="51"/>
                  <a:pt x="164" y="51"/>
                  <a:pt x="164" y="51"/>
                </a:cubicBezTo>
                <a:cubicBezTo>
                  <a:pt x="165" y="52"/>
                  <a:pt x="165" y="52"/>
                  <a:pt x="165" y="53"/>
                </a:cubicBezTo>
                <a:cubicBezTo>
                  <a:pt x="165" y="54"/>
                  <a:pt x="165" y="54"/>
                  <a:pt x="165" y="54"/>
                </a:cubicBezTo>
                <a:cubicBezTo>
                  <a:pt x="165" y="55"/>
                  <a:pt x="165" y="55"/>
                  <a:pt x="166" y="56"/>
                </a:cubicBezTo>
                <a:cubicBezTo>
                  <a:pt x="167" y="56"/>
                  <a:pt x="167" y="56"/>
                  <a:pt x="167" y="56"/>
                </a:cubicBezTo>
                <a:cubicBezTo>
                  <a:pt x="170" y="56"/>
                  <a:pt x="170" y="56"/>
                  <a:pt x="170" y="56"/>
                </a:cubicBezTo>
                <a:cubicBezTo>
                  <a:pt x="171" y="56"/>
                  <a:pt x="171" y="56"/>
                  <a:pt x="171" y="56"/>
                </a:cubicBezTo>
                <a:cubicBezTo>
                  <a:pt x="171" y="53"/>
                  <a:pt x="171" y="53"/>
                  <a:pt x="171" y="53"/>
                </a:cubicBezTo>
                <a:cubicBezTo>
                  <a:pt x="171" y="53"/>
                  <a:pt x="170" y="52"/>
                  <a:pt x="170" y="51"/>
                </a:cubicBezTo>
                <a:cubicBezTo>
                  <a:pt x="171" y="50"/>
                  <a:pt x="171" y="49"/>
                  <a:pt x="172" y="48"/>
                </a:cubicBezTo>
                <a:cubicBezTo>
                  <a:pt x="172" y="48"/>
                  <a:pt x="173" y="47"/>
                  <a:pt x="173" y="46"/>
                </a:cubicBezTo>
                <a:cubicBezTo>
                  <a:pt x="173" y="44"/>
                  <a:pt x="173" y="44"/>
                  <a:pt x="173" y="44"/>
                </a:cubicBezTo>
                <a:cubicBezTo>
                  <a:pt x="173" y="43"/>
                  <a:pt x="173" y="43"/>
                  <a:pt x="173" y="42"/>
                </a:cubicBezTo>
                <a:cubicBezTo>
                  <a:pt x="174" y="42"/>
                  <a:pt x="175" y="42"/>
                  <a:pt x="175" y="42"/>
                </a:cubicBezTo>
                <a:cubicBezTo>
                  <a:pt x="175" y="42"/>
                  <a:pt x="177" y="42"/>
                  <a:pt x="180" y="42"/>
                </a:cubicBezTo>
                <a:cubicBezTo>
                  <a:pt x="181" y="42"/>
                  <a:pt x="181" y="42"/>
                  <a:pt x="182" y="42"/>
                </a:cubicBezTo>
                <a:cubicBezTo>
                  <a:pt x="182" y="41"/>
                  <a:pt x="182" y="41"/>
                  <a:pt x="182" y="41"/>
                </a:cubicBezTo>
                <a:cubicBezTo>
                  <a:pt x="182" y="41"/>
                  <a:pt x="182" y="41"/>
                  <a:pt x="182" y="41"/>
                </a:cubicBezTo>
                <a:cubicBezTo>
                  <a:pt x="182" y="41"/>
                  <a:pt x="182" y="40"/>
                  <a:pt x="182" y="39"/>
                </a:cubicBezTo>
                <a:cubicBezTo>
                  <a:pt x="181" y="37"/>
                  <a:pt x="181" y="37"/>
                  <a:pt x="180" y="36"/>
                </a:cubicBezTo>
                <a:cubicBezTo>
                  <a:pt x="179" y="35"/>
                  <a:pt x="179" y="35"/>
                  <a:pt x="179" y="35"/>
                </a:cubicBezTo>
                <a:cubicBezTo>
                  <a:pt x="179" y="35"/>
                  <a:pt x="179" y="35"/>
                  <a:pt x="178" y="35"/>
                </a:cubicBezTo>
                <a:cubicBezTo>
                  <a:pt x="177" y="34"/>
                  <a:pt x="176" y="32"/>
                  <a:pt x="176" y="30"/>
                </a:cubicBezTo>
                <a:cubicBezTo>
                  <a:pt x="176" y="28"/>
                  <a:pt x="176" y="27"/>
                  <a:pt x="176" y="27"/>
                </a:cubicBezTo>
                <a:cubicBezTo>
                  <a:pt x="176" y="26"/>
                  <a:pt x="176" y="25"/>
                  <a:pt x="177" y="24"/>
                </a:cubicBezTo>
                <a:cubicBezTo>
                  <a:pt x="177" y="22"/>
                  <a:pt x="178" y="19"/>
                  <a:pt x="178" y="19"/>
                </a:cubicBezTo>
                <a:cubicBezTo>
                  <a:pt x="178" y="18"/>
                  <a:pt x="179" y="17"/>
                  <a:pt x="180" y="17"/>
                </a:cubicBezTo>
                <a:cubicBezTo>
                  <a:pt x="189" y="17"/>
                  <a:pt x="189" y="17"/>
                  <a:pt x="189" y="17"/>
                </a:cubicBezTo>
                <a:cubicBezTo>
                  <a:pt x="190" y="17"/>
                  <a:pt x="190" y="18"/>
                  <a:pt x="190" y="18"/>
                </a:cubicBezTo>
                <a:cubicBezTo>
                  <a:pt x="193" y="20"/>
                  <a:pt x="193" y="20"/>
                  <a:pt x="193" y="20"/>
                </a:cubicBezTo>
                <a:cubicBezTo>
                  <a:pt x="198" y="18"/>
                  <a:pt x="198" y="18"/>
                  <a:pt x="198" y="18"/>
                </a:cubicBezTo>
                <a:cubicBezTo>
                  <a:pt x="198" y="18"/>
                  <a:pt x="198" y="18"/>
                  <a:pt x="198" y="18"/>
                </a:cubicBezTo>
                <a:cubicBezTo>
                  <a:pt x="199" y="17"/>
                  <a:pt x="200" y="17"/>
                  <a:pt x="200" y="18"/>
                </a:cubicBezTo>
                <a:cubicBezTo>
                  <a:pt x="202" y="18"/>
                  <a:pt x="203" y="18"/>
                  <a:pt x="204" y="18"/>
                </a:cubicBezTo>
                <a:cubicBezTo>
                  <a:pt x="204" y="17"/>
                  <a:pt x="205" y="17"/>
                  <a:pt x="205" y="16"/>
                </a:cubicBezTo>
                <a:cubicBezTo>
                  <a:pt x="206" y="15"/>
                  <a:pt x="207" y="15"/>
                  <a:pt x="209" y="15"/>
                </a:cubicBezTo>
                <a:cubicBezTo>
                  <a:pt x="209" y="15"/>
                  <a:pt x="210" y="15"/>
                  <a:pt x="210" y="14"/>
                </a:cubicBezTo>
                <a:cubicBezTo>
                  <a:pt x="210" y="14"/>
                  <a:pt x="210" y="13"/>
                  <a:pt x="210" y="12"/>
                </a:cubicBezTo>
                <a:cubicBezTo>
                  <a:pt x="210" y="12"/>
                  <a:pt x="211" y="10"/>
                  <a:pt x="213" y="9"/>
                </a:cubicBezTo>
                <a:cubicBezTo>
                  <a:pt x="213" y="9"/>
                  <a:pt x="213" y="9"/>
                  <a:pt x="213" y="9"/>
                </a:cubicBezTo>
                <a:cubicBezTo>
                  <a:pt x="213" y="8"/>
                  <a:pt x="213" y="8"/>
                  <a:pt x="213" y="8"/>
                </a:cubicBezTo>
                <a:cubicBezTo>
                  <a:pt x="213" y="7"/>
                  <a:pt x="213" y="7"/>
                  <a:pt x="214" y="6"/>
                </a:cubicBezTo>
                <a:cubicBezTo>
                  <a:pt x="214" y="6"/>
                  <a:pt x="214" y="6"/>
                  <a:pt x="214" y="6"/>
                </a:cubicBezTo>
                <a:cubicBezTo>
                  <a:pt x="213" y="7"/>
                  <a:pt x="213" y="7"/>
                  <a:pt x="213" y="7"/>
                </a:cubicBezTo>
                <a:cubicBezTo>
                  <a:pt x="169" y="9"/>
                  <a:pt x="169" y="9"/>
                  <a:pt x="169" y="9"/>
                </a:cubicBezTo>
                <a:cubicBezTo>
                  <a:pt x="163" y="8"/>
                  <a:pt x="163" y="8"/>
                  <a:pt x="163" y="8"/>
                </a:cubicBezTo>
                <a:cubicBezTo>
                  <a:pt x="137" y="4"/>
                  <a:pt x="137" y="4"/>
                  <a:pt x="137" y="4"/>
                </a:cubicBezTo>
                <a:cubicBezTo>
                  <a:pt x="131" y="1"/>
                  <a:pt x="131" y="1"/>
                  <a:pt x="131" y="1"/>
                </a:cubicBezTo>
                <a:cubicBezTo>
                  <a:pt x="122" y="0"/>
                  <a:pt x="122" y="0"/>
                  <a:pt x="122" y="0"/>
                </a:cubicBezTo>
                <a:cubicBezTo>
                  <a:pt x="113" y="3"/>
                  <a:pt x="113" y="3"/>
                  <a:pt x="113" y="3"/>
                </a:cubicBezTo>
                <a:cubicBezTo>
                  <a:pt x="112" y="4"/>
                  <a:pt x="112" y="4"/>
                  <a:pt x="112" y="4"/>
                </a:cubicBezTo>
                <a:cubicBezTo>
                  <a:pt x="112" y="4"/>
                  <a:pt x="112" y="4"/>
                  <a:pt x="112" y="4"/>
                </a:cubicBezTo>
                <a:cubicBezTo>
                  <a:pt x="112" y="5"/>
                  <a:pt x="112" y="5"/>
                  <a:pt x="112" y="5"/>
                </a:cubicBezTo>
                <a:cubicBezTo>
                  <a:pt x="111" y="6"/>
                  <a:pt x="111" y="6"/>
                  <a:pt x="111" y="6"/>
                </a:cubicBezTo>
                <a:cubicBezTo>
                  <a:pt x="109" y="8"/>
                  <a:pt x="109" y="8"/>
                  <a:pt x="109" y="8"/>
                </a:cubicBezTo>
                <a:cubicBezTo>
                  <a:pt x="104" y="10"/>
                  <a:pt x="104" y="10"/>
                  <a:pt x="104" y="10"/>
                </a:cubicBezTo>
                <a:cubicBezTo>
                  <a:pt x="101" y="11"/>
                  <a:pt x="101" y="11"/>
                  <a:pt x="101" y="11"/>
                </a:cubicBezTo>
                <a:cubicBezTo>
                  <a:pt x="100" y="11"/>
                  <a:pt x="100" y="11"/>
                  <a:pt x="100" y="11"/>
                </a:cubicBezTo>
                <a:cubicBezTo>
                  <a:pt x="100" y="13"/>
                  <a:pt x="100" y="13"/>
                  <a:pt x="100" y="13"/>
                </a:cubicBezTo>
                <a:cubicBezTo>
                  <a:pt x="100" y="14"/>
                  <a:pt x="100" y="14"/>
                  <a:pt x="100" y="1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Freeform 16">
            <a:extLst>
              <a:ext uri="{FF2B5EF4-FFF2-40B4-BE49-F238E27FC236}">
                <a16:creationId xmlns:a16="http://schemas.microsoft.com/office/drawing/2014/main" id="{79716992-C391-4ECE-A50B-9BCDBE40556F}"/>
              </a:ext>
            </a:extLst>
          </p:cNvPr>
          <p:cNvSpPr>
            <a:spLocks/>
          </p:cNvSpPr>
          <p:nvPr/>
        </p:nvSpPr>
        <p:spPr bwMode="auto">
          <a:xfrm>
            <a:off x="4949044" y="2129954"/>
            <a:ext cx="335360" cy="298450"/>
          </a:xfrm>
          <a:custGeom>
            <a:avLst/>
            <a:gdLst>
              <a:gd name="T0" fmla="*/ 133 w 139"/>
              <a:gd name="T1" fmla="*/ 54 h 134"/>
              <a:gd name="T2" fmla="*/ 131 w 139"/>
              <a:gd name="T3" fmla="*/ 50 h 134"/>
              <a:gd name="T4" fmla="*/ 120 w 139"/>
              <a:gd name="T5" fmla="*/ 49 h 134"/>
              <a:gd name="T6" fmla="*/ 114 w 139"/>
              <a:gd name="T7" fmla="*/ 47 h 134"/>
              <a:gd name="T8" fmla="*/ 107 w 139"/>
              <a:gd name="T9" fmla="*/ 40 h 134"/>
              <a:gd name="T10" fmla="*/ 104 w 139"/>
              <a:gd name="T11" fmla="*/ 36 h 134"/>
              <a:gd name="T12" fmla="*/ 104 w 139"/>
              <a:gd name="T13" fmla="*/ 34 h 134"/>
              <a:gd name="T14" fmla="*/ 104 w 139"/>
              <a:gd name="T15" fmla="*/ 27 h 134"/>
              <a:gd name="T16" fmla="*/ 103 w 139"/>
              <a:gd name="T17" fmla="*/ 13 h 134"/>
              <a:gd name="T18" fmla="*/ 97 w 139"/>
              <a:gd name="T19" fmla="*/ 9 h 134"/>
              <a:gd name="T20" fmla="*/ 88 w 139"/>
              <a:gd name="T21" fmla="*/ 4 h 134"/>
              <a:gd name="T22" fmla="*/ 84 w 139"/>
              <a:gd name="T23" fmla="*/ 2 h 134"/>
              <a:gd name="T24" fmla="*/ 78 w 139"/>
              <a:gd name="T25" fmla="*/ 0 h 134"/>
              <a:gd name="T26" fmla="*/ 72 w 139"/>
              <a:gd name="T27" fmla="*/ 3 h 134"/>
              <a:gd name="T28" fmla="*/ 63 w 139"/>
              <a:gd name="T29" fmla="*/ 3 h 134"/>
              <a:gd name="T30" fmla="*/ 54 w 139"/>
              <a:gd name="T31" fmla="*/ 2 h 134"/>
              <a:gd name="T32" fmla="*/ 46 w 139"/>
              <a:gd name="T33" fmla="*/ 7 h 134"/>
              <a:gd name="T34" fmla="*/ 45 w 139"/>
              <a:gd name="T35" fmla="*/ 8 h 134"/>
              <a:gd name="T36" fmla="*/ 40 w 139"/>
              <a:gd name="T37" fmla="*/ 13 h 134"/>
              <a:gd name="T38" fmla="*/ 36 w 139"/>
              <a:gd name="T39" fmla="*/ 16 h 134"/>
              <a:gd name="T40" fmla="*/ 31 w 139"/>
              <a:gd name="T41" fmla="*/ 17 h 134"/>
              <a:gd name="T42" fmla="*/ 24 w 139"/>
              <a:gd name="T43" fmla="*/ 14 h 134"/>
              <a:gd name="T44" fmla="*/ 17 w 139"/>
              <a:gd name="T45" fmla="*/ 12 h 134"/>
              <a:gd name="T46" fmla="*/ 12 w 139"/>
              <a:gd name="T47" fmla="*/ 18 h 134"/>
              <a:gd name="T48" fmla="*/ 3 w 139"/>
              <a:gd name="T49" fmla="*/ 22 h 134"/>
              <a:gd name="T50" fmla="*/ 4 w 139"/>
              <a:gd name="T51" fmla="*/ 27 h 134"/>
              <a:gd name="T52" fmla="*/ 7 w 139"/>
              <a:gd name="T53" fmla="*/ 41 h 134"/>
              <a:gd name="T54" fmla="*/ 2 w 139"/>
              <a:gd name="T55" fmla="*/ 47 h 134"/>
              <a:gd name="T56" fmla="*/ 0 w 139"/>
              <a:gd name="T57" fmla="*/ 50 h 134"/>
              <a:gd name="T58" fmla="*/ 8 w 139"/>
              <a:gd name="T59" fmla="*/ 60 h 134"/>
              <a:gd name="T60" fmla="*/ 12 w 139"/>
              <a:gd name="T61" fmla="*/ 68 h 134"/>
              <a:gd name="T62" fmla="*/ 17 w 139"/>
              <a:gd name="T63" fmla="*/ 73 h 134"/>
              <a:gd name="T64" fmla="*/ 23 w 139"/>
              <a:gd name="T65" fmla="*/ 76 h 134"/>
              <a:gd name="T66" fmla="*/ 34 w 139"/>
              <a:gd name="T67" fmla="*/ 81 h 134"/>
              <a:gd name="T68" fmla="*/ 29 w 139"/>
              <a:gd name="T69" fmla="*/ 86 h 134"/>
              <a:gd name="T70" fmla="*/ 34 w 139"/>
              <a:gd name="T71" fmla="*/ 91 h 134"/>
              <a:gd name="T72" fmla="*/ 34 w 139"/>
              <a:gd name="T73" fmla="*/ 97 h 134"/>
              <a:gd name="T74" fmla="*/ 26 w 139"/>
              <a:gd name="T75" fmla="*/ 102 h 134"/>
              <a:gd name="T76" fmla="*/ 19 w 139"/>
              <a:gd name="T77" fmla="*/ 105 h 134"/>
              <a:gd name="T78" fmla="*/ 16 w 139"/>
              <a:gd name="T79" fmla="*/ 109 h 134"/>
              <a:gd name="T80" fmla="*/ 14 w 139"/>
              <a:gd name="T81" fmla="*/ 114 h 134"/>
              <a:gd name="T82" fmla="*/ 23 w 139"/>
              <a:gd name="T83" fmla="*/ 112 h 134"/>
              <a:gd name="T84" fmla="*/ 29 w 139"/>
              <a:gd name="T85" fmla="*/ 113 h 134"/>
              <a:gd name="T86" fmla="*/ 35 w 139"/>
              <a:gd name="T87" fmla="*/ 120 h 134"/>
              <a:gd name="T88" fmla="*/ 43 w 139"/>
              <a:gd name="T89" fmla="*/ 123 h 134"/>
              <a:gd name="T90" fmla="*/ 50 w 139"/>
              <a:gd name="T91" fmla="*/ 126 h 134"/>
              <a:gd name="T92" fmla="*/ 57 w 139"/>
              <a:gd name="T93" fmla="*/ 134 h 134"/>
              <a:gd name="T94" fmla="*/ 91 w 139"/>
              <a:gd name="T95" fmla="*/ 128 h 134"/>
              <a:gd name="T96" fmla="*/ 124 w 139"/>
              <a:gd name="T97" fmla="*/ 105 h 134"/>
              <a:gd name="T98" fmla="*/ 133 w 139"/>
              <a:gd name="T99" fmla="*/ 89 h 134"/>
              <a:gd name="T100" fmla="*/ 133 w 139"/>
              <a:gd name="T101" fmla="*/ 78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39" h="134">
                <a:moveTo>
                  <a:pt x="136" y="58"/>
                </a:moveTo>
                <a:cubicBezTo>
                  <a:pt x="135" y="57"/>
                  <a:pt x="135" y="57"/>
                  <a:pt x="135" y="57"/>
                </a:cubicBezTo>
                <a:cubicBezTo>
                  <a:pt x="134" y="56"/>
                  <a:pt x="134" y="55"/>
                  <a:pt x="133" y="54"/>
                </a:cubicBezTo>
                <a:cubicBezTo>
                  <a:pt x="133" y="53"/>
                  <a:pt x="133" y="52"/>
                  <a:pt x="133" y="52"/>
                </a:cubicBezTo>
                <a:cubicBezTo>
                  <a:pt x="132" y="51"/>
                  <a:pt x="132" y="51"/>
                  <a:pt x="132" y="51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22" y="50"/>
                  <a:pt x="122" y="50"/>
                  <a:pt x="122" y="50"/>
                </a:cubicBezTo>
                <a:cubicBezTo>
                  <a:pt x="121" y="50"/>
                  <a:pt x="120" y="50"/>
                  <a:pt x="120" y="49"/>
                </a:cubicBezTo>
                <a:cubicBezTo>
                  <a:pt x="120" y="49"/>
                  <a:pt x="120" y="49"/>
                  <a:pt x="120" y="49"/>
                </a:cubicBezTo>
                <a:cubicBezTo>
                  <a:pt x="118" y="50"/>
                  <a:pt x="117" y="50"/>
                  <a:pt x="115" y="49"/>
                </a:cubicBezTo>
                <a:cubicBezTo>
                  <a:pt x="114" y="48"/>
                  <a:pt x="114" y="48"/>
                  <a:pt x="114" y="48"/>
                </a:cubicBezTo>
                <a:cubicBezTo>
                  <a:pt x="114" y="47"/>
                  <a:pt x="114" y="47"/>
                  <a:pt x="114" y="47"/>
                </a:cubicBezTo>
                <a:cubicBezTo>
                  <a:pt x="112" y="45"/>
                  <a:pt x="112" y="45"/>
                  <a:pt x="112" y="45"/>
                </a:cubicBezTo>
                <a:cubicBezTo>
                  <a:pt x="111" y="44"/>
                  <a:pt x="111" y="44"/>
                  <a:pt x="111" y="44"/>
                </a:cubicBezTo>
                <a:cubicBezTo>
                  <a:pt x="107" y="40"/>
                  <a:pt x="107" y="40"/>
                  <a:pt x="107" y="40"/>
                </a:cubicBezTo>
                <a:cubicBezTo>
                  <a:pt x="106" y="40"/>
                  <a:pt x="106" y="39"/>
                  <a:pt x="106" y="39"/>
                </a:cubicBezTo>
                <a:cubicBezTo>
                  <a:pt x="106" y="39"/>
                  <a:pt x="106" y="39"/>
                  <a:pt x="106" y="39"/>
                </a:cubicBezTo>
                <a:cubicBezTo>
                  <a:pt x="105" y="39"/>
                  <a:pt x="104" y="38"/>
                  <a:pt x="104" y="36"/>
                </a:cubicBezTo>
                <a:cubicBezTo>
                  <a:pt x="104" y="36"/>
                  <a:pt x="104" y="36"/>
                  <a:pt x="104" y="35"/>
                </a:cubicBezTo>
                <a:cubicBezTo>
                  <a:pt x="104" y="35"/>
                  <a:pt x="104" y="35"/>
                  <a:pt x="104" y="35"/>
                </a:cubicBezTo>
                <a:cubicBezTo>
                  <a:pt x="104" y="34"/>
                  <a:pt x="104" y="34"/>
                  <a:pt x="104" y="34"/>
                </a:cubicBezTo>
                <a:cubicBezTo>
                  <a:pt x="104" y="34"/>
                  <a:pt x="104" y="33"/>
                  <a:pt x="104" y="32"/>
                </a:cubicBezTo>
                <a:cubicBezTo>
                  <a:pt x="104" y="31"/>
                  <a:pt x="104" y="31"/>
                  <a:pt x="104" y="30"/>
                </a:cubicBezTo>
                <a:cubicBezTo>
                  <a:pt x="103" y="30"/>
                  <a:pt x="103" y="29"/>
                  <a:pt x="104" y="27"/>
                </a:cubicBezTo>
                <a:cubicBezTo>
                  <a:pt x="104" y="27"/>
                  <a:pt x="104" y="27"/>
                  <a:pt x="104" y="26"/>
                </a:cubicBezTo>
                <a:cubicBezTo>
                  <a:pt x="104" y="26"/>
                  <a:pt x="103" y="26"/>
                  <a:pt x="103" y="25"/>
                </a:cubicBezTo>
                <a:cubicBezTo>
                  <a:pt x="103" y="13"/>
                  <a:pt x="103" y="13"/>
                  <a:pt x="103" y="13"/>
                </a:cubicBezTo>
                <a:cubicBezTo>
                  <a:pt x="103" y="12"/>
                  <a:pt x="103" y="12"/>
                  <a:pt x="103" y="12"/>
                </a:cubicBezTo>
                <a:cubicBezTo>
                  <a:pt x="99" y="9"/>
                  <a:pt x="99" y="9"/>
                  <a:pt x="99" y="9"/>
                </a:cubicBezTo>
                <a:cubicBezTo>
                  <a:pt x="99" y="9"/>
                  <a:pt x="98" y="9"/>
                  <a:pt x="97" y="9"/>
                </a:cubicBezTo>
                <a:cubicBezTo>
                  <a:pt x="97" y="8"/>
                  <a:pt x="96" y="8"/>
                  <a:pt x="96" y="7"/>
                </a:cubicBezTo>
                <a:cubicBezTo>
                  <a:pt x="92" y="5"/>
                  <a:pt x="92" y="5"/>
                  <a:pt x="92" y="5"/>
                </a:cubicBezTo>
                <a:cubicBezTo>
                  <a:pt x="92" y="5"/>
                  <a:pt x="89" y="5"/>
                  <a:pt x="88" y="4"/>
                </a:cubicBezTo>
                <a:cubicBezTo>
                  <a:pt x="87" y="4"/>
                  <a:pt x="87" y="3"/>
                  <a:pt x="86" y="3"/>
                </a:cubicBezTo>
                <a:cubicBezTo>
                  <a:pt x="86" y="3"/>
                  <a:pt x="85" y="3"/>
                  <a:pt x="84" y="2"/>
                </a:cubicBezTo>
                <a:cubicBezTo>
                  <a:pt x="84" y="2"/>
                  <a:pt x="84" y="2"/>
                  <a:pt x="84" y="2"/>
                </a:cubicBezTo>
                <a:cubicBezTo>
                  <a:pt x="83" y="2"/>
                  <a:pt x="82" y="1"/>
                  <a:pt x="81" y="0"/>
                </a:cubicBezTo>
                <a:cubicBezTo>
                  <a:pt x="81" y="0"/>
                  <a:pt x="81" y="0"/>
                  <a:pt x="81" y="0"/>
                </a:cubicBezTo>
                <a:cubicBezTo>
                  <a:pt x="80" y="0"/>
                  <a:pt x="79" y="0"/>
                  <a:pt x="78" y="0"/>
                </a:cubicBezTo>
                <a:cubicBezTo>
                  <a:pt x="78" y="0"/>
                  <a:pt x="78" y="0"/>
                  <a:pt x="78" y="0"/>
                </a:cubicBezTo>
                <a:cubicBezTo>
                  <a:pt x="77" y="1"/>
                  <a:pt x="77" y="2"/>
                  <a:pt x="76" y="2"/>
                </a:cubicBezTo>
                <a:cubicBezTo>
                  <a:pt x="72" y="3"/>
                  <a:pt x="72" y="3"/>
                  <a:pt x="72" y="3"/>
                </a:cubicBezTo>
                <a:cubicBezTo>
                  <a:pt x="72" y="3"/>
                  <a:pt x="72" y="3"/>
                  <a:pt x="72" y="3"/>
                </a:cubicBezTo>
                <a:cubicBezTo>
                  <a:pt x="65" y="3"/>
                  <a:pt x="65" y="3"/>
                  <a:pt x="65" y="3"/>
                </a:cubicBezTo>
                <a:cubicBezTo>
                  <a:pt x="65" y="3"/>
                  <a:pt x="64" y="3"/>
                  <a:pt x="63" y="3"/>
                </a:cubicBezTo>
                <a:cubicBezTo>
                  <a:pt x="63" y="3"/>
                  <a:pt x="62" y="4"/>
                  <a:pt x="61" y="3"/>
                </a:cubicBezTo>
                <a:cubicBezTo>
                  <a:pt x="58" y="2"/>
                  <a:pt x="58" y="2"/>
                  <a:pt x="58" y="2"/>
                </a:cubicBezTo>
                <a:cubicBezTo>
                  <a:pt x="54" y="2"/>
                  <a:pt x="54" y="2"/>
                  <a:pt x="54" y="2"/>
                </a:cubicBezTo>
                <a:cubicBezTo>
                  <a:pt x="53" y="2"/>
                  <a:pt x="51" y="3"/>
                  <a:pt x="48" y="6"/>
                </a:cubicBezTo>
                <a:cubicBezTo>
                  <a:pt x="47" y="6"/>
                  <a:pt x="46" y="7"/>
                  <a:pt x="46" y="7"/>
                </a:cubicBezTo>
                <a:cubicBezTo>
                  <a:pt x="46" y="7"/>
                  <a:pt x="46" y="7"/>
                  <a:pt x="46" y="7"/>
                </a:cubicBezTo>
                <a:cubicBezTo>
                  <a:pt x="46" y="7"/>
                  <a:pt x="46" y="7"/>
                  <a:pt x="46" y="7"/>
                </a:cubicBezTo>
                <a:cubicBezTo>
                  <a:pt x="46" y="7"/>
                  <a:pt x="46" y="7"/>
                  <a:pt x="45" y="7"/>
                </a:cubicBezTo>
                <a:cubicBezTo>
                  <a:pt x="45" y="8"/>
                  <a:pt x="45" y="8"/>
                  <a:pt x="45" y="8"/>
                </a:cubicBezTo>
                <a:cubicBezTo>
                  <a:pt x="45" y="8"/>
                  <a:pt x="45" y="8"/>
                  <a:pt x="45" y="9"/>
                </a:cubicBezTo>
                <a:cubicBezTo>
                  <a:pt x="43" y="11"/>
                  <a:pt x="43" y="11"/>
                  <a:pt x="43" y="11"/>
                </a:cubicBezTo>
                <a:cubicBezTo>
                  <a:pt x="41" y="13"/>
                  <a:pt x="41" y="13"/>
                  <a:pt x="40" y="13"/>
                </a:cubicBezTo>
                <a:cubicBezTo>
                  <a:pt x="40" y="14"/>
                  <a:pt x="40" y="14"/>
                  <a:pt x="39" y="14"/>
                </a:cubicBezTo>
                <a:cubicBezTo>
                  <a:pt x="39" y="15"/>
                  <a:pt x="38" y="16"/>
                  <a:pt x="37" y="15"/>
                </a:cubicBezTo>
                <a:cubicBezTo>
                  <a:pt x="37" y="16"/>
                  <a:pt x="37" y="16"/>
                  <a:pt x="36" y="16"/>
                </a:cubicBezTo>
                <a:cubicBezTo>
                  <a:pt x="36" y="16"/>
                  <a:pt x="36" y="17"/>
                  <a:pt x="35" y="17"/>
                </a:cubicBezTo>
                <a:cubicBezTo>
                  <a:pt x="31" y="17"/>
                  <a:pt x="31" y="17"/>
                  <a:pt x="31" y="17"/>
                </a:cubicBezTo>
                <a:cubicBezTo>
                  <a:pt x="31" y="17"/>
                  <a:pt x="31" y="17"/>
                  <a:pt x="31" y="17"/>
                </a:cubicBezTo>
                <a:cubicBezTo>
                  <a:pt x="26" y="16"/>
                  <a:pt x="26" y="16"/>
                  <a:pt x="26" y="16"/>
                </a:cubicBezTo>
                <a:cubicBezTo>
                  <a:pt x="26" y="16"/>
                  <a:pt x="25" y="16"/>
                  <a:pt x="25" y="15"/>
                </a:cubicBezTo>
                <a:cubicBezTo>
                  <a:pt x="24" y="14"/>
                  <a:pt x="24" y="14"/>
                  <a:pt x="24" y="14"/>
                </a:cubicBezTo>
                <a:cubicBezTo>
                  <a:pt x="21" y="14"/>
                  <a:pt x="21" y="14"/>
                  <a:pt x="21" y="14"/>
                </a:cubicBezTo>
                <a:cubicBezTo>
                  <a:pt x="20" y="14"/>
                  <a:pt x="20" y="14"/>
                  <a:pt x="20" y="14"/>
                </a:cubicBezTo>
                <a:cubicBezTo>
                  <a:pt x="19" y="13"/>
                  <a:pt x="18" y="12"/>
                  <a:pt x="17" y="12"/>
                </a:cubicBezTo>
                <a:cubicBezTo>
                  <a:pt x="16" y="12"/>
                  <a:pt x="15" y="12"/>
                  <a:pt x="15" y="12"/>
                </a:cubicBezTo>
                <a:cubicBezTo>
                  <a:pt x="14" y="17"/>
                  <a:pt x="14" y="17"/>
                  <a:pt x="14" y="17"/>
                </a:cubicBezTo>
                <a:cubicBezTo>
                  <a:pt x="13" y="18"/>
                  <a:pt x="13" y="18"/>
                  <a:pt x="12" y="18"/>
                </a:cubicBezTo>
                <a:cubicBezTo>
                  <a:pt x="10" y="19"/>
                  <a:pt x="9" y="19"/>
                  <a:pt x="8" y="19"/>
                </a:cubicBezTo>
                <a:cubicBezTo>
                  <a:pt x="8" y="19"/>
                  <a:pt x="8" y="20"/>
                  <a:pt x="7" y="20"/>
                </a:cubicBezTo>
                <a:cubicBezTo>
                  <a:pt x="6" y="20"/>
                  <a:pt x="4" y="21"/>
                  <a:pt x="3" y="22"/>
                </a:cubicBezTo>
                <a:cubicBezTo>
                  <a:pt x="3" y="22"/>
                  <a:pt x="3" y="22"/>
                  <a:pt x="3" y="23"/>
                </a:cubicBezTo>
                <a:cubicBezTo>
                  <a:pt x="3" y="24"/>
                  <a:pt x="4" y="25"/>
                  <a:pt x="4" y="27"/>
                </a:cubicBezTo>
                <a:cubicBezTo>
                  <a:pt x="4" y="27"/>
                  <a:pt x="4" y="27"/>
                  <a:pt x="4" y="27"/>
                </a:cubicBezTo>
                <a:cubicBezTo>
                  <a:pt x="4" y="28"/>
                  <a:pt x="4" y="28"/>
                  <a:pt x="4" y="28"/>
                </a:cubicBezTo>
                <a:cubicBezTo>
                  <a:pt x="6" y="35"/>
                  <a:pt x="6" y="35"/>
                  <a:pt x="6" y="35"/>
                </a:cubicBezTo>
                <a:cubicBezTo>
                  <a:pt x="8" y="39"/>
                  <a:pt x="8" y="40"/>
                  <a:pt x="7" y="41"/>
                </a:cubicBezTo>
                <a:cubicBezTo>
                  <a:pt x="6" y="41"/>
                  <a:pt x="6" y="42"/>
                  <a:pt x="6" y="42"/>
                </a:cubicBezTo>
                <a:cubicBezTo>
                  <a:pt x="5" y="43"/>
                  <a:pt x="5" y="45"/>
                  <a:pt x="3" y="45"/>
                </a:cubicBezTo>
                <a:cubicBezTo>
                  <a:pt x="2" y="47"/>
                  <a:pt x="2" y="47"/>
                  <a:pt x="2" y="47"/>
                </a:cubicBezTo>
                <a:cubicBezTo>
                  <a:pt x="2" y="49"/>
                  <a:pt x="1" y="50"/>
                  <a:pt x="0" y="50"/>
                </a:cubicBezTo>
                <a:cubicBezTo>
                  <a:pt x="0" y="50"/>
                  <a:pt x="0" y="50"/>
                  <a:pt x="0" y="50"/>
                </a:cubicBezTo>
                <a:cubicBezTo>
                  <a:pt x="0" y="50"/>
                  <a:pt x="0" y="50"/>
                  <a:pt x="0" y="50"/>
                </a:cubicBezTo>
                <a:cubicBezTo>
                  <a:pt x="0" y="52"/>
                  <a:pt x="2" y="54"/>
                  <a:pt x="3" y="55"/>
                </a:cubicBezTo>
                <a:cubicBezTo>
                  <a:pt x="4" y="56"/>
                  <a:pt x="5" y="57"/>
                  <a:pt x="5" y="57"/>
                </a:cubicBezTo>
                <a:cubicBezTo>
                  <a:pt x="8" y="60"/>
                  <a:pt x="8" y="60"/>
                  <a:pt x="8" y="60"/>
                </a:cubicBezTo>
                <a:cubicBezTo>
                  <a:pt x="9" y="61"/>
                  <a:pt x="10" y="62"/>
                  <a:pt x="10" y="63"/>
                </a:cubicBezTo>
                <a:cubicBezTo>
                  <a:pt x="10" y="64"/>
                  <a:pt x="10" y="65"/>
                  <a:pt x="11" y="65"/>
                </a:cubicBezTo>
                <a:cubicBezTo>
                  <a:pt x="11" y="67"/>
                  <a:pt x="11" y="68"/>
                  <a:pt x="12" y="68"/>
                </a:cubicBezTo>
                <a:cubicBezTo>
                  <a:pt x="12" y="69"/>
                  <a:pt x="13" y="71"/>
                  <a:pt x="13" y="71"/>
                </a:cubicBezTo>
                <a:cubicBezTo>
                  <a:pt x="14" y="73"/>
                  <a:pt x="14" y="73"/>
                  <a:pt x="14" y="73"/>
                </a:cubicBezTo>
                <a:cubicBezTo>
                  <a:pt x="17" y="73"/>
                  <a:pt x="17" y="73"/>
                  <a:pt x="17" y="73"/>
                </a:cubicBezTo>
                <a:cubicBezTo>
                  <a:pt x="18" y="73"/>
                  <a:pt x="19" y="73"/>
                  <a:pt x="20" y="74"/>
                </a:cubicBezTo>
                <a:cubicBezTo>
                  <a:pt x="20" y="74"/>
                  <a:pt x="20" y="74"/>
                  <a:pt x="20" y="74"/>
                </a:cubicBezTo>
                <a:cubicBezTo>
                  <a:pt x="21" y="74"/>
                  <a:pt x="22" y="75"/>
                  <a:pt x="23" y="76"/>
                </a:cubicBezTo>
                <a:cubicBezTo>
                  <a:pt x="30" y="76"/>
                  <a:pt x="30" y="76"/>
                  <a:pt x="30" y="76"/>
                </a:cubicBezTo>
                <a:cubicBezTo>
                  <a:pt x="33" y="76"/>
                  <a:pt x="33" y="78"/>
                  <a:pt x="34" y="80"/>
                </a:cubicBezTo>
                <a:cubicBezTo>
                  <a:pt x="34" y="81"/>
                  <a:pt x="34" y="81"/>
                  <a:pt x="34" y="81"/>
                </a:cubicBezTo>
                <a:cubicBezTo>
                  <a:pt x="34" y="82"/>
                  <a:pt x="34" y="83"/>
                  <a:pt x="33" y="83"/>
                </a:cubicBezTo>
                <a:cubicBezTo>
                  <a:pt x="31" y="85"/>
                  <a:pt x="31" y="85"/>
                  <a:pt x="31" y="85"/>
                </a:cubicBezTo>
                <a:cubicBezTo>
                  <a:pt x="30" y="86"/>
                  <a:pt x="30" y="86"/>
                  <a:pt x="29" y="86"/>
                </a:cubicBezTo>
                <a:cubicBezTo>
                  <a:pt x="29" y="86"/>
                  <a:pt x="29" y="86"/>
                  <a:pt x="29" y="86"/>
                </a:cubicBezTo>
                <a:cubicBezTo>
                  <a:pt x="34" y="90"/>
                  <a:pt x="34" y="90"/>
                  <a:pt x="34" y="90"/>
                </a:cubicBezTo>
                <a:cubicBezTo>
                  <a:pt x="34" y="91"/>
                  <a:pt x="34" y="91"/>
                  <a:pt x="34" y="91"/>
                </a:cubicBezTo>
                <a:cubicBezTo>
                  <a:pt x="34" y="93"/>
                  <a:pt x="34" y="93"/>
                  <a:pt x="34" y="93"/>
                </a:cubicBezTo>
                <a:cubicBezTo>
                  <a:pt x="34" y="93"/>
                  <a:pt x="34" y="93"/>
                  <a:pt x="34" y="93"/>
                </a:cubicBezTo>
                <a:cubicBezTo>
                  <a:pt x="35" y="94"/>
                  <a:pt x="35" y="96"/>
                  <a:pt x="34" y="97"/>
                </a:cubicBezTo>
                <a:cubicBezTo>
                  <a:pt x="33" y="97"/>
                  <a:pt x="32" y="98"/>
                  <a:pt x="31" y="98"/>
                </a:cubicBezTo>
                <a:cubicBezTo>
                  <a:pt x="29" y="100"/>
                  <a:pt x="29" y="100"/>
                  <a:pt x="29" y="100"/>
                </a:cubicBezTo>
                <a:cubicBezTo>
                  <a:pt x="29" y="100"/>
                  <a:pt x="28" y="101"/>
                  <a:pt x="26" y="102"/>
                </a:cubicBezTo>
                <a:cubicBezTo>
                  <a:pt x="25" y="103"/>
                  <a:pt x="24" y="104"/>
                  <a:pt x="23" y="103"/>
                </a:cubicBezTo>
                <a:cubicBezTo>
                  <a:pt x="23" y="103"/>
                  <a:pt x="23" y="103"/>
                  <a:pt x="22" y="103"/>
                </a:cubicBezTo>
                <a:cubicBezTo>
                  <a:pt x="22" y="104"/>
                  <a:pt x="21" y="104"/>
                  <a:pt x="19" y="105"/>
                </a:cubicBezTo>
                <a:cubicBezTo>
                  <a:pt x="18" y="106"/>
                  <a:pt x="17" y="107"/>
                  <a:pt x="17" y="107"/>
                </a:cubicBezTo>
                <a:cubicBezTo>
                  <a:pt x="17" y="107"/>
                  <a:pt x="17" y="107"/>
                  <a:pt x="17" y="107"/>
                </a:cubicBezTo>
                <a:cubicBezTo>
                  <a:pt x="16" y="109"/>
                  <a:pt x="16" y="109"/>
                  <a:pt x="16" y="109"/>
                </a:cubicBezTo>
                <a:cubicBezTo>
                  <a:pt x="15" y="109"/>
                  <a:pt x="15" y="109"/>
                  <a:pt x="15" y="109"/>
                </a:cubicBezTo>
                <a:cubicBezTo>
                  <a:pt x="15" y="110"/>
                  <a:pt x="15" y="110"/>
                  <a:pt x="15" y="110"/>
                </a:cubicBezTo>
                <a:cubicBezTo>
                  <a:pt x="14" y="114"/>
                  <a:pt x="14" y="114"/>
                  <a:pt x="14" y="114"/>
                </a:cubicBezTo>
                <a:cubicBezTo>
                  <a:pt x="15" y="115"/>
                  <a:pt x="17" y="116"/>
                  <a:pt x="19" y="117"/>
                </a:cubicBezTo>
                <a:cubicBezTo>
                  <a:pt x="21" y="113"/>
                  <a:pt x="21" y="113"/>
                  <a:pt x="21" y="113"/>
                </a:cubicBezTo>
                <a:cubicBezTo>
                  <a:pt x="21" y="112"/>
                  <a:pt x="22" y="112"/>
                  <a:pt x="23" y="112"/>
                </a:cubicBezTo>
                <a:cubicBezTo>
                  <a:pt x="25" y="112"/>
                  <a:pt x="25" y="112"/>
                  <a:pt x="25" y="112"/>
                </a:cubicBezTo>
                <a:cubicBezTo>
                  <a:pt x="25" y="112"/>
                  <a:pt x="25" y="112"/>
                  <a:pt x="25" y="112"/>
                </a:cubicBezTo>
                <a:cubicBezTo>
                  <a:pt x="29" y="113"/>
                  <a:pt x="29" y="113"/>
                  <a:pt x="29" y="113"/>
                </a:cubicBezTo>
                <a:cubicBezTo>
                  <a:pt x="31" y="115"/>
                  <a:pt x="31" y="115"/>
                  <a:pt x="31" y="115"/>
                </a:cubicBezTo>
                <a:cubicBezTo>
                  <a:pt x="33" y="116"/>
                  <a:pt x="33" y="117"/>
                  <a:pt x="34" y="118"/>
                </a:cubicBezTo>
                <a:cubicBezTo>
                  <a:pt x="34" y="119"/>
                  <a:pt x="34" y="119"/>
                  <a:pt x="35" y="120"/>
                </a:cubicBezTo>
                <a:cubicBezTo>
                  <a:pt x="35" y="120"/>
                  <a:pt x="36" y="121"/>
                  <a:pt x="37" y="122"/>
                </a:cubicBezTo>
                <a:cubicBezTo>
                  <a:pt x="37" y="123"/>
                  <a:pt x="37" y="123"/>
                  <a:pt x="37" y="123"/>
                </a:cubicBezTo>
                <a:cubicBezTo>
                  <a:pt x="39" y="123"/>
                  <a:pt x="41" y="123"/>
                  <a:pt x="43" y="123"/>
                </a:cubicBezTo>
                <a:cubicBezTo>
                  <a:pt x="45" y="123"/>
                  <a:pt x="46" y="123"/>
                  <a:pt x="46" y="125"/>
                </a:cubicBezTo>
                <a:cubicBezTo>
                  <a:pt x="47" y="125"/>
                  <a:pt x="47" y="125"/>
                  <a:pt x="48" y="125"/>
                </a:cubicBezTo>
                <a:cubicBezTo>
                  <a:pt x="49" y="125"/>
                  <a:pt x="49" y="125"/>
                  <a:pt x="50" y="126"/>
                </a:cubicBezTo>
                <a:cubicBezTo>
                  <a:pt x="51" y="127"/>
                  <a:pt x="51" y="127"/>
                  <a:pt x="51" y="127"/>
                </a:cubicBezTo>
                <a:cubicBezTo>
                  <a:pt x="53" y="128"/>
                  <a:pt x="55" y="132"/>
                  <a:pt x="57" y="134"/>
                </a:cubicBezTo>
                <a:cubicBezTo>
                  <a:pt x="57" y="134"/>
                  <a:pt x="57" y="134"/>
                  <a:pt x="57" y="134"/>
                </a:cubicBezTo>
                <a:cubicBezTo>
                  <a:pt x="70" y="131"/>
                  <a:pt x="70" y="131"/>
                  <a:pt x="70" y="131"/>
                </a:cubicBezTo>
                <a:cubicBezTo>
                  <a:pt x="75" y="131"/>
                  <a:pt x="75" y="131"/>
                  <a:pt x="75" y="131"/>
                </a:cubicBezTo>
                <a:cubicBezTo>
                  <a:pt x="91" y="128"/>
                  <a:pt x="91" y="128"/>
                  <a:pt x="91" y="128"/>
                </a:cubicBezTo>
                <a:cubicBezTo>
                  <a:pt x="99" y="126"/>
                  <a:pt x="99" y="126"/>
                  <a:pt x="99" y="126"/>
                </a:cubicBezTo>
                <a:cubicBezTo>
                  <a:pt x="109" y="118"/>
                  <a:pt x="109" y="118"/>
                  <a:pt x="109" y="118"/>
                </a:cubicBezTo>
                <a:cubicBezTo>
                  <a:pt x="124" y="105"/>
                  <a:pt x="124" y="105"/>
                  <a:pt x="124" y="105"/>
                </a:cubicBezTo>
                <a:cubicBezTo>
                  <a:pt x="126" y="103"/>
                  <a:pt x="126" y="103"/>
                  <a:pt x="126" y="103"/>
                </a:cubicBezTo>
                <a:cubicBezTo>
                  <a:pt x="133" y="90"/>
                  <a:pt x="133" y="90"/>
                  <a:pt x="133" y="90"/>
                </a:cubicBezTo>
                <a:cubicBezTo>
                  <a:pt x="133" y="89"/>
                  <a:pt x="133" y="89"/>
                  <a:pt x="133" y="89"/>
                </a:cubicBezTo>
                <a:cubicBezTo>
                  <a:pt x="133" y="89"/>
                  <a:pt x="133" y="89"/>
                  <a:pt x="133" y="89"/>
                </a:cubicBezTo>
                <a:cubicBezTo>
                  <a:pt x="132" y="88"/>
                  <a:pt x="132" y="88"/>
                  <a:pt x="132" y="88"/>
                </a:cubicBezTo>
                <a:cubicBezTo>
                  <a:pt x="133" y="78"/>
                  <a:pt x="133" y="78"/>
                  <a:pt x="133" y="78"/>
                </a:cubicBezTo>
                <a:cubicBezTo>
                  <a:pt x="139" y="60"/>
                  <a:pt x="139" y="60"/>
                  <a:pt x="139" y="60"/>
                </a:cubicBezTo>
                <a:cubicBezTo>
                  <a:pt x="138" y="60"/>
                  <a:pt x="137" y="60"/>
                  <a:pt x="136" y="5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Freeform 17">
            <a:extLst>
              <a:ext uri="{FF2B5EF4-FFF2-40B4-BE49-F238E27FC236}">
                <a16:creationId xmlns:a16="http://schemas.microsoft.com/office/drawing/2014/main" id="{C71C0595-5743-405E-B620-3A1B942FABAC}"/>
              </a:ext>
            </a:extLst>
          </p:cNvPr>
          <p:cNvSpPr>
            <a:spLocks/>
          </p:cNvSpPr>
          <p:nvPr/>
        </p:nvSpPr>
        <p:spPr bwMode="auto">
          <a:xfrm>
            <a:off x="4840696" y="1718792"/>
            <a:ext cx="256250" cy="246063"/>
          </a:xfrm>
          <a:custGeom>
            <a:avLst/>
            <a:gdLst>
              <a:gd name="T0" fmla="*/ 4 w 106"/>
              <a:gd name="T1" fmla="*/ 32 h 110"/>
              <a:gd name="T2" fmla="*/ 5 w 106"/>
              <a:gd name="T3" fmla="*/ 38 h 110"/>
              <a:gd name="T4" fmla="*/ 8 w 106"/>
              <a:gd name="T5" fmla="*/ 41 h 110"/>
              <a:gd name="T6" fmla="*/ 16 w 106"/>
              <a:gd name="T7" fmla="*/ 49 h 110"/>
              <a:gd name="T8" fmla="*/ 17 w 106"/>
              <a:gd name="T9" fmla="*/ 57 h 110"/>
              <a:gd name="T10" fmla="*/ 16 w 106"/>
              <a:gd name="T11" fmla="*/ 60 h 110"/>
              <a:gd name="T12" fmla="*/ 15 w 106"/>
              <a:gd name="T13" fmla="*/ 66 h 110"/>
              <a:gd name="T14" fmla="*/ 15 w 106"/>
              <a:gd name="T15" fmla="*/ 74 h 110"/>
              <a:gd name="T16" fmla="*/ 15 w 106"/>
              <a:gd name="T17" fmla="*/ 79 h 110"/>
              <a:gd name="T18" fmla="*/ 13 w 106"/>
              <a:gd name="T19" fmla="*/ 83 h 110"/>
              <a:gd name="T20" fmla="*/ 9 w 106"/>
              <a:gd name="T21" fmla="*/ 86 h 110"/>
              <a:gd name="T22" fmla="*/ 6 w 106"/>
              <a:gd name="T23" fmla="*/ 88 h 110"/>
              <a:gd name="T24" fmla="*/ 8 w 106"/>
              <a:gd name="T25" fmla="*/ 90 h 110"/>
              <a:gd name="T26" fmla="*/ 11 w 106"/>
              <a:gd name="T27" fmla="*/ 90 h 110"/>
              <a:gd name="T28" fmla="*/ 13 w 106"/>
              <a:gd name="T29" fmla="*/ 95 h 110"/>
              <a:gd name="T30" fmla="*/ 16 w 106"/>
              <a:gd name="T31" fmla="*/ 97 h 110"/>
              <a:gd name="T32" fmla="*/ 23 w 106"/>
              <a:gd name="T33" fmla="*/ 101 h 110"/>
              <a:gd name="T34" fmla="*/ 27 w 106"/>
              <a:gd name="T35" fmla="*/ 104 h 110"/>
              <a:gd name="T36" fmla="*/ 31 w 106"/>
              <a:gd name="T37" fmla="*/ 107 h 110"/>
              <a:gd name="T38" fmla="*/ 35 w 106"/>
              <a:gd name="T39" fmla="*/ 109 h 110"/>
              <a:gd name="T40" fmla="*/ 36 w 106"/>
              <a:gd name="T41" fmla="*/ 109 h 110"/>
              <a:gd name="T42" fmla="*/ 33 w 106"/>
              <a:gd name="T43" fmla="*/ 105 h 110"/>
              <a:gd name="T44" fmla="*/ 36 w 106"/>
              <a:gd name="T45" fmla="*/ 99 h 110"/>
              <a:gd name="T46" fmla="*/ 40 w 106"/>
              <a:gd name="T47" fmla="*/ 95 h 110"/>
              <a:gd name="T48" fmla="*/ 43 w 106"/>
              <a:gd name="T49" fmla="*/ 90 h 110"/>
              <a:gd name="T50" fmla="*/ 45 w 106"/>
              <a:gd name="T51" fmla="*/ 86 h 110"/>
              <a:gd name="T52" fmla="*/ 48 w 106"/>
              <a:gd name="T53" fmla="*/ 74 h 110"/>
              <a:gd name="T54" fmla="*/ 51 w 106"/>
              <a:gd name="T55" fmla="*/ 73 h 110"/>
              <a:gd name="T56" fmla="*/ 52 w 106"/>
              <a:gd name="T57" fmla="*/ 69 h 110"/>
              <a:gd name="T58" fmla="*/ 61 w 106"/>
              <a:gd name="T59" fmla="*/ 65 h 110"/>
              <a:gd name="T60" fmla="*/ 67 w 106"/>
              <a:gd name="T61" fmla="*/ 65 h 110"/>
              <a:gd name="T62" fmla="*/ 73 w 106"/>
              <a:gd name="T63" fmla="*/ 62 h 110"/>
              <a:gd name="T64" fmla="*/ 76 w 106"/>
              <a:gd name="T65" fmla="*/ 56 h 110"/>
              <a:gd name="T66" fmla="*/ 77 w 106"/>
              <a:gd name="T67" fmla="*/ 49 h 110"/>
              <a:gd name="T68" fmla="*/ 85 w 106"/>
              <a:gd name="T69" fmla="*/ 48 h 110"/>
              <a:gd name="T70" fmla="*/ 88 w 106"/>
              <a:gd name="T71" fmla="*/ 44 h 110"/>
              <a:gd name="T72" fmla="*/ 97 w 106"/>
              <a:gd name="T73" fmla="*/ 42 h 110"/>
              <a:gd name="T74" fmla="*/ 106 w 106"/>
              <a:gd name="T75" fmla="*/ 42 h 110"/>
              <a:gd name="T76" fmla="*/ 102 w 106"/>
              <a:gd name="T77" fmla="*/ 36 h 110"/>
              <a:gd name="T78" fmla="*/ 101 w 106"/>
              <a:gd name="T79" fmla="*/ 33 h 110"/>
              <a:gd name="T80" fmla="*/ 99 w 106"/>
              <a:gd name="T81" fmla="*/ 32 h 110"/>
              <a:gd name="T82" fmla="*/ 92 w 106"/>
              <a:gd name="T83" fmla="*/ 27 h 110"/>
              <a:gd name="T84" fmla="*/ 90 w 106"/>
              <a:gd name="T85" fmla="*/ 21 h 110"/>
              <a:gd name="T86" fmla="*/ 90 w 106"/>
              <a:gd name="T87" fmla="*/ 18 h 110"/>
              <a:gd name="T88" fmla="*/ 85 w 106"/>
              <a:gd name="T89" fmla="*/ 12 h 110"/>
              <a:gd name="T90" fmla="*/ 61 w 106"/>
              <a:gd name="T91" fmla="*/ 3 h 110"/>
              <a:gd name="T92" fmla="*/ 59 w 106"/>
              <a:gd name="T93" fmla="*/ 1 h 110"/>
              <a:gd name="T94" fmla="*/ 49 w 106"/>
              <a:gd name="T95" fmla="*/ 0 h 110"/>
              <a:gd name="T96" fmla="*/ 30 w 106"/>
              <a:gd name="T97" fmla="*/ 6 h 110"/>
              <a:gd name="T98" fmla="*/ 11 w 106"/>
              <a:gd name="T99" fmla="*/ 15 h 110"/>
              <a:gd name="T100" fmla="*/ 4 w 106"/>
              <a:gd name="T101" fmla="*/ 17 h 110"/>
              <a:gd name="T102" fmla="*/ 3 w 106"/>
              <a:gd name="T103" fmla="*/ 18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6" h="110">
                <a:moveTo>
                  <a:pt x="4" y="19"/>
                </a:moveTo>
                <a:cubicBezTo>
                  <a:pt x="4" y="22"/>
                  <a:pt x="4" y="22"/>
                  <a:pt x="4" y="22"/>
                </a:cubicBezTo>
                <a:cubicBezTo>
                  <a:pt x="4" y="32"/>
                  <a:pt x="4" y="32"/>
                  <a:pt x="4" y="32"/>
                </a:cubicBezTo>
                <a:cubicBezTo>
                  <a:pt x="4" y="33"/>
                  <a:pt x="4" y="33"/>
                  <a:pt x="4" y="33"/>
                </a:cubicBezTo>
                <a:cubicBezTo>
                  <a:pt x="5" y="38"/>
                  <a:pt x="5" y="38"/>
                  <a:pt x="5" y="38"/>
                </a:cubicBezTo>
                <a:cubicBezTo>
                  <a:pt x="5" y="38"/>
                  <a:pt x="5" y="38"/>
                  <a:pt x="5" y="38"/>
                </a:cubicBezTo>
                <a:cubicBezTo>
                  <a:pt x="6" y="40"/>
                  <a:pt x="6" y="40"/>
                  <a:pt x="6" y="40"/>
                </a:cubicBezTo>
                <a:cubicBezTo>
                  <a:pt x="7" y="40"/>
                  <a:pt x="7" y="40"/>
                  <a:pt x="7" y="40"/>
                </a:cubicBezTo>
                <a:cubicBezTo>
                  <a:pt x="7" y="40"/>
                  <a:pt x="7" y="41"/>
                  <a:pt x="8" y="41"/>
                </a:cubicBezTo>
                <a:cubicBezTo>
                  <a:pt x="9" y="42"/>
                  <a:pt x="9" y="42"/>
                  <a:pt x="9" y="42"/>
                </a:cubicBezTo>
                <a:cubicBezTo>
                  <a:pt x="14" y="48"/>
                  <a:pt x="14" y="48"/>
                  <a:pt x="14" y="48"/>
                </a:cubicBezTo>
                <a:cubicBezTo>
                  <a:pt x="16" y="49"/>
                  <a:pt x="16" y="49"/>
                  <a:pt x="16" y="49"/>
                </a:cubicBezTo>
                <a:cubicBezTo>
                  <a:pt x="16" y="50"/>
                  <a:pt x="16" y="50"/>
                  <a:pt x="16" y="50"/>
                </a:cubicBezTo>
                <a:cubicBezTo>
                  <a:pt x="17" y="52"/>
                  <a:pt x="17" y="52"/>
                  <a:pt x="17" y="52"/>
                </a:cubicBezTo>
                <a:cubicBezTo>
                  <a:pt x="19" y="54"/>
                  <a:pt x="18" y="56"/>
                  <a:pt x="17" y="57"/>
                </a:cubicBezTo>
                <a:cubicBezTo>
                  <a:pt x="17" y="57"/>
                  <a:pt x="17" y="57"/>
                  <a:pt x="17" y="57"/>
                </a:cubicBezTo>
                <a:cubicBezTo>
                  <a:pt x="17" y="58"/>
                  <a:pt x="17" y="58"/>
                  <a:pt x="17" y="58"/>
                </a:cubicBezTo>
                <a:cubicBezTo>
                  <a:pt x="16" y="60"/>
                  <a:pt x="16" y="60"/>
                  <a:pt x="16" y="60"/>
                </a:cubicBezTo>
                <a:cubicBezTo>
                  <a:pt x="16" y="60"/>
                  <a:pt x="16" y="61"/>
                  <a:pt x="15" y="61"/>
                </a:cubicBezTo>
                <a:cubicBezTo>
                  <a:pt x="15" y="62"/>
                  <a:pt x="15" y="62"/>
                  <a:pt x="15" y="62"/>
                </a:cubicBezTo>
                <a:cubicBezTo>
                  <a:pt x="15" y="63"/>
                  <a:pt x="15" y="65"/>
                  <a:pt x="15" y="66"/>
                </a:cubicBezTo>
                <a:cubicBezTo>
                  <a:pt x="15" y="66"/>
                  <a:pt x="15" y="67"/>
                  <a:pt x="15" y="68"/>
                </a:cubicBezTo>
                <a:cubicBezTo>
                  <a:pt x="15" y="68"/>
                  <a:pt x="15" y="69"/>
                  <a:pt x="15" y="70"/>
                </a:cubicBezTo>
                <a:cubicBezTo>
                  <a:pt x="15" y="71"/>
                  <a:pt x="15" y="72"/>
                  <a:pt x="15" y="74"/>
                </a:cubicBezTo>
                <a:cubicBezTo>
                  <a:pt x="15" y="75"/>
                  <a:pt x="15" y="75"/>
                  <a:pt x="15" y="76"/>
                </a:cubicBezTo>
                <a:cubicBezTo>
                  <a:pt x="15" y="76"/>
                  <a:pt x="15" y="76"/>
                  <a:pt x="15" y="77"/>
                </a:cubicBezTo>
                <a:cubicBezTo>
                  <a:pt x="15" y="77"/>
                  <a:pt x="15" y="78"/>
                  <a:pt x="15" y="79"/>
                </a:cubicBezTo>
                <a:cubicBezTo>
                  <a:pt x="15" y="79"/>
                  <a:pt x="15" y="79"/>
                  <a:pt x="15" y="80"/>
                </a:cubicBezTo>
                <a:cubicBezTo>
                  <a:pt x="14" y="81"/>
                  <a:pt x="14" y="82"/>
                  <a:pt x="13" y="83"/>
                </a:cubicBezTo>
                <a:cubicBezTo>
                  <a:pt x="13" y="83"/>
                  <a:pt x="13" y="83"/>
                  <a:pt x="13" y="83"/>
                </a:cubicBezTo>
                <a:cubicBezTo>
                  <a:pt x="13" y="84"/>
                  <a:pt x="12" y="86"/>
                  <a:pt x="10" y="85"/>
                </a:cubicBezTo>
                <a:cubicBezTo>
                  <a:pt x="10" y="86"/>
                  <a:pt x="10" y="86"/>
                  <a:pt x="9" y="86"/>
                </a:cubicBezTo>
                <a:cubicBezTo>
                  <a:pt x="9" y="86"/>
                  <a:pt x="9" y="86"/>
                  <a:pt x="9" y="86"/>
                </a:cubicBezTo>
                <a:cubicBezTo>
                  <a:pt x="9" y="86"/>
                  <a:pt x="9" y="86"/>
                  <a:pt x="9" y="86"/>
                </a:cubicBezTo>
                <a:cubicBezTo>
                  <a:pt x="8" y="86"/>
                  <a:pt x="7" y="86"/>
                  <a:pt x="7" y="87"/>
                </a:cubicBezTo>
                <a:cubicBezTo>
                  <a:pt x="6" y="87"/>
                  <a:pt x="6" y="87"/>
                  <a:pt x="6" y="88"/>
                </a:cubicBezTo>
                <a:cubicBezTo>
                  <a:pt x="6" y="88"/>
                  <a:pt x="5" y="89"/>
                  <a:pt x="4" y="90"/>
                </a:cubicBezTo>
                <a:cubicBezTo>
                  <a:pt x="5" y="91"/>
                  <a:pt x="5" y="91"/>
                  <a:pt x="5" y="91"/>
                </a:cubicBezTo>
                <a:cubicBezTo>
                  <a:pt x="6" y="91"/>
                  <a:pt x="7" y="91"/>
                  <a:pt x="8" y="90"/>
                </a:cubicBezTo>
                <a:cubicBezTo>
                  <a:pt x="8" y="90"/>
                  <a:pt x="8" y="90"/>
                  <a:pt x="8" y="90"/>
                </a:cubicBezTo>
                <a:cubicBezTo>
                  <a:pt x="9" y="90"/>
                  <a:pt x="9" y="90"/>
                  <a:pt x="9" y="90"/>
                </a:cubicBezTo>
                <a:cubicBezTo>
                  <a:pt x="10" y="90"/>
                  <a:pt x="10" y="90"/>
                  <a:pt x="11" y="90"/>
                </a:cubicBezTo>
                <a:cubicBezTo>
                  <a:pt x="12" y="90"/>
                  <a:pt x="13" y="91"/>
                  <a:pt x="13" y="92"/>
                </a:cubicBezTo>
                <a:cubicBezTo>
                  <a:pt x="13" y="93"/>
                  <a:pt x="13" y="94"/>
                  <a:pt x="13" y="94"/>
                </a:cubicBezTo>
                <a:cubicBezTo>
                  <a:pt x="13" y="95"/>
                  <a:pt x="13" y="95"/>
                  <a:pt x="13" y="95"/>
                </a:cubicBezTo>
                <a:cubicBezTo>
                  <a:pt x="14" y="97"/>
                  <a:pt x="14" y="97"/>
                  <a:pt x="14" y="97"/>
                </a:cubicBezTo>
                <a:cubicBezTo>
                  <a:pt x="14" y="97"/>
                  <a:pt x="14" y="97"/>
                  <a:pt x="14" y="97"/>
                </a:cubicBezTo>
                <a:cubicBezTo>
                  <a:pt x="16" y="97"/>
                  <a:pt x="16" y="97"/>
                  <a:pt x="16" y="97"/>
                </a:cubicBezTo>
                <a:cubicBezTo>
                  <a:pt x="17" y="97"/>
                  <a:pt x="17" y="97"/>
                  <a:pt x="17" y="97"/>
                </a:cubicBezTo>
                <a:cubicBezTo>
                  <a:pt x="20" y="99"/>
                  <a:pt x="20" y="99"/>
                  <a:pt x="20" y="99"/>
                </a:cubicBezTo>
                <a:cubicBezTo>
                  <a:pt x="23" y="101"/>
                  <a:pt x="23" y="101"/>
                  <a:pt x="23" y="101"/>
                </a:cubicBezTo>
                <a:cubicBezTo>
                  <a:pt x="25" y="101"/>
                  <a:pt x="25" y="101"/>
                  <a:pt x="25" y="101"/>
                </a:cubicBezTo>
                <a:cubicBezTo>
                  <a:pt x="26" y="101"/>
                  <a:pt x="26" y="101"/>
                  <a:pt x="27" y="102"/>
                </a:cubicBezTo>
                <a:cubicBezTo>
                  <a:pt x="27" y="104"/>
                  <a:pt x="27" y="104"/>
                  <a:pt x="27" y="104"/>
                </a:cubicBezTo>
                <a:cubicBezTo>
                  <a:pt x="29" y="104"/>
                  <a:pt x="29" y="104"/>
                  <a:pt x="29" y="104"/>
                </a:cubicBezTo>
                <a:cubicBezTo>
                  <a:pt x="30" y="104"/>
                  <a:pt x="31" y="105"/>
                  <a:pt x="31" y="106"/>
                </a:cubicBezTo>
                <a:cubicBezTo>
                  <a:pt x="31" y="107"/>
                  <a:pt x="31" y="107"/>
                  <a:pt x="31" y="107"/>
                </a:cubicBezTo>
                <a:cubicBezTo>
                  <a:pt x="31" y="108"/>
                  <a:pt x="31" y="108"/>
                  <a:pt x="31" y="108"/>
                </a:cubicBezTo>
                <a:cubicBezTo>
                  <a:pt x="34" y="109"/>
                  <a:pt x="34" y="109"/>
                  <a:pt x="34" y="109"/>
                </a:cubicBezTo>
                <a:cubicBezTo>
                  <a:pt x="35" y="109"/>
                  <a:pt x="35" y="109"/>
                  <a:pt x="35" y="109"/>
                </a:cubicBezTo>
                <a:cubicBezTo>
                  <a:pt x="35" y="110"/>
                  <a:pt x="35" y="110"/>
                  <a:pt x="35" y="110"/>
                </a:cubicBezTo>
                <a:cubicBezTo>
                  <a:pt x="36" y="110"/>
                  <a:pt x="36" y="110"/>
                  <a:pt x="36" y="110"/>
                </a:cubicBezTo>
                <a:cubicBezTo>
                  <a:pt x="36" y="110"/>
                  <a:pt x="36" y="110"/>
                  <a:pt x="36" y="109"/>
                </a:cubicBezTo>
                <a:cubicBezTo>
                  <a:pt x="36" y="109"/>
                  <a:pt x="36" y="109"/>
                  <a:pt x="36" y="109"/>
                </a:cubicBezTo>
                <a:cubicBezTo>
                  <a:pt x="35" y="108"/>
                  <a:pt x="35" y="108"/>
                  <a:pt x="35" y="108"/>
                </a:cubicBezTo>
                <a:cubicBezTo>
                  <a:pt x="33" y="105"/>
                  <a:pt x="33" y="105"/>
                  <a:pt x="33" y="105"/>
                </a:cubicBezTo>
                <a:cubicBezTo>
                  <a:pt x="32" y="104"/>
                  <a:pt x="32" y="104"/>
                  <a:pt x="33" y="103"/>
                </a:cubicBezTo>
                <a:cubicBezTo>
                  <a:pt x="34" y="100"/>
                  <a:pt x="34" y="100"/>
                  <a:pt x="34" y="100"/>
                </a:cubicBezTo>
                <a:cubicBezTo>
                  <a:pt x="35" y="99"/>
                  <a:pt x="35" y="99"/>
                  <a:pt x="36" y="99"/>
                </a:cubicBezTo>
                <a:cubicBezTo>
                  <a:pt x="36" y="99"/>
                  <a:pt x="36" y="98"/>
                  <a:pt x="36" y="97"/>
                </a:cubicBezTo>
                <a:cubicBezTo>
                  <a:pt x="36" y="97"/>
                  <a:pt x="37" y="96"/>
                  <a:pt x="38" y="96"/>
                </a:cubicBezTo>
                <a:cubicBezTo>
                  <a:pt x="38" y="96"/>
                  <a:pt x="39" y="95"/>
                  <a:pt x="40" y="95"/>
                </a:cubicBezTo>
                <a:cubicBezTo>
                  <a:pt x="40" y="92"/>
                  <a:pt x="40" y="92"/>
                  <a:pt x="40" y="92"/>
                </a:cubicBezTo>
                <a:cubicBezTo>
                  <a:pt x="40" y="91"/>
                  <a:pt x="40" y="91"/>
                  <a:pt x="41" y="90"/>
                </a:cubicBezTo>
                <a:cubicBezTo>
                  <a:pt x="42" y="90"/>
                  <a:pt x="42" y="90"/>
                  <a:pt x="43" y="90"/>
                </a:cubicBezTo>
                <a:cubicBezTo>
                  <a:pt x="43" y="90"/>
                  <a:pt x="43" y="90"/>
                  <a:pt x="43" y="91"/>
                </a:cubicBezTo>
                <a:cubicBezTo>
                  <a:pt x="44" y="90"/>
                  <a:pt x="44" y="89"/>
                  <a:pt x="45" y="88"/>
                </a:cubicBezTo>
                <a:cubicBezTo>
                  <a:pt x="45" y="88"/>
                  <a:pt x="45" y="87"/>
                  <a:pt x="45" y="86"/>
                </a:cubicBezTo>
                <a:cubicBezTo>
                  <a:pt x="46" y="85"/>
                  <a:pt x="46" y="85"/>
                  <a:pt x="46" y="85"/>
                </a:cubicBezTo>
                <a:cubicBezTo>
                  <a:pt x="46" y="77"/>
                  <a:pt x="46" y="77"/>
                  <a:pt x="46" y="77"/>
                </a:cubicBezTo>
                <a:cubicBezTo>
                  <a:pt x="46" y="76"/>
                  <a:pt x="47" y="74"/>
                  <a:pt x="48" y="74"/>
                </a:cubicBezTo>
                <a:cubicBezTo>
                  <a:pt x="49" y="74"/>
                  <a:pt x="49" y="74"/>
                  <a:pt x="49" y="74"/>
                </a:cubicBezTo>
                <a:cubicBezTo>
                  <a:pt x="49" y="74"/>
                  <a:pt x="49" y="73"/>
                  <a:pt x="50" y="73"/>
                </a:cubicBezTo>
                <a:cubicBezTo>
                  <a:pt x="51" y="73"/>
                  <a:pt x="51" y="73"/>
                  <a:pt x="51" y="73"/>
                </a:cubicBezTo>
                <a:cubicBezTo>
                  <a:pt x="52" y="73"/>
                  <a:pt x="52" y="73"/>
                  <a:pt x="52" y="72"/>
                </a:cubicBezTo>
                <a:cubicBezTo>
                  <a:pt x="52" y="70"/>
                  <a:pt x="52" y="70"/>
                  <a:pt x="52" y="70"/>
                </a:cubicBezTo>
                <a:cubicBezTo>
                  <a:pt x="52" y="69"/>
                  <a:pt x="52" y="69"/>
                  <a:pt x="52" y="69"/>
                </a:cubicBezTo>
                <a:cubicBezTo>
                  <a:pt x="52" y="68"/>
                  <a:pt x="53" y="67"/>
                  <a:pt x="53" y="67"/>
                </a:cubicBezTo>
                <a:cubicBezTo>
                  <a:pt x="54" y="66"/>
                  <a:pt x="54" y="66"/>
                  <a:pt x="55" y="67"/>
                </a:cubicBezTo>
                <a:cubicBezTo>
                  <a:pt x="56" y="66"/>
                  <a:pt x="58" y="65"/>
                  <a:pt x="61" y="65"/>
                </a:cubicBezTo>
                <a:cubicBezTo>
                  <a:pt x="62" y="65"/>
                  <a:pt x="62" y="65"/>
                  <a:pt x="63" y="65"/>
                </a:cubicBezTo>
                <a:cubicBezTo>
                  <a:pt x="63" y="65"/>
                  <a:pt x="64" y="65"/>
                  <a:pt x="65" y="65"/>
                </a:cubicBezTo>
                <a:cubicBezTo>
                  <a:pt x="66" y="65"/>
                  <a:pt x="66" y="65"/>
                  <a:pt x="67" y="65"/>
                </a:cubicBezTo>
                <a:cubicBezTo>
                  <a:pt x="68" y="62"/>
                  <a:pt x="69" y="62"/>
                  <a:pt x="70" y="62"/>
                </a:cubicBezTo>
                <a:cubicBezTo>
                  <a:pt x="71" y="62"/>
                  <a:pt x="72" y="62"/>
                  <a:pt x="72" y="62"/>
                </a:cubicBezTo>
                <a:cubicBezTo>
                  <a:pt x="73" y="62"/>
                  <a:pt x="73" y="62"/>
                  <a:pt x="73" y="62"/>
                </a:cubicBezTo>
                <a:cubicBezTo>
                  <a:pt x="74" y="61"/>
                  <a:pt x="77" y="58"/>
                  <a:pt x="77" y="58"/>
                </a:cubicBezTo>
                <a:cubicBezTo>
                  <a:pt x="77" y="58"/>
                  <a:pt x="77" y="58"/>
                  <a:pt x="77" y="58"/>
                </a:cubicBezTo>
                <a:cubicBezTo>
                  <a:pt x="76" y="57"/>
                  <a:pt x="76" y="56"/>
                  <a:pt x="76" y="56"/>
                </a:cubicBezTo>
                <a:cubicBezTo>
                  <a:pt x="73" y="53"/>
                  <a:pt x="74" y="51"/>
                  <a:pt x="75" y="50"/>
                </a:cubicBezTo>
                <a:cubicBezTo>
                  <a:pt x="76" y="49"/>
                  <a:pt x="76" y="49"/>
                  <a:pt x="76" y="49"/>
                </a:cubicBezTo>
                <a:cubicBezTo>
                  <a:pt x="77" y="49"/>
                  <a:pt x="77" y="49"/>
                  <a:pt x="77" y="49"/>
                </a:cubicBezTo>
                <a:cubicBezTo>
                  <a:pt x="81" y="49"/>
                  <a:pt x="81" y="49"/>
                  <a:pt x="81" y="49"/>
                </a:cubicBezTo>
                <a:cubicBezTo>
                  <a:pt x="82" y="49"/>
                  <a:pt x="82" y="49"/>
                  <a:pt x="82" y="49"/>
                </a:cubicBezTo>
                <a:cubicBezTo>
                  <a:pt x="83" y="48"/>
                  <a:pt x="84" y="48"/>
                  <a:pt x="85" y="48"/>
                </a:cubicBezTo>
                <a:cubicBezTo>
                  <a:pt x="86" y="47"/>
                  <a:pt x="86" y="47"/>
                  <a:pt x="86" y="47"/>
                </a:cubicBezTo>
                <a:cubicBezTo>
                  <a:pt x="86" y="46"/>
                  <a:pt x="86" y="46"/>
                  <a:pt x="86" y="46"/>
                </a:cubicBezTo>
                <a:cubicBezTo>
                  <a:pt x="86" y="45"/>
                  <a:pt x="87" y="44"/>
                  <a:pt x="88" y="44"/>
                </a:cubicBezTo>
                <a:cubicBezTo>
                  <a:pt x="90" y="44"/>
                  <a:pt x="92" y="44"/>
                  <a:pt x="93" y="44"/>
                </a:cubicBezTo>
                <a:cubicBezTo>
                  <a:pt x="96" y="42"/>
                  <a:pt x="96" y="42"/>
                  <a:pt x="96" y="42"/>
                </a:cubicBezTo>
                <a:cubicBezTo>
                  <a:pt x="96" y="42"/>
                  <a:pt x="96" y="42"/>
                  <a:pt x="97" y="42"/>
                </a:cubicBezTo>
                <a:cubicBezTo>
                  <a:pt x="106" y="42"/>
                  <a:pt x="106" y="42"/>
                  <a:pt x="106" y="42"/>
                </a:cubicBezTo>
                <a:cubicBezTo>
                  <a:pt x="106" y="42"/>
                  <a:pt x="106" y="42"/>
                  <a:pt x="106" y="42"/>
                </a:cubicBezTo>
                <a:cubicBezTo>
                  <a:pt x="106" y="42"/>
                  <a:pt x="106" y="42"/>
                  <a:pt x="106" y="42"/>
                </a:cubicBezTo>
                <a:cubicBezTo>
                  <a:pt x="105" y="42"/>
                  <a:pt x="105" y="42"/>
                  <a:pt x="105" y="42"/>
                </a:cubicBezTo>
                <a:cubicBezTo>
                  <a:pt x="104" y="41"/>
                  <a:pt x="104" y="41"/>
                  <a:pt x="103" y="39"/>
                </a:cubicBezTo>
                <a:cubicBezTo>
                  <a:pt x="103" y="37"/>
                  <a:pt x="102" y="37"/>
                  <a:pt x="102" y="36"/>
                </a:cubicBezTo>
                <a:cubicBezTo>
                  <a:pt x="102" y="35"/>
                  <a:pt x="102" y="35"/>
                  <a:pt x="102" y="35"/>
                </a:cubicBezTo>
                <a:cubicBezTo>
                  <a:pt x="102" y="34"/>
                  <a:pt x="102" y="34"/>
                  <a:pt x="101" y="33"/>
                </a:cubicBezTo>
                <a:cubicBezTo>
                  <a:pt x="101" y="33"/>
                  <a:pt x="101" y="33"/>
                  <a:pt x="101" y="33"/>
                </a:cubicBezTo>
                <a:cubicBezTo>
                  <a:pt x="101" y="33"/>
                  <a:pt x="101" y="33"/>
                  <a:pt x="101" y="32"/>
                </a:cubicBezTo>
                <a:cubicBezTo>
                  <a:pt x="100" y="32"/>
                  <a:pt x="100" y="32"/>
                  <a:pt x="99" y="32"/>
                </a:cubicBezTo>
                <a:cubicBezTo>
                  <a:pt x="99" y="32"/>
                  <a:pt x="99" y="32"/>
                  <a:pt x="99" y="32"/>
                </a:cubicBezTo>
                <a:cubicBezTo>
                  <a:pt x="97" y="32"/>
                  <a:pt x="97" y="31"/>
                  <a:pt x="96" y="30"/>
                </a:cubicBezTo>
                <a:cubicBezTo>
                  <a:pt x="95" y="29"/>
                  <a:pt x="95" y="29"/>
                  <a:pt x="95" y="29"/>
                </a:cubicBezTo>
                <a:cubicBezTo>
                  <a:pt x="92" y="27"/>
                  <a:pt x="92" y="27"/>
                  <a:pt x="92" y="27"/>
                </a:cubicBezTo>
                <a:cubicBezTo>
                  <a:pt x="92" y="27"/>
                  <a:pt x="92" y="27"/>
                  <a:pt x="92" y="26"/>
                </a:cubicBezTo>
                <a:cubicBezTo>
                  <a:pt x="90" y="23"/>
                  <a:pt x="90" y="23"/>
                  <a:pt x="90" y="23"/>
                </a:cubicBezTo>
                <a:cubicBezTo>
                  <a:pt x="90" y="22"/>
                  <a:pt x="90" y="22"/>
                  <a:pt x="90" y="21"/>
                </a:cubicBezTo>
                <a:cubicBezTo>
                  <a:pt x="90" y="21"/>
                  <a:pt x="90" y="21"/>
                  <a:pt x="90" y="21"/>
                </a:cubicBezTo>
                <a:cubicBezTo>
                  <a:pt x="90" y="21"/>
                  <a:pt x="91" y="21"/>
                  <a:pt x="90" y="20"/>
                </a:cubicBezTo>
                <a:cubicBezTo>
                  <a:pt x="90" y="20"/>
                  <a:pt x="90" y="19"/>
                  <a:pt x="90" y="18"/>
                </a:cubicBezTo>
                <a:cubicBezTo>
                  <a:pt x="90" y="13"/>
                  <a:pt x="90" y="13"/>
                  <a:pt x="90" y="13"/>
                </a:cubicBezTo>
                <a:cubicBezTo>
                  <a:pt x="90" y="13"/>
                  <a:pt x="90" y="13"/>
                  <a:pt x="90" y="13"/>
                </a:cubicBezTo>
                <a:cubicBezTo>
                  <a:pt x="85" y="12"/>
                  <a:pt x="85" y="12"/>
                  <a:pt x="85" y="12"/>
                </a:cubicBezTo>
                <a:cubicBezTo>
                  <a:pt x="79" y="10"/>
                  <a:pt x="79" y="10"/>
                  <a:pt x="79" y="10"/>
                </a:cubicBezTo>
                <a:cubicBezTo>
                  <a:pt x="67" y="6"/>
                  <a:pt x="67" y="6"/>
                  <a:pt x="67" y="6"/>
                </a:cubicBezTo>
                <a:cubicBezTo>
                  <a:pt x="61" y="3"/>
                  <a:pt x="61" y="3"/>
                  <a:pt x="61" y="3"/>
                </a:cubicBezTo>
                <a:cubicBezTo>
                  <a:pt x="60" y="3"/>
                  <a:pt x="60" y="3"/>
                  <a:pt x="60" y="3"/>
                </a:cubicBezTo>
                <a:cubicBezTo>
                  <a:pt x="59" y="2"/>
                  <a:pt x="59" y="2"/>
                  <a:pt x="59" y="2"/>
                </a:cubicBezTo>
                <a:cubicBezTo>
                  <a:pt x="59" y="1"/>
                  <a:pt x="59" y="1"/>
                  <a:pt x="59" y="1"/>
                </a:cubicBezTo>
                <a:cubicBezTo>
                  <a:pt x="58" y="1"/>
                  <a:pt x="58" y="1"/>
                  <a:pt x="58" y="1"/>
                </a:cubicBezTo>
                <a:cubicBezTo>
                  <a:pt x="51" y="0"/>
                  <a:pt x="51" y="0"/>
                  <a:pt x="51" y="0"/>
                </a:cubicBezTo>
                <a:cubicBezTo>
                  <a:pt x="49" y="0"/>
                  <a:pt x="49" y="0"/>
                  <a:pt x="49" y="0"/>
                </a:cubicBezTo>
                <a:cubicBezTo>
                  <a:pt x="36" y="4"/>
                  <a:pt x="36" y="4"/>
                  <a:pt x="36" y="4"/>
                </a:cubicBezTo>
                <a:cubicBezTo>
                  <a:pt x="31" y="6"/>
                  <a:pt x="31" y="6"/>
                  <a:pt x="31" y="6"/>
                </a:cubicBezTo>
                <a:cubicBezTo>
                  <a:pt x="30" y="6"/>
                  <a:pt x="30" y="6"/>
                  <a:pt x="30" y="6"/>
                </a:cubicBezTo>
                <a:cubicBezTo>
                  <a:pt x="23" y="15"/>
                  <a:pt x="23" y="15"/>
                  <a:pt x="23" y="15"/>
                </a:cubicBezTo>
                <a:cubicBezTo>
                  <a:pt x="16" y="15"/>
                  <a:pt x="16" y="15"/>
                  <a:pt x="16" y="15"/>
                </a:cubicBezTo>
                <a:cubicBezTo>
                  <a:pt x="11" y="15"/>
                  <a:pt x="11" y="15"/>
                  <a:pt x="11" y="15"/>
                </a:cubicBezTo>
                <a:cubicBezTo>
                  <a:pt x="9" y="15"/>
                  <a:pt x="9" y="15"/>
                  <a:pt x="9" y="15"/>
                </a:cubicBezTo>
                <a:cubicBezTo>
                  <a:pt x="5" y="16"/>
                  <a:pt x="5" y="16"/>
                  <a:pt x="5" y="16"/>
                </a:cubicBezTo>
                <a:cubicBezTo>
                  <a:pt x="4" y="17"/>
                  <a:pt x="4" y="17"/>
                  <a:pt x="4" y="17"/>
                </a:cubicBezTo>
                <a:cubicBezTo>
                  <a:pt x="4" y="17"/>
                  <a:pt x="4" y="17"/>
                  <a:pt x="4" y="17"/>
                </a:cubicBezTo>
                <a:cubicBezTo>
                  <a:pt x="0" y="21"/>
                  <a:pt x="0" y="21"/>
                  <a:pt x="0" y="21"/>
                </a:cubicBezTo>
                <a:cubicBezTo>
                  <a:pt x="3" y="18"/>
                  <a:pt x="3" y="18"/>
                  <a:pt x="3" y="18"/>
                </a:cubicBezTo>
                <a:cubicBezTo>
                  <a:pt x="4" y="18"/>
                  <a:pt x="4" y="19"/>
                  <a:pt x="4" y="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Freeform 18">
            <a:extLst>
              <a:ext uri="{FF2B5EF4-FFF2-40B4-BE49-F238E27FC236}">
                <a16:creationId xmlns:a16="http://schemas.microsoft.com/office/drawing/2014/main" id="{F898DD38-564A-4D7E-B668-8C5A48E1E95A}"/>
              </a:ext>
            </a:extLst>
          </p:cNvPr>
          <p:cNvSpPr>
            <a:spLocks/>
          </p:cNvSpPr>
          <p:nvPr/>
        </p:nvSpPr>
        <p:spPr bwMode="auto">
          <a:xfrm>
            <a:off x="4472663" y="2152182"/>
            <a:ext cx="605367" cy="487363"/>
          </a:xfrm>
          <a:custGeom>
            <a:avLst/>
            <a:gdLst>
              <a:gd name="T0" fmla="*/ 234 w 250"/>
              <a:gd name="T1" fmla="*/ 117 h 219"/>
              <a:gd name="T2" fmla="*/ 226 w 250"/>
              <a:gd name="T3" fmla="*/ 108 h 219"/>
              <a:gd name="T4" fmla="*/ 218 w 250"/>
              <a:gd name="T5" fmla="*/ 112 h 219"/>
              <a:gd name="T6" fmla="*/ 210 w 250"/>
              <a:gd name="T7" fmla="*/ 96 h 219"/>
              <a:gd name="T8" fmla="*/ 224 w 250"/>
              <a:gd name="T9" fmla="*/ 86 h 219"/>
              <a:gd name="T10" fmla="*/ 227 w 250"/>
              <a:gd name="T11" fmla="*/ 82 h 219"/>
              <a:gd name="T12" fmla="*/ 227 w 250"/>
              <a:gd name="T13" fmla="*/ 71 h 219"/>
              <a:gd name="T14" fmla="*/ 214 w 250"/>
              <a:gd name="T15" fmla="*/ 67 h 219"/>
              <a:gd name="T16" fmla="*/ 203 w 250"/>
              <a:gd name="T17" fmla="*/ 54 h 219"/>
              <a:gd name="T18" fmla="*/ 192 w 250"/>
              <a:gd name="T19" fmla="*/ 42 h 219"/>
              <a:gd name="T20" fmla="*/ 199 w 250"/>
              <a:gd name="T21" fmla="*/ 30 h 219"/>
              <a:gd name="T22" fmla="*/ 196 w 250"/>
              <a:gd name="T23" fmla="*/ 15 h 219"/>
              <a:gd name="T24" fmla="*/ 188 w 250"/>
              <a:gd name="T25" fmla="*/ 12 h 219"/>
              <a:gd name="T26" fmla="*/ 174 w 250"/>
              <a:gd name="T27" fmla="*/ 11 h 219"/>
              <a:gd name="T28" fmla="*/ 166 w 250"/>
              <a:gd name="T29" fmla="*/ 5 h 219"/>
              <a:gd name="T30" fmla="*/ 162 w 250"/>
              <a:gd name="T31" fmla="*/ 0 h 219"/>
              <a:gd name="T32" fmla="*/ 153 w 250"/>
              <a:gd name="T33" fmla="*/ 4 h 219"/>
              <a:gd name="T34" fmla="*/ 142 w 250"/>
              <a:gd name="T35" fmla="*/ 3 h 219"/>
              <a:gd name="T36" fmla="*/ 131 w 250"/>
              <a:gd name="T37" fmla="*/ 3 h 219"/>
              <a:gd name="T38" fmla="*/ 125 w 250"/>
              <a:gd name="T39" fmla="*/ 5 h 219"/>
              <a:gd name="T40" fmla="*/ 119 w 250"/>
              <a:gd name="T41" fmla="*/ 8 h 219"/>
              <a:gd name="T42" fmla="*/ 105 w 250"/>
              <a:gd name="T43" fmla="*/ 10 h 219"/>
              <a:gd name="T44" fmla="*/ 87 w 250"/>
              <a:gd name="T45" fmla="*/ 16 h 219"/>
              <a:gd name="T46" fmla="*/ 74 w 250"/>
              <a:gd name="T47" fmla="*/ 25 h 219"/>
              <a:gd name="T48" fmla="*/ 68 w 250"/>
              <a:gd name="T49" fmla="*/ 36 h 219"/>
              <a:gd name="T50" fmla="*/ 68 w 250"/>
              <a:gd name="T51" fmla="*/ 46 h 219"/>
              <a:gd name="T52" fmla="*/ 59 w 250"/>
              <a:gd name="T53" fmla="*/ 54 h 219"/>
              <a:gd name="T54" fmla="*/ 46 w 250"/>
              <a:gd name="T55" fmla="*/ 53 h 219"/>
              <a:gd name="T56" fmla="*/ 40 w 250"/>
              <a:gd name="T57" fmla="*/ 60 h 219"/>
              <a:gd name="T58" fmla="*/ 40 w 250"/>
              <a:gd name="T59" fmla="*/ 72 h 219"/>
              <a:gd name="T60" fmla="*/ 36 w 250"/>
              <a:gd name="T61" fmla="*/ 80 h 219"/>
              <a:gd name="T62" fmla="*/ 24 w 250"/>
              <a:gd name="T63" fmla="*/ 85 h 219"/>
              <a:gd name="T64" fmla="*/ 40 w 250"/>
              <a:gd name="T65" fmla="*/ 86 h 219"/>
              <a:gd name="T66" fmla="*/ 48 w 250"/>
              <a:gd name="T67" fmla="*/ 104 h 219"/>
              <a:gd name="T68" fmla="*/ 32 w 250"/>
              <a:gd name="T69" fmla="*/ 110 h 219"/>
              <a:gd name="T70" fmla="*/ 30 w 250"/>
              <a:gd name="T71" fmla="*/ 119 h 219"/>
              <a:gd name="T72" fmla="*/ 31 w 250"/>
              <a:gd name="T73" fmla="*/ 130 h 219"/>
              <a:gd name="T74" fmla="*/ 17 w 250"/>
              <a:gd name="T75" fmla="*/ 138 h 219"/>
              <a:gd name="T76" fmla="*/ 6 w 250"/>
              <a:gd name="T77" fmla="*/ 148 h 219"/>
              <a:gd name="T78" fmla="*/ 0 w 250"/>
              <a:gd name="T79" fmla="*/ 155 h 219"/>
              <a:gd name="T80" fmla="*/ 10 w 250"/>
              <a:gd name="T81" fmla="*/ 163 h 219"/>
              <a:gd name="T82" fmla="*/ 21 w 250"/>
              <a:gd name="T83" fmla="*/ 166 h 219"/>
              <a:gd name="T84" fmla="*/ 33 w 250"/>
              <a:gd name="T85" fmla="*/ 174 h 219"/>
              <a:gd name="T86" fmla="*/ 43 w 250"/>
              <a:gd name="T87" fmla="*/ 178 h 219"/>
              <a:gd name="T88" fmla="*/ 49 w 250"/>
              <a:gd name="T89" fmla="*/ 189 h 219"/>
              <a:gd name="T90" fmla="*/ 53 w 250"/>
              <a:gd name="T91" fmla="*/ 202 h 219"/>
              <a:gd name="T92" fmla="*/ 69 w 250"/>
              <a:gd name="T93" fmla="*/ 213 h 219"/>
              <a:gd name="T94" fmla="*/ 87 w 250"/>
              <a:gd name="T95" fmla="*/ 212 h 219"/>
              <a:gd name="T96" fmla="*/ 112 w 250"/>
              <a:gd name="T97" fmla="*/ 213 h 219"/>
              <a:gd name="T98" fmla="*/ 125 w 250"/>
              <a:gd name="T99" fmla="*/ 217 h 219"/>
              <a:gd name="T100" fmla="*/ 138 w 250"/>
              <a:gd name="T101" fmla="*/ 211 h 219"/>
              <a:gd name="T102" fmla="*/ 143 w 250"/>
              <a:gd name="T103" fmla="*/ 187 h 219"/>
              <a:gd name="T104" fmla="*/ 156 w 250"/>
              <a:gd name="T105" fmla="*/ 177 h 219"/>
              <a:gd name="T106" fmla="*/ 169 w 250"/>
              <a:gd name="T107" fmla="*/ 181 h 219"/>
              <a:gd name="T108" fmla="*/ 175 w 250"/>
              <a:gd name="T109" fmla="*/ 184 h 219"/>
              <a:gd name="T110" fmla="*/ 177 w 250"/>
              <a:gd name="T111" fmla="*/ 171 h 219"/>
              <a:gd name="T112" fmla="*/ 187 w 250"/>
              <a:gd name="T113" fmla="*/ 166 h 219"/>
              <a:gd name="T114" fmla="*/ 205 w 250"/>
              <a:gd name="T115" fmla="*/ 166 h 219"/>
              <a:gd name="T116" fmla="*/ 220 w 250"/>
              <a:gd name="T117" fmla="*/ 157 h 219"/>
              <a:gd name="T118" fmla="*/ 221 w 250"/>
              <a:gd name="T119" fmla="*/ 152 h 219"/>
              <a:gd name="T120" fmla="*/ 213 w 250"/>
              <a:gd name="T121" fmla="*/ 148 h 219"/>
              <a:gd name="T122" fmla="*/ 229 w 250"/>
              <a:gd name="T123" fmla="*/ 143 h 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50" h="219">
                <a:moveTo>
                  <a:pt x="246" y="120"/>
                </a:moveTo>
                <a:cubicBezTo>
                  <a:pt x="245" y="120"/>
                  <a:pt x="245" y="119"/>
                  <a:pt x="244" y="119"/>
                </a:cubicBezTo>
                <a:cubicBezTo>
                  <a:pt x="244" y="119"/>
                  <a:pt x="244" y="119"/>
                  <a:pt x="244" y="119"/>
                </a:cubicBezTo>
                <a:cubicBezTo>
                  <a:pt x="242" y="120"/>
                  <a:pt x="240" y="119"/>
                  <a:pt x="240" y="118"/>
                </a:cubicBezTo>
                <a:cubicBezTo>
                  <a:pt x="239" y="118"/>
                  <a:pt x="239" y="117"/>
                  <a:pt x="239" y="117"/>
                </a:cubicBezTo>
                <a:cubicBezTo>
                  <a:pt x="236" y="117"/>
                  <a:pt x="234" y="117"/>
                  <a:pt x="234" y="117"/>
                </a:cubicBezTo>
                <a:cubicBezTo>
                  <a:pt x="233" y="117"/>
                  <a:pt x="233" y="117"/>
                  <a:pt x="233" y="117"/>
                </a:cubicBezTo>
                <a:cubicBezTo>
                  <a:pt x="232" y="116"/>
                  <a:pt x="230" y="115"/>
                  <a:pt x="230" y="113"/>
                </a:cubicBezTo>
                <a:cubicBezTo>
                  <a:pt x="229" y="113"/>
                  <a:pt x="229" y="113"/>
                  <a:pt x="229" y="113"/>
                </a:cubicBezTo>
                <a:cubicBezTo>
                  <a:pt x="228" y="112"/>
                  <a:pt x="228" y="111"/>
                  <a:pt x="227" y="111"/>
                </a:cubicBezTo>
                <a:cubicBezTo>
                  <a:pt x="227" y="110"/>
                  <a:pt x="227" y="109"/>
                  <a:pt x="227" y="109"/>
                </a:cubicBezTo>
                <a:cubicBezTo>
                  <a:pt x="227" y="109"/>
                  <a:pt x="227" y="109"/>
                  <a:pt x="226" y="108"/>
                </a:cubicBezTo>
                <a:cubicBezTo>
                  <a:pt x="224" y="107"/>
                  <a:pt x="224" y="107"/>
                  <a:pt x="224" y="107"/>
                </a:cubicBezTo>
                <a:cubicBezTo>
                  <a:pt x="221" y="106"/>
                  <a:pt x="221" y="106"/>
                  <a:pt x="221" y="106"/>
                </a:cubicBezTo>
                <a:cubicBezTo>
                  <a:pt x="220" y="109"/>
                  <a:pt x="220" y="109"/>
                  <a:pt x="220" y="109"/>
                </a:cubicBezTo>
                <a:cubicBezTo>
                  <a:pt x="220" y="109"/>
                  <a:pt x="220" y="109"/>
                  <a:pt x="220" y="109"/>
                </a:cubicBezTo>
                <a:cubicBezTo>
                  <a:pt x="220" y="110"/>
                  <a:pt x="220" y="110"/>
                  <a:pt x="220" y="110"/>
                </a:cubicBezTo>
                <a:cubicBezTo>
                  <a:pt x="219" y="110"/>
                  <a:pt x="219" y="111"/>
                  <a:pt x="218" y="112"/>
                </a:cubicBezTo>
                <a:cubicBezTo>
                  <a:pt x="216" y="112"/>
                  <a:pt x="215" y="111"/>
                  <a:pt x="214" y="110"/>
                </a:cubicBezTo>
                <a:cubicBezTo>
                  <a:pt x="212" y="109"/>
                  <a:pt x="210" y="108"/>
                  <a:pt x="209" y="108"/>
                </a:cubicBezTo>
                <a:cubicBezTo>
                  <a:pt x="209" y="108"/>
                  <a:pt x="208" y="108"/>
                  <a:pt x="207" y="108"/>
                </a:cubicBezTo>
                <a:cubicBezTo>
                  <a:pt x="205" y="107"/>
                  <a:pt x="206" y="105"/>
                  <a:pt x="207" y="103"/>
                </a:cubicBezTo>
                <a:cubicBezTo>
                  <a:pt x="208" y="99"/>
                  <a:pt x="208" y="99"/>
                  <a:pt x="208" y="99"/>
                </a:cubicBezTo>
                <a:cubicBezTo>
                  <a:pt x="208" y="98"/>
                  <a:pt x="209" y="97"/>
                  <a:pt x="210" y="96"/>
                </a:cubicBezTo>
                <a:cubicBezTo>
                  <a:pt x="211" y="95"/>
                  <a:pt x="211" y="95"/>
                  <a:pt x="211" y="95"/>
                </a:cubicBezTo>
                <a:cubicBezTo>
                  <a:pt x="211" y="94"/>
                  <a:pt x="212" y="93"/>
                  <a:pt x="214" y="92"/>
                </a:cubicBezTo>
                <a:cubicBezTo>
                  <a:pt x="217" y="90"/>
                  <a:pt x="218" y="89"/>
                  <a:pt x="218" y="89"/>
                </a:cubicBezTo>
                <a:cubicBezTo>
                  <a:pt x="219" y="89"/>
                  <a:pt x="219" y="89"/>
                  <a:pt x="220" y="89"/>
                </a:cubicBezTo>
                <a:cubicBezTo>
                  <a:pt x="220" y="89"/>
                  <a:pt x="220" y="89"/>
                  <a:pt x="221" y="89"/>
                </a:cubicBezTo>
                <a:cubicBezTo>
                  <a:pt x="222" y="88"/>
                  <a:pt x="224" y="86"/>
                  <a:pt x="224" y="86"/>
                </a:cubicBezTo>
                <a:cubicBezTo>
                  <a:pt x="226" y="85"/>
                  <a:pt x="226" y="85"/>
                  <a:pt x="226" y="85"/>
                </a:cubicBezTo>
                <a:cubicBezTo>
                  <a:pt x="226" y="85"/>
                  <a:pt x="226" y="85"/>
                  <a:pt x="226" y="85"/>
                </a:cubicBezTo>
                <a:cubicBezTo>
                  <a:pt x="227" y="85"/>
                  <a:pt x="227" y="84"/>
                  <a:pt x="227" y="84"/>
                </a:cubicBezTo>
                <a:cubicBezTo>
                  <a:pt x="227" y="84"/>
                  <a:pt x="227" y="84"/>
                  <a:pt x="227" y="84"/>
                </a:cubicBezTo>
                <a:cubicBezTo>
                  <a:pt x="227" y="83"/>
                  <a:pt x="227" y="83"/>
                  <a:pt x="227" y="83"/>
                </a:cubicBezTo>
                <a:cubicBezTo>
                  <a:pt x="227" y="82"/>
                  <a:pt x="227" y="82"/>
                  <a:pt x="227" y="82"/>
                </a:cubicBezTo>
                <a:cubicBezTo>
                  <a:pt x="222" y="77"/>
                  <a:pt x="222" y="77"/>
                  <a:pt x="222" y="77"/>
                </a:cubicBezTo>
                <a:cubicBezTo>
                  <a:pt x="222" y="76"/>
                  <a:pt x="221" y="76"/>
                  <a:pt x="222" y="75"/>
                </a:cubicBezTo>
                <a:cubicBezTo>
                  <a:pt x="222" y="73"/>
                  <a:pt x="222" y="73"/>
                  <a:pt x="222" y="73"/>
                </a:cubicBezTo>
                <a:cubicBezTo>
                  <a:pt x="222" y="72"/>
                  <a:pt x="223" y="72"/>
                  <a:pt x="224" y="72"/>
                </a:cubicBezTo>
                <a:cubicBezTo>
                  <a:pt x="226" y="72"/>
                  <a:pt x="226" y="72"/>
                  <a:pt x="226" y="72"/>
                </a:cubicBezTo>
                <a:cubicBezTo>
                  <a:pt x="227" y="71"/>
                  <a:pt x="227" y="71"/>
                  <a:pt x="227" y="71"/>
                </a:cubicBezTo>
                <a:cubicBezTo>
                  <a:pt x="227" y="71"/>
                  <a:pt x="227" y="71"/>
                  <a:pt x="227" y="71"/>
                </a:cubicBezTo>
                <a:cubicBezTo>
                  <a:pt x="227" y="70"/>
                  <a:pt x="227" y="70"/>
                  <a:pt x="227" y="70"/>
                </a:cubicBezTo>
                <a:cubicBezTo>
                  <a:pt x="218" y="70"/>
                  <a:pt x="218" y="70"/>
                  <a:pt x="218" y="70"/>
                </a:cubicBezTo>
                <a:cubicBezTo>
                  <a:pt x="217" y="70"/>
                  <a:pt x="216" y="69"/>
                  <a:pt x="216" y="68"/>
                </a:cubicBezTo>
                <a:cubicBezTo>
                  <a:pt x="216" y="68"/>
                  <a:pt x="216" y="68"/>
                  <a:pt x="216" y="68"/>
                </a:cubicBezTo>
                <a:cubicBezTo>
                  <a:pt x="215" y="68"/>
                  <a:pt x="215" y="68"/>
                  <a:pt x="214" y="67"/>
                </a:cubicBezTo>
                <a:cubicBezTo>
                  <a:pt x="210" y="67"/>
                  <a:pt x="210" y="67"/>
                  <a:pt x="210" y="67"/>
                </a:cubicBezTo>
                <a:cubicBezTo>
                  <a:pt x="210" y="67"/>
                  <a:pt x="209" y="67"/>
                  <a:pt x="209" y="66"/>
                </a:cubicBezTo>
                <a:cubicBezTo>
                  <a:pt x="206" y="63"/>
                  <a:pt x="206" y="63"/>
                  <a:pt x="206" y="63"/>
                </a:cubicBezTo>
                <a:cubicBezTo>
                  <a:pt x="206" y="62"/>
                  <a:pt x="205" y="61"/>
                  <a:pt x="205" y="60"/>
                </a:cubicBezTo>
                <a:cubicBezTo>
                  <a:pt x="205" y="59"/>
                  <a:pt x="204" y="58"/>
                  <a:pt x="204" y="57"/>
                </a:cubicBezTo>
                <a:cubicBezTo>
                  <a:pt x="203" y="56"/>
                  <a:pt x="203" y="55"/>
                  <a:pt x="203" y="54"/>
                </a:cubicBezTo>
                <a:cubicBezTo>
                  <a:pt x="203" y="54"/>
                  <a:pt x="203" y="54"/>
                  <a:pt x="203" y="53"/>
                </a:cubicBezTo>
                <a:cubicBezTo>
                  <a:pt x="202" y="53"/>
                  <a:pt x="202" y="53"/>
                  <a:pt x="202" y="52"/>
                </a:cubicBezTo>
                <a:cubicBezTo>
                  <a:pt x="199" y="50"/>
                  <a:pt x="199" y="50"/>
                  <a:pt x="199" y="50"/>
                </a:cubicBezTo>
                <a:cubicBezTo>
                  <a:pt x="199" y="50"/>
                  <a:pt x="198" y="49"/>
                  <a:pt x="197" y="48"/>
                </a:cubicBezTo>
                <a:cubicBezTo>
                  <a:pt x="196" y="47"/>
                  <a:pt x="195" y="45"/>
                  <a:pt x="194" y="43"/>
                </a:cubicBezTo>
                <a:cubicBezTo>
                  <a:pt x="193" y="43"/>
                  <a:pt x="192" y="43"/>
                  <a:pt x="192" y="42"/>
                </a:cubicBezTo>
                <a:cubicBezTo>
                  <a:pt x="191" y="40"/>
                  <a:pt x="193" y="38"/>
                  <a:pt x="193" y="38"/>
                </a:cubicBezTo>
                <a:cubicBezTo>
                  <a:pt x="194" y="37"/>
                  <a:pt x="195" y="36"/>
                  <a:pt x="196" y="36"/>
                </a:cubicBezTo>
                <a:cubicBezTo>
                  <a:pt x="196" y="36"/>
                  <a:pt x="196" y="36"/>
                  <a:pt x="196" y="36"/>
                </a:cubicBezTo>
                <a:cubicBezTo>
                  <a:pt x="197" y="32"/>
                  <a:pt x="197" y="32"/>
                  <a:pt x="197" y="32"/>
                </a:cubicBezTo>
                <a:cubicBezTo>
                  <a:pt x="198" y="32"/>
                  <a:pt x="198" y="32"/>
                  <a:pt x="198" y="32"/>
                </a:cubicBezTo>
                <a:cubicBezTo>
                  <a:pt x="199" y="31"/>
                  <a:pt x="199" y="31"/>
                  <a:pt x="199" y="30"/>
                </a:cubicBezTo>
                <a:cubicBezTo>
                  <a:pt x="200" y="27"/>
                  <a:pt x="200" y="27"/>
                  <a:pt x="200" y="27"/>
                </a:cubicBezTo>
                <a:cubicBezTo>
                  <a:pt x="200" y="27"/>
                  <a:pt x="200" y="27"/>
                  <a:pt x="200" y="27"/>
                </a:cubicBezTo>
                <a:cubicBezTo>
                  <a:pt x="200" y="27"/>
                  <a:pt x="200" y="27"/>
                  <a:pt x="200" y="26"/>
                </a:cubicBezTo>
                <a:cubicBezTo>
                  <a:pt x="198" y="21"/>
                  <a:pt x="198" y="21"/>
                  <a:pt x="198" y="21"/>
                </a:cubicBezTo>
                <a:cubicBezTo>
                  <a:pt x="197" y="20"/>
                  <a:pt x="197" y="19"/>
                  <a:pt x="197" y="17"/>
                </a:cubicBezTo>
                <a:cubicBezTo>
                  <a:pt x="197" y="16"/>
                  <a:pt x="197" y="15"/>
                  <a:pt x="196" y="15"/>
                </a:cubicBezTo>
                <a:cubicBezTo>
                  <a:pt x="196" y="15"/>
                  <a:pt x="196" y="15"/>
                  <a:pt x="196" y="15"/>
                </a:cubicBezTo>
                <a:cubicBezTo>
                  <a:pt x="195" y="15"/>
                  <a:pt x="195" y="15"/>
                  <a:pt x="195" y="15"/>
                </a:cubicBezTo>
                <a:cubicBezTo>
                  <a:pt x="194" y="14"/>
                  <a:pt x="193" y="13"/>
                  <a:pt x="193" y="13"/>
                </a:cubicBezTo>
                <a:cubicBezTo>
                  <a:pt x="192" y="13"/>
                  <a:pt x="191" y="12"/>
                  <a:pt x="191" y="12"/>
                </a:cubicBezTo>
                <a:cubicBezTo>
                  <a:pt x="190" y="12"/>
                  <a:pt x="190" y="12"/>
                  <a:pt x="190" y="12"/>
                </a:cubicBezTo>
                <a:cubicBezTo>
                  <a:pt x="189" y="12"/>
                  <a:pt x="189" y="12"/>
                  <a:pt x="188" y="12"/>
                </a:cubicBezTo>
                <a:cubicBezTo>
                  <a:pt x="187" y="12"/>
                  <a:pt x="186" y="13"/>
                  <a:pt x="185" y="13"/>
                </a:cubicBezTo>
                <a:cubicBezTo>
                  <a:pt x="184" y="14"/>
                  <a:pt x="183" y="13"/>
                  <a:pt x="181" y="13"/>
                </a:cubicBezTo>
                <a:cubicBezTo>
                  <a:pt x="178" y="13"/>
                  <a:pt x="177" y="12"/>
                  <a:pt x="176" y="12"/>
                </a:cubicBezTo>
                <a:cubicBezTo>
                  <a:pt x="176" y="11"/>
                  <a:pt x="175" y="11"/>
                  <a:pt x="175" y="11"/>
                </a:cubicBezTo>
                <a:cubicBezTo>
                  <a:pt x="175" y="11"/>
                  <a:pt x="175" y="11"/>
                  <a:pt x="175" y="11"/>
                </a:cubicBezTo>
                <a:cubicBezTo>
                  <a:pt x="174" y="11"/>
                  <a:pt x="174" y="11"/>
                  <a:pt x="174" y="11"/>
                </a:cubicBezTo>
                <a:cubicBezTo>
                  <a:pt x="174" y="11"/>
                  <a:pt x="174" y="11"/>
                  <a:pt x="173" y="10"/>
                </a:cubicBezTo>
                <a:cubicBezTo>
                  <a:pt x="172" y="10"/>
                  <a:pt x="172" y="10"/>
                  <a:pt x="172" y="10"/>
                </a:cubicBezTo>
                <a:cubicBezTo>
                  <a:pt x="172" y="11"/>
                  <a:pt x="171" y="11"/>
                  <a:pt x="171" y="11"/>
                </a:cubicBezTo>
                <a:cubicBezTo>
                  <a:pt x="170" y="11"/>
                  <a:pt x="169" y="10"/>
                  <a:pt x="168" y="9"/>
                </a:cubicBezTo>
                <a:cubicBezTo>
                  <a:pt x="167" y="8"/>
                  <a:pt x="167" y="8"/>
                  <a:pt x="167" y="8"/>
                </a:cubicBezTo>
                <a:cubicBezTo>
                  <a:pt x="166" y="7"/>
                  <a:pt x="166" y="6"/>
                  <a:pt x="166" y="5"/>
                </a:cubicBezTo>
                <a:cubicBezTo>
                  <a:pt x="166" y="5"/>
                  <a:pt x="166" y="5"/>
                  <a:pt x="166" y="5"/>
                </a:cubicBezTo>
                <a:cubicBezTo>
                  <a:pt x="166" y="3"/>
                  <a:pt x="166" y="3"/>
                  <a:pt x="167" y="2"/>
                </a:cubicBezTo>
                <a:cubicBezTo>
                  <a:pt x="165" y="1"/>
                  <a:pt x="165" y="1"/>
                  <a:pt x="165" y="1"/>
                </a:cubicBezTo>
                <a:cubicBezTo>
                  <a:pt x="165" y="1"/>
                  <a:pt x="164" y="1"/>
                  <a:pt x="164" y="0"/>
                </a:cubicBezTo>
                <a:cubicBezTo>
                  <a:pt x="164" y="0"/>
                  <a:pt x="164" y="0"/>
                  <a:pt x="163" y="0"/>
                </a:cubicBezTo>
                <a:cubicBezTo>
                  <a:pt x="162" y="0"/>
                  <a:pt x="162" y="0"/>
                  <a:pt x="162" y="0"/>
                </a:cubicBezTo>
                <a:cubicBezTo>
                  <a:pt x="161" y="0"/>
                  <a:pt x="160" y="1"/>
                  <a:pt x="159" y="1"/>
                </a:cubicBezTo>
                <a:cubicBezTo>
                  <a:pt x="158" y="1"/>
                  <a:pt x="157" y="0"/>
                  <a:pt x="156" y="0"/>
                </a:cubicBezTo>
                <a:cubicBezTo>
                  <a:pt x="156" y="0"/>
                  <a:pt x="156" y="0"/>
                  <a:pt x="156" y="0"/>
                </a:cubicBezTo>
                <a:cubicBezTo>
                  <a:pt x="155" y="1"/>
                  <a:pt x="155" y="1"/>
                  <a:pt x="155" y="1"/>
                </a:cubicBezTo>
                <a:cubicBezTo>
                  <a:pt x="155" y="2"/>
                  <a:pt x="155" y="2"/>
                  <a:pt x="155" y="2"/>
                </a:cubicBezTo>
                <a:cubicBezTo>
                  <a:pt x="155" y="3"/>
                  <a:pt x="154" y="4"/>
                  <a:pt x="153" y="4"/>
                </a:cubicBezTo>
                <a:cubicBezTo>
                  <a:pt x="153" y="4"/>
                  <a:pt x="153" y="4"/>
                  <a:pt x="151" y="4"/>
                </a:cubicBezTo>
                <a:cubicBezTo>
                  <a:pt x="150" y="4"/>
                  <a:pt x="150" y="4"/>
                  <a:pt x="149" y="4"/>
                </a:cubicBezTo>
                <a:cubicBezTo>
                  <a:pt x="149" y="4"/>
                  <a:pt x="148" y="4"/>
                  <a:pt x="147" y="4"/>
                </a:cubicBezTo>
                <a:cubicBezTo>
                  <a:pt x="147" y="4"/>
                  <a:pt x="147" y="4"/>
                  <a:pt x="147" y="4"/>
                </a:cubicBezTo>
                <a:cubicBezTo>
                  <a:pt x="146" y="5"/>
                  <a:pt x="144" y="5"/>
                  <a:pt x="143" y="4"/>
                </a:cubicBezTo>
                <a:cubicBezTo>
                  <a:pt x="142" y="3"/>
                  <a:pt x="142" y="3"/>
                  <a:pt x="142" y="3"/>
                </a:cubicBezTo>
                <a:cubicBezTo>
                  <a:pt x="140" y="2"/>
                  <a:pt x="140" y="2"/>
                  <a:pt x="140" y="2"/>
                </a:cubicBezTo>
                <a:cubicBezTo>
                  <a:pt x="136" y="2"/>
                  <a:pt x="136" y="2"/>
                  <a:pt x="136" y="2"/>
                </a:cubicBezTo>
                <a:cubicBezTo>
                  <a:pt x="135" y="4"/>
                  <a:pt x="135" y="4"/>
                  <a:pt x="135" y="4"/>
                </a:cubicBezTo>
                <a:cubicBezTo>
                  <a:pt x="134" y="4"/>
                  <a:pt x="134" y="4"/>
                  <a:pt x="133" y="4"/>
                </a:cubicBezTo>
                <a:cubicBezTo>
                  <a:pt x="133" y="4"/>
                  <a:pt x="132" y="4"/>
                  <a:pt x="132" y="3"/>
                </a:cubicBezTo>
                <a:cubicBezTo>
                  <a:pt x="131" y="3"/>
                  <a:pt x="131" y="3"/>
                  <a:pt x="131" y="3"/>
                </a:cubicBezTo>
                <a:cubicBezTo>
                  <a:pt x="130" y="3"/>
                  <a:pt x="130" y="3"/>
                  <a:pt x="130" y="3"/>
                </a:cubicBezTo>
                <a:cubicBezTo>
                  <a:pt x="130" y="3"/>
                  <a:pt x="129" y="3"/>
                  <a:pt x="129" y="2"/>
                </a:cubicBezTo>
                <a:cubicBezTo>
                  <a:pt x="128" y="2"/>
                  <a:pt x="128" y="2"/>
                  <a:pt x="128" y="2"/>
                </a:cubicBezTo>
                <a:cubicBezTo>
                  <a:pt x="128" y="2"/>
                  <a:pt x="128" y="3"/>
                  <a:pt x="127" y="3"/>
                </a:cubicBezTo>
                <a:cubicBezTo>
                  <a:pt x="127" y="3"/>
                  <a:pt x="126" y="5"/>
                  <a:pt x="125" y="5"/>
                </a:cubicBezTo>
                <a:cubicBezTo>
                  <a:pt x="125" y="5"/>
                  <a:pt x="125" y="5"/>
                  <a:pt x="125" y="5"/>
                </a:cubicBezTo>
                <a:cubicBezTo>
                  <a:pt x="124" y="5"/>
                  <a:pt x="123" y="5"/>
                  <a:pt x="122" y="3"/>
                </a:cubicBezTo>
                <a:cubicBezTo>
                  <a:pt x="122" y="3"/>
                  <a:pt x="121" y="3"/>
                  <a:pt x="121" y="2"/>
                </a:cubicBezTo>
                <a:cubicBezTo>
                  <a:pt x="120" y="2"/>
                  <a:pt x="120" y="2"/>
                  <a:pt x="120" y="2"/>
                </a:cubicBezTo>
                <a:cubicBezTo>
                  <a:pt x="120" y="2"/>
                  <a:pt x="120" y="2"/>
                  <a:pt x="119" y="2"/>
                </a:cubicBezTo>
                <a:cubicBezTo>
                  <a:pt x="119" y="6"/>
                  <a:pt x="119" y="6"/>
                  <a:pt x="119" y="6"/>
                </a:cubicBezTo>
                <a:cubicBezTo>
                  <a:pt x="119" y="7"/>
                  <a:pt x="119" y="7"/>
                  <a:pt x="119" y="8"/>
                </a:cubicBezTo>
                <a:cubicBezTo>
                  <a:pt x="117" y="9"/>
                  <a:pt x="117" y="9"/>
                  <a:pt x="117" y="9"/>
                </a:cubicBezTo>
                <a:cubicBezTo>
                  <a:pt x="116" y="9"/>
                  <a:pt x="116" y="10"/>
                  <a:pt x="116" y="10"/>
                </a:cubicBezTo>
                <a:cubicBezTo>
                  <a:pt x="113" y="10"/>
                  <a:pt x="113" y="10"/>
                  <a:pt x="113" y="10"/>
                </a:cubicBezTo>
                <a:cubicBezTo>
                  <a:pt x="112" y="9"/>
                  <a:pt x="112" y="9"/>
                  <a:pt x="112" y="9"/>
                </a:cubicBezTo>
                <a:cubicBezTo>
                  <a:pt x="111" y="10"/>
                  <a:pt x="109" y="10"/>
                  <a:pt x="107" y="9"/>
                </a:cubicBezTo>
                <a:cubicBezTo>
                  <a:pt x="106" y="9"/>
                  <a:pt x="105" y="9"/>
                  <a:pt x="105" y="10"/>
                </a:cubicBezTo>
                <a:cubicBezTo>
                  <a:pt x="104" y="11"/>
                  <a:pt x="104" y="11"/>
                  <a:pt x="104" y="11"/>
                </a:cubicBezTo>
                <a:cubicBezTo>
                  <a:pt x="103" y="11"/>
                  <a:pt x="103" y="11"/>
                  <a:pt x="102" y="11"/>
                </a:cubicBezTo>
                <a:cubicBezTo>
                  <a:pt x="91" y="11"/>
                  <a:pt x="91" y="11"/>
                  <a:pt x="91" y="11"/>
                </a:cubicBezTo>
                <a:cubicBezTo>
                  <a:pt x="90" y="11"/>
                  <a:pt x="89" y="10"/>
                  <a:pt x="89" y="9"/>
                </a:cubicBezTo>
                <a:cubicBezTo>
                  <a:pt x="89" y="9"/>
                  <a:pt x="89" y="9"/>
                  <a:pt x="89" y="9"/>
                </a:cubicBezTo>
                <a:cubicBezTo>
                  <a:pt x="87" y="16"/>
                  <a:pt x="87" y="16"/>
                  <a:pt x="87" y="16"/>
                </a:cubicBezTo>
                <a:cubicBezTo>
                  <a:pt x="87" y="17"/>
                  <a:pt x="87" y="18"/>
                  <a:pt x="87" y="18"/>
                </a:cubicBezTo>
                <a:cubicBezTo>
                  <a:pt x="86" y="20"/>
                  <a:pt x="85" y="22"/>
                  <a:pt x="83" y="22"/>
                </a:cubicBezTo>
                <a:cubicBezTo>
                  <a:pt x="80" y="23"/>
                  <a:pt x="78" y="24"/>
                  <a:pt x="78" y="24"/>
                </a:cubicBezTo>
                <a:cubicBezTo>
                  <a:pt x="77" y="24"/>
                  <a:pt x="77" y="24"/>
                  <a:pt x="77" y="24"/>
                </a:cubicBezTo>
                <a:cubicBezTo>
                  <a:pt x="75" y="24"/>
                  <a:pt x="75" y="24"/>
                  <a:pt x="75" y="24"/>
                </a:cubicBezTo>
                <a:cubicBezTo>
                  <a:pt x="74" y="25"/>
                  <a:pt x="74" y="25"/>
                  <a:pt x="74" y="25"/>
                </a:cubicBezTo>
                <a:cubicBezTo>
                  <a:pt x="73" y="26"/>
                  <a:pt x="72" y="27"/>
                  <a:pt x="72" y="28"/>
                </a:cubicBezTo>
                <a:cubicBezTo>
                  <a:pt x="72" y="29"/>
                  <a:pt x="72" y="29"/>
                  <a:pt x="72" y="29"/>
                </a:cubicBezTo>
                <a:cubicBezTo>
                  <a:pt x="73" y="30"/>
                  <a:pt x="73" y="30"/>
                  <a:pt x="73" y="30"/>
                </a:cubicBezTo>
                <a:cubicBezTo>
                  <a:pt x="73" y="31"/>
                  <a:pt x="72" y="32"/>
                  <a:pt x="71" y="32"/>
                </a:cubicBezTo>
                <a:cubicBezTo>
                  <a:pt x="70" y="33"/>
                  <a:pt x="70" y="33"/>
                  <a:pt x="70" y="33"/>
                </a:cubicBezTo>
                <a:cubicBezTo>
                  <a:pt x="70" y="34"/>
                  <a:pt x="70" y="35"/>
                  <a:pt x="68" y="36"/>
                </a:cubicBezTo>
                <a:cubicBezTo>
                  <a:pt x="67" y="37"/>
                  <a:pt x="67" y="38"/>
                  <a:pt x="66" y="38"/>
                </a:cubicBezTo>
                <a:cubicBezTo>
                  <a:pt x="66" y="40"/>
                  <a:pt x="66" y="40"/>
                  <a:pt x="66" y="40"/>
                </a:cubicBezTo>
                <a:cubicBezTo>
                  <a:pt x="67" y="42"/>
                  <a:pt x="67" y="42"/>
                  <a:pt x="67" y="42"/>
                </a:cubicBezTo>
                <a:cubicBezTo>
                  <a:pt x="68" y="42"/>
                  <a:pt x="68" y="42"/>
                  <a:pt x="68" y="43"/>
                </a:cubicBezTo>
                <a:cubicBezTo>
                  <a:pt x="69" y="43"/>
                  <a:pt x="69" y="45"/>
                  <a:pt x="69" y="45"/>
                </a:cubicBezTo>
                <a:cubicBezTo>
                  <a:pt x="68" y="46"/>
                  <a:pt x="68" y="46"/>
                  <a:pt x="68" y="46"/>
                </a:cubicBezTo>
                <a:cubicBezTo>
                  <a:pt x="68" y="47"/>
                  <a:pt x="68" y="47"/>
                  <a:pt x="68" y="48"/>
                </a:cubicBezTo>
                <a:cubicBezTo>
                  <a:pt x="67" y="52"/>
                  <a:pt x="67" y="52"/>
                  <a:pt x="67" y="52"/>
                </a:cubicBezTo>
                <a:cubicBezTo>
                  <a:pt x="66" y="54"/>
                  <a:pt x="66" y="56"/>
                  <a:pt x="64" y="55"/>
                </a:cubicBezTo>
                <a:cubicBezTo>
                  <a:pt x="64" y="55"/>
                  <a:pt x="64" y="55"/>
                  <a:pt x="64" y="55"/>
                </a:cubicBezTo>
                <a:cubicBezTo>
                  <a:pt x="62" y="56"/>
                  <a:pt x="61" y="55"/>
                  <a:pt x="60" y="55"/>
                </a:cubicBezTo>
                <a:cubicBezTo>
                  <a:pt x="59" y="54"/>
                  <a:pt x="59" y="54"/>
                  <a:pt x="59" y="54"/>
                </a:cubicBezTo>
                <a:cubicBezTo>
                  <a:pt x="57" y="54"/>
                  <a:pt x="56" y="53"/>
                  <a:pt x="55" y="52"/>
                </a:cubicBezTo>
                <a:cubicBezTo>
                  <a:pt x="54" y="52"/>
                  <a:pt x="53" y="52"/>
                  <a:pt x="52" y="52"/>
                </a:cubicBezTo>
                <a:cubicBezTo>
                  <a:pt x="51" y="51"/>
                  <a:pt x="50" y="51"/>
                  <a:pt x="49" y="50"/>
                </a:cubicBezTo>
                <a:cubicBezTo>
                  <a:pt x="48" y="50"/>
                  <a:pt x="46" y="50"/>
                  <a:pt x="45" y="50"/>
                </a:cubicBezTo>
                <a:cubicBezTo>
                  <a:pt x="46" y="51"/>
                  <a:pt x="46" y="51"/>
                  <a:pt x="46" y="51"/>
                </a:cubicBezTo>
                <a:cubicBezTo>
                  <a:pt x="46" y="52"/>
                  <a:pt x="46" y="52"/>
                  <a:pt x="46" y="53"/>
                </a:cubicBezTo>
                <a:cubicBezTo>
                  <a:pt x="45" y="55"/>
                  <a:pt x="45" y="55"/>
                  <a:pt x="45" y="55"/>
                </a:cubicBezTo>
                <a:cubicBezTo>
                  <a:pt x="45" y="56"/>
                  <a:pt x="45" y="56"/>
                  <a:pt x="45" y="56"/>
                </a:cubicBezTo>
                <a:cubicBezTo>
                  <a:pt x="45" y="57"/>
                  <a:pt x="45" y="58"/>
                  <a:pt x="44" y="58"/>
                </a:cubicBezTo>
                <a:cubicBezTo>
                  <a:pt x="43" y="58"/>
                  <a:pt x="43" y="58"/>
                  <a:pt x="42" y="58"/>
                </a:cubicBezTo>
                <a:cubicBezTo>
                  <a:pt x="41" y="58"/>
                  <a:pt x="41" y="58"/>
                  <a:pt x="40" y="58"/>
                </a:cubicBezTo>
                <a:cubicBezTo>
                  <a:pt x="40" y="59"/>
                  <a:pt x="40" y="59"/>
                  <a:pt x="40" y="60"/>
                </a:cubicBezTo>
                <a:cubicBezTo>
                  <a:pt x="40" y="60"/>
                  <a:pt x="40" y="61"/>
                  <a:pt x="40" y="62"/>
                </a:cubicBezTo>
                <a:cubicBezTo>
                  <a:pt x="40" y="62"/>
                  <a:pt x="40" y="63"/>
                  <a:pt x="40" y="64"/>
                </a:cubicBezTo>
                <a:cubicBezTo>
                  <a:pt x="40" y="66"/>
                  <a:pt x="40" y="67"/>
                  <a:pt x="39" y="68"/>
                </a:cubicBezTo>
                <a:cubicBezTo>
                  <a:pt x="39" y="68"/>
                  <a:pt x="39" y="68"/>
                  <a:pt x="39" y="68"/>
                </a:cubicBezTo>
                <a:cubicBezTo>
                  <a:pt x="39" y="68"/>
                  <a:pt x="39" y="69"/>
                  <a:pt x="38" y="70"/>
                </a:cubicBezTo>
                <a:cubicBezTo>
                  <a:pt x="39" y="70"/>
                  <a:pt x="40" y="71"/>
                  <a:pt x="40" y="72"/>
                </a:cubicBezTo>
                <a:cubicBezTo>
                  <a:pt x="40" y="73"/>
                  <a:pt x="40" y="74"/>
                  <a:pt x="40" y="74"/>
                </a:cubicBezTo>
                <a:cubicBezTo>
                  <a:pt x="39" y="75"/>
                  <a:pt x="39" y="75"/>
                  <a:pt x="39" y="76"/>
                </a:cubicBezTo>
                <a:cubicBezTo>
                  <a:pt x="39" y="77"/>
                  <a:pt x="39" y="78"/>
                  <a:pt x="38" y="78"/>
                </a:cubicBezTo>
                <a:cubicBezTo>
                  <a:pt x="38" y="78"/>
                  <a:pt x="38" y="78"/>
                  <a:pt x="38" y="78"/>
                </a:cubicBezTo>
                <a:cubicBezTo>
                  <a:pt x="37" y="79"/>
                  <a:pt x="37" y="79"/>
                  <a:pt x="37" y="79"/>
                </a:cubicBezTo>
                <a:cubicBezTo>
                  <a:pt x="37" y="80"/>
                  <a:pt x="37" y="80"/>
                  <a:pt x="36" y="80"/>
                </a:cubicBezTo>
                <a:cubicBezTo>
                  <a:pt x="36" y="81"/>
                  <a:pt x="35" y="81"/>
                  <a:pt x="35" y="81"/>
                </a:cubicBezTo>
                <a:cubicBezTo>
                  <a:pt x="33" y="81"/>
                  <a:pt x="33" y="81"/>
                  <a:pt x="33" y="81"/>
                </a:cubicBezTo>
                <a:cubicBezTo>
                  <a:pt x="29" y="84"/>
                  <a:pt x="29" y="84"/>
                  <a:pt x="29" y="84"/>
                </a:cubicBezTo>
                <a:cubicBezTo>
                  <a:pt x="27" y="86"/>
                  <a:pt x="26" y="87"/>
                  <a:pt x="24" y="85"/>
                </a:cubicBezTo>
                <a:cubicBezTo>
                  <a:pt x="24" y="85"/>
                  <a:pt x="24" y="85"/>
                  <a:pt x="24" y="85"/>
                </a:cubicBezTo>
                <a:cubicBezTo>
                  <a:pt x="24" y="85"/>
                  <a:pt x="24" y="85"/>
                  <a:pt x="24" y="85"/>
                </a:cubicBezTo>
                <a:cubicBezTo>
                  <a:pt x="26" y="87"/>
                  <a:pt x="26" y="87"/>
                  <a:pt x="26" y="87"/>
                </a:cubicBezTo>
                <a:cubicBezTo>
                  <a:pt x="28" y="87"/>
                  <a:pt x="28" y="87"/>
                  <a:pt x="28" y="87"/>
                </a:cubicBezTo>
                <a:cubicBezTo>
                  <a:pt x="29" y="85"/>
                  <a:pt x="29" y="85"/>
                  <a:pt x="29" y="85"/>
                </a:cubicBezTo>
                <a:cubicBezTo>
                  <a:pt x="30" y="84"/>
                  <a:pt x="32" y="82"/>
                  <a:pt x="37" y="81"/>
                </a:cubicBezTo>
                <a:cubicBezTo>
                  <a:pt x="38" y="81"/>
                  <a:pt x="40" y="80"/>
                  <a:pt x="41" y="82"/>
                </a:cubicBezTo>
                <a:cubicBezTo>
                  <a:pt x="42" y="84"/>
                  <a:pt x="41" y="85"/>
                  <a:pt x="40" y="86"/>
                </a:cubicBezTo>
                <a:cubicBezTo>
                  <a:pt x="41" y="88"/>
                  <a:pt x="41" y="89"/>
                  <a:pt x="41" y="90"/>
                </a:cubicBezTo>
                <a:cubicBezTo>
                  <a:pt x="42" y="91"/>
                  <a:pt x="42" y="91"/>
                  <a:pt x="42" y="91"/>
                </a:cubicBezTo>
                <a:cubicBezTo>
                  <a:pt x="42" y="92"/>
                  <a:pt x="42" y="92"/>
                  <a:pt x="43" y="92"/>
                </a:cubicBezTo>
                <a:cubicBezTo>
                  <a:pt x="43" y="92"/>
                  <a:pt x="44" y="94"/>
                  <a:pt x="45" y="96"/>
                </a:cubicBezTo>
                <a:cubicBezTo>
                  <a:pt x="46" y="97"/>
                  <a:pt x="46" y="98"/>
                  <a:pt x="47" y="99"/>
                </a:cubicBezTo>
                <a:cubicBezTo>
                  <a:pt x="47" y="99"/>
                  <a:pt x="47" y="101"/>
                  <a:pt x="48" y="104"/>
                </a:cubicBezTo>
                <a:cubicBezTo>
                  <a:pt x="49" y="108"/>
                  <a:pt x="50" y="109"/>
                  <a:pt x="48" y="110"/>
                </a:cubicBezTo>
                <a:cubicBezTo>
                  <a:pt x="47" y="110"/>
                  <a:pt x="46" y="110"/>
                  <a:pt x="45" y="109"/>
                </a:cubicBezTo>
                <a:cubicBezTo>
                  <a:pt x="45" y="109"/>
                  <a:pt x="45" y="109"/>
                  <a:pt x="45" y="109"/>
                </a:cubicBezTo>
                <a:cubicBezTo>
                  <a:pt x="44" y="110"/>
                  <a:pt x="43" y="110"/>
                  <a:pt x="42" y="111"/>
                </a:cubicBezTo>
                <a:cubicBezTo>
                  <a:pt x="41" y="111"/>
                  <a:pt x="41" y="110"/>
                  <a:pt x="40" y="110"/>
                </a:cubicBezTo>
                <a:cubicBezTo>
                  <a:pt x="32" y="110"/>
                  <a:pt x="32" y="110"/>
                  <a:pt x="32" y="110"/>
                </a:cubicBezTo>
                <a:cubicBezTo>
                  <a:pt x="30" y="111"/>
                  <a:pt x="30" y="111"/>
                  <a:pt x="30" y="111"/>
                </a:cubicBezTo>
                <a:cubicBezTo>
                  <a:pt x="29" y="111"/>
                  <a:pt x="27" y="112"/>
                  <a:pt x="27" y="113"/>
                </a:cubicBezTo>
                <a:cubicBezTo>
                  <a:pt x="27" y="113"/>
                  <a:pt x="27" y="113"/>
                  <a:pt x="27" y="113"/>
                </a:cubicBezTo>
                <a:cubicBezTo>
                  <a:pt x="28" y="113"/>
                  <a:pt x="28" y="113"/>
                  <a:pt x="28" y="113"/>
                </a:cubicBezTo>
                <a:cubicBezTo>
                  <a:pt x="29" y="113"/>
                  <a:pt x="29" y="114"/>
                  <a:pt x="29" y="115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30" y="119"/>
                  <a:pt x="30" y="119"/>
                  <a:pt x="30" y="120"/>
                </a:cubicBezTo>
                <a:cubicBezTo>
                  <a:pt x="30" y="123"/>
                  <a:pt x="30" y="123"/>
                  <a:pt x="30" y="123"/>
                </a:cubicBezTo>
                <a:cubicBezTo>
                  <a:pt x="30" y="124"/>
                  <a:pt x="29" y="126"/>
                  <a:pt x="28" y="126"/>
                </a:cubicBezTo>
                <a:cubicBezTo>
                  <a:pt x="28" y="127"/>
                  <a:pt x="28" y="127"/>
                  <a:pt x="28" y="127"/>
                </a:cubicBezTo>
                <a:cubicBezTo>
                  <a:pt x="28" y="127"/>
                  <a:pt x="28" y="127"/>
                  <a:pt x="28" y="127"/>
                </a:cubicBezTo>
                <a:cubicBezTo>
                  <a:pt x="29" y="127"/>
                  <a:pt x="30" y="128"/>
                  <a:pt x="31" y="130"/>
                </a:cubicBezTo>
                <a:cubicBezTo>
                  <a:pt x="33" y="131"/>
                  <a:pt x="34" y="132"/>
                  <a:pt x="34" y="134"/>
                </a:cubicBezTo>
                <a:cubicBezTo>
                  <a:pt x="33" y="135"/>
                  <a:pt x="32" y="135"/>
                  <a:pt x="31" y="135"/>
                </a:cubicBezTo>
                <a:cubicBezTo>
                  <a:pt x="30" y="135"/>
                  <a:pt x="29" y="135"/>
                  <a:pt x="27" y="136"/>
                </a:cubicBezTo>
                <a:cubicBezTo>
                  <a:pt x="22" y="140"/>
                  <a:pt x="20" y="138"/>
                  <a:pt x="19" y="137"/>
                </a:cubicBezTo>
                <a:cubicBezTo>
                  <a:pt x="18" y="137"/>
                  <a:pt x="18" y="137"/>
                  <a:pt x="18" y="138"/>
                </a:cubicBezTo>
                <a:cubicBezTo>
                  <a:pt x="17" y="138"/>
                  <a:pt x="17" y="138"/>
                  <a:pt x="17" y="138"/>
                </a:cubicBezTo>
                <a:cubicBezTo>
                  <a:pt x="17" y="139"/>
                  <a:pt x="17" y="139"/>
                  <a:pt x="17" y="139"/>
                </a:cubicBezTo>
                <a:cubicBezTo>
                  <a:pt x="17" y="140"/>
                  <a:pt x="16" y="141"/>
                  <a:pt x="15" y="141"/>
                </a:cubicBezTo>
                <a:cubicBezTo>
                  <a:pt x="11" y="141"/>
                  <a:pt x="11" y="141"/>
                  <a:pt x="11" y="141"/>
                </a:cubicBezTo>
                <a:cubicBezTo>
                  <a:pt x="10" y="145"/>
                  <a:pt x="10" y="145"/>
                  <a:pt x="10" y="145"/>
                </a:cubicBezTo>
                <a:cubicBezTo>
                  <a:pt x="9" y="146"/>
                  <a:pt x="9" y="146"/>
                  <a:pt x="9" y="146"/>
                </a:cubicBezTo>
                <a:cubicBezTo>
                  <a:pt x="9" y="146"/>
                  <a:pt x="8" y="147"/>
                  <a:pt x="6" y="148"/>
                </a:cubicBezTo>
                <a:cubicBezTo>
                  <a:pt x="6" y="148"/>
                  <a:pt x="6" y="148"/>
                  <a:pt x="6" y="149"/>
                </a:cubicBezTo>
                <a:cubicBezTo>
                  <a:pt x="6" y="149"/>
                  <a:pt x="7" y="150"/>
                  <a:pt x="6" y="150"/>
                </a:cubicBezTo>
                <a:cubicBezTo>
                  <a:pt x="6" y="151"/>
                  <a:pt x="6" y="151"/>
                  <a:pt x="5" y="152"/>
                </a:cubicBezTo>
                <a:cubicBezTo>
                  <a:pt x="5" y="152"/>
                  <a:pt x="3" y="152"/>
                  <a:pt x="2" y="152"/>
                </a:cubicBezTo>
                <a:cubicBezTo>
                  <a:pt x="1" y="152"/>
                  <a:pt x="1" y="152"/>
                  <a:pt x="1" y="152"/>
                </a:cubicBezTo>
                <a:cubicBezTo>
                  <a:pt x="1" y="153"/>
                  <a:pt x="0" y="154"/>
                  <a:pt x="0" y="155"/>
                </a:cubicBezTo>
                <a:cubicBezTo>
                  <a:pt x="0" y="155"/>
                  <a:pt x="0" y="155"/>
                  <a:pt x="0" y="156"/>
                </a:cubicBezTo>
                <a:cubicBezTo>
                  <a:pt x="0" y="156"/>
                  <a:pt x="1" y="156"/>
                  <a:pt x="1" y="157"/>
                </a:cubicBezTo>
                <a:cubicBezTo>
                  <a:pt x="1" y="157"/>
                  <a:pt x="1" y="157"/>
                  <a:pt x="2" y="157"/>
                </a:cubicBezTo>
                <a:cubicBezTo>
                  <a:pt x="3" y="157"/>
                  <a:pt x="3" y="157"/>
                  <a:pt x="3" y="157"/>
                </a:cubicBezTo>
                <a:cubicBezTo>
                  <a:pt x="8" y="160"/>
                  <a:pt x="8" y="160"/>
                  <a:pt x="8" y="160"/>
                </a:cubicBezTo>
                <a:cubicBezTo>
                  <a:pt x="8" y="161"/>
                  <a:pt x="9" y="162"/>
                  <a:pt x="10" y="163"/>
                </a:cubicBezTo>
                <a:cubicBezTo>
                  <a:pt x="11" y="163"/>
                  <a:pt x="12" y="163"/>
                  <a:pt x="13" y="163"/>
                </a:cubicBezTo>
                <a:cubicBezTo>
                  <a:pt x="13" y="162"/>
                  <a:pt x="13" y="162"/>
                  <a:pt x="13" y="163"/>
                </a:cubicBezTo>
                <a:cubicBezTo>
                  <a:pt x="15" y="163"/>
                  <a:pt x="15" y="163"/>
                  <a:pt x="15" y="163"/>
                </a:cubicBezTo>
                <a:cubicBezTo>
                  <a:pt x="15" y="163"/>
                  <a:pt x="15" y="163"/>
                  <a:pt x="16" y="163"/>
                </a:cubicBezTo>
                <a:cubicBezTo>
                  <a:pt x="19" y="165"/>
                  <a:pt x="19" y="165"/>
                  <a:pt x="19" y="165"/>
                </a:cubicBezTo>
                <a:cubicBezTo>
                  <a:pt x="19" y="165"/>
                  <a:pt x="20" y="165"/>
                  <a:pt x="21" y="166"/>
                </a:cubicBezTo>
                <a:cubicBezTo>
                  <a:pt x="22" y="166"/>
                  <a:pt x="22" y="166"/>
                  <a:pt x="22" y="166"/>
                </a:cubicBezTo>
                <a:cubicBezTo>
                  <a:pt x="29" y="166"/>
                  <a:pt x="29" y="166"/>
                  <a:pt x="29" y="166"/>
                </a:cubicBezTo>
                <a:cubicBezTo>
                  <a:pt x="30" y="166"/>
                  <a:pt x="31" y="166"/>
                  <a:pt x="31" y="166"/>
                </a:cubicBezTo>
                <a:cubicBezTo>
                  <a:pt x="31" y="167"/>
                  <a:pt x="31" y="167"/>
                  <a:pt x="31" y="168"/>
                </a:cubicBezTo>
                <a:cubicBezTo>
                  <a:pt x="31" y="169"/>
                  <a:pt x="31" y="171"/>
                  <a:pt x="31" y="172"/>
                </a:cubicBezTo>
                <a:cubicBezTo>
                  <a:pt x="31" y="172"/>
                  <a:pt x="32" y="173"/>
                  <a:pt x="33" y="174"/>
                </a:cubicBezTo>
                <a:cubicBezTo>
                  <a:pt x="35" y="174"/>
                  <a:pt x="35" y="174"/>
                  <a:pt x="35" y="174"/>
                </a:cubicBezTo>
                <a:cubicBezTo>
                  <a:pt x="36" y="174"/>
                  <a:pt x="37" y="174"/>
                  <a:pt x="37" y="176"/>
                </a:cubicBezTo>
                <a:cubicBezTo>
                  <a:pt x="37" y="177"/>
                  <a:pt x="37" y="177"/>
                  <a:pt x="37" y="177"/>
                </a:cubicBezTo>
                <a:cubicBezTo>
                  <a:pt x="41" y="177"/>
                  <a:pt x="41" y="177"/>
                  <a:pt x="41" y="177"/>
                </a:cubicBezTo>
                <a:cubicBezTo>
                  <a:pt x="42" y="177"/>
                  <a:pt x="42" y="177"/>
                  <a:pt x="43" y="178"/>
                </a:cubicBezTo>
                <a:cubicBezTo>
                  <a:pt x="43" y="178"/>
                  <a:pt x="43" y="178"/>
                  <a:pt x="43" y="178"/>
                </a:cubicBezTo>
                <a:cubicBezTo>
                  <a:pt x="43" y="178"/>
                  <a:pt x="43" y="178"/>
                  <a:pt x="43" y="179"/>
                </a:cubicBezTo>
                <a:cubicBezTo>
                  <a:pt x="44" y="179"/>
                  <a:pt x="44" y="179"/>
                  <a:pt x="44" y="179"/>
                </a:cubicBezTo>
                <a:cubicBezTo>
                  <a:pt x="45" y="179"/>
                  <a:pt x="45" y="179"/>
                  <a:pt x="45" y="180"/>
                </a:cubicBezTo>
                <a:cubicBezTo>
                  <a:pt x="48" y="184"/>
                  <a:pt x="48" y="184"/>
                  <a:pt x="48" y="184"/>
                </a:cubicBezTo>
                <a:cubicBezTo>
                  <a:pt x="49" y="184"/>
                  <a:pt x="49" y="185"/>
                  <a:pt x="50" y="186"/>
                </a:cubicBezTo>
                <a:cubicBezTo>
                  <a:pt x="50" y="186"/>
                  <a:pt x="50" y="187"/>
                  <a:pt x="49" y="189"/>
                </a:cubicBezTo>
                <a:cubicBezTo>
                  <a:pt x="47" y="190"/>
                  <a:pt x="46" y="191"/>
                  <a:pt x="45" y="191"/>
                </a:cubicBezTo>
                <a:cubicBezTo>
                  <a:pt x="45" y="191"/>
                  <a:pt x="45" y="191"/>
                  <a:pt x="45" y="191"/>
                </a:cubicBezTo>
                <a:cubicBezTo>
                  <a:pt x="45" y="198"/>
                  <a:pt x="45" y="198"/>
                  <a:pt x="45" y="198"/>
                </a:cubicBezTo>
                <a:cubicBezTo>
                  <a:pt x="46" y="199"/>
                  <a:pt x="47" y="200"/>
                  <a:pt x="47" y="200"/>
                </a:cubicBezTo>
                <a:cubicBezTo>
                  <a:pt x="49" y="200"/>
                  <a:pt x="52" y="202"/>
                  <a:pt x="53" y="202"/>
                </a:cubicBezTo>
                <a:cubicBezTo>
                  <a:pt x="53" y="202"/>
                  <a:pt x="53" y="202"/>
                  <a:pt x="53" y="202"/>
                </a:cubicBezTo>
                <a:cubicBezTo>
                  <a:pt x="57" y="207"/>
                  <a:pt x="57" y="207"/>
                  <a:pt x="57" y="207"/>
                </a:cubicBezTo>
                <a:cubicBezTo>
                  <a:pt x="59" y="210"/>
                  <a:pt x="59" y="210"/>
                  <a:pt x="59" y="210"/>
                </a:cubicBezTo>
                <a:cubicBezTo>
                  <a:pt x="62" y="210"/>
                  <a:pt x="62" y="210"/>
                  <a:pt x="62" y="210"/>
                </a:cubicBezTo>
                <a:cubicBezTo>
                  <a:pt x="63" y="209"/>
                  <a:pt x="64" y="208"/>
                  <a:pt x="66" y="209"/>
                </a:cubicBezTo>
                <a:cubicBezTo>
                  <a:pt x="66" y="209"/>
                  <a:pt x="68" y="209"/>
                  <a:pt x="68" y="211"/>
                </a:cubicBezTo>
                <a:cubicBezTo>
                  <a:pt x="69" y="213"/>
                  <a:pt x="69" y="213"/>
                  <a:pt x="69" y="213"/>
                </a:cubicBezTo>
                <a:cubicBezTo>
                  <a:pt x="71" y="215"/>
                  <a:pt x="71" y="215"/>
                  <a:pt x="71" y="215"/>
                </a:cubicBezTo>
                <a:cubicBezTo>
                  <a:pt x="77" y="215"/>
                  <a:pt x="77" y="215"/>
                  <a:pt x="77" y="215"/>
                </a:cubicBezTo>
                <a:cubicBezTo>
                  <a:pt x="78" y="215"/>
                  <a:pt x="78" y="215"/>
                  <a:pt x="78" y="215"/>
                </a:cubicBezTo>
                <a:cubicBezTo>
                  <a:pt x="80" y="213"/>
                  <a:pt x="82" y="212"/>
                  <a:pt x="83" y="212"/>
                </a:cubicBezTo>
                <a:cubicBezTo>
                  <a:pt x="83" y="212"/>
                  <a:pt x="83" y="212"/>
                  <a:pt x="83" y="212"/>
                </a:cubicBezTo>
                <a:cubicBezTo>
                  <a:pt x="87" y="212"/>
                  <a:pt x="87" y="212"/>
                  <a:pt x="87" y="212"/>
                </a:cubicBezTo>
                <a:cubicBezTo>
                  <a:pt x="88" y="212"/>
                  <a:pt x="88" y="212"/>
                  <a:pt x="88" y="212"/>
                </a:cubicBezTo>
                <a:cubicBezTo>
                  <a:pt x="89" y="212"/>
                  <a:pt x="89" y="212"/>
                  <a:pt x="90" y="212"/>
                </a:cubicBezTo>
                <a:cubicBezTo>
                  <a:pt x="95" y="213"/>
                  <a:pt x="95" y="213"/>
                  <a:pt x="95" y="213"/>
                </a:cubicBezTo>
                <a:cubicBezTo>
                  <a:pt x="95" y="214"/>
                  <a:pt x="96" y="214"/>
                  <a:pt x="96" y="215"/>
                </a:cubicBezTo>
                <a:cubicBezTo>
                  <a:pt x="97" y="214"/>
                  <a:pt x="98" y="214"/>
                  <a:pt x="99" y="213"/>
                </a:cubicBezTo>
                <a:cubicBezTo>
                  <a:pt x="106" y="212"/>
                  <a:pt x="111" y="213"/>
                  <a:pt x="112" y="213"/>
                </a:cubicBezTo>
                <a:cubicBezTo>
                  <a:pt x="114" y="213"/>
                  <a:pt x="114" y="213"/>
                  <a:pt x="114" y="213"/>
                </a:cubicBezTo>
                <a:cubicBezTo>
                  <a:pt x="114" y="213"/>
                  <a:pt x="117" y="213"/>
                  <a:pt x="119" y="214"/>
                </a:cubicBezTo>
                <a:cubicBezTo>
                  <a:pt x="119" y="215"/>
                  <a:pt x="119" y="215"/>
                  <a:pt x="120" y="215"/>
                </a:cubicBezTo>
                <a:cubicBezTo>
                  <a:pt x="120" y="216"/>
                  <a:pt x="120" y="216"/>
                  <a:pt x="120" y="216"/>
                </a:cubicBezTo>
                <a:cubicBezTo>
                  <a:pt x="122" y="216"/>
                  <a:pt x="125" y="217"/>
                  <a:pt x="125" y="217"/>
                </a:cubicBezTo>
                <a:cubicBezTo>
                  <a:pt x="125" y="217"/>
                  <a:pt x="125" y="217"/>
                  <a:pt x="125" y="217"/>
                </a:cubicBezTo>
                <a:cubicBezTo>
                  <a:pt x="128" y="219"/>
                  <a:pt x="128" y="219"/>
                  <a:pt x="128" y="219"/>
                </a:cubicBezTo>
                <a:cubicBezTo>
                  <a:pt x="128" y="219"/>
                  <a:pt x="128" y="219"/>
                  <a:pt x="128" y="219"/>
                </a:cubicBezTo>
                <a:cubicBezTo>
                  <a:pt x="129" y="219"/>
                  <a:pt x="129" y="219"/>
                  <a:pt x="130" y="219"/>
                </a:cubicBezTo>
                <a:cubicBezTo>
                  <a:pt x="130" y="218"/>
                  <a:pt x="131" y="218"/>
                  <a:pt x="131" y="218"/>
                </a:cubicBezTo>
                <a:cubicBezTo>
                  <a:pt x="131" y="217"/>
                  <a:pt x="132" y="216"/>
                  <a:pt x="132" y="215"/>
                </a:cubicBezTo>
                <a:cubicBezTo>
                  <a:pt x="134" y="214"/>
                  <a:pt x="137" y="212"/>
                  <a:pt x="138" y="211"/>
                </a:cubicBezTo>
                <a:cubicBezTo>
                  <a:pt x="138" y="206"/>
                  <a:pt x="138" y="206"/>
                  <a:pt x="138" y="206"/>
                </a:cubicBezTo>
                <a:cubicBezTo>
                  <a:pt x="138" y="205"/>
                  <a:pt x="139" y="205"/>
                  <a:pt x="140" y="204"/>
                </a:cubicBezTo>
                <a:cubicBezTo>
                  <a:pt x="143" y="203"/>
                  <a:pt x="143" y="203"/>
                  <a:pt x="143" y="203"/>
                </a:cubicBezTo>
                <a:cubicBezTo>
                  <a:pt x="144" y="202"/>
                  <a:pt x="144" y="202"/>
                  <a:pt x="144" y="202"/>
                </a:cubicBezTo>
                <a:cubicBezTo>
                  <a:pt x="143" y="195"/>
                  <a:pt x="143" y="195"/>
                  <a:pt x="143" y="195"/>
                </a:cubicBezTo>
                <a:cubicBezTo>
                  <a:pt x="143" y="187"/>
                  <a:pt x="143" y="187"/>
                  <a:pt x="143" y="187"/>
                </a:cubicBezTo>
                <a:cubicBezTo>
                  <a:pt x="143" y="187"/>
                  <a:pt x="143" y="187"/>
                  <a:pt x="143" y="186"/>
                </a:cubicBezTo>
                <a:cubicBezTo>
                  <a:pt x="143" y="186"/>
                  <a:pt x="145" y="180"/>
                  <a:pt x="146" y="179"/>
                </a:cubicBezTo>
                <a:cubicBezTo>
                  <a:pt x="146" y="177"/>
                  <a:pt x="149" y="177"/>
                  <a:pt x="150" y="177"/>
                </a:cubicBezTo>
                <a:cubicBezTo>
                  <a:pt x="151" y="177"/>
                  <a:pt x="151" y="177"/>
                  <a:pt x="151" y="177"/>
                </a:cubicBezTo>
                <a:cubicBezTo>
                  <a:pt x="153" y="176"/>
                  <a:pt x="154" y="176"/>
                  <a:pt x="154" y="177"/>
                </a:cubicBezTo>
                <a:cubicBezTo>
                  <a:pt x="156" y="177"/>
                  <a:pt x="156" y="177"/>
                  <a:pt x="156" y="177"/>
                </a:cubicBezTo>
                <a:cubicBezTo>
                  <a:pt x="157" y="177"/>
                  <a:pt x="157" y="177"/>
                  <a:pt x="157" y="177"/>
                </a:cubicBezTo>
                <a:cubicBezTo>
                  <a:pt x="161" y="180"/>
                  <a:pt x="161" y="180"/>
                  <a:pt x="161" y="180"/>
                </a:cubicBezTo>
                <a:cubicBezTo>
                  <a:pt x="162" y="180"/>
                  <a:pt x="162" y="180"/>
                  <a:pt x="162" y="180"/>
                </a:cubicBezTo>
                <a:cubicBezTo>
                  <a:pt x="162" y="180"/>
                  <a:pt x="164" y="180"/>
                  <a:pt x="165" y="180"/>
                </a:cubicBezTo>
                <a:cubicBezTo>
                  <a:pt x="167" y="180"/>
                  <a:pt x="167" y="180"/>
                  <a:pt x="167" y="180"/>
                </a:cubicBezTo>
                <a:cubicBezTo>
                  <a:pt x="168" y="180"/>
                  <a:pt x="169" y="181"/>
                  <a:pt x="169" y="181"/>
                </a:cubicBezTo>
                <a:cubicBezTo>
                  <a:pt x="169" y="181"/>
                  <a:pt x="170" y="183"/>
                  <a:pt x="171" y="185"/>
                </a:cubicBezTo>
                <a:cubicBezTo>
                  <a:pt x="172" y="186"/>
                  <a:pt x="172" y="187"/>
                  <a:pt x="172" y="188"/>
                </a:cubicBezTo>
                <a:cubicBezTo>
                  <a:pt x="172" y="188"/>
                  <a:pt x="172" y="188"/>
                  <a:pt x="172" y="188"/>
                </a:cubicBezTo>
                <a:cubicBezTo>
                  <a:pt x="174" y="185"/>
                  <a:pt x="174" y="185"/>
                  <a:pt x="174" y="185"/>
                </a:cubicBezTo>
                <a:cubicBezTo>
                  <a:pt x="174" y="185"/>
                  <a:pt x="174" y="185"/>
                  <a:pt x="174" y="184"/>
                </a:cubicBezTo>
                <a:cubicBezTo>
                  <a:pt x="175" y="184"/>
                  <a:pt x="175" y="184"/>
                  <a:pt x="175" y="184"/>
                </a:cubicBezTo>
                <a:cubicBezTo>
                  <a:pt x="174" y="183"/>
                  <a:pt x="174" y="183"/>
                  <a:pt x="174" y="183"/>
                </a:cubicBezTo>
                <a:cubicBezTo>
                  <a:pt x="174" y="180"/>
                  <a:pt x="174" y="180"/>
                  <a:pt x="174" y="180"/>
                </a:cubicBezTo>
                <a:cubicBezTo>
                  <a:pt x="172" y="177"/>
                  <a:pt x="172" y="177"/>
                  <a:pt x="172" y="177"/>
                </a:cubicBezTo>
                <a:cubicBezTo>
                  <a:pt x="171" y="177"/>
                  <a:pt x="171" y="175"/>
                  <a:pt x="172" y="175"/>
                </a:cubicBezTo>
                <a:cubicBezTo>
                  <a:pt x="176" y="172"/>
                  <a:pt x="176" y="172"/>
                  <a:pt x="176" y="172"/>
                </a:cubicBezTo>
                <a:cubicBezTo>
                  <a:pt x="176" y="172"/>
                  <a:pt x="176" y="171"/>
                  <a:pt x="177" y="171"/>
                </a:cubicBezTo>
                <a:cubicBezTo>
                  <a:pt x="177" y="171"/>
                  <a:pt x="179" y="171"/>
                  <a:pt x="182" y="171"/>
                </a:cubicBezTo>
                <a:cubicBezTo>
                  <a:pt x="183" y="171"/>
                  <a:pt x="183" y="171"/>
                  <a:pt x="183" y="171"/>
                </a:cubicBezTo>
                <a:cubicBezTo>
                  <a:pt x="184" y="171"/>
                  <a:pt x="184" y="171"/>
                  <a:pt x="184" y="171"/>
                </a:cubicBezTo>
                <a:cubicBezTo>
                  <a:pt x="184" y="171"/>
                  <a:pt x="184" y="171"/>
                  <a:pt x="184" y="171"/>
                </a:cubicBezTo>
                <a:cubicBezTo>
                  <a:pt x="185" y="170"/>
                  <a:pt x="185" y="170"/>
                  <a:pt x="185" y="170"/>
                </a:cubicBezTo>
                <a:cubicBezTo>
                  <a:pt x="185" y="169"/>
                  <a:pt x="186" y="168"/>
                  <a:pt x="187" y="166"/>
                </a:cubicBezTo>
                <a:cubicBezTo>
                  <a:pt x="187" y="166"/>
                  <a:pt x="188" y="165"/>
                  <a:pt x="189" y="165"/>
                </a:cubicBezTo>
                <a:cubicBezTo>
                  <a:pt x="190" y="165"/>
                  <a:pt x="191" y="165"/>
                  <a:pt x="192" y="166"/>
                </a:cubicBezTo>
                <a:cubicBezTo>
                  <a:pt x="193" y="165"/>
                  <a:pt x="194" y="165"/>
                  <a:pt x="194" y="166"/>
                </a:cubicBezTo>
                <a:cubicBezTo>
                  <a:pt x="196" y="165"/>
                  <a:pt x="197" y="166"/>
                  <a:pt x="197" y="166"/>
                </a:cubicBezTo>
                <a:cubicBezTo>
                  <a:pt x="198" y="166"/>
                  <a:pt x="198" y="166"/>
                  <a:pt x="198" y="166"/>
                </a:cubicBezTo>
                <a:cubicBezTo>
                  <a:pt x="200" y="165"/>
                  <a:pt x="204" y="166"/>
                  <a:pt x="205" y="166"/>
                </a:cubicBezTo>
                <a:cubicBezTo>
                  <a:pt x="206" y="166"/>
                  <a:pt x="206" y="166"/>
                  <a:pt x="206" y="166"/>
                </a:cubicBezTo>
                <a:cubicBezTo>
                  <a:pt x="207" y="166"/>
                  <a:pt x="207" y="166"/>
                  <a:pt x="207" y="166"/>
                </a:cubicBezTo>
                <a:cubicBezTo>
                  <a:pt x="210" y="164"/>
                  <a:pt x="213" y="163"/>
                  <a:pt x="213" y="163"/>
                </a:cubicBezTo>
                <a:cubicBezTo>
                  <a:pt x="214" y="162"/>
                  <a:pt x="216" y="161"/>
                  <a:pt x="217" y="161"/>
                </a:cubicBezTo>
                <a:cubicBezTo>
                  <a:pt x="218" y="160"/>
                  <a:pt x="218" y="159"/>
                  <a:pt x="219" y="158"/>
                </a:cubicBezTo>
                <a:cubicBezTo>
                  <a:pt x="220" y="158"/>
                  <a:pt x="220" y="158"/>
                  <a:pt x="220" y="157"/>
                </a:cubicBezTo>
                <a:cubicBezTo>
                  <a:pt x="221" y="157"/>
                  <a:pt x="222" y="156"/>
                  <a:pt x="222" y="156"/>
                </a:cubicBezTo>
                <a:cubicBezTo>
                  <a:pt x="223" y="156"/>
                  <a:pt x="223" y="156"/>
                  <a:pt x="223" y="156"/>
                </a:cubicBezTo>
                <a:cubicBezTo>
                  <a:pt x="223" y="156"/>
                  <a:pt x="223" y="156"/>
                  <a:pt x="223" y="156"/>
                </a:cubicBezTo>
                <a:cubicBezTo>
                  <a:pt x="222" y="155"/>
                  <a:pt x="223" y="154"/>
                  <a:pt x="223" y="153"/>
                </a:cubicBezTo>
                <a:cubicBezTo>
                  <a:pt x="223" y="152"/>
                  <a:pt x="223" y="152"/>
                  <a:pt x="223" y="152"/>
                </a:cubicBezTo>
                <a:cubicBezTo>
                  <a:pt x="221" y="152"/>
                  <a:pt x="221" y="152"/>
                  <a:pt x="221" y="152"/>
                </a:cubicBezTo>
                <a:cubicBezTo>
                  <a:pt x="219" y="152"/>
                  <a:pt x="219" y="152"/>
                  <a:pt x="219" y="152"/>
                </a:cubicBezTo>
                <a:cubicBezTo>
                  <a:pt x="217" y="151"/>
                  <a:pt x="217" y="151"/>
                  <a:pt x="217" y="151"/>
                </a:cubicBezTo>
                <a:cubicBezTo>
                  <a:pt x="215" y="150"/>
                  <a:pt x="215" y="150"/>
                  <a:pt x="215" y="150"/>
                </a:cubicBezTo>
                <a:cubicBezTo>
                  <a:pt x="214" y="150"/>
                  <a:pt x="214" y="150"/>
                  <a:pt x="214" y="150"/>
                </a:cubicBezTo>
                <a:cubicBezTo>
                  <a:pt x="213" y="149"/>
                  <a:pt x="213" y="149"/>
                  <a:pt x="213" y="149"/>
                </a:cubicBezTo>
                <a:cubicBezTo>
                  <a:pt x="213" y="148"/>
                  <a:pt x="213" y="148"/>
                  <a:pt x="213" y="148"/>
                </a:cubicBezTo>
                <a:cubicBezTo>
                  <a:pt x="214" y="147"/>
                  <a:pt x="214" y="147"/>
                  <a:pt x="214" y="147"/>
                </a:cubicBezTo>
                <a:cubicBezTo>
                  <a:pt x="217" y="149"/>
                  <a:pt x="217" y="149"/>
                  <a:pt x="217" y="149"/>
                </a:cubicBezTo>
                <a:cubicBezTo>
                  <a:pt x="219" y="149"/>
                  <a:pt x="219" y="149"/>
                  <a:pt x="219" y="149"/>
                </a:cubicBezTo>
                <a:cubicBezTo>
                  <a:pt x="226" y="147"/>
                  <a:pt x="226" y="147"/>
                  <a:pt x="226" y="147"/>
                </a:cubicBezTo>
                <a:cubicBezTo>
                  <a:pt x="227" y="147"/>
                  <a:pt x="227" y="147"/>
                  <a:pt x="227" y="147"/>
                </a:cubicBezTo>
                <a:cubicBezTo>
                  <a:pt x="229" y="143"/>
                  <a:pt x="229" y="143"/>
                  <a:pt x="229" y="143"/>
                </a:cubicBezTo>
                <a:cubicBezTo>
                  <a:pt x="240" y="132"/>
                  <a:pt x="240" y="132"/>
                  <a:pt x="240" y="132"/>
                </a:cubicBezTo>
                <a:cubicBezTo>
                  <a:pt x="249" y="126"/>
                  <a:pt x="249" y="126"/>
                  <a:pt x="249" y="126"/>
                </a:cubicBezTo>
                <a:cubicBezTo>
                  <a:pt x="250" y="126"/>
                  <a:pt x="250" y="126"/>
                  <a:pt x="250" y="126"/>
                </a:cubicBezTo>
                <a:cubicBezTo>
                  <a:pt x="249" y="123"/>
                  <a:pt x="247" y="121"/>
                  <a:pt x="246" y="12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8" name="Freeform 19">
            <a:extLst>
              <a:ext uri="{FF2B5EF4-FFF2-40B4-BE49-F238E27FC236}">
                <a16:creationId xmlns:a16="http://schemas.microsoft.com/office/drawing/2014/main" id="{A9B66783-69BF-4BA3-ADDA-602AB12C4C4D}"/>
              </a:ext>
            </a:extLst>
          </p:cNvPr>
          <p:cNvSpPr>
            <a:spLocks noEditPoints="1"/>
          </p:cNvSpPr>
          <p:nvPr/>
        </p:nvSpPr>
        <p:spPr bwMode="auto">
          <a:xfrm>
            <a:off x="4849298" y="2428407"/>
            <a:ext cx="395552" cy="365125"/>
          </a:xfrm>
          <a:custGeom>
            <a:avLst/>
            <a:gdLst>
              <a:gd name="T0" fmla="*/ 16 w 163"/>
              <a:gd name="T1" fmla="*/ 116 h 164"/>
              <a:gd name="T2" fmla="*/ 20 w 163"/>
              <a:gd name="T3" fmla="*/ 122 h 164"/>
              <a:gd name="T4" fmla="*/ 22 w 163"/>
              <a:gd name="T5" fmla="*/ 129 h 164"/>
              <a:gd name="T6" fmla="*/ 22 w 163"/>
              <a:gd name="T7" fmla="*/ 129 h 164"/>
              <a:gd name="T8" fmla="*/ 17 w 163"/>
              <a:gd name="T9" fmla="*/ 135 h 164"/>
              <a:gd name="T10" fmla="*/ 11 w 163"/>
              <a:gd name="T11" fmla="*/ 139 h 164"/>
              <a:gd name="T12" fmla="*/ 2 w 163"/>
              <a:gd name="T13" fmla="*/ 145 h 164"/>
              <a:gd name="T14" fmla="*/ 0 w 163"/>
              <a:gd name="T15" fmla="*/ 146 h 164"/>
              <a:gd name="T16" fmla="*/ 5 w 163"/>
              <a:gd name="T17" fmla="*/ 149 h 164"/>
              <a:gd name="T18" fmla="*/ 13 w 163"/>
              <a:gd name="T19" fmla="*/ 155 h 164"/>
              <a:gd name="T20" fmla="*/ 8 w 163"/>
              <a:gd name="T21" fmla="*/ 161 h 164"/>
              <a:gd name="T22" fmla="*/ 12 w 163"/>
              <a:gd name="T23" fmla="*/ 163 h 164"/>
              <a:gd name="T24" fmla="*/ 26 w 163"/>
              <a:gd name="T25" fmla="*/ 155 h 164"/>
              <a:gd name="T26" fmla="*/ 35 w 163"/>
              <a:gd name="T27" fmla="*/ 148 h 164"/>
              <a:gd name="T28" fmla="*/ 42 w 163"/>
              <a:gd name="T29" fmla="*/ 141 h 164"/>
              <a:gd name="T30" fmla="*/ 52 w 163"/>
              <a:gd name="T31" fmla="*/ 141 h 164"/>
              <a:gd name="T32" fmla="*/ 59 w 163"/>
              <a:gd name="T33" fmla="*/ 134 h 164"/>
              <a:gd name="T34" fmla="*/ 71 w 163"/>
              <a:gd name="T35" fmla="*/ 128 h 164"/>
              <a:gd name="T36" fmla="*/ 77 w 163"/>
              <a:gd name="T37" fmla="*/ 124 h 164"/>
              <a:gd name="T38" fmla="*/ 55 w 163"/>
              <a:gd name="T39" fmla="*/ 117 h 164"/>
              <a:gd name="T40" fmla="*/ 153 w 163"/>
              <a:gd name="T41" fmla="*/ 33 h 164"/>
              <a:gd name="T42" fmla="*/ 129 w 163"/>
              <a:gd name="T43" fmla="*/ 17 h 164"/>
              <a:gd name="T44" fmla="*/ 129 w 163"/>
              <a:gd name="T45" fmla="*/ 3 h 164"/>
              <a:gd name="T46" fmla="*/ 116 w 163"/>
              <a:gd name="T47" fmla="*/ 0 h 164"/>
              <a:gd name="T48" fmla="*/ 109 w 163"/>
              <a:gd name="T49" fmla="*/ 5 h 164"/>
              <a:gd name="T50" fmla="*/ 76 w 163"/>
              <a:gd name="T51" fmla="*/ 25 h 164"/>
              <a:gd name="T52" fmla="*/ 71 w 163"/>
              <a:gd name="T53" fmla="*/ 31 h 164"/>
              <a:gd name="T54" fmla="*/ 65 w 163"/>
              <a:gd name="T55" fmla="*/ 38 h 164"/>
              <a:gd name="T56" fmla="*/ 54 w 163"/>
              <a:gd name="T57" fmla="*/ 45 h 164"/>
              <a:gd name="T58" fmla="*/ 62 w 163"/>
              <a:gd name="T59" fmla="*/ 49 h 164"/>
              <a:gd name="T60" fmla="*/ 69 w 163"/>
              <a:gd name="T61" fmla="*/ 53 h 164"/>
              <a:gd name="T62" fmla="*/ 69 w 163"/>
              <a:gd name="T63" fmla="*/ 63 h 164"/>
              <a:gd name="T64" fmla="*/ 65 w 163"/>
              <a:gd name="T65" fmla="*/ 69 h 164"/>
              <a:gd name="T66" fmla="*/ 51 w 163"/>
              <a:gd name="T67" fmla="*/ 74 h 164"/>
              <a:gd name="T68" fmla="*/ 35 w 163"/>
              <a:gd name="T69" fmla="*/ 72 h 164"/>
              <a:gd name="T70" fmla="*/ 19 w 163"/>
              <a:gd name="T71" fmla="*/ 76 h 164"/>
              <a:gd name="T72" fmla="*/ 14 w 163"/>
              <a:gd name="T73" fmla="*/ 82 h 164"/>
              <a:gd name="T74" fmla="*/ 3 w 163"/>
              <a:gd name="T75" fmla="*/ 85 h 164"/>
              <a:gd name="T76" fmla="*/ 5 w 163"/>
              <a:gd name="T77" fmla="*/ 102 h 164"/>
              <a:gd name="T78" fmla="*/ 12 w 163"/>
              <a:gd name="T79" fmla="*/ 104 h 164"/>
              <a:gd name="T80" fmla="*/ 28 w 163"/>
              <a:gd name="T81" fmla="*/ 106 h 164"/>
              <a:gd name="T82" fmla="*/ 48 w 163"/>
              <a:gd name="T83" fmla="*/ 113 h 164"/>
              <a:gd name="T84" fmla="*/ 53 w 163"/>
              <a:gd name="T85" fmla="*/ 110 h 164"/>
              <a:gd name="T86" fmla="*/ 72 w 163"/>
              <a:gd name="T87" fmla="*/ 102 h 164"/>
              <a:gd name="T88" fmla="*/ 82 w 163"/>
              <a:gd name="T89" fmla="*/ 100 h 164"/>
              <a:gd name="T90" fmla="*/ 83 w 163"/>
              <a:gd name="T91" fmla="*/ 93 h 164"/>
              <a:gd name="T92" fmla="*/ 107 w 163"/>
              <a:gd name="T93" fmla="*/ 65 h 164"/>
              <a:gd name="T94" fmla="*/ 118 w 163"/>
              <a:gd name="T95" fmla="*/ 63 h 164"/>
              <a:gd name="T96" fmla="*/ 126 w 163"/>
              <a:gd name="T97" fmla="*/ 67 h 164"/>
              <a:gd name="T98" fmla="*/ 162 w 163"/>
              <a:gd name="T99" fmla="*/ 46 h 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63" h="164">
                <a:moveTo>
                  <a:pt x="32" y="115"/>
                </a:moveTo>
                <a:cubicBezTo>
                  <a:pt x="14" y="115"/>
                  <a:pt x="14" y="115"/>
                  <a:pt x="14" y="115"/>
                </a:cubicBezTo>
                <a:cubicBezTo>
                  <a:pt x="15" y="115"/>
                  <a:pt x="15" y="115"/>
                  <a:pt x="15" y="115"/>
                </a:cubicBezTo>
                <a:cubicBezTo>
                  <a:pt x="16" y="116"/>
                  <a:pt x="16" y="116"/>
                  <a:pt x="16" y="116"/>
                </a:cubicBezTo>
                <a:cubicBezTo>
                  <a:pt x="18" y="118"/>
                  <a:pt x="18" y="118"/>
                  <a:pt x="18" y="118"/>
                </a:cubicBezTo>
                <a:cubicBezTo>
                  <a:pt x="18" y="118"/>
                  <a:pt x="18" y="118"/>
                  <a:pt x="19" y="119"/>
                </a:cubicBezTo>
                <a:cubicBezTo>
                  <a:pt x="20" y="122"/>
                  <a:pt x="20" y="122"/>
                  <a:pt x="20" y="122"/>
                </a:cubicBezTo>
                <a:cubicBezTo>
                  <a:pt x="20" y="122"/>
                  <a:pt x="20" y="122"/>
                  <a:pt x="20" y="122"/>
                </a:cubicBezTo>
                <a:cubicBezTo>
                  <a:pt x="21" y="122"/>
                  <a:pt x="21" y="122"/>
                  <a:pt x="22" y="122"/>
                </a:cubicBezTo>
                <a:cubicBezTo>
                  <a:pt x="23" y="122"/>
                  <a:pt x="23" y="123"/>
                  <a:pt x="23" y="124"/>
                </a:cubicBezTo>
                <a:cubicBezTo>
                  <a:pt x="23" y="128"/>
                  <a:pt x="23" y="128"/>
                  <a:pt x="23" y="128"/>
                </a:cubicBezTo>
                <a:cubicBezTo>
                  <a:pt x="22" y="129"/>
                  <a:pt x="22" y="129"/>
                  <a:pt x="22" y="129"/>
                </a:cubicBezTo>
                <a:cubicBezTo>
                  <a:pt x="22" y="129"/>
                  <a:pt x="22" y="129"/>
                  <a:pt x="22" y="129"/>
                </a:cubicBezTo>
                <a:cubicBezTo>
                  <a:pt x="22" y="129"/>
                  <a:pt x="22" y="129"/>
                  <a:pt x="22" y="129"/>
                </a:cubicBezTo>
                <a:cubicBezTo>
                  <a:pt x="22" y="129"/>
                  <a:pt x="22" y="129"/>
                  <a:pt x="22" y="129"/>
                </a:cubicBezTo>
                <a:cubicBezTo>
                  <a:pt x="22" y="129"/>
                  <a:pt x="22" y="129"/>
                  <a:pt x="22" y="129"/>
                </a:cubicBezTo>
                <a:cubicBezTo>
                  <a:pt x="22" y="130"/>
                  <a:pt x="22" y="130"/>
                  <a:pt x="22" y="130"/>
                </a:cubicBezTo>
                <a:cubicBezTo>
                  <a:pt x="22" y="133"/>
                  <a:pt x="20" y="133"/>
                  <a:pt x="19" y="133"/>
                </a:cubicBezTo>
                <a:cubicBezTo>
                  <a:pt x="18" y="133"/>
                  <a:pt x="18" y="134"/>
                  <a:pt x="17" y="134"/>
                </a:cubicBezTo>
                <a:cubicBezTo>
                  <a:pt x="17" y="135"/>
                  <a:pt x="17" y="135"/>
                  <a:pt x="17" y="135"/>
                </a:cubicBezTo>
                <a:cubicBezTo>
                  <a:pt x="16" y="136"/>
                  <a:pt x="16" y="136"/>
                  <a:pt x="15" y="136"/>
                </a:cubicBezTo>
                <a:cubicBezTo>
                  <a:pt x="15" y="137"/>
                  <a:pt x="15" y="137"/>
                  <a:pt x="14" y="137"/>
                </a:cubicBezTo>
                <a:cubicBezTo>
                  <a:pt x="13" y="139"/>
                  <a:pt x="12" y="139"/>
                  <a:pt x="11" y="139"/>
                </a:cubicBezTo>
                <a:cubicBezTo>
                  <a:pt x="11" y="139"/>
                  <a:pt x="11" y="139"/>
                  <a:pt x="11" y="139"/>
                </a:cubicBezTo>
                <a:cubicBezTo>
                  <a:pt x="10" y="141"/>
                  <a:pt x="8" y="141"/>
                  <a:pt x="7" y="141"/>
                </a:cubicBezTo>
                <a:cubicBezTo>
                  <a:pt x="6" y="142"/>
                  <a:pt x="6" y="142"/>
                  <a:pt x="6" y="142"/>
                </a:cubicBezTo>
                <a:cubicBezTo>
                  <a:pt x="5" y="144"/>
                  <a:pt x="3" y="144"/>
                  <a:pt x="3" y="145"/>
                </a:cubicBezTo>
                <a:cubicBezTo>
                  <a:pt x="2" y="145"/>
                  <a:pt x="2" y="145"/>
                  <a:pt x="2" y="145"/>
                </a:cubicBezTo>
                <a:cubicBezTo>
                  <a:pt x="1" y="145"/>
                  <a:pt x="1" y="145"/>
                  <a:pt x="0" y="145"/>
                </a:cubicBezTo>
                <a:cubicBezTo>
                  <a:pt x="0" y="146"/>
                  <a:pt x="0" y="146"/>
                  <a:pt x="0" y="146"/>
                </a:cubicBezTo>
                <a:cubicBezTo>
                  <a:pt x="0" y="146"/>
                  <a:pt x="0" y="146"/>
                  <a:pt x="0" y="146"/>
                </a:cubicBezTo>
                <a:cubicBezTo>
                  <a:pt x="0" y="146"/>
                  <a:pt x="0" y="146"/>
                  <a:pt x="0" y="146"/>
                </a:cubicBezTo>
                <a:cubicBezTo>
                  <a:pt x="0" y="146"/>
                  <a:pt x="0" y="146"/>
                  <a:pt x="0" y="146"/>
                </a:cubicBezTo>
                <a:cubicBezTo>
                  <a:pt x="0" y="147"/>
                  <a:pt x="0" y="147"/>
                  <a:pt x="0" y="147"/>
                </a:cubicBezTo>
                <a:cubicBezTo>
                  <a:pt x="3" y="148"/>
                  <a:pt x="3" y="148"/>
                  <a:pt x="3" y="148"/>
                </a:cubicBezTo>
                <a:cubicBezTo>
                  <a:pt x="4" y="148"/>
                  <a:pt x="5" y="148"/>
                  <a:pt x="5" y="149"/>
                </a:cubicBezTo>
                <a:cubicBezTo>
                  <a:pt x="6" y="149"/>
                  <a:pt x="6" y="149"/>
                  <a:pt x="7" y="149"/>
                </a:cubicBezTo>
                <a:cubicBezTo>
                  <a:pt x="7" y="148"/>
                  <a:pt x="8" y="149"/>
                  <a:pt x="8" y="149"/>
                </a:cubicBezTo>
                <a:cubicBezTo>
                  <a:pt x="9" y="149"/>
                  <a:pt x="12" y="151"/>
                  <a:pt x="12" y="153"/>
                </a:cubicBezTo>
                <a:cubicBezTo>
                  <a:pt x="13" y="153"/>
                  <a:pt x="13" y="154"/>
                  <a:pt x="13" y="155"/>
                </a:cubicBezTo>
                <a:cubicBezTo>
                  <a:pt x="12" y="156"/>
                  <a:pt x="12" y="156"/>
                  <a:pt x="11" y="157"/>
                </a:cubicBezTo>
                <a:cubicBezTo>
                  <a:pt x="11" y="158"/>
                  <a:pt x="11" y="158"/>
                  <a:pt x="11" y="158"/>
                </a:cubicBezTo>
                <a:cubicBezTo>
                  <a:pt x="11" y="159"/>
                  <a:pt x="11" y="159"/>
                  <a:pt x="10" y="160"/>
                </a:cubicBezTo>
                <a:cubicBezTo>
                  <a:pt x="8" y="161"/>
                  <a:pt x="8" y="161"/>
                  <a:pt x="8" y="161"/>
                </a:cubicBezTo>
                <a:cubicBezTo>
                  <a:pt x="8" y="164"/>
                  <a:pt x="8" y="164"/>
                  <a:pt x="8" y="164"/>
                </a:cubicBezTo>
                <a:cubicBezTo>
                  <a:pt x="9" y="164"/>
                  <a:pt x="9" y="164"/>
                  <a:pt x="10" y="164"/>
                </a:cubicBezTo>
                <a:cubicBezTo>
                  <a:pt x="11" y="164"/>
                  <a:pt x="11" y="164"/>
                  <a:pt x="11" y="164"/>
                </a:cubicBezTo>
                <a:cubicBezTo>
                  <a:pt x="12" y="164"/>
                  <a:pt x="12" y="164"/>
                  <a:pt x="12" y="163"/>
                </a:cubicBezTo>
                <a:cubicBezTo>
                  <a:pt x="13" y="163"/>
                  <a:pt x="14" y="162"/>
                  <a:pt x="15" y="161"/>
                </a:cubicBezTo>
                <a:cubicBezTo>
                  <a:pt x="18" y="159"/>
                  <a:pt x="18" y="159"/>
                  <a:pt x="18" y="159"/>
                </a:cubicBezTo>
                <a:cubicBezTo>
                  <a:pt x="18" y="159"/>
                  <a:pt x="20" y="159"/>
                  <a:pt x="23" y="157"/>
                </a:cubicBezTo>
                <a:cubicBezTo>
                  <a:pt x="25" y="156"/>
                  <a:pt x="26" y="156"/>
                  <a:pt x="26" y="155"/>
                </a:cubicBezTo>
                <a:cubicBezTo>
                  <a:pt x="27" y="155"/>
                  <a:pt x="27" y="155"/>
                  <a:pt x="28" y="154"/>
                </a:cubicBezTo>
                <a:cubicBezTo>
                  <a:pt x="28" y="154"/>
                  <a:pt x="29" y="153"/>
                  <a:pt x="30" y="153"/>
                </a:cubicBezTo>
                <a:cubicBezTo>
                  <a:pt x="34" y="151"/>
                  <a:pt x="34" y="151"/>
                  <a:pt x="34" y="150"/>
                </a:cubicBezTo>
                <a:cubicBezTo>
                  <a:pt x="34" y="149"/>
                  <a:pt x="35" y="149"/>
                  <a:pt x="35" y="148"/>
                </a:cubicBezTo>
                <a:cubicBezTo>
                  <a:pt x="35" y="148"/>
                  <a:pt x="35" y="148"/>
                  <a:pt x="35" y="148"/>
                </a:cubicBezTo>
                <a:cubicBezTo>
                  <a:pt x="35" y="146"/>
                  <a:pt x="35" y="146"/>
                  <a:pt x="36" y="145"/>
                </a:cubicBezTo>
                <a:cubicBezTo>
                  <a:pt x="36" y="145"/>
                  <a:pt x="36" y="144"/>
                  <a:pt x="37" y="144"/>
                </a:cubicBezTo>
                <a:cubicBezTo>
                  <a:pt x="38" y="141"/>
                  <a:pt x="42" y="141"/>
                  <a:pt x="42" y="141"/>
                </a:cubicBezTo>
                <a:cubicBezTo>
                  <a:pt x="43" y="141"/>
                  <a:pt x="43" y="141"/>
                  <a:pt x="43" y="141"/>
                </a:cubicBezTo>
                <a:cubicBezTo>
                  <a:pt x="44" y="141"/>
                  <a:pt x="45" y="141"/>
                  <a:pt x="46" y="141"/>
                </a:cubicBezTo>
                <a:cubicBezTo>
                  <a:pt x="49" y="141"/>
                  <a:pt x="50" y="141"/>
                  <a:pt x="51" y="141"/>
                </a:cubicBezTo>
                <a:cubicBezTo>
                  <a:pt x="52" y="141"/>
                  <a:pt x="52" y="141"/>
                  <a:pt x="52" y="141"/>
                </a:cubicBezTo>
                <a:cubicBezTo>
                  <a:pt x="55" y="139"/>
                  <a:pt x="55" y="139"/>
                  <a:pt x="55" y="138"/>
                </a:cubicBezTo>
                <a:cubicBezTo>
                  <a:pt x="56" y="138"/>
                  <a:pt x="56" y="138"/>
                  <a:pt x="56" y="137"/>
                </a:cubicBezTo>
                <a:cubicBezTo>
                  <a:pt x="57" y="136"/>
                  <a:pt x="57" y="136"/>
                  <a:pt x="57" y="136"/>
                </a:cubicBezTo>
                <a:cubicBezTo>
                  <a:pt x="58" y="135"/>
                  <a:pt x="58" y="135"/>
                  <a:pt x="59" y="134"/>
                </a:cubicBezTo>
                <a:cubicBezTo>
                  <a:pt x="61" y="132"/>
                  <a:pt x="61" y="132"/>
                  <a:pt x="61" y="132"/>
                </a:cubicBezTo>
                <a:cubicBezTo>
                  <a:pt x="61" y="131"/>
                  <a:pt x="62" y="129"/>
                  <a:pt x="64" y="129"/>
                </a:cubicBezTo>
                <a:cubicBezTo>
                  <a:pt x="65" y="128"/>
                  <a:pt x="66" y="128"/>
                  <a:pt x="69" y="128"/>
                </a:cubicBezTo>
                <a:cubicBezTo>
                  <a:pt x="70" y="128"/>
                  <a:pt x="71" y="128"/>
                  <a:pt x="71" y="128"/>
                </a:cubicBezTo>
                <a:cubicBezTo>
                  <a:pt x="72" y="128"/>
                  <a:pt x="72" y="128"/>
                  <a:pt x="72" y="128"/>
                </a:cubicBezTo>
                <a:cubicBezTo>
                  <a:pt x="73" y="128"/>
                  <a:pt x="74" y="128"/>
                  <a:pt x="75" y="128"/>
                </a:cubicBezTo>
                <a:cubicBezTo>
                  <a:pt x="75" y="127"/>
                  <a:pt x="75" y="127"/>
                  <a:pt x="75" y="127"/>
                </a:cubicBezTo>
                <a:cubicBezTo>
                  <a:pt x="77" y="125"/>
                  <a:pt x="77" y="124"/>
                  <a:pt x="77" y="124"/>
                </a:cubicBezTo>
                <a:cubicBezTo>
                  <a:pt x="77" y="124"/>
                  <a:pt x="77" y="124"/>
                  <a:pt x="78" y="123"/>
                </a:cubicBezTo>
                <a:cubicBezTo>
                  <a:pt x="79" y="121"/>
                  <a:pt x="79" y="121"/>
                  <a:pt x="79" y="121"/>
                </a:cubicBezTo>
                <a:cubicBezTo>
                  <a:pt x="81" y="121"/>
                  <a:pt x="81" y="121"/>
                  <a:pt x="81" y="121"/>
                </a:cubicBezTo>
                <a:cubicBezTo>
                  <a:pt x="55" y="117"/>
                  <a:pt x="55" y="117"/>
                  <a:pt x="55" y="117"/>
                </a:cubicBezTo>
                <a:lnTo>
                  <a:pt x="32" y="115"/>
                </a:lnTo>
                <a:close/>
                <a:moveTo>
                  <a:pt x="162" y="42"/>
                </a:moveTo>
                <a:cubicBezTo>
                  <a:pt x="154" y="33"/>
                  <a:pt x="154" y="33"/>
                  <a:pt x="154" y="33"/>
                </a:cubicBezTo>
                <a:cubicBezTo>
                  <a:pt x="153" y="33"/>
                  <a:pt x="153" y="33"/>
                  <a:pt x="153" y="33"/>
                </a:cubicBezTo>
                <a:cubicBezTo>
                  <a:pt x="148" y="31"/>
                  <a:pt x="148" y="31"/>
                  <a:pt x="148" y="31"/>
                </a:cubicBezTo>
                <a:cubicBezTo>
                  <a:pt x="144" y="31"/>
                  <a:pt x="144" y="31"/>
                  <a:pt x="144" y="31"/>
                </a:cubicBezTo>
                <a:cubicBezTo>
                  <a:pt x="129" y="19"/>
                  <a:pt x="129" y="19"/>
                  <a:pt x="129" y="19"/>
                </a:cubicBezTo>
                <a:cubicBezTo>
                  <a:pt x="129" y="17"/>
                  <a:pt x="129" y="17"/>
                  <a:pt x="129" y="17"/>
                </a:cubicBezTo>
                <a:cubicBezTo>
                  <a:pt x="131" y="9"/>
                  <a:pt x="131" y="9"/>
                  <a:pt x="131" y="9"/>
                </a:cubicBezTo>
                <a:cubicBezTo>
                  <a:pt x="131" y="8"/>
                  <a:pt x="131" y="8"/>
                  <a:pt x="131" y="8"/>
                </a:cubicBezTo>
                <a:cubicBezTo>
                  <a:pt x="130" y="4"/>
                  <a:pt x="130" y="4"/>
                  <a:pt x="130" y="4"/>
                </a:cubicBezTo>
                <a:cubicBezTo>
                  <a:pt x="129" y="3"/>
                  <a:pt x="129" y="3"/>
                  <a:pt x="129" y="3"/>
                </a:cubicBezTo>
                <a:cubicBezTo>
                  <a:pt x="129" y="3"/>
                  <a:pt x="129" y="3"/>
                  <a:pt x="129" y="3"/>
                </a:cubicBezTo>
                <a:cubicBezTo>
                  <a:pt x="128" y="2"/>
                  <a:pt x="128" y="2"/>
                  <a:pt x="128" y="2"/>
                </a:cubicBezTo>
                <a:cubicBezTo>
                  <a:pt x="119" y="0"/>
                  <a:pt x="119" y="0"/>
                  <a:pt x="119" y="0"/>
                </a:cubicBezTo>
                <a:cubicBezTo>
                  <a:pt x="116" y="0"/>
                  <a:pt x="116" y="0"/>
                  <a:pt x="116" y="0"/>
                </a:cubicBezTo>
                <a:cubicBezTo>
                  <a:pt x="113" y="1"/>
                  <a:pt x="113" y="1"/>
                  <a:pt x="113" y="1"/>
                </a:cubicBezTo>
                <a:cubicBezTo>
                  <a:pt x="112" y="2"/>
                  <a:pt x="112" y="2"/>
                  <a:pt x="112" y="2"/>
                </a:cubicBezTo>
                <a:cubicBezTo>
                  <a:pt x="110" y="4"/>
                  <a:pt x="110" y="4"/>
                  <a:pt x="110" y="4"/>
                </a:cubicBezTo>
                <a:cubicBezTo>
                  <a:pt x="109" y="5"/>
                  <a:pt x="109" y="5"/>
                  <a:pt x="109" y="5"/>
                </a:cubicBezTo>
                <a:cubicBezTo>
                  <a:pt x="108" y="6"/>
                  <a:pt x="108" y="6"/>
                  <a:pt x="108" y="6"/>
                </a:cubicBezTo>
                <a:cubicBezTo>
                  <a:pt x="104" y="9"/>
                  <a:pt x="104" y="9"/>
                  <a:pt x="104" y="9"/>
                </a:cubicBezTo>
                <a:cubicBezTo>
                  <a:pt x="103" y="10"/>
                  <a:pt x="103" y="10"/>
                  <a:pt x="103" y="10"/>
                </a:cubicBezTo>
                <a:cubicBezTo>
                  <a:pt x="76" y="25"/>
                  <a:pt x="76" y="25"/>
                  <a:pt x="76" y="25"/>
                </a:cubicBezTo>
                <a:cubicBezTo>
                  <a:pt x="70" y="26"/>
                  <a:pt x="70" y="26"/>
                  <a:pt x="70" y="26"/>
                </a:cubicBezTo>
                <a:cubicBezTo>
                  <a:pt x="70" y="28"/>
                  <a:pt x="70" y="28"/>
                  <a:pt x="70" y="28"/>
                </a:cubicBezTo>
                <a:cubicBezTo>
                  <a:pt x="71" y="28"/>
                  <a:pt x="71" y="29"/>
                  <a:pt x="71" y="30"/>
                </a:cubicBezTo>
                <a:cubicBezTo>
                  <a:pt x="71" y="31"/>
                  <a:pt x="71" y="31"/>
                  <a:pt x="71" y="31"/>
                </a:cubicBezTo>
                <a:cubicBezTo>
                  <a:pt x="71" y="31"/>
                  <a:pt x="71" y="31"/>
                  <a:pt x="71" y="31"/>
                </a:cubicBezTo>
                <a:cubicBezTo>
                  <a:pt x="72" y="33"/>
                  <a:pt x="69" y="35"/>
                  <a:pt x="68" y="35"/>
                </a:cubicBezTo>
                <a:cubicBezTo>
                  <a:pt x="68" y="36"/>
                  <a:pt x="67" y="36"/>
                  <a:pt x="67" y="36"/>
                </a:cubicBezTo>
                <a:cubicBezTo>
                  <a:pt x="67" y="37"/>
                  <a:pt x="66" y="37"/>
                  <a:pt x="65" y="38"/>
                </a:cubicBezTo>
                <a:cubicBezTo>
                  <a:pt x="64" y="39"/>
                  <a:pt x="64" y="39"/>
                  <a:pt x="64" y="39"/>
                </a:cubicBezTo>
                <a:cubicBezTo>
                  <a:pt x="62" y="41"/>
                  <a:pt x="59" y="42"/>
                  <a:pt x="59" y="42"/>
                </a:cubicBezTo>
                <a:cubicBezTo>
                  <a:pt x="59" y="42"/>
                  <a:pt x="59" y="42"/>
                  <a:pt x="59" y="42"/>
                </a:cubicBezTo>
                <a:cubicBezTo>
                  <a:pt x="59" y="42"/>
                  <a:pt x="56" y="44"/>
                  <a:pt x="54" y="45"/>
                </a:cubicBezTo>
                <a:cubicBezTo>
                  <a:pt x="54" y="46"/>
                  <a:pt x="54" y="46"/>
                  <a:pt x="54" y="46"/>
                </a:cubicBezTo>
                <a:cubicBezTo>
                  <a:pt x="56" y="47"/>
                  <a:pt x="57" y="48"/>
                  <a:pt x="57" y="48"/>
                </a:cubicBezTo>
                <a:cubicBezTo>
                  <a:pt x="58" y="48"/>
                  <a:pt x="58" y="48"/>
                  <a:pt x="58" y="48"/>
                </a:cubicBezTo>
                <a:cubicBezTo>
                  <a:pt x="60" y="48"/>
                  <a:pt x="61" y="49"/>
                  <a:pt x="62" y="49"/>
                </a:cubicBezTo>
                <a:cubicBezTo>
                  <a:pt x="63" y="49"/>
                  <a:pt x="64" y="50"/>
                  <a:pt x="65" y="50"/>
                </a:cubicBezTo>
                <a:cubicBezTo>
                  <a:pt x="67" y="51"/>
                  <a:pt x="68" y="51"/>
                  <a:pt x="68" y="52"/>
                </a:cubicBezTo>
                <a:cubicBezTo>
                  <a:pt x="69" y="52"/>
                  <a:pt x="69" y="52"/>
                  <a:pt x="69" y="53"/>
                </a:cubicBezTo>
                <a:cubicBezTo>
                  <a:pt x="69" y="53"/>
                  <a:pt x="69" y="53"/>
                  <a:pt x="69" y="53"/>
                </a:cubicBezTo>
                <a:cubicBezTo>
                  <a:pt x="70" y="54"/>
                  <a:pt x="71" y="55"/>
                  <a:pt x="71" y="56"/>
                </a:cubicBezTo>
                <a:cubicBezTo>
                  <a:pt x="71" y="57"/>
                  <a:pt x="70" y="57"/>
                  <a:pt x="70" y="58"/>
                </a:cubicBezTo>
                <a:cubicBezTo>
                  <a:pt x="70" y="58"/>
                  <a:pt x="70" y="58"/>
                  <a:pt x="70" y="59"/>
                </a:cubicBezTo>
                <a:cubicBezTo>
                  <a:pt x="70" y="62"/>
                  <a:pt x="70" y="63"/>
                  <a:pt x="69" y="63"/>
                </a:cubicBezTo>
                <a:cubicBezTo>
                  <a:pt x="69" y="63"/>
                  <a:pt x="69" y="63"/>
                  <a:pt x="68" y="63"/>
                </a:cubicBezTo>
                <a:cubicBezTo>
                  <a:pt x="68" y="63"/>
                  <a:pt x="68" y="63"/>
                  <a:pt x="68" y="63"/>
                </a:cubicBezTo>
                <a:cubicBezTo>
                  <a:pt x="69" y="64"/>
                  <a:pt x="69" y="65"/>
                  <a:pt x="69" y="66"/>
                </a:cubicBezTo>
                <a:cubicBezTo>
                  <a:pt x="68" y="68"/>
                  <a:pt x="66" y="69"/>
                  <a:pt x="65" y="69"/>
                </a:cubicBezTo>
                <a:cubicBezTo>
                  <a:pt x="58" y="69"/>
                  <a:pt x="58" y="69"/>
                  <a:pt x="58" y="69"/>
                </a:cubicBezTo>
                <a:cubicBezTo>
                  <a:pt x="57" y="69"/>
                  <a:pt x="56" y="70"/>
                  <a:pt x="55" y="71"/>
                </a:cubicBezTo>
                <a:cubicBezTo>
                  <a:pt x="55" y="72"/>
                  <a:pt x="54" y="73"/>
                  <a:pt x="53" y="73"/>
                </a:cubicBezTo>
                <a:cubicBezTo>
                  <a:pt x="53" y="73"/>
                  <a:pt x="52" y="73"/>
                  <a:pt x="51" y="74"/>
                </a:cubicBezTo>
                <a:cubicBezTo>
                  <a:pt x="50" y="75"/>
                  <a:pt x="48" y="76"/>
                  <a:pt x="46" y="75"/>
                </a:cubicBezTo>
                <a:cubicBezTo>
                  <a:pt x="46" y="75"/>
                  <a:pt x="46" y="75"/>
                  <a:pt x="46" y="74"/>
                </a:cubicBezTo>
                <a:cubicBezTo>
                  <a:pt x="42" y="74"/>
                  <a:pt x="42" y="74"/>
                  <a:pt x="42" y="74"/>
                </a:cubicBezTo>
                <a:cubicBezTo>
                  <a:pt x="41" y="74"/>
                  <a:pt x="39" y="74"/>
                  <a:pt x="35" y="72"/>
                </a:cubicBezTo>
                <a:cubicBezTo>
                  <a:pt x="27" y="72"/>
                  <a:pt x="27" y="72"/>
                  <a:pt x="27" y="72"/>
                </a:cubicBezTo>
                <a:cubicBezTo>
                  <a:pt x="26" y="72"/>
                  <a:pt x="26" y="72"/>
                  <a:pt x="25" y="71"/>
                </a:cubicBezTo>
                <a:cubicBezTo>
                  <a:pt x="23" y="73"/>
                  <a:pt x="20" y="75"/>
                  <a:pt x="20" y="76"/>
                </a:cubicBezTo>
                <a:cubicBezTo>
                  <a:pt x="19" y="76"/>
                  <a:pt x="19" y="76"/>
                  <a:pt x="19" y="76"/>
                </a:cubicBezTo>
                <a:cubicBezTo>
                  <a:pt x="18" y="77"/>
                  <a:pt x="18" y="77"/>
                  <a:pt x="17" y="77"/>
                </a:cubicBezTo>
                <a:cubicBezTo>
                  <a:pt x="17" y="78"/>
                  <a:pt x="16" y="78"/>
                  <a:pt x="16" y="79"/>
                </a:cubicBezTo>
                <a:cubicBezTo>
                  <a:pt x="15" y="80"/>
                  <a:pt x="15" y="80"/>
                  <a:pt x="15" y="80"/>
                </a:cubicBezTo>
                <a:cubicBezTo>
                  <a:pt x="15" y="81"/>
                  <a:pt x="14" y="81"/>
                  <a:pt x="14" y="82"/>
                </a:cubicBezTo>
                <a:cubicBezTo>
                  <a:pt x="14" y="83"/>
                  <a:pt x="13" y="83"/>
                  <a:pt x="13" y="83"/>
                </a:cubicBezTo>
                <a:cubicBezTo>
                  <a:pt x="8" y="85"/>
                  <a:pt x="8" y="85"/>
                  <a:pt x="8" y="85"/>
                </a:cubicBezTo>
                <a:cubicBezTo>
                  <a:pt x="7" y="85"/>
                  <a:pt x="7" y="85"/>
                  <a:pt x="7" y="85"/>
                </a:cubicBezTo>
                <a:cubicBezTo>
                  <a:pt x="3" y="85"/>
                  <a:pt x="3" y="85"/>
                  <a:pt x="3" y="85"/>
                </a:cubicBezTo>
                <a:cubicBezTo>
                  <a:pt x="2" y="85"/>
                  <a:pt x="2" y="85"/>
                  <a:pt x="2" y="85"/>
                </a:cubicBezTo>
                <a:cubicBezTo>
                  <a:pt x="2" y="96"/>
                  <a:pt x="2" y="96"/>
                  <a:pt x="2" y="96"/>
                </a:cubicBezTo>
                <a:cubicBezTo>
                  <a:pt x="4" y="99"/>
                  <a:pt x="4" y="99"/>
                  <a:pt x="4" y="99"/>
                </a:cubicBezTo>
                <a:cubicBezTo>
                  <a:pt x="5" y="102"/>
                  <a:pt x="5" y="102"/>
                  <a:pt x="5" y="102"/>
                </a:cubicBezTo>
                <a:cubicBezTo>
                  <a:pt x="8" y="104"/>
                  <a:pt x="8" y="104"/>
                  <a:pt x="8" y="104"/>
                </a:cubicBezTo>
                <a:cubicBezTo>
                  <a:pt x="9" y="104"/>
                  <a:pt x="9" y="104"/>
                  <a:pt x="9" y="104"/>
                </a:cubicBezTo>
                <a:cubicBezTo>
                  <a:pt x="9" y="104"/>
                  <a:pt x="9" y="104"/>
                  <a:pt x="9" y="104"/>
                </a:cubicBezTo>
                <a:cubicBezTo>
                  <a:pt x="12" y="104"/>
                  <a:pt x="12" y="104"/>
                  <a:pt x="12" y="104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5" y="103"/>
                  <a:pt x="25" y="103"/>
                  <a:pt x="25" y="103"/>
                </a:cubicBezTo>
                <a:cubicBezTo>
                  <a:pt x="26" y="104"/>
                  <a:pt x="26" y="104"/>
                  <a:pt x="26" y="104"/>
                </a:cubicBezTo>
                <a:cubicBezTo>
                  <a:pt x="28" y="106"/>
                  <a:pt x="28" y="106"/>
                  <a:pt x="28" y="106"/>
                </a:cubicBezTo>
                <a:cubicBezTo>
                  <a:pt x="30" y="107"/>
                  <a:pt x="30" y="107"/>
                  <a:pt x="30" y="107"/>
                </a:cubicBezTo>
                <a:cubicBezTo>
                  <a:pt x="31" y="108"/>
                  <a:pt x="31" y="108"/>
                  <a:pt x="31" y="108"/>
                </a:cubicBezTo>
                <a:cubicBezTo>
                  <a:pt x="37" y="110"/>
                  <a:pt x="37" y="110"/>
                  <a:pt x="37" y="110"/>
                </a:cubicBezTo>
                <a:cubicBezTo>
                  <a:pt x="48" y="113"/>
                  <a:pt x="48" y="113"/>
                  <a:pt x="48" y="113"/>
                </a:cubicBezTo>
                <a:cubicBezTo>
                  <a:pt x="49" y="113"/>
                  <a:pt x="49" y="113"/>
                  <a:pt x="49" y="113"/>
                </a:cubicBezTo>
                <a:cubicBezTo>
                  <a:pt x="50" y="113"/>
                  <a:pt x="50" y="113"/>
                  <a:pt x="50" y="113"/>
                </a:cubicBezTo>
                <a:cubicBezTo>
                  <a:pt x="50" y="113"/>
                  <a:pt x="50" y="113"/>
                  <a:pt x="50" y="113"/>
                </a:cubicBezTo>
                <a:cubicBezTo>
                  <a:pt x="53" y="110"/>
                  <a:pt x="53" y="110"/>
                  <a:pt x="53" y="110"/>
                </a:cubicBezTo>
                <a:cubicBezTo>
                  <a:pt x="68" y="102"/>
                  <a:pt x="68" y="102"/>
                  <a:pt x="68" y="102"/>
                </a:cubicBezTo>
                <a:cubicBezTo>
                  <a:pt x="69" y="101"/>
                  <a:pt x="69" y="101"/>
                  <a:pt x="69" y="101"/>
                </a:cubicBezTo>
                <a:cubicBezTo>
                  <a:pt x="70" y="101"/>
                  <a:pt x="70" y="101"/>
                  <a:pt x="70" y="101"/>
                </a:cubicBezTo>
                <a:cubicBezTo>
                  <a:pt x="72" y="102"/>
                  <a:pt x="72" y="102"/>
                  <a:pt x="72" y="102"/>
                </a:cubicBezTo>
                <a:cubicBezTo>
                  <a:pt x="73" y="102"/>
                  <a:pt x="73" y="102"/>
                  <a:pt x="73" y="102"/>
                </a:cubicBezTo>
                <a:cubicBezTo>
                  <a:pt x="80" y="102"/>
                  <a:pt x="80" y="102"/>
                  <a:pt x="80" y="102"/>
                </a:cubicBezTo>
                <a:cubicBezTo>
                  <a:pt x="81" y="101"/>
                  <a:pt x="81" y="101"/>
                  <a:pt x="81" y="101"/>
                </a:cubicBezTo>
                <a:cubicBezTo>
                  <a:pt x="82" y="100"/>
                  <a:pt x="82" y="100"/>
                  <a:pt x="82" y="100"/>
                </a:cubicBezTo>
                <a:cubicBezTo>
                  <a:pt x="84" y="98"/>
                  <a:pt x="84" y="98"/>
                  <a:pt x="84" y="98"/>
                </a:cubicBezTo>
                <a:cubicBezTo>
                  <a:pt x="84" y="97"/>
                  <a:pt x="84" y="97"/>
                  <a:pt x="84" y="97"/>
                </a:cubicBezTo>
                <a:cubicBezTo>
                  <a:pt x="84" y="95"/>
                  <a:pt x="84" y="95"/>
                  <a:pt x="84" y="95"/>
                </a:cubicBezTo>
                <a:cubicBezTo>
                  <a:pt x="83" y="93"/>
                  <a:pt x="83" y="93"/>
                  <a:pt x="83" y="93"/>
                </a:cubicBezTo>
                <a:cubicBezTo>
                  <a:pt x="83" y="92"/>
                  <a:pt x="83" y="92"/>
                  <a:pt x="83" y="92"/>
                </a:cubicBezTo>
                <a:cubicBezTo>
                  <a:pt x="85" y="88"/>
                  <a:pt x="85" y="88"/>
                  <a:pt x="85" y="88"/>
                </a:cubicBezTo>
                <a:cubicBezTo>
                  <a:pt x="86" y="86"/>
                  <a:pt x="86" y="86"/>
                  <a:pt x="86" y="86"/>
                </a:cubicBezTo>
                <a:cubicBezTo>
                  <a:pt x="107" y="65"/>
                  <a:pt x="107" y="65"/>
                  <a:pt x="107" y="65"/>
                </a:cubicBezTo>
                <a:cubicBezTo>
                  <a:pt x="110" y="63"/>
                  <a:pt x="110" y="63"/>
                  <a:pt x="110" y="63"/>
                </a:cubicBezTo>
                <a:cubicBezTo>
                  <a:pt x="112" y="63"/>
                  <a:pt x="112" y="63"/>
                  <a:pt x="112" y="63"/>
                </a:cubicBezTo>
                <a:cubicBezTo>
                  <a:pt x="116" y="62"/>
                  <a:pt x="116" y="62"/>
                  <a:pt x="116" y="62"/>
                </a:cubicBezTo>
                <a:cubicBezTo>
                  <a:pt x="118" y="63"/>
                  <a:pt x="118" y="63"/>
                  <a:pt x="118" y="63"/>
                </a:cubicBezTo>
                <a:cubicBezTo>
                  <a:pt x="121" y="63"/>
                  <a:pt x="121" y="63"/>
                  <a:pt x="121" y="63"/>
                </a:cubicBezTo>
                <a:cubicBezTo>
                  <a:pt x="122" y="64"/>
                  <a:pt x="122" y="64"/>
                  <a:pt x="122" y="64"/>
                </a:cubicBezTo>
                <a:cubicBezTo>
                  <a:pt x="124" y="66"/>
                  <a:pt x="124" y="66"/>
                  <a:pt x="124" y="66"/>
                </a:cubicBezTo>
                <a:cubicBezTo>
                  <a:pt x="126" y="67"/>
                  <a:pt x="126" y="67"/>
                  <a:pt x="126" y="67"/>
                </a:cubicBezTo>
                <a:cubicBezTo>
                  <a:pt x="129" y="67"/>
                  <a:pt x="129" y="67"/>
                  <a:pt x="129" y="67"/>
                </a:cubicBezTo>
                <a:cubicBezTo>
                  <a:pt x="134" y="66"/>
                  <a:pt x="134" y="66"/>
                  <a:pt x="134" y="66"/>
                </a:cubicBezTo>
                <a:cubicBezTo>
                  <a:pt x="152" y="56"/>
                  <a:pt x="152" y="56"/>
                  <a:pt x="152" y="56"/>
                </a:cubicBezTo>
                <a:cubicBezTo>
                  <a:pt x="162" y="46"/>
                  <a:pt x="162" y="46"/>
                  <a:pt x="162" y="46"/>
                </a:cubicBezTo>
                <a:cubicBezTo>
                  <a:pt x="162" y="44"/>
                  <a:pt x="162" y="44"/>
                  <a:pt x="162" y="44"/>
                </a:cubicBezTo>
                <a:cubicBezTo>
                  <a:pt x="163" y="43"/>
                  <a:pt x="163" y="43"/>
                  <a:pt x="163" y="43"/>
                </a:cubicBezTo>
                <a:lnTo>
                  <a:pt x="162" y="4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9" name="Freeform 20">
            <a:extLst>
              <a:ext uri="{FF2B5EF4-FFF2-40B4-BE49-F238E27FC236}">
                <a16:creationId xmlns:a16="http://schemas.microsoft.com/office/drawing/2014/main" id="{DDBDF63B-BFC1-4A1E-A602-A8716D0A713D}"/>
              </a:ext>
            </a:extLst>
          </p:cNvPr>
          <p:cNvSpPr>
            <a:spLocks/>
          </p:cNvSpPr>
          <p:nvPr/>
        </p:nvSpPr>
        <p:spPr bwMode="auto">
          <a:xfrm>
            <a:off x="4525976" y="2531591"/>
            <a:ext cx="369756" cy="236538"/>
          </a:xfrm>
          <a:custGeom>
            <a:avLst/>
            <a:gdLst>
              <a:gd name="T0" fmla="*/ 134 w 153"/>
              <a:gd name="T1" fmla="*/ 55 h 106"/>
              <a:gd name="T2" fmla="*/ 130 w 153"/>
              <a:gd name="T3" fmla="*/ 35 h 106"/>
              <a:gd name="T4" fmla="*/ 122 w 153"/>
              <a:gd name="T5" fmla="*/ 37 h 106"/>
              <a:gd name="T6" fmla="*/ 113 w 153"/>
              <a:gd name="T7" fmla="*/ 48 h 106"/>
              <a:gd name="T8" fmla="*/ 110 w 153"/>
              <a:gd name="T9" fmla="*/ 52 h 106"/>
              <a:gd name="T10" fmla="*/ 95 w 153"/>
              <a:gd name="T11" fmla="*/ 48 h 106"/>
              <a:gd name="T12" fmla="*/ 78 w 153"/>
              <a:gd name="T13" fmla="*/ 47 h 106"/>
              <a:gd name="T14" fmla="*/ 79 w 153"/>
              <a:gd name="T15" fmla="*/ 57 h 106"/>
              <a:gd name="T16" fmla="*/ 75 w 153"/>
              <a:gd name="T17" fmla="*/ 62 h 106"/>
              <a:gd name="T18" fmla="*/ 69 w 153"/>
              <a:gd name="T19" fmla="*/ 57 h 106"/>
              <a:gd name="T20" fmla="*/ 70 w 153"/>
              <a:gd name="T21" fmla="*/ 47 h 106"/>
              <a:gd name="T22" fmla="*/ 62 w 153"/>
              <a:gd name="T23" fmla="*/ 46 h 106"/>
              <a:gd name="T24" fmla="*/ 48 w 153"/>
              <a:gd name="T25" fmla="*/ 49 h 106"/>
              <a:gd name="T26" fmla="*/ 43 w 153"/>
              <a:gd name="T27" fmla="*/ 43 h 106"/>
              <a:gd name="T28" fmla="*/ 32 w 153"/>
              <a:gd name="T29" fmla="*/ 40 h 106"/>
              <a:gd name="T30" fmla="*/ 19 w 153"/>
              <a:gd name="T31" fmla="*/ 29 h 106"/>
              <a:gd name="T32" fmla="*/ 21 w 153"/>
              <a:gd name="T33" fmla="*/ 17 h 106"/>
              <a:gd name="T34" fmla="*/ 18 w 153"/>
              <a:gd name="T35" fmla="*/ 11 h 106"/>
              <a:gd name="T36" fmla="*/ 10 w 153"/>
              <a:gd name="T37" fmla="*/ 8 h 106"/>
              <a:gd name="T38" fmla="*/ 0 w 153"/>
              <a:gd name="T39" fmla="*/ 0 h 106"/>
              <a:gd name="T40" fmla="*/ 3 w 153"/>
              <a:gd name="T41" fmla="*/ 7 h 106"/>
              <a:gd name="T42" fmla="*/ 6 w 153"/>
              <a:gd name="T43" fmla="*/ 34 h 106"/>
              <a:gd name="T44" fmla="*/ 10 w 153"/>
              <a:gd name="T45" fmla="*/ 43 h 106"/>
              <a:gd name="T46" fmla="*/ 12 w 153"/>
              <a:gd name="T47" fmla="*/ 68 h 106"/>
              <a:gd name="T48" fmla="*/ 15 w 153"/>
              <a:gd name="T49" fmla="*/ 72 h 106"/>
              <a:gd name="T50" fmla="*/ 28 w 153"/>
              <a:gd name="T51" fmla="*/ 63 h 106"/>
              <a:gd name="T52" fmla="*/ 36 w 153"/>
              <a:gd name="T53" fmla="*/ 72 h 106"/>
              <a:gd name="T54" fmla="*/ 39 w 153"/>
              <a:gd name="T55" fmla="*/ 77 h 106"/>
              <a:gd name="T56" fmla="*/ 46 w 153"/>
              <a:gd name="T57" fmla="*/ 83 h 106"/>
              <a:gd name="T58" fmla="*/ 57 w 153"/>
              <a:gd name="T59" fmla="*/ 92 h 106"/>
              <a:gd name="T60" fmla="*/ 51 w 153"/>
              <a:gd name="T61" fmla="*/ 106 h 106"/>
              <a:gd name="T62" fmla="*/ 58 w 153"/>
              <a:gd name="T63" fmla="*/ 103 h 106"/>
              <a:gd name="T64" fmla="*/ 63 w 153"/>
              <a:gd name="T65" fmla="*/ 97 h 106"/>
              <a:gd name="T66" fmla="*/ 71 w 153"/>
              <a:gd name="T67" fmla="*/ 94 h 106"/>
              <a:gd name="T68" fmla="*/ 75 w 153"/>
              <a:gd name="T69" fmla="*/ 91 h 106"/>
              <a:gd name="T70" fmla="*/ 89 w 153"/>
              <a:gd name="T71" fmla="*/ 88 h 106"/>
              <a:gd name="T72" fmla="*/ 101 w 153"/>
              <a:gd name="T73" fmla="*/ 84 h 106"/>
              <a:gd name="T74" fmla="*/ 110 w 153"/>
              <a:gd name="T75" fmla="*/ 83 h 106"/>
              <a:gd name="T76" fmla="*/ 117 w 153"/>
              <a:gd name="T77" fmla="*/ 87 h 106"/>
              <a:gd name="T78" fmla="*/ 120 w 153"/>
              <a:gd name="T79" fmla="*/ 90 h 106"/>
              <a:gd name="T80" fmla="*/ 127 w 153"/>
              <a:gd name="T81" fmla="*/ 93 h 106"/>
              <a:gd name="T82" fmla="*/ 130 w 153"/>
              <a:gd name="T83" fmla="*/ 95 h 106"/>
              <a:gd name="T84" fmla="*/ 137 w 153"/>
              <a:gd name="T85" fmla="*/ 94 h 106"/>
              <a:gd name="T86" fmla="*/ 142 w 153"/>
              <a:gd name="T87" fmla="*/ 91 h 106"/>
              <a:gd name="T88" fmla="*/ 147 w 153"/>
              <a:gd name="T89" fmla="*/ 87 h 106"/>
              <a:gd name="T90" fmla="*/ 153 w 153"/>
              <a:gd name="T91" fmla="*/ 81 h 106"/>
              <a:gd name="T92" fmla="*/ 147 w 153"/>
              <a:gd name="T93" fmla="*/ 73 h 106"/>
              <a:gd name="T94" fmla="*/ 141 w 153"/>
              <a:gd name="T95" fmla="*/ 61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53" h="106">
                <a:moveTo>
                  <a:pt x="140" y="61"/>
                </a:moveTo>
                <a:cubicBezTo>
                  <a:pt x="137" y="59"/>
                  <a:pt x="137" y="59"/>
                  <a:pt x="137" y="59"/>
                </a:cubicBezTo>
                <a:cubicBezTo>
                  <a:pt x="137" y="59"/>
                  <a:pt x="136" y="59"/>
                  <a:pt x="136" y="58"/>
                </a:cubicBezTo>
                <a:cubicBezTo>
                  <a:pt x="134" y="55"/>
                  <a:pt x="134" y="55"/>
                  <a:pt x="134" y="55"/>
                </a:cubicBezTo>
                <a:cubicBezTo>
                  <a:pt x="132" y="51"/>
                  <a:pt x="132" y="51"/>
                  <a:pt x="132" y="51"/>
                </a:cubicBezTo>
                <a:cubicBezTo>
                  <a:pt x="132" y="51"/>
                  <a:pt x="132" y="51"/>
                  <a:pt x="132" y="50"/>
                </a:cubicBezTo>
                <a:cubicBezTo>
                  <a:pt x="132" y="37"/>
                  <a:pt x="132" y="37"/>
                  <a:pt x="132" y="37"/>
                </a:cubicBezTo>
                <a:cubicBezTo>
                  <a:pt x="130" y="35"/>
                  <a:pt x="130" y="35"/>
                  <a:pt x="130" y="35"/>
                </a:cubicBezTo>
                <a:cubicBezTo>
                  <a:pt x="127" y="34"/>
                  <a:pt x="127" y="34"/>
                  <a:pt x="127" y="34"/>
                </a:cubicBezTo>
                <a:cubicBezTo>
                  <a:pt x="125" y="34"/>
                  <a:pt x="125" y="34"/>
                  <a:pt x="125" y="34"/>
                </a:cubicBezTo>
                <a:cubicBezTo>
                  <a:pt x="123" y="37"/>
                  <a:pt x="123" y="37"/>
                  <a:pt x="123" y="37"/>
                </a:cubicBezTo>
                <a:cubicBezTo>
                  <a:pt x="122" y="37"/>
                  <a:pt x="122" y="37"/>
                  <a:pt x="122" y="37"/>
                </a:cubicBezTo>
                <a:cubicBezTo>
                  <a:pt x="120" y="38"/>
                  <a:pt x="120" y="38"/>
                  <a:pt x="120" y="38"/>
                </a:cubicBezTo>
                <a:cubicBezTo>
                  <a:pt x="120" y="42"/>
                  <a:pt x="120" y="42"/>
                  <a:pt x="120" y="42"/>
                </a:cubicBezTo>
                <a:cubicBezTo>
                  <a:pt x="120" y="43"/>
                  <a:pt x="120" y="43"/>
                  <a:pt x="119" y="44"/>
                </a:cubicBezTo>
                <a:cubicBezTo>
                  <a:pt x="117" y="45"/>
                  <a:pt x="114" y="47"/>
                  <a:pt x="113" y="48"/>
                </a:cubicBezTo>
                <a:cubicBezTo>
                  <a:pt x="113" y="49"/>
                  <a:pt x="113" y="49"/>
                  <a:pt x="113" y="49"/>
                </a:cubicBezTo>
                <a:cubicBezTo>
                  <a:pt x="112" y="51"/>
                  <a:pt x="112" y="51"/>
                  <a:pt x="111" y="52"/>
                </a:cubicBezTo>
                <a:cubicBezTo>
                  <a:pt x="111" y="52"/>
                  <a:pt x="111" y="52"/>
                  <a:pt x="110" y="52"/>
                </a:cubicBezTo>
                <a:cubicBezTo>
                  <a:pt x="110" y="52"/>
                  <a:pt x="110" y="52"/>
                  <a:pt x="110" y="52"/>
                </a:cubicBezTo>
                <a:cubicBezTo>
                  <a:pt x="107" y="54"/>
                  <a:pt x="105" y="53"/>
                  <a:pt x="104" y="52"/>
                </a:cubicBezTo>
                <a:cubicBezTo>
                  <a:pt x="101" y="51"/>
                  <a:pt x="101" y="51"/>
                  <a:pt x="101" y="51"/>
                </a:cubicBezTo>
                <a:cubicBezTo>
                  <a:pt x="101" y="50"/>
                  <a:pt x="99" y="50"/>
                  <a:pt x="98" y="50"/>
                </a:cubicBezTo>
                <a:cubicBezTo>
                  <a:pt x="96" y="49"/>
                  <a:pt x="95" y="49"/>
                  <a:pt x="95" y="48"/>
                </a:cubicBezTo>
                <a:cubicBezTo>
                  <a:pt x="95" y="48"/>
                  <a:pt x="95" y="48"/>
                  <a:pt x="94" y="48"/>
                </a:cubicBezTo>
                <a:cubicBezTo>
                  <a:pt x="94" y="48"/>
                  <a:pt x="93" y="47"/>
                  <a:pt x="92" y="47"/>
                </a:cubicBezTo>
                <a:cubicBezTo>
                  <a:pt x="89" y="47"/>
                  <a:pt x="89" y="47"/>
                  <a:pt x="89" y="47"/>
                </a:cubicBezTo>
                <a:cubicBezTo>
                  <a:pt x="89" y="47"/>
                  <a:pt x="84" y="46"/>
                  <a:pt x="78" y="47"/>
                </a:cubicBezTo>
                <a:cubicBezTo>
                  <a:pt x="77" y="48"/>
                  <a:pt x="77" y="48"/>
                  <a:pt x="77" y="48"/>
                </a:cubicBezTo>
                <a:cubicBezTo>
                  <a:pt x="77" y="48"/>
                  <a:pt x="78" y="49"/>
                  <a:pt x="78" y="50"/>
                </a:cubicBezTo>
                <a:cubicBezTo>
                  <a:pt x="79" y="51"/>
                  <a:pt x="80" y="53"/>
                  <a:pt x="80" y="54"/>
                </a:cubicBezTo>
                <a:cubicBezTo>
                  <a:pt x="79" y="55"/>
                  <a:pt x="79" y="56"/>
                  <a:pt x="79" y="57"/>
                </a:cubicBezTo>
                <a:cubicBezTo>
                  <a:pt x="80" y="58"/>
                  <a:pt x="80" y="59"/>
                  <a:pt x="80" y="60"/>
                </a:cubicBezTo>
                <a:cubicBezTo>
                  <a:pt x="80" y="61"/>
                  <a:pt x="80" y="63"/>
                  <a:pt x="78" y="64"/>
                </a:cubicBezTo>
                <a:cubicBezTo>
                  <a:pt x="77" y="64"/>
                  <a:pt x="77" y="64"/>
                  <a:pt x="77" y="64"/>
                </a:cubicBezTo>
                <a:cubicBezTo>
                  <a:pt x="76" y="64"/>
                  <a:pt x="75" y="63"/>
                  <a:pt x="75" y="62"/>
                </a:cubicBezTo>
                <a:cubicBezTo>
                  <a:pt x="72" y="62"/>
                  <a:pt x="72" y="62"/>
                  <a:pt x="72" y="62"/>
                </a:cubicBezTo>
                <a:cubicBezTo>
                  <a:pt x="72" y="62"/>
                  <a:pt x="71" y="62"/>
                  <a:pt x="71" y="61"/>
                </a:cubicBezTo>
                <a:cubicBezTo>
                  <a:pt x="69" y="59"/>
                  <a:pt x="69" y="59"/>
                  <a:pt x="69" y="59"/>
                </a:cubicBezTo>
                <a:cubicBezTo>
                  <a:pt x="68" y="59"/>
                  <a:pt x="68" y="58"/>
                  <a:pt x="69" y="57"/>
                </a:cubicBezTo>
                <a:cubicBezTo>
                  <a:pt x="70" y="54"/>
                  <a:pt x="70" y="54"/>
                  <a:pt x="70" y="54"/>
                </a:cubicBezTo>
                <a:cubicBezTo>
                  <a:pt x="70" y="52"/>
                  <a:pt x="70" y="52"/>
                  <a:pt x="70" y="52"/>
                </a:cubicBezTo>
                <a:cubicBezTo>
                  <a:pt x="70" y="52"/>
                  <a:pt x="70" y="50"/>
                  <a:pt x="70" y="47"/>
                </a:cubicBezTo>
                <a:cubicBezTo>
                  <a:pt x="70" y="47"/>
                  <a:pt x="70" y="47"/>
                  <a:pt x="70" y="47"/>
                </a:cubicBezTo>
                <a:cubicBezTo>
                  <a:pt x="67" y="46"/>
                  <a:pt x="67" y="46"/>
                  <a:pt x="67" y="46"/>
                </a:cubicBezTo>
                <a:cubicBezTo>
                  <a:pt x="66" y="46"/>
                  <a:pt x="66" y="46"/>
                  <a:pt x="66" y="46"/>
                </a:cubicBezTo>
                <a:cubicBezTo>
                  <a:pt x="66" y="46"/>
                  <a:pt x="66" y="46"/>
                  <a:pt x="65" y="46"/>
                </a:cubicBezTo>
                <a:cubicBezTo>
                  <a:pt x="62" y="46"/>
                  <a:pt x="62" y="46"/>
                  <a:pt x="62" y="46"/>
                </a:cubicBezTo>
                <a:cubicBezTo>
                  <a:pt x="61" y="47"/>
                  <a:pt x="60" y="47"/>
                  <a:pt x="60" y="48"/>
                </a:cubicBezTo>
                <a:cubicBezTo>
                  <a:pt x="59" y="49"/>
                  <a:pt x="58" y="49"/>
                  <a:pt x="58" y="50"/>
                </a:cubicBezTo>
                <a:cubicBezTo>
                  <a:pt x="56" y="50"/>
                  <a:pt x="55" y="49"/>
                  <a:pt x="55" y="49"/>
                </a:cubicBezTo>
                <a:cubicBezTo>
                  <a:pt x="48" y="49"/>
                  <a:pt x="48" y="49"/>
                  <a:pt x="48" y="49"/>
                </a:cubicBezTo>
                <a:cubicBezTo>
                  <a:pt x="48" y="49"/>
                  <a:pt x="48" y="49"/>
                  <a:pt x="47" y="49"/>
                </a:cubicBezTo>
                <a:cubicBezTo>
                  <a:pt x="44" y="46"/>
                  <a:pt x="44" y="46"/>
                  <a:pt x="44" y="46"/>
                </a:cubicBezTo>
                <a:cubicBezTo>
                  <a:pt x="43" y="46"/>
                  <a:pt x="43" y="46"/>
                  <a:pt x="43" y="45"/>
                </a:cubicBezTo>
                <a:cubicBezTo>
                  <a:pt x="43" y="43"/>
                  <a:pt x="43" y="43"/>
                  <a:pt x="43" y="43"/>
                </a:cubicBezTo>
                <a:cubicBezTo>
                  <a:pt x="42" y="44"/>
                  <a:pt x="42" y="44"/>
                  <a:pt x="41" y="44"/>
                </a:cubicBezTo>
                <a:cubicBezTo>
                  <a:pt x="36" y="44"/>
                  <a:pt x="36" y="44"/>
                  <a:pt x="36" y="44"/>
                </a:cubicBezTo>
                <a:cubicBezTo>
                  <a:pt x="35" y="44"/>
                  <a:pt x="34" y="44"/>
                  <a:pt x="34" y="43"/>
                </a:cubicBezTo>
                <a:cubicBezTo>
                  <a:pt x="32" y="40"/>
                  <a:pt x="32" y="40"/>
                  <a:pt x="32" y="40"/>
                </a:cubicBezTo>
                <a:cubicBezTo>
                  <a:pt x="29" y="35"/>
                  <a:pt x="29" y="35"/>
                  <a:pt x="29" y="35"/>
                </a:cubicBezTo>
                <a:cubicBezTo>
                  <a:pt x="28" y="35"/>
                  <a:pt x="26" y="34"/>
                  <a:pt x="25" y="34"/>
                </a:cubicBezTo>
                <a:cubicBezTo>
                  <a:pt x="23" y="33"/>
                  <a:pt x="20" y="31"/>
                  <a:pt x="19" y="31"/>
                </a:cubicBezTo>
                <a:cubicBezTo>
                  <a:pt x="19" y="31"/>
                  <a:pt x="19" y="30"/>
                  <a:pt x="19" y="29"/>
                </a:cubicBezTo>
                <a:cubicBezTo>
                  <a:pt x="19" y="21"/>
                  <a:pt x="19" y="21"/>
                  <a:pt x="19" y="21"/>
                </a:cubicBezTo>
                <a:cubicBezTo>
                  <a:pt x="19" y="20"/>
                  <a:pt x="19" y="20"/>
                  <a:pt x="19" y="20"/>
                </a:cubicBezTo>
                <a:cubicBezTo>
                  <a:pt x="19" y="19"/>
                  <a:pt x="19" y="19"/>
                  <a:pt x="19" y="19"/>
                </a:cubicBezTo>
                <a:cubicBezTo>
                  <a:pt x="19" y="18"/>
                  <a:pt x="20" y="17"/>
                  <a:pt x="21" y="17"/>
                </a:cubicBezTo>
                <a:cubicBezTo>
                  <a:pt x="21" y="17"/>
                  <a:pt x="23" y="17"/>
                  <a:pt x="23" y="16"/>
                </a:cubicBezTo>
                <a:cubicBezTo>
                  <a:pt x="21" y="13"/>
                  <a:pt x="21" y="13"/>
                  <a:pt x="21" y="13"/>
                </a:cubicBezTo>
                <a:cubicBezTo>
                  <a:pt x="20" y="12"/>
                  <a:pt x="20" y="12"/>
                  <a:pt x="20" y="12"/>
                </a:cubicBezTo>
                <a:cubicBezTo>
                  <a:pt x="19" y="12"/>
                  <a:pt x="18" y="12"/>
                  <a:pt x="18" y="11"/>
                </a:cubicBezTo>
                <a:cubicBezTo>
                  <a:pt x="13" y="11"/>
                  <a:pt x="13" y="11"/>
                  <a:pt x="13" y="11"/>
                </a:cubicBezTo>
                <a:cubicBezTo>
                  <a:pt x="12" y="11"/>
                  <a:pt x="11" y="10"/>
                  <a:pt x="11" y="9"/>
                </a:cubicBezTo>
                <a:cubicBezTo>
                  <a:pt x="11" y="8"/>
                  <a:pt x="11" y="8"/>
                  <a:pt x="11" y="8"/>
                </a:cubicBezTo>
                <a:cubicBezTo>
                  <a:pt x="10" y="8"/>
                  <a:pt x="10" y="8"/>
                  <a:pt x="10" y="8"/>
                </a:cubicBezTo>
                <a:cubicBezTo>
                  <a:pt x="9" y="7"/>
                  <a:pt x="9" y="7"/>
                  <a:pt x="9" y="7"/>
                </a:cubicBezTo>
                <a:cubicBezTo>
                  <a:pt x="8" y="7"/>
                  <a:pt x="7" y="5"/>
                  <a:pt x="6" y="4"/>
                </a:cubicBezTo>
                <a:cubicBezTo>
                  <a:pt x="5" y="3"/>
                  <a:pt x="5" y="1"/>
                  <a:pt x="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2"/>
                  <a:pt x="0" y="2"/>
                </a:cubicBezTo>
                <a:cubicBezTo>
                  <a:pt x="3" y="6"/>
                  <a:pt x="3" y="6"/>
                  <a:pt x="3" y="6"/>
                </a:cubicBezTo>
                <a:cubicBezTo>
                  <a:pt x="3" y="7"/>
                  <a:pt x="3" y="7"/>
                  <a:pt x="3" y="7"/>
                </a:cubicBezTo>
                <a:cubicBezTo>
                  <a:pt x="3" y="15"/>
                  <a:pt x="3" y="15"/>
                  <a:pt x="3" y="15"/>
                </a:cubicBezTo>
                <a:cubicBezTo>
                  <a:pt x="4" y="18"/>
                  <a:pt x="4" y="23"/>
                  <a:pt x="4" y="24"/>
                </a:cubicBezTo>
                <a:cubicBezTo>
                  <a:pt x="4" y="33"/>
                  <a:pt x="4" y="33"/>
                  <a:pt x="4" y="33"/>
                </a:cubicBezTo>
                <a:cubicBezTo>
                  <a:pt x="6" y="34"/>
                  <a:pt x="6" y="34"/>
                  <a:pt x="6" y="34"/>
                </a:cubicBezTo>
                <a:cubicBezTo>
                  <a:pt x="6" y="35"/>
                  <a:pt x="6" y="35"/>
                  <a:pt x="6" y="35"/>
                </a:cubicBezTo>
                <a:cubicBezTo>
                  <a:pt x="6" y="35"/>
                  <a:pt x="7" y="37"/>
                  <a:pt x="8" y="39"/>
                </a:cubicBezTo>
                <a:cubicBezTo>
                  <a:pt x="9" y="39"/>
                  <a:pt x="9" y="39"/>
                  <a:pt x="9" y="39"/>
                </a:cubicBezTo>
                <a:cubicBezTo>
                  <a:pt x="10" y="40"/>
                  <a:pt x="10" y="41"/>
                  <a:pt x="10" y="43"/>
                </a:cubicBezTo>
                <a:cubicBezTo>
                  <a:pt x="10" y="54"/>
                  <a:pt x="10" y="54"/>
                  <a:pt x="10" y="54"/>
                </a:cubicBezTo>
                <a:cubicBezTo>
                  <a:pt x="11" y="58"/>
                  <a:pt x="12" y="62"/>
                  <a:pt x="12" y="63"/>
                </a:cubicBezTo>
                <a:cubicBezTo>
                  <a:pt x="12" y="67"/>
                  <a:pt x="12" y="67"/>
                  <a:pt x="12" y="67"/>
                </a:cubicBezTo>
                <a:cubicBezTo>
                  <a:pt x="12" y="68"/>
                  <a:pt x="12" y="68"/>
                  <a:pt x="12" y="68"/>
                </a:cubicBezTo>
                <a:cubicBezTo>
                  <a:pt x="12" y="68"/>
                  <a:pt x="12" y="69"/>
                  <a:pt x="12" y="71"/>
                </a:cubicBezTo>
                <a:cubicBezTo>
                  <a:pt x="13" y="72"/>
                  <a:pt x="13" y="73"/>
                  <a:pt x="13" y="73"/>
                </a:cubicBezTo>
                <a:cubicBezTo>
                  <a:pt x="13" y="73"/>
                  <a:pt x="13" y="73"/>
                  <a:pt x="13" y="73"/>
                </a:cubicBezTo>
                <a:cubicBezTo>
                  <a:pt x="13" y="73"/>
                  <a:pt x="14" y="72"/>
                  <a:pt x="15" y="72"/>
                </a:cubicBezTo>
                <a:cubicBezTo>
                  <a:pt x="17" y="69"/>
                  <a:pt x="20" y="67"/>
                  <a:pt x="20" y="67"/>
                </a:cubicBezTo>
                <a:cubicBezTo>
                  <a:pt x="20" y="67"/>
                  <a:pt x="20" y="67"/>
                  <a:pt x="20" y="66"/>
                </a:cubicBezTo>
                <a:cubicBezTo>
                  <a:pt x="21" y="66"/>
                  <a:pt x="23" y="64"/>
                  <a:pt x="24" y="64"/>
                </a:cubicBezTo>
                <a:cubicBezTo>
                  <a:pt x="25" y="63"/>
                  <a:pt x="28" y="63"/>
                  <a:pt x="28" y="63"/>
                </a:cubicBezTo>
                <a:cubicBezTo>
                  <a:pt x="34" y="64"/>
                  <a:pt x="34" y="64"/>
                  <a:pt x="34" y="64"/>
                </a:cubicBezTo>
                <a:cubicBezTo>
                  <a:pt x="40" y="65"/>
                  <a:pt x="41" y="66"/>
                  <a:pt x="41" y="67"/>
                </a:cubicBezTo>
                <a:cubicBezTo>
                  <a:pt x="41" y="68"/>
                  <a:pt x="41" y="69"/>
                  <a:pt x="39" y="70"/>
                </a:cubicBezTo>
                <a:cubicBezTo>
                  <a:pt x="38" y="70"/>
                  <a:pt x="37" y="71"/>
                  <a:pt x="36" y="72"/>
                </a:cubicBezTo>
                <a:cubicBezTo>
                  <a:pt x="36" y="76"/>
                  <a:pt x="36" y="76"/>
                  <a:pt x="36" y="76"/>
                </a:cubicBezTo>
                <a:cubicBezTo>
                  <a:pt x="37" y="78"/>
                  <a:pt x="37" y="78"/>
                  <a:pt x="37" y="78"/>
                </a:cubicBezTo>
                <a:cubicBezTo>
                  <a:pt x="38" y="77"/>
                  <a:pt x="38" y="77"/>
                  <a:pt x="38" y="77"/>
                </a:cubicBezTo>
                <a:cubicBezTo>
                  <a:pt x="39" y="77"/>
                  <a:pt x="39" y="77"/>
                  <a:pt x="39" y="77"/>
                </a:cubicBezTo>
                <a:cubicBezTo>
                  <a:pt x="40" y="77"/>
                  <a:pt x="40" y="78"/>
                  <a:pt x="41" y="78"/>
                </a:cubicBezTo>
                <a:cubicBezTo>
                  <a:pt x="43" y="82"/>
                  <a:pt x="43" y="82"/>
                  <a:pt x="43" y="82"/>
                </a:cubicBezTo>
                <a:cubicBezTo>
                  <a:pt x="43" y="82"/>
                  <a:pt x="43" y="82"/>
                  <a:pt x="43" y="82"/>
                </a:cubicBezTo>
                <a:cubicBezTo>
                  <a:pt x="44" y="83"/>
                  <a:pt x="45" y="83"/>
                  <a:pt x="46" y="83"/>
                </a:cubicBezTo>
                <a:cubicBezTo>
                  <a:pt x="49" y="84"/>
                  <a:pt x="50" y="84"/>
                  <a:pt x="50" y="84"/>
                </a:cubicBezTo>
                <a:cubicBezTo>
                  <a:pt x="52" y="84"/>
                  <a:pt x="52" y="85"/>
                  <a:pt x="53" y="86"/>
                </a:cubicBezTo>
                <a:cubicBezTo>
                  <a:pt x="55" y="89"/>
                  <a:pt x="57" y="91"/>
                  <a:pt x="57" y="92"/>
                </a:cubicBezTo>
                <a:cubicBezTo>
                  <a:pt x="57" y="92"/>
                  <a:pt x="57" y="92"/>
                  <a:pt x="57" y="92"/>
                </a:cubicBezTo>
                <a:cubicBezTo>
                  <a:pt x="57" y="97"/>
                  <a:pt x="57" y="97"/>
                  <a:pt x="57" y="97"/>
                </a:cubicBezTo>
                <a:cubicBezTo>
                  <a:pt x="57" y="98"/>
                  <a:pt x="57" y="99"/>
                  <a:pt x="56" y="99"/>
                </a:cubicBezTo>
                <a:cubicBezTo>
                  <a:pt x="54" y="100"/>
                  <a:pt x="54" y="102"/>
                  <a:pt x="54" y="102"/>
                </a:cubicBezTo>
                <a:cubicBezTo>
                  <a:pt x="51" y="106"/>
                  <a:pt x="51" y="106"/>
                  <a:pt x="51" y="106"/>
                </a:cubicBezTo>
                <a:cubicBezTo>
                  <a:pt x="51" y="106"/>
                  <a:pt x="51" y="106"/>
                  <a:pt x="51" y="106"/>
                </a:cubicBezTo>
                <a:cubicBezTo>
                  <a:pt x="51" y="105"/>
                  <a:pt x="52" y="104"/>
                  <a:pt x="53" y="104"/>
                </a:cubicBezTo>
                <a:cubicBezTo>
                  <a:pt x="54" y="104"/>
                  <a:pt x="54" y="104"/>
                  <a:pt x="54" y="104"/>
                </a:cubicBezTo>
                <a:cubicBezTo>
                  <a:pt x="58" y="103"/>
                  <a:pt x="58" y="103"/>
                  <a:pt x="58" y="103"/>
                </a:cubicBezTo>
                <a:cubicBezTo>
                  <a:pt x="58" y="102"/>
                  <a:pt x="58" y="102"/>
                  <a:pt x="58" y="102"/>
                </a:cubicBezTo>
                <a:cubicBezTo>
                  <a:pt x="58" y="101"/>
                  <a:pt x="58" y="100"/>
                  <a:pt x="59" y="100"/>
                </a:cubicBezTo>
                <a:cubicBezTo>
                  <a:pt x="60" y="100"/>
                  <a:pt x="60" y="100"/>
                  <a:pt x="61" y="100"/>
                </a:cubicBezTo>
                <a:cubicBezTo>
                  <a:pt x="62" y="98"/>
                  <a:pt x="63" y="97"/>
                  <a:pt x="63" y="97"/>
                </a:cubicBezTo>
                <a:cubicBezTo>
                  <a:pt x="63" y="96"/>
                  <a:pt x="64" y="96"/>
                  <a:pt x="64" y="96"/>
                </a:cubicBezTo>
                <a:cubicBezTo>
                  <a:pt x="65" y="96"/>
                  <a:pt x="65" y="96"/>
                  <a:pt x="66" y="97"/>
                </a:cubicBezTo>
                <a:cubicBezTo>
                  <a:pt x="67" y="95"/>
                  <a:pt x="69" y="94"/>
                  <a:pt x="70" y="94"/>
                </a:cubicBezTo>
                <a:cubicBezTo>
                  <a:pt x="70" y="94"/>
                  <a:pt x="70" y="94"/>
                  <a:pt x="71" y="94"/>
                </a:cubicBezTo>
                <a:cubicBezTo>
                  <a:pt x="72" y="95"/>
                  <a:pt x="72" y="95"/>
                  <a:pt x="72" y="95"/>
                </a:cubicBezTo>
                <a:cubicBezTo>
                  <a:pt x="72" y="94"/>
                  <a:pt x="72" y="94"/>
                  <a:pt x="72" y="94"/>
                </a:cubicBezTo>
                <a:cubicBezTo>
                  <a:pt x="73" y="92"/>
                  <a:pt x="73" y="92"/>
                  <a:pt x="73" y="92"/>
                </a:cubicBezTo>
                <a:cubicBezTo>
                  <a:pt x="73" y="92"/>
                  <a:pt x="74" y="91"/>
                  <a:pt x="75" y="91"/>
                </a:cubicBezTo>
                <a:cubicBezTo>
                  <a:pt x="78" y="90"/>
                  <a:pt x="78" y="90"/>
                  <a:pt x="78" y="90"/>
                </a:cubicBezTo>
                <a:cubicBezTo>
                  <a:pt x="79" y="90"/>
                  <a:pt x="81" y="89"/>
                  <a:pt x="87" y="89"/>
                </a:cubicBezTo>
                <a:cubicBezTo>
                  <a:pt x="88" y="88"/>
                  <a:pt x="88" y="88"/>
                  <a:pt x="88" y="88"/>
                </a:cubicBezTo>
                <a:cubicBezTo>
                  <a:pt x="89" y="88"/>
                  <a:pt x="89" y="88"/>
                  <a:pt x="89" y="88"/>
                </a:cubicBezTo>
                <a:cubicBezTo>
                  <a:pt x="89" y="88"/>
                  <a:pt x="91" y="87"/>
                  <a:pt x="95" y="87"/>
                </a:cubicBezTo>
                <a:cubicBezTo>
                  <a:pt x="95" y="87"/>
                  <a:pt x="95" y="87"/>
                  <a:pt x="96" y="86"/>
                </a:cubicBezTo>
                <a:cubicBezTo>
                  <a:pt x="96" y="86"/>
                  <a:pt x="96" y="86"/>
                  <a:pt x="96" y="86"/>
                </a:cubicBezTo>
                <a:cubicBezTo>
                  <a:pt x="97" y="86"/>
                  <a:pt x="99" y="84"/>
                  <a:pt x="101" y="84"/>
                </a:cubicBezTo>
                <a:cubicBezTo>
                  <a:pt x="101" y="84"/>
                  <a:pt x="102" y="84"/>
                  <a:pt x="103" y="83"/>
                </a:cubicBezTo>
                <a:cubicBezTo>
                  <a:pt x="103" y="83"/>
                  <a:pt x="103" y="83"/>
                  <a:pt x="104" y="83"/>
                </a:cubicBezTo>
                <a:cubicBezTo>
                  <a:pt x="106" y="82"/>
                  <a:pt x="108" y="82"/>
                  <a:pt x="109" y="82"/>
                </a:cubicBezTo>
                <a:cubicBezTo>
                  <a:pt x="109" y="82"/>
                  <a:pt x="109" y="82"/>
                  <a:pt x="110" y="83"/>
                </a:cubicBezTo>
                <a:cubicBezTo>
                  <a:pt x="110" y="83"/>
                  <a:pt x="110" y="83"/>
                  <a:pt x="110" y="83"/>
                </a:cubicBezTo>
                <a:cubicBezTo>
                  <a:pt x="111" y="82"/>
                  <a:pt x="112" y="82"/>
                  <a:pt x="114" y="82"/>
                </a:cubicBezTo>
                <a:cubicBezTo>
                  <a:pt x="115" y="83"/>
                  <a:pt x="117" y="83"/>
                  <a:pt x="117" y="85"/>
                </a:cubicBezTo>
                <a:cubicBezTo>
                  <a:pt x="116" y="86"/>
                  <a:pt x="117" y="86"/>
                  <a:pt x="117" y="87"/>
                </a:cubicBezTo>
                <a:cubicBezTo>
                  <a:pt x="118" y="88"/>
                  <a:pt x="119" y="89"/>
                  <a:pt x="119" y="90"/>
                </a:cubicBezTo>
                <a:cubicBezTo>
                  <a:pt x="119" y="90"/>
                  <a:pt x="119" y="90"/>
                  <a:pt x="119" y="90"/>
                </a:cubicBezTo>
                <a:cubicBezTo>
                  <a:pt x="120" y="90"/>
                  <a:pt x="120" y="90"/>
                  <a:pt x="120" y="90"/>
                </a:cubicBezTo>
                <a:cubicBezTo>
                  <a:pt x="120" y="90"/>
                  <a:pt x="120" y="90"/>
                  <a:pt x="120" y="90"/>
                </a:cubicBezTo>
                <a:cubicBezTo>
                  <a:pt x="121" y="90"/>
                  <a:pt x="122" y="90"/>
                  <a:pt x="123" y="90"/>
                </a:cubicBezTo>
                <a:cubicBezTo>
                  <a:pt x="124" y="90"/>
                  <a:pt x="125" y="90"/>
                  <a:pt x="125" y="90"/>
                </a:cubicBezTo>
                <a:cubicBezTo>
                  <a:pt x="126" y="90"/>
                  <a:pt x="126" y="90"/>
                  <a:pt x="126" y="90"/>
                </a:cubicBezTo>
                <a:cubicBezTo>
                  <a:pt x="127" y="91"/>
                  <a:pt x="128" y="92"/>
                  <a:pt x="127" y="93"/>
                </a:cubicBezTo>
                <a:cubicBezTo>
                  <a:pt x="127" y="94"/>
                  <a:pt x="127" y="94"/>
                  <a:pt x="127" y="94"/>
                </a:cubicBezTo>
                <a:cubicBezTo>
                  <a:pt x="126" y="95"/>
                  <a:pt x="126" y="95"/>
                  <a:pt x="126" y="95"/>
                </a:cubicBezTo>
                <a:cubicBezTo>
                  <a:pt x="129" y="95"/>
                  <a:pt x="129" y="95"/>
                  <a:pt x="129" y="95"/>
                </a:cubicBezTo>
                <a:cubicBezTo>
                  <a:pt x="129" y="95"/>
                  <a:pt x="129" y="95"/>
                  <a:pt x="130" y="95"/>
                </a:cubicBezTo>
                <a:cubicBezTo>
                  <a:pt x="132" y="96"/>
                  <a:pt x="132" y="96"/>
                  <a:pt x="132" y="96"/>
                </a:cubicBezTo>
                <a:cubicBezTo>
                  <a:pt x="132" y="96"/>
                  <a:pt x="133" y="96"/>
                  <a:pt x="133" y="95"/>
                </a:cubicBezTo>
                <a:cubicBezTo>
                  <a:pt x="135" y="95"/>
                  <a:pt x="136" y="95"/>
                  <a:pt x="136" y="95"/>
                </a:cubicBezTo>
                <a:cubicBezTo>
                  <a:pt x="137" y="95"/>
                  <a:pt x="137" y="94"/>
                  <a:pt x="137" y="94"/>
                </a:cubicBezTo>
                <a:cubicBezTo>
                  <a:pt x="138" y="92"/>
                  <a:pt x="138" y="92"/>
                  <a:pt x="138" y="92"/>
                </a:cubicBezTo>
                <a:cubicBezTo>
                  <a:pt x="138" y="91"/>
                  <a:pt x="139" y="91"/>
                  <a:pt x="139" y="91"/>
                </a:cubicBezTo>
                <a:cubicBezTo>
                  <a:pt x="140" y="91"/>
                  <a:pt x="140" y="91"/>
                  <a:pt x="141" y="91"/>
                </a:cubicBezTo>
                <a:cubicBezTo>
                  <a:pt x="141" y="91"/>
                  <a:pt x="141" y="91"/>
                  <a:pt x="142" y="91"/>
                </a:cubicBezTo>
                <a:cubicBezTo>
                  <a:pt x="143" y="90"/>
                  <a:pt x="144" y="89"/>
                  <a:pt x="145" y="89"/>
                </a:cubicBezTo>
                <a:cubicBezTo>
                  <a:pt x="145" y="89"/>
                  <a:pt x="145" y="89"/>
                  <a:pt x="145" y="89"/>
                </a:cubicBezTo>
                <a:cubicBezTo>
                  <a:pt x="146" y="88"/>
                  <a:pt x="146" y="88"/>
                  <a:pt x="147" y="87"/>
                </a:cubicBezTo>
                <a:cubicBezTo>
                  <a:pt x="147" y="87"/>
                  <a:pt x="147" y="87"/>
                  <a:pt x="147" y="87"/>
                </a:cubicBezTo>
                <a:cubicBezTo>
                  <a:pt x="147" y="85"/>
                  <a:pt x="148" y="85"/>
                  <a:pt x="150" y="84"/>
                </a:cubicBezTo>
                <a:cubicBezTo>
                  <a:pt x="151" y="84"/>
                  <a:pt x="152" y="84"/>
                  <a:pt x="152" y="83"/>
                </a:cubicBezTo>
                <a:cubicBezTo>
                  <a:pt x="152" y="83"/>
                  <a:pt x="152" y="83"/>
                  <a:pt x="152" y="83"/>
                </a:cubicBezTo>
                <a:cubicBezTo>
                  <a:pt x="152" y="82"/>
                  <a:pt x="153" y="82"/>
                  <a:pt x="153" y="81"/>
                </a:cubicBezTo>
                <a:cubicBezTo>
                  <a:pt x="153" y="80"/>
                  <a:pt x="153" y="80"/>
                  <a:pt x="153" y="80"/>
                </a:cubicBezTo>
                <a:cubicBezTo>
                  <a:pt x="152" y="79"/>
                  <a:pt x="151" y="78"/>
                  <a:pt x="151" y="77"/>
                </a:cubicBezTo>
                <a:cubicBezTo>
                  <a:pt x="149" y="75"/>
                  <a:pt x="149" y="75"/>
                  <a:pt x="149" y="75"/>
                </a:cubicBezTo>
                <a:cubicBezTo>
                  <a:pt x="147" y="73"/>
                  <a:pt x="147" y="73"/>
                  <a:pt x="147" y="73"/>
                </a:cubicBezTo>
                <a:cubicBezTo>
                  <a:pt x="147" y="72"/>
                  <a:pt x="147" y="72"/>
                  <a:pt x="147" y="72"/>
                </a:cubicBezTo>
                <a:cubicBezTo>
                  <a:pt x="146" y="69"/>
                  <a:pt x="146" y="69"/>
                  <a:pt x="146" y="69"/>
                </a:cubicBezTo>
                <a:cubicBezTo>
                  <a:pt x="142" y="66"/>
                  <a:pt x="142" y="66"/>
                  <a:pt x="142" y="66"/>
                </a:cubicBezTo>
                <a:cubicBezTo>
                  <a:pt x="141" y="61"/>
                  <a:pt x="141" y="61"/>
                  <a:pt x="141" y="61"/>
                </a:cubicBezTo>
                <a:cubicBezTo>
                  <a:pt x="141" y="62"/>
                  <a:pt x="141" y="62"/>
                  <a:pt x="141" y="62"/>
                </a:cubicBezTo>
                <a:cubicBezTo>
                  <a:pt x="140" y="61"/>
                  <a:pt x="140" y="61"/>
                  <a:pt x="140" y="6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Freeform 21">
            <a:extLst>
              <a:ext uri="{FF2B5EF4-FFF2-40B4-BE49-F238E27FC236}">
                <a16:creationId xmlns:a16="http://schemas.microsoft.com/office/drawing/2014/main" id="{BA25AEBD-A054-4205-9639-B8B25EC36D43}"/>
              </a:ext>
            </a:extLst>
          </p:cNvPr>
          <p:cNvSpPr>
            <a:spLocks/>
          </p:cNvSpPr>
          <p:nvPr/>
        </p:nvSpPr>
        <p:spPr bwMode="auto">
          <a:xfrm>
            <a:off x="4460623" y="2523654"/>
            <a:ext cx="194337" cy="236538"/>
          </a:xfrm>
          <a:custGeom>
            <a:avLst/>
            <a:gdLst>
              <a:gd name="T0" fmla="*/ 59 w 80"/>
              <a:gd name="T1" fmla="*/ 97 h 106"/>
              <a:gd name="T2" fmla="*/ 68 w 80"/>
              <a:gd name="T3" fmla="*/ 101 h 106"/>
              <a:gd name="T4" fmla="*/ 73 w 80"/>
              <a:gd name="T5" fmla="*/ 105 h 106"/>
              <a:gd name="T6" fmla="*/ 75 w 80"/>
              <a:gd name="T7" fmla="*/ 106 h 106"/>
              <a:gd name="T8" fmla="*/ 75 w 80"/>
              <a:gd name="T9" fmla="*/ 106 h 106"/>
              <a:gd name="T10" fmla="*/ 77 w 80"/>
              <a:gd name="T11" fmla="*/ 103 h 106"/>
              <a:gd name="T12" fmla="*/ 80 w 80"/>
              <a:gd name="T13" fmla="*/ 96 h 106"/>
              <a:gd name="T14" fmla="*/ 77 w 80"/>
              <a:gd name="T15" fmla="*/ 91 h 106"/>
              <a:gd name="T16" fmla="*/ 72 w 80"/>
              <a:gd name="T17" fmla="*/ 91 h 106"/>
              <a:gd name="T18" fmla="*/ 65 w 80"/>
              <a:gd name="T19" fmla="*/ 85 h 106"/>
              <a:gd name="T20" fmla="*/ 62 w 80"/>
              <a:gd name="T21" fmla="*/ 86 h 106"/>
              <a:gd name="T22" fmla="*/ 59 w 80"/>
              <a:gd name="T23" fmla="*/ 80 h 106"/>
              <a:gd name="T24" fmla="*/ 59 w 80"/>
              <a:gd name="T25" fmla="*/ 75 h 106"/>
              <a:gd name="T26" fmla="*/ 62 w 80"/>
              <a:gd name="T27" fmla="*/ 71 h 106"/>
              <a:gd name="T28" fmla="*/ 55 w 80"/>
              <a:gd name="T29" fmla="*/ 70 h 106"/>
              <a:gd name="T30" fmla="*/ 49 w 80"/>
              <a:gd name="T31" fmla="*/ 73 h 106"/>
              <a:gd name="T32" fmla="*/ 44 w 80"/>
              <a:gd name="T33" fmla="*/ 78 h 106"/>
              <a:gd name="T34" fmla="*/ 41 w 80"/>
              <a:gd name="T35" fmla="*/ 81 h 106"/>
              <a:gd name="T36" fmla="*/ 36 w 80"/>
              <a:gd name="T37" fmla="*/ 77 h 106"/>
              <a:gd name="T38" fmla="*/ 35 w 80"/>
              <a:gd name="T39" fmla="*/ 70 h 106"/>
              <a:gd name="T40" fmla="*/ 33 w 80"/>
              <a:gd name="T41" fmla="*/ 58 h 106"/>
              <a:gd name="T42" fmla="*/ 33 w 80"/>
              <a:gd name="T43" fmla="*/ 46 h 106"/>
              <a:gd name="T44" fmla="*/ 32 w 80"/>
              <a:gd name="T45" fmla="*/ 44 h 106"/>
              <a:gd name="T46" fmla="*/ 28 w 80"/>
              <a:gd name="T47" fmla="*/ 38 h 106"/>
              <a:gd name="T48" fmla="*/ 27 w 80"/>
              <a:gd name="T49" fmla="*/ 27 h 106"/>
              <a:gd name="T50" fmla="*/ 26 w 80"/>
              <a:gd name="T51" fmla="*/ 18 h 106"/>
              <a:gd name="T52" fmla="*/ 23 w 80"/>
              <a:gd name="T53" fmla="*/ 7 h 106"/>
              <a:gd name="T54" fmla="*/ 23 w 80"/>
              <a:gd name="T55" fmla="*/ 2 h 106"/>
              <a:gd name="T56" fmla="*/ 19 w 80"/>
              <a:gd name="T57" fmla="*/ 0 h 106"/>
              <a:gd name="T58" fmla="*/ 14 w 80"/>
              <a:gd name="T59" fmla="*/ 0 h 106"/>
              <a:gd name="T60" fmla="*/ 13 w 80"/>
              <a:gd name="T61" fmla="*/ 4 h 106"/>
              <a:gd name="T62" fmla="*/ 16 w 80"/>
              <a:gd name="T63" fmla="*/ 6 h 106"/>
              <a:gd name="T64" fmla="*/ 18 w 80"/>
              <a:gd name="T65" fmla="*/ 14 h 106"/>
              <a:gd name="T66" fmla="*/ 18 w 80"/>
              <a:gd name="T67" fmla="*/ 19 h 106"/>
              <a:gd name="T68" fmla="*/ 18 w 80"/>
              <a:gd name="T69" fmla="*/ 23 h 106"/>
              <a:gd name="T70" fmla="*/ 18 w 80"/>
              <a:gd name="T71" fmla="*/ 30 h 106"/>
              <a:gd name="T72" fmla="*/ 16 w 80"/>
              <a:gd name="T73" fmla="*/ 37 h 106"/>
              <a:gd name="T74" fmla="*/ 15 w 80"/>
              <a:gd name="T75" fmla="*/ 37 h 106"/>
              <a:gd name="T76" fmla="*/ 10 w 80"/>
              <a:gd name="T77" fmla="*/ 41 h 106"/>
              <a:gd name="T78" fmla="*/ 9 w 80"/>
              <a:gd name="T79" fmla="*/ 46 h 106"/>
              <a:gd name="T80" fmla="*/ 8 w 80"/>
              <a:gd name="T81" fmla="*/ 47 h 106"/>
              <a:gd name="T82" fmla="*/ 0 w 80"/>
              <a:gd name="T83" fmla="*/ 64 h 106"/>
              <a:gd name="T84" fmla="*/ 0 w 80"/>
              <a:gd name="T85" fmla="*/ 68 h 106"/>
              <a:gd name="T86" fmla="*/ 4 w 80"/>
              <a:gd name="T87" fmla="*/ 78 h 106"/>
              <a:gd name="T88" fmla="*/ 6 w 80"/>
              <a:gd name="T89" fmla="*/ 80 h 106"/>
              <a:gd name="T90" fmla="*/ 14 w 80"/>
              <a:gd name="T91" fmla="*/ 82 h 106"/>
              <a:gd name="T92" fmla="*/ 56 w 80"/>
              <a:gd name="T93" fmla="*/ 94 h 106"/>
              <a:gd name="T94" fmla="*/ 52 w 80"/>
              <a:gd name="T95" fmla="*/ 95 h 106"/>
              <a:gd name="T96" fmla="*/ 56 w 80"/>
              <a:gd name="T97" fmla="*/ 97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80" h="106">
                <a:moveTo>
                  <a:pt x="56" y="97"/>
                </a:moveTo>
                <a:cubicBezTo>
                  <a:pt x="58" y="97"/>
                  <a:pt x="58" y="97"/>
                  <a:pt x="59" y="97"/>
                </a:cubicBezTo>
                <a:cubicBezTo>
                  <a:pt x="59" y="97"/>
                  <a:pt x="60" y="98"/>
                  <a:pt x="63" y="98"/>
                </a:cubicBezTo>
                <a:cubicBezTo>
                  <a:pt x="67" y="99"/>
                  <a:pt x="68" y="100"/>
                  <a:pt x="68" y="101"/>
                </a:cubicBezTo>
                <a:cubicBezTo>
                  <a:pt x="68" y="101"/>
                  <a:pt x="68" y="101"/>
                  <a:pt x="68" y="101"/>
                </a:cubicBezTo>
                <a:cubicBezTo>
                  <a:pt x="69" y="102"/>
                  <a:pt x="70" y="103"/>
                  <a:pt x="73" y="105"/>
                </a:cubicBezTo>
                <a:cubicBezTo>
                  <a:pt x="73" y="105"/>
                  <a:pt x="74" y="106"/>
                  <a:pt x="75" y="106"/>
                </a:cubicBezTo>
                <a:cubicBezTo>
                  <a:pt x="75" y="106"/>
                  <a:pt x="75" y="106"/>
                  <a:pt x="75" y="106"/>
                </a:cubicBezTo>
                <a:cubicBezTo>
                  <a:pt x="75" y="106"/>
                  <a:pt x="75" y="106"/>
                  <a:pt x="75" y="106"/>
                </a:cubicBezTo>
                <a:cubicBezTo>
                  <a:pt x="75" y="106"/>
                  <a:pt x="75" y="106"/>
                  <a:pt x="75" y="106"/>
                </a:cubicBezTo>
                <a:cubicBezTo>
                  <a:pt x="75" y="106"/>
                  <a:pt x="75" y="106"/>
                  <a:pt x="75" y="106"/>
                </a:cubicBezTo>
                <a:cubicBezTo>
                  <a:pt x="77" y="103"/>
                  <a:pt x="77" y="103"/>
                  <a:pt x="77" y="103"/>
                </a:cubicBezTo>
                <a:cubicBezTo>
                  <a:pt x="77" y="103"/>
                  <a:pt x="78" y="101"/>
                  <a:pt x="80" y="99"/>
                </a:cubicBezTo>
                <a:cubicBezTo>
                  <a:pt x="80" y="96"/>
                  <a:pt x="80" y="96"/>
                  <a:pt x="80" y="96"/>
                </a:cubicBezTo>
                <a:cubicBezTo>
                  <a:pt x="79" y="95"/>
                  <a:pt x="79" y="93"/>
                  <a:pt x="77" y="92"/>
                </a:cubicBezTo>
                <a:cubicBezTo>
                  <a:pt x="77" y="91"/>
                  <a:pt x="77" y="91"/>
                  <a:pt x="77" y="91"/>
                </a:cubicBezTo>
                <a:cubicBezTo>
                  <a:pt x="76" y="91"/>
                  <a:pt x="75" y="91"/>
                  <a:pt x="74" y="91"/>
                </a:cubicBezTo>
                <a:cubicBezTo>
                  <a:pt x="73" y="91"/>
                  <a:pt x="73" y="91"/>
                  <a:pt x="72" y="91"/>
                </a:cubicBezTo>
                <a:cubicBezTo>
                  <a:pt x="71" y="91"/>
                  <a:pt x="68" y="90"/>
                  <a:pt x="66" y="87"/>
                </a:cubicBezTo>
                <a:cubicBezTo>
                  <a:pt x="65" y="85"/>
                  <a:pt x="65" y="85"/>
                  <a:pt x="65" y="85"/>
                </a:cubicBezTo>
                <a:cubicBezTo>
                  <a:pt x="64" y="86"/>
                  <a:pt x="64" y="86"/>
                  <a:pt x="64" y="86"/>
                </a:cubicBezTo>
                <a:cubicBezTo>
                  <a:pt x="63" y="86"/>
                  <a:pt x="63" y="86"/>
                  <a:pt x="62" y="86"/>
                </a:cubicBezTo>
                <a:cubicBezTo>
                  <a:pt x="61" y="85"/>
                  <a:pt x="61" y="85"/>
                  <a:pt x="61" y="85"/>
                </a:cubicBezTo>
                <a:cubicBezTo>
                  <a:pt x="59" y="80"/>
                  <a:pt x="59" y="80"/>
                  <a:pt x="59" y="80"/>
                </a:cubicBezTo>
                <a:cubicBezTo>
                  <a:pt x="59" y="80"/>
                  <a:pt x="59" y="80"/>
                  <a:pt x="59" y="80"/>
                </a:cubicBezTo>
                <a:cubicBezTo>
                  <a:pt x="59" y="75"/>
                  <a:pt x="59" y="75"/>
                  <a:pt x="59" y="75"/>
                </a:cubicBezTo>
                <a:cubicBezTo>
                  <a:pt x="59" y="74"/>
                  <a:pt x="59" y="74"/>
                  <a:pt x="59" y="73"/>
                </a:cubicBezTo>
                <a:cubicBezTo>
                  <a:pt x="60" y="73"/>
                  <a:pt x="61" y="72"/>
                  <a:pt x="62" y="71"/>
                </a:cubicBezTo>
                <a:cubicBezTo>
                  <a:pt x="61" y="71"/>
                  <a:pt x="61" y="71"/>
                  <a:pt x="61" y="71"/>
                </a:cubicBezTo>
                <a:cubicBezTo>
                  <a:pt x="55" y="70"/>
                  <a:pt x="55" y="70"/>
                  <a:pt x="55" y="70"/>
                </a:cubicBezTo>
                <a:cubicBezTo>
                  <a:pt x="55" y="70"/>
                  <a:pt x="54" y="70"/>
                  <a:pt x="53" y="70"/>
                </a:cubicBezTo>
                <a:cubicBezTo>
                  <a:pt x="52" y="71"/>
                  <a:pt x="50" y="72"/>
                  <a:pt x="49" y="73"/>
                </a:cubicBezTo>
                <a:cubicBezTo>
                  <a:pt x="49" y="73"/>
                  <a:pt x="46" y="76"/>
                  <a:pt x="45" y="78"/>
                </a:cubicBezTo>
                <a:cubicBezTo>
                  <a:pt x="44" y="78"/>
                  <a:pt x="44" y="78"/>
                  <a:pt x="44" y="78"/>
                </a:cubicBezTo>
                <a:cubicBezTo>
                  <a:pt x="44" y="79"/>
                  <a:pt x="44" y="79"/>
                  <a:pt x="43" y="79"/>
                </a:cubicBezTo>
                <a:cubicBezTo>
                  <a:pt x="42" y="81"/>
                  <a:pt x="42" y="82"/>
                  <a:pt x="41" y="81"/>
                </a:cubicBezTo>
                <a:cubicBezTo>
                  <a:pt x="40" y="81"/>
                  <a:pt x="39" y="81"/>
                  <a:pt x="39" y="80"/>
                </a:cubicBezTo>
                <a:cubicBezTo>
                  <a:pt x="36" y="80"/>
                  <a:pt x="36" y="78"/>
                  <a:pt x="36" y="77"/>
                </a:cubicBezTo>
                <a:cubicBezTo>
                  <a:pt x="36" y="76"/>
                  <a:pt x="36" y="75"/>
                  <a:pt x="36" y="75"/>
                </a:cubicBezTo>
                <a:cubicBezTo>
                  <a:pt x="35" y="72"/>
                  <a:pt x="35" y="71"/>
                  <a:pt x="35" y="70"/>
                </a:cubicBezTo>
                <a:cubicBezTo>
                  <a:pt x="35" y="66"/>
                  <a:pt x="35" y="66"/>
                  <a:pt x="35" y="66"/>
                </a:cubicBezTo>
                <a:cubicBezTo>
                  <a:pt x="35" y="66"/>
                  <a:pt x="34" y="61"/>
                  <a:pt x="33" y="58"/>
                </a:cubicBezTo>
                <a:cubicBezTo>
                  <a:pt x="33" y="58"/>
                  <a:pt x="33" y="58"/>
                  <a:pt x="33" y="57"/>
                </a:cubicBezTo>
                <a:cubicBezTo>
                  <a:pt x="33" y="46"/>
                  <a:pt x="33" y="46"/>
                  <a:pt x="33" y="46"/>
                </a:cubicBezTo>
                <a:cubicBezTo>
                  <a:pt x="33" y="45"/>
                  <a:pt x="33" y="45"/>
                  <a:pt x="33" y="45"/>
                </a:cubicBezTo>
                <a:cubicBezTo>
                  <a:pt x="32" y="44"/>
                  <a:pt x="32" y="44"/>
                  <a:pt x="32" y="44"/>
                </a:cubicBezTo>
                <a:cubicBezTo>
                  <a:pt x="31" y="43"/>
                  <a:pt x="30" y="41"/>
                  <a:pt x="30" y="40"/>
                </a:cubicBezTo>
                <a:cubicBezTo>
                  <a:pt x="28" y="38"/>
                  <a:pt x="28" y="38"/>
                  <a:pt x="28" y="38"/>
                </a:cubicBezTo>
                <a:cubicBezTo>
                  <a:pt x="27" y="37"/>
                  <a:pt x="27" y="37"/>
                  <a:pt x="27" y="37"/>
                </a:cubicBezTo>
                <a:cubicBezTo>
                  <a:pt x="27" y="27"/>
                  <a:pt x="27" y="27"/>
                  <a:pt x="27" y="27"/>
                </a:cubicBezTo>
                <a:cubicBezTo>
                  <a:pt x="27" y="27"/>
                  <a:pt x="27" y="22"/>
                  <a:pt x="26" y="19"/>
                </a:cubicBezTo>
                <a:cubicBezTo>
                  <a:pt x="26" y="18"/>
                  <a:pt x="26" y="18"/>
                  <a:pt x="26" y="18"/>
                </a:cubicBezTo>
                <a:cubicBezTo>
                  <a:pt x="26" y="11"/>
                  <a:pt x="26" y="11"/>
                  <a:pt x="26" y="11"/>
                </a:cubicBezTo>
                <a:cubicBezTo>
                  <a:pt x="23" y="7"/>
                  <a:pt x="23" y="7"/>
                  <a:pt x="23" y="7"/>
                </a:cubicBezTo>
                <a:cubicBezTo>
                  <a:pt x="23" y="6"/>
                  <a:pt x="23" y="6"/>
                  <a:pt x="23" y="6"/>
                </a:cubicBezTo>
                <a:cubicBezTo>
                  <a:pt x="23" y="5"/>
                  <a:pt x="23" y="3"/>
                  <a:pt x="23" y="2"/>
                </a:cubicBezTo>
                <a:cubicBezTo>
                  <a:pt x="22" y="1"/>
                  <a:pt x="22" y="1"/>
                  <a:pt x="22" y="1"/>
                </a:cubicBezTo>
                <a:cubicBezTo>
                  <a:pt x="19" y="0"/>
                  <a:pt x="19" y="0"/>
                  <a:pt x="19" y="0"/>
                </a:cubicBezTo>
                <a:cubicBezTo>
                  <a:pt x="18" y="0"/>
                  <a:pt x="18" y="0"/>
                  <a:pt x="18" y="0"/>
                </a:cubicBezTo>
                <a:cubicBezTo>
                  <a:pt x="17" y="0"/>
                  <a:pt x="16" y="0"/>
                  <a:pt x="14" y="0"/>
                </a:cubicBezTo>
                <a:cubicBezTo>
                  <a:pt x="14" y="0"/>
                  <a:pt x="14" y="0"/>
                  <a:pt x="13" y="0"/>
                </a:cubicBezTo>
                <a:cubicBezTo>
                  <a:pt x="13" y="4"/>
                  <a:pt x="13" y="4"/>
                  <a:pt x="13" y="4"/>
                </a:cubicBezTo>
                <a:cubicBezTo>
                  <a:pt x="15" y="6"/>
                  <a:pt x="15" y="6"/>
                  <a:pt x="15" y="6"/>
                </a:cubicBezTo>
                <a:cubicBezTo>
                  <a:pt x="16" y="6"/>
                  <a:pt x="16" y="6"/>
                  <a:pt x="16" y="6"/>
                </a:cubicBezTo>
                <a:cubicBezTo>
                  <a:pt x="17" y="6"/>
                  <a:pt x="18" y="7"/>
                  <a:pt x="18" y="8"/>
                </a:cubicBezTo>
                <a:cubicBezTo>
                  <a:pt x="18" y="8"/>
                  <a:pt x="19" y="12"/>
                  <a:pt x="18" y="14"/>
                </a:cubicBezTo>
                <a:cubicBezTo>
                  <a:pt x="18" y="14"/>
                  <a:pt x="18" y="14"/>
                  <a:pt x="18" y="15"/>
                </a:cubicBezTo>
                <a:cubicBezTo>
                  <a:pt x="18" y="16"/>
                  <a:pt x="19" y="17"/>
                  <a:pt x="18" y="19"/>
                </a:cubicBezTo>
                <a:cubicBezTo>
                  <a:pt x="18" y="20"/>
                  <a:pt x="18" y="20"/>
                  <a:pt x="18" y="20"/>
                </a:cubicBezTo>
                <a:cubicBezTo>
                  <a:pt x="18" y="21"/>
                  <a:pt x="18" y="21"/>
                  <a:pt x="18" y="23"/>
                </a:cubicBezTo>
                <a:cubicBezTo>
                  <a:pt x="18" y="28"/>
                  <a:pt x="18" y="28"/>
                  <a:pt x="18" y="28"/>
                </a:cubicBezTo>
                <a:cubicBezTo>
                  <a:pt x="18" y="29"/>
                  <a:pt x="18" y="29"/>
                  <a:pt x="18" y="30"/>
                </a:cubicBezTo>
                <a:cubicBezTo>
                  <a:pt x="18" y="30"/>
                  <a:pt x="18" y="30"/>
                  <a:pt x="18" y="33"/>
                </a:cubicBezTo>
                <a:cubicBezTo>
                  <a:pt x="18" y="35"/>
                  <a:pt x="17" y="37"/>
                  <a:pt x="16" y="37"/>
                </a:cubicBezTo>
                <a:cubicBezTo>
                  <a:pt x="15" y="37"/>
                  <a:pt x="15" y="37"/>
                  <a:pt x="15" y="37"/>
                </a:cubicBezTo>
                <a:cubicBezTo>
                  <a:pt x="15" y="37"/>
                  <a:pt x="15" y="37"/>
                  <a:pt x="15" y="37"/>
                </a:cubicBezTo>
                <a:cubicBezTo>
                  <a:pt x="14" y="38"/>
                  <a:pt x="14" y="38"/>
                  <a:pt x="14" y="38"/>
                </a:cubicBezTo>
                <a:cubicBezTo>
                  <a:pt x="13" y="39"/>
                  <a:pt x="11" y="40"/>
                  <a:pt x="10" y="41"/>
                </a:cubicBezTo>
                <a:cubicBezTo>
                  <a:pt x="10" y="41"/>
                  <a:pt x="10" y="41"/>
                  <a:pt x="10" y="41"/>
                </a:cubicBezTo>
                <a:cubicBezTo>
                  <a:pt x="11" y="44"/>
                  <a:pt x="10" y="46"/>
                  <a:pt x="9" y="46"/>
                </a:cubicBezTo>
                <a:cubicBezTo>
                  <a:pt x="9" y="47"/>
                  <a:pt x="9" y="47"/>
                  <a:pt x="8" y="47"/>
                </a:cubicBezTo>
                <a:cubicBezTo>
                  <a:pt x="8" y="47"/>
                  <a:pt x="8" y="47"/>
                  <a:pt x="8" y="47"/>
                </a:cubicBezTo>
                <a:cubicBezTo>
                  <a:pt x="4" y="55"/>
                  <a:pt x="4" y="55"/>
                  <a:pt x="4" y="55"/>
                </a:cubicBezTo>
                <a:cubicBezTo>
                  <a:pt x="0" y="64"/>
                  <a:pt x="0" y="64"/>
                  <a:pt x="0" y="64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68"/>
                  <a:pt x="0" y="68"/>
                  <a:pt x="0" y="68"/>
                </a:cubicBezTo>
                <a:cubicBezTo>
                  <a:pt x="2" y="74"/>
                  <a:pt x="2" y="74"/>
                  <a:pt x="2" y="74"/>
                </a:cubicBezTo>
                <a:cubicBezTo>
                  <a:pt x="4" y="78"/>
                  <a:pt x="4" y="78"/>
                  <a:pt x="4" y="78"/>
                </a:cubicBezTo>
                <a:cubicBezTo>
                  <a:pt x="5" y="80"/>
                  <a:pt x="5" y="80"/>
                  <a:pt x="5" y="80"/>
                </a:cubicBezTo>
                <a:cubicBezTo>
                  <a:pt x="6" y="80"/>
                  <a:pt x="6" y="80"/>
                  <a:pt x="6" y="80"/>
                </a:cubicBezTo>
                <a:cubicBezTo>
                  <a:pt x="11" y="82"/>
                  <a:pt x="11" y="82"/>
                  <a:pt x="11" y="82"/>
                </a:cubicBezTo>
                <a:cubicBezTo>
                  <a:pt x="14" y="82"/>
                  <a:pt x="14" y="82"/>
                  <a:pt x="14" y="82"/>
                </a:cubicBezTo>
                <a:cubicBezTo>
                  <a:pt x="56" y="94"/>
                  <a:pt x="56" y="94"/>
                  <a:pt x="56" y="94"/>
                </a:cubicBezTo>
                <a:cubicBezTo>
                  <a:pt x="56" y="94"/>
                  <a:pt x="56" y="94"/>
                  <a:pt x="56" y="94"/>
                </a:cubicBezTo>
                <a:cubicBezTo>
                  <a:pt x="54" y="95"/>
                  <a:pt x="54" y="95"/>
                  <a:pt x="54" y="95"/>
                </a:cubicBezTo>
                <a:cubicBezTo>
                  <a:pt x="52" y="95"/>
                  <a:pt x="52" y="95"/>
                  <a:pt x="52" y="95"/>
                </a:cubicBezTo>
                <a:cubicBezTo>
                  <a:pt x="53" y="95"/>
                  <a:pt x="53" y="95"/>
                  <a:pt x="53" y="95"/>
                </a:cubicBezTo>
                <a:cubicBezTo>
                  <a:pt x="53" y="96"/>
                  <a:pt x="55" y="97"/>
                  <a:pt x="56" y="9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1" name="Freeform 23">
            <a:extLst>
              <a:ext uri="{FF2B5EF4-FFF2-40B4-BE49-F238E27FC236}">
                <a16:creationId xmlns:a16="http://schemas.microsoft.com/office/drawing/2014/main" id="{4D7F382B-8DC2-4E55-A1EA-76F670255186}"/>
              </a:ext>
            </a:extLst>
          </p:cNvPr>
          <p:cNvSpPr>
            <a:spLocks/>
          </p:cNvSpPr>
          <p:nvPr/>
        </p:nvSpPr>
        <p:spPr bwMode="auto">
          <a:xfrm>
            <a:off x="4378074" y="2231554"/>
            <a:ext cx="3440" cy="7938"/>
          </a:xfrm>
          <a:custGeom>
            <a:avLst/>
            <a:gdLst>
              <a:gd name="T0" fmla="*/ 2 w 2"/>
              <a:gd name="T1" fmla="*/ 0 h 5"/>
              <a:gd name="T2" fmla="*/ 0 w 2"/>
              <a:gd name="T3" fmla="*/ 5 h 5"/>
              <a:gd name="T4" fmla="*/ 0 w 2"/>
              <a:gd name="T5" fmla="*/ 3 h 5"/>
              <a:gd name="T6" fmla="*/ 2 w 2"/>
              <a:gd name="T7" fmla="*/ 0 h 5"/>
              <a:gd name="T8" fmla="*/ 2 w 2"/>
              <a:gd name="T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5">
                <a:moveTo>
                  <a:pt x="2" y="0"/>
                </a:moveTo>
                <a:lnTo>
                  <a:pt x="0" y="5"/>
                </a:lnTo>
                <a:lnTo>
                  <a:pt x="0" y="3"/>
                </a:lnTo>
                <a:lnTo>
                  <a:pt x="2" y="0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Freeform 35">
            <a:extLst>
              <a:ext uri="{FF2B5EF4-FFF2-40B4-BE49-F238E27FC236}">
                <a16:creationId xmlns:a16="http://schemas.microsoft.com/office/drawing/2014/main" id="{FCBC215B-21BB-41BB-9973-C8EBF0CA116C}"/>
              </a:ext>
            </a:extLst>
          </p:cNvPr>
          <p:cNvSpPr>
            <a:spLocks/>
          </p:cNvSpPr>
          <p:nvPr/>
        </p:nvSpPr>
        <p:spPr bwMode="auto">
          <a:xfrm>
            <a:off x="4899170" y="2528416"/>
            <a:ext cx="110067" cy="58738"/>
          </a:xfrm>
          <a:custGeom>
            <a:avLst/>
            <a:gdLst>
              <a:gd name="T0" fmla="*/ 4 w 46"/>
              <a:gd name="T1" fmla="*/ 17 h 26"/>
              <a:gd name="T2" fmla="*/ 1 w 46"/>
              <a:gd name="T3" fmla="*/ 19 h 26"/>
              <a:gd name="T4" fmla="*/ 0 w 46"/>
              <a:gd name="T5" fmla="*/ 21 h 26"/>
              <a:gd name="T6" fmla="*/ 0 w 46"/>
              <a:gd name="T7" fmla="*/ 25 h 26"/>
              <a:gd name="T8" fmla="*/ 4 w 46"/>
              <a:gd name="T9" fmla="*/ 22 h 26"/>
              <a:gd name="T10" fmla="*/ 5 w 46"/>
              <a:gd name="T11" fmla="*/ 22 h 26"/>
              <a:gd name="T12" fmla="*/ 9 w 46"/>
              <a:gd name="T13" fmla="*/ 23 h 26"/>
              <a:gd name="T14" fmla="*/ 16 w 46"/>
              <a:gd name="T15" fmla="*/ 23 h 26"/>
              <a:gd name="T16" fmla="*/ 17 w 46"/>
              <a:gd name="T17" fmla="*/ 23 h 26"/>
              <a:gd name="T18" fmla="*/ 22 w 46"/>
              <a:gd name="T19" fmla="*/ 25 h 26"/>
              <a:gd name="T20" fmla="*/ 27 w 46"/>
              <a:gd name="T21" fmla="*/ 25 h 26"/>
              <a:gd name="T22" fmla="*/ 28 w 46"/>
              <a:gd name="T23" fmla="*/ 26 h 26"/>
              <a:gd name="T24" fmla="*/ 29 w 46"/>
              <a:gd name="T25" fmla="*/ 26 h 26"/>
              <a:gd name="T26" fmla="*/ 32 w 46"/>
              <a:gd name="T27" fmla="*/ 24 h 26"/>
              <a:gd name="T28" fmla="*/ 32 w 46"/>
              <a:gd name="T29" fmla="*/ 24 h 26"/>
              <a:gd name="T30" fmla="*/ 32 w 46"/>
              <a:gd name="T31" fmla="*/ 24 h 26"/>
              <a:gd name="T32" fmla="*/ 37 w 46"/>
              <a:gd name="T33" fmla="*/ 20 h 26"/>
              <a:gd name="T34" fmla="*/ 38 w 46"/>
              <a:gd name="T35" fmla="*/ 20 h 26"/>
              <a:gd name="T36" fmla="*/ 45 w 46"/>
              <a:gd name="T37" fmla="*/ 20 h 26"/>
              <a:gd name="T38" fmla="*/ 45 w 46"/>
              <a:gd name="T39" fmla="*/ 20 h 26"/>
              <a:gd name="T40" fmla="*/ 45 w 46"/>
              <a:gd name="T41" fmla="*/ 16 h 26"/>
              <a:gd name="T42" fmla="*/ 46 w 46"/>
              <a:gd name="T43" fmla="*/ 15 h 26"/>
              <a:gd name="T44" fmla="*/ 46 w 46"/>
              <a:gd name="T45" fmla="*/ 14 h 26"/>
              <a:gd name="T46" fmla="*/ 46 w 46"/>
              <a:gd name="T47" fmla="*/ 11 h 26"/>
              <a:gd name="T48" fmla="*/ 46 w 46"/>
              <a:gd name="T49" fmla="*/ 11 h 26"/>
              <a:gd name="T50" fmla="*/ 45 w 46"/>
              <a:gd name="T51" fmla="*/ 9 h 26"/>
              <a:gd name="T52" fmla="*/ 44 w 46"/>
              <a:gd name="T53" fmla="*/ 9 h 26"/>
              <a:gd name="T54" fmla="*/ 41 w 46"/>
              <a:gd name="T55" fmla="*/ 8 h 26"/>
              <a:gd name="T56" fmla="*/ 38 w 46"/>
              <a:gd name="T57" fmla="*/ 7 h 26"/>
              <a:gd name="T58" fmla="*/ 36 w 46"/>
              <a:gd name="T59" fmla="*/ 9 h 26"/>
              <a:gd name="T60" fmla="*/ 33 w 46"/>
              <a:gd name="T61" fmla="*/ 6 h 26"/>
              <a:gd name="T62" fmla="*/ 33 w 46"/>
              <a:gd name="T63" fmla="*/ 4 h 26"/>
              <a:gd name="T64" fmla="*/ 32 w 46"/>
              <a:gd name="T65" fmla="*/ 4 h 26"/>
              <a:gd name="T66" fmla="*/ 29 w 46"/>
              <a:gd name="T67" fmla="*/ 1 h 26"/>
              <a:gd name="T68" fmla="*/ 28 w 46"/>
              <a:gd name="T69" fmla="*/ 1 h 26"/>
              <a:gd name="T70" fmla="*/ 23 w 46"/>
              <a:gd name="T71" fmla="*/ 1 h 26"/>
              <a:gd name="T72" fmla="*/ 21 w 46"/>
              <a:gd name="T73" fmla="*/ 1 h 26"/>
              <a:gd name="T74" fmla="*/ 20 w 46"/>
              <a:gd name="T75" fmla="*/ 0 h 26"/>
              <a:gd name="T76" fmla="*/ 17 w 46"/>
              <a:gd name="T77" fmla="*/ 0 h 26"/>
              <a:gd name="T78" fmla="*/ 14 w 46"/>
              <a:gd name="T79" fmla="*/ 0 h 26"/>
              <a:gd name="T80" fmla="*/ 13 w 46"/>
              <a:gd name="T81" fmla="*/ 2 h 26"/>
              <a:gd name="T82" fmla="*/ 9 w 46"/>
              <a:gd name="T83" fmla="*/ 6 h 26"/>
              <a:gd name="T84" fmla="*/ 9 w 46"/>
              <a:gd name="T85" fmla="*/ 6 h 26"/>
              <a:gd name="T86" fmla="*/ 8 w 46"/>
              <a:gd name="T87" fmla="*/ 6 h 26"/>
              <a:gd name="T88" fmla="*/ 6 w 46"/>
              <a:gd name="T89" fmla="*/ 6 h 26"/>
              <a:gd name="T90" fmla="*/ 2 w 46"/>
              <a:gd name="T91" fmla="*/ 6 h 26"/>
              <a:gd name="T92" fmla="*/ 0 w 46"/>
              <a:gd name="T93" fmla="*/ 8 h 26"/>
              <a:gd name="T94" fmla="*/ 1 w 46"/>
              <a:gd name="T95" fmla="*/ 9 h 26"/>
              <a:gd name="T96" fmla="*/ 1 w 46"/>
              <a:gd name="T97" fmla="*/ 10 h 26"/>
              <a:gd name="T98" fmla="*/ 2 w 46"/>
              <a:gd name="T99" fmla="*/ 11 h 26"/>
              <a:gd name="T100" fmla="*/ 2 w 46"/>
              <a:gd name="T101" fmla="*/ 11 h 26"/>
              <a:gd name="T102" fmla="*/ 4 w 46"/>
              <a:gd name="T103" fmla="*/ 12 h 26"/>
              <a:gd name="T104" fmla="*/ 5 w 46"/>
              <a:gd name="T105" fmla="*/ 14 h 26"/>
              <a:gd name="T106" fmla="*/ 4 w 46"/>
              <a:gd name="T107" fmla="*/ 17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6" h="26">
                <a:moveTo>
                  <a:pt x="4" y="17"/>
                </a:moveTo>
                <a:cubicBezTo>
                  <a:pt x="1" y="19"/>
                  <a:pt x="1" y="19"/>
                  <a:pt x="1" y="19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22"/>
                  <a:pt x="0" y="24"/>
                  <a:pt x="0" y="25"/>
                </a:cubicBezTo>
                <a:cubicBezTo>
                  <a:pt x="1" y="24"/>
                  <a:pt x="3" y="23"/>
                  <a:pt x="4" y="22"/>
                </a:cubicBezTo>
                <a:cubicBezTo>
                  <a:pt x="5" y="22"/>
                  <a:pt x="5" y="22"/>
                  <a:pt x="5" y="22"/>
                </a:cubicBezTo>
                <a:cubicBezTo>
                  <a:pt x="9" y="23"/>
                  <a:pt x="9" y="23"/>
                  <a:pt x="9" y="23"/>
                </a:cubicBezTo>
                <a:cubicBezTo>
                  <a:pt x="16" y="23"/>
                  <a:pt x="16" y="23"/>
                  <a:pt x="16" y="23"/>
                </a:cubicBezTo>
                <a:cubicBezTo>
                  <a:pt x="16" y="23"/>
                  <a:pt x="16" y="23"/>
                  <a:pt x="17" y="23"/>
                </a:cubicBezTo>
                <a:cubicBezTo>
                  <a:pt x="19" y="24"/>
                  <a:pt x="21" y="25"/>
                  <a:pt x="22" y="25"/>
                </a:cubicBezTo>
                <a:cubicBezTo>
                  <a:pt x="27" y="25"/>
                  <a:pt x="27" y="25"/>
                  <a:pt x="27" y="25"/>
                </a:cubicBezTo>
                <a:cubicBezTo>
                  <a:pt x="28" y="25"/>
                  <a:pt x="28" y="26"/>
                  <a:pt x="28" y="26"/>
                </a:cubicBezTo>
                <a:cubicBezTo>
                  <a:pt x="29" y="26"/>
                  <a:pt x="29" y="26"/>
                  <a:pt x="29" y="26"/>
                </a:cubicBezTo>
                <a:cubicBezTo>
                  <a:pt x="30" y="25"/>
                  <a:pt x="31" y="25"/>
                  <a:pt x="32" y="24"/>
                </a:cubicBezTo>
                <a:cubicBezTo>
                  <a:pt x="32" y="24"/>
                  <a:pt x="32" y="24"/>
                  <a:pt x="32" y="24"/>
                </a:cubicBezTo>
                <a:cubicBezTo>
                  <a:pt x="32" y="24"/>
                  <a:pt x="32" y="24"/>
                  <a:pt x="32" y="24"/>
                </a:cubicBezTo>
                <a:cubicBezTo>
                  <a:pt x="33" y="21"/>
                  <a:pt x="37" y="20"/>
                  <a:pt x="37" y="20"/>
                </a:cubicBezTo>
                <a:cubicBezTo>
                  <a:pt x="38" y="20"/>
                  <a:pt x="38" y="20"/>
                  <a:pt x="38" y="20"/>
                </a:cubicBezTo>
                <a:cubicBezTo>
                  <a:pt x="45" y="20"/>
                  <a:pt x="45" y="20"/>
                  <a:pt x="45" y="20"/>
                </a:cubicBezTo>
                <a:cubicBezTo>
                  <a:pt x="45" y="20"/>
                  <a:pt x="45" y="20"/>
                  <a:pt x="45" y="20"/>
                </a:cubicBezTo>
                <a:cubicBezTo>
                  <a:pt x="44" y="19"/>
                  <a:pt x="44" y="18"/>
                  <a:pt x="45" y="16"/>
                </a:cubicBezTo>
                <a:cubicBezTo>
                  <a:pt x="45" y="16"/>
                  <a:pt x="45" y="15"/>
                  <a:pt x="46" y="15"/>
                </a:cubicBezTo>
                <a:cubicBezTo>
                  <a:pt x="46" y="14"/>
                  <a:pt x="46" y="14"/>
                  <a:pt x="46" y="14"/>
                </a:cubicBezTo>
                <a:cubicBezTo>
                  <a:pt x="46" y="13"/>
                  <a:pt x="46" y="12"/>
                  <a:pt x="46" y="11"/>
                </a:cubicBezTo>
                <a:cubicBezTo>
                  <a:pt x="46" y="11"/>
                  <a:pt x="46" y="11"/>
                  <a:pt x="46" y="11"/>
                </a:cubicBezTo>
                <a:cubicBezTo>
                  <a:pt x="46" y="11"/>
                  <a:pt x="45" y="10"/>
                  <a:pt x="45" y="9"/>
                </a:cubicBezTo>
                <a:cubicBezTo>
                  <a:pt x="44" y="9"/>
                  <a:pt x="44" y="9"/>
                  <a:pt x="44" y="9"/>
                </a:cubicBezTo>
                <a:cubicBezTo>
                  <a:pt x="42" y="8"/>
                  <a:pt x="42" y="8"/>
                  <a:pt x="41" y="8"/>
                </a:cubicBezTo>
                <a:cubicBezTo>
                  <a:pt x="40" y="7"/>
                  <a:pt x="40" y="7"/>
                  <a:pt x="38" y="7"/>
                </a:cubicBezTo>
                <a:cubicBezTo>
                  <a:pt x="38" y="8"/>
                  <a:pt x="37" y="9"/>
                  <a:pt x="36" y="9"/>
                </a:cubicBezTo>
                <a:cubicBezTo>
                  <a:pt x="35" y="9"/>
                  <a:pt x="34" y="8"/>
                  <a:pt x="33" y="6"/>
                </a:cubicBezTo>
                <a:cubicBezTo>
                  <a:pt x="33" y="6"/>
                  <a:pt x="33" y="5"/>
                  <a:pt x="33" y="4"/>
                </a:cubicBezTo>
                <a:cubicBezTo>
                  <a:pt x="32" y="4"/>
                  <a:pt x="32" y="4"/>
                  <a:pt x="32" y="4"/>
                </a:cubicBezTo>
                <a:cubicBezTo>
                  <a:pt x="30" y="2"/>
                  <a:pt x="29" y="1"/>
                  <a:pt x="29" y="1"/>
                </a:cubicBezTo>
                <a:cubicBezTo>
                  <a:pt x="28" y="1"/>
                  <a:pt x="28" y="1"/>
                  <a:pt x="28" y="1"/>
                </a:cubicBezTo>
                <a:cubicBezTo>
                  <a:pt x="26" y="0"/>
                  <a:pt x="24" y="0"/>
                  <a:pt x="23" y="1"/>
                </a:cubicBezTo>
                <a:cubicBezTo>
                  <a:pt x="22" y="1"/>
                  <a:pt x="21" y="1"/>
                  <a:pt x="21" y="1"/>
                </a:cubicBezTo>
                <a:cubicBezTo>
                  <a:pt x="20" y="1"/>
                  <a:pt x="20" y="0"/>
                  <a:pt x="20" y="0"/>
                </a:cubicBezTo>
                <a:cubicBezTo>
                  <a:pt x="19" y="1"/>
                  <a:pt x="18" y="1"/>
                  <a:pt x="17" y="0"/>
                </a:cubicBezTo>
                <a:cubicBezTo>
                  <a:pt x="16" y="1"/>
                  <a:pt x="14" y="0"/>
                  <a:pt x="14" y="0"/>
                </a:cubicBezTo>
                <a:cubicBezTo>
                  <a:pt x="13" y="1"/>
                  <a:pt x="13" y="2"/>
                  <a:pt x="13" y="2"/>
                </a:cubicBezTo>
                <a:cubicBezTo>
                  <a:pt x="12" y="4"/>
                  <a:pt x="11" y="7"/>
                  <a:pt x="9" y="6"/>
                </a:cubicBezTo>
                <a:cubicBezTo>
                  <a:pt x="9" y="6"/>
                  <a:pt x="9" y="6"/>
                  <a:pt x="9" y="6"/>
                </a:cubicBezTo>
                <a:cubicBezTo>
                  <a:pt x="8" y="6"/>
                  <a:pt x="8" y="6"/>
                  <a:pt x="8" y="6"/>
                </a:cubicBezTo>
                <a:cubicBezTo>
                  <a:pt x="7" y="7"/>
                  <a:pt x="6" y="6"/>
                  <a:pt x="6" y="6"/>
                </a:cubicBezTo>
                <a:cubicBezTo>
                  <a:pt x="4" y="6"/>
                  <a:pt x="3" y="6"/>
                  <a:pt x="2" y="6"/>
                </a:cubicBezTo>
                <a:cubicBezTo>
                  <a:pt x="0" y="8"/>
                  <a:pt x="0" y="8"/>
                  <a:pt x="0" y="8"/>
                </a:cubicBezTo>
                <a:cubicBezTo>
                  <a:pt x="1" y="9"/>
                  <a:pt x="1" y="9"/>
                  <a:pt x="1" y="9"/>
                </a:cubicBezTo>
                <a:cubicBezTo>
                  <a:pt x="1" y="10"/>
                  <a:pt x="1" y="10"/>
                  <a:pt x="1" y="10"/>
                </a:cubicBezTo>
                <a:cubicBezTo>
                  <a:pt x="2" y="11"/>
                  <a:pt x="2" y="11"/>
                  <a:pt x="2" y="11"/>
                </a:cubicBezTo>
                <a:cubicBezTo>
                  <a:pt x="2" y="11"/>
                  <a:pt x="2" y="11"/>
                  <a:pt x="2" y="11"/>
                </a:cubicBezTo>
                <a:cubicBezTo>
                  <a:pt x="3" y="11"/>
                  <a:pt x="4" y="12"/>
                  <a:pt x="4" y="12"/>
                </a:cubicBezTo>
                <a:cubicBezTo>
                  <a:pt x="5" y="14"/>
                  <a:pt x="5" y="14"/>
                  <a:pt x="5" y="14"/>
                </a:cubicBezTo>
                <a:cubicBezTo>
                  <a:pt x="5" y="15"/>
                  <a:pt x="5" y="16"/>
                  <a:pt x="4" y="1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Freeform 37">
            <a:extLst>
              <a:ext uri="{FF2B5EF4-FFF2-40B4-BE49-F238E27FC236}">
                <a16:creationId xmlns:a16="http://schemas.microsoft.com/office/drawing/2014/main" id="{AA025F69-8EAB-4A5E-A0D4-C9281F5A6C25}"/>
              </a:ext>
            </a:extLst>
          </p:cNvPr>
          <p:cNvSpPr>
            <a:spLocks/>
          </p:cNvSpPr>
          <p:nvPr/>
        </p:nvSpPr>
        <p:spPr bwMode="auto">
          <a:xfrm>
            <a:off x="4828659" y="2553816"/>
            <a:ext cx="60193" cy="57150"/>
          </a:xfrm>
          <a:custGeom>
            <a:avLst/>
            <a:gdLst>
              <a:gd name="T0" fmla="*/ 2 w 25"/>
              <a:gd name="T1" fmla="*/ 20 h 26"/>
              <a:gd name="T2" fmla="*/ 3 w 25"/>
              <a:gd name="T3" fmla="*/ 21 h 26"/>
              <a:gd name="T4" fmla="*/ 7 w 25"/>
              <a:gd name="T5" fmla="*/ 22 h 26"/>
              <a:gd name="T6" fmla="*/ 7 w 25"/>
              <a:gd name="T7" fmla="*/ 22 h 26"/>
              <a:gd name="T8" fmla="*/ 11 w 25"/>
              <a:gd name="T9" fmla="*/ 25 h 26"/>
              <a:gd name="T10" fmla="*/ 11 w 25"/>
              <a:gd name="T11" fmla="*/ 26 h 26"/>
              <a:gd name="T12" fmla="*/ 12 w 25"/>
              <a:gd name="T13" fmla="*/ 25 h 26"/>
              <a:gd name="T14" fmla="*/ 16 w 25"/>
              <a:gd name="T15" fmla="*/ 25 h 26"/>
              <a:gd name="T16" fmla="*/ 20 w 25"/>
              <a:gd name="T17" fmla="*/ 24 h 26"/>
              <a:gd name="T18" fmla="*/ 22 w 25"/>
              <a:gd name="T19" fmla="*/ 21 h 26"/>
              <a:gd name="T20" fmla="*/ 22 w 25"/>
              <a:gd name="T21" fmla="*/ 21 h 26"/>
              <a:gd name="T22" fmla="*/ 24 w 25"/>
              <a:gd name="T23" fmla="*/ 18 h 26"/>
              <a:gd name="T24" fmla="*/ 24 w 25"/>
              <a:gd name="T25" fmla="*/ 18 h 26"/>
              <a:gd name="T26" fmla="*/ 25 w 25"/>
              <a:gd name="T27" fmla="*/ 14 h 26"/>
              <a:gd name="T28" fmla="*/ 25 w 25"/>
              <a:gd name="T29" fmla="*/ 12 h 26"/>
              <a:gd name="T30" fmla="*/ 24 w 25"/>
              <a:gd name="T31" fmla="*/ 12 h 26"/>
              <a:gd name="T32" fmla="*/ 20 w 25"/>
              <a:gd name="T33" fmla="*/ 9 h 26"/>
              <a:gd name="T34" fmla="*/ 21 w 25"/>
              <a:gd name="T35" fmla="*/ 7 h 26"/>
              <a:gd name="T36" fmla="*/ 19 w 25"/>
              <a:gd name="T37" fmla="*/ 4 h 26"/>
              <a:gd name="T38" fmla="*/ 19 w 25"/>
              <a:gd name="T39" fmla="*/ 4 h 26"/>
              <a:gd name="T40" fmla="*/ 13 w 25"/>
              <a:gd name="T41" fmla="*/ 4 h 26"/>
              <a:gd name="T42" fmla="*/ 12 w 25"/>
              <a:gd name="T43" fmla="*/ 4 h 26"/>
              <a:gd name="T44" fmla="*/ 12 w 25"/>
              <a:gd name="T45" fmla="*/ 3 h 26"/>
              <a:gd name="T46" fmla="*/ 8 w 25"/>
              <a:gd name="T47" fmla="*/ 1 h 26"/>
              <a:gd name="T48" fmla="*/ 6 w 25"/>
              <a:gd name="T49" fmla="*/ 1 h 26"/>
              <a:gd name="T50" fmla="*/ 6 w 25"/>
              <a:gd name="T51" fmla="*/ 0 h 26"/>
              <a:gd name="T52" fmla="*/ 6 w 25"/>
              <a:gd name="T53" fmla="*/ 0 h 26"/>
              <a:gd name="T54" fmla="*/ 3 w 25"/>
              <a:gd name="T55" fmla="*/ 1 h 26"/>
              <a:gd name="T56" fmla="*/ 2 w 25"/>
              <a:gd name="T57" fmla="*/ 1 h 26"/>
              <a:gd name="T58" fmla="*/ 0 w 25"/>
              <a:gd name="T59" fmla="*/ 7 h 26"/>
              <a:gd name="T60" fmla="*/ 0 w 25"/>
              <a:gd name="T61" fmla="*/ 16 h 26"/>
              <a:gd name="T62" fmla="*/ 1 w 25"/>
              <a:gd name="T63" fmla="*/ 20 h 26"/>
              <a:gd name="T64" fmla="*/ 2 w 25"/>
              <a:gd name="T65" fmla="*/ 2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5" h="26">
                <a:moveTo>
                  <a:pt x="2" y="20"/>
                </a:moveTo>
                <a:cubicBezTo>
                  <a:pt x="3" y="21"/>
                  <a:pt x="3" y="21"/>
                  <a:pt x="3" y="21"/>
                </a:cubicBezTo>
                <a:cubicBezTo>
                  <a:pt x="7" y="22"/>
                  <a:pt x="7" y="22"/>
                  <a:pt x="7" y="22"/>
                </a:cubicBezTo>
                <a:cubicBezTo>
                  <a:pt x="7" y="22"/>
                  <a:pt x="7" y="22"/>
                  <a:pt x="7" y="22"/>
                </a:cubicBezTo>
                <a:cubicBezTo>
                  <a:pt x="11" y="25"/>
                  <a:pt x="11" y="25"/>
                  <a:pt x="11" y="25"/>
                </a:cubicBezTo>
                <a:cubicBezTo>
                  <a:pt x="11" y="25"/>
                  <a:pt x="11" y="25"/>
                  <a:pt x="11" y="26"/>
                </a:cubicBezTo>
                <a:cubicBezTo>
                  <a:pt x="11" y="25"/>
                  <a:pt x="12" y="25"/>
                  <a:pt x="12" y="25"/>
                </a:cubicBezTo>
                <a:cubicBezTo>
                  <a:pt x="16" y="25"/>
                  <a:pt x="16" y="25"/>
                  <a:pt x="16" y="25"/>
                </a:cubicBezTo>
                <a:cubicBezTo>
                  <a:pt x="20" y="24"/>
                  <a:pt x="20" y="24"/>
                  <a:pt x="20" y="24"/>
                </a:cubicBezTo>
                <a:cubicBezTo>
                  <a:pt x="20" y="22"/>
                  <a:pt x="21" y="21"/>
                  <a:pt x="22" y="21"/>
                </a:cubicBezTo>
                <a:cubicBezTo>
                  <a:pt x="22" y="21"/>
                  <a:pt x="22" y="21"/>
                  <a:pt x="22" y="21"/>
                </a:cubicBezTo>
                <a:cubicBezTo>
                  <a:pt x="22" y="20"/>
                  <a:pt x="23" y="19"/>
                  <a:pt x="24" y="18"/>
                </a:cubicBezTo>
                <a:cubicBezTo>
                  <a:pt x="24" y="18"/>
                  <a:pt x="24" y="18"/>
                  <a:pt x="24" y="18"/>
                </a:cubicBezTo>
                <a:cubicBezTo>
                  <a:pt x="24" y="17"/>
                  <a:pt x="24" y="16"/>
                  <a:pt x="25" y="14"/>
                </a:cubicBezTo>
                <a:cubicBezTo>
                  <a:pt x="25" y="14"/>
                  <a:pt x="25" y="13"/>
                  <a:pt x="25" y="12"/>
                </a:cubicBezTo>
                <a:cubicBezTo>
                  <a:pt x="24" y="12"/>
                  <a:pt x="24" y="12"/>
                  <a:pt x="24" y="12"/>
                </a:cubicBezTo>
                <a:cubicBezTo>
                  <a:pt x="23" y="12"/>
                  <a:pt x="21" y="11"/>
                  <a:pt x="20" y="9"/>
                </a:cubicBezTo>
                <a:cubicBezTo>
                  <a:pt x="20" y="8"/>
                  <a:pt x="20" y="8"/>
                  <a:pt x="21" y="7"/>
                </a:cubicBezTo>
                <a:cubicBezTo>
                  <a:pt x="20" y="6"/>
                  <a:pt x="19" y="5"/>
                  <a:pt x="19" y="4"/>
                </a:cubicBezTo>
                <a:cubicBezTo>
                  <a:pt x="19" y="4"/>
                  <a:pt x="19" y="4"/>
                  <a:pt x="19" y="4"/>
                </a:cubicBezTo>
                <a:cubicBezTo>
                  <a:pt x="18" y="4"/>
                  <a:pt x="15" y="4"/>
                  <a:pt x="13" y="4"/>
                </a:cubicBezTo>
                <a:cubicBezTo>
                  <a:pt x="12" y="4"/>
                  <a:pt x="12" y="4"/>
                  <a:pt x="12" y="4"/>
                </a:cubicBezTo>
                <a:cubicBezTo>
                  <a:pt x="12" y="3"/>
                  <a:pt x="12" y="3"/>
                  <a:pt x="12" y="3"/>
                </a:cubicBezTo>
                <a:cubicBezTo>
                  <a:pt x="8" y="1"/>
                  <a:pt x="8" y="1"/>
                  <a:pt x="8" y="1"/>
                </a:cubicBezTo>
                <a:cubicBezTo>
                  <a:pt x="6" y="1"/>
                  <a:pt x="6" y="1"/>
                  <a:pt x="6" y="1"/>
                </a:cubicBezTo>
                <a:cubicBezTo>
                  <a:pt x="6" y="0"/>
                  <a:pt x="6" y="0"/>
                  <a:pt x="6" y="0"/>
                </a:cubicBezTo>
                <a:cubicBezTo>
                  <a:pt x="6" y="0"/>
                  <a:pt x="6" y="0"/>
                  <a:pt x="6" y="0"/>
                </a:cubicBezTo>
                <a:cubicBezTo>
                  <a:pt x="5" y="1"/>
                  <a:pt x="4" y="1"/>
                  <a:pt x="3" y="1"/>
                </a:cubicBezTo>
                <a:cubicBezTo>
                  <a:pt x="3" y="1"/>
                  <a:pt x="3" y="1"/>
                  <a:pt x="2" y="1"/>
                </a:cubicBezTo>
                <a:cubicBezTo>
                  <a:pt x="2" y="2"/>
                  <a:pt x="0" y="6"/>
                  <a:pt x="0" y="7"/>
                </a:cubicBezTo>
                <a:cubicBezTo>
                  <a:pt x="0" y="16"/>
                  <a:pt x="0" y="16"/>
                  <a:pt x="0" y="16"/>
                </a:cubicBezTo>
                <a:cubicBezTo>
                  <a:pt x="1" y="20"/>
                  <a:pt x="1" y="20"/>
                  <a:pt x="1" y="20"/>
                </a:cubicBezTo>
                <a:lnTo>
                  <a:pt x="2" y="2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Freeform 38">
            <a:extLst>
              <a:ext uri="{FF2B5EF4-FFF2-40B4-BE49-F238E27FC236}">
                <a16:creationId xmlns:a16="http://schemas.microsoft.com/office/drawing/2014/main" id="{A87C161B-CB19-448B-A7FE-B4013C2D69F5}"/>
              </a:ext>
            </a:extLst>
          </p:cNvPr>
          <p:cNvSpPr>
            <a:spLocks/>
          </p:cNvSpPr>
          <p:nvPr/>
        </p:nvSpPr>
        <p:spPr bwMode="auto">
          <a:xfrm>
            <a:off x="4709993" y="2722094"/>
            <a:ext cx="111787" cy="30163"/>
          </a:xfrm>
          <a:custGeom>
            <a:avLst/>
            <a:gdLst>
              <a:gd name="T0" fmla="*/ 2 w 46"/>
              <a:gd name="T1" fmla="*/ 11 h 13"/>
              <a:gd name="T2" fmla="*/ 4 w 46"/>
              <a:gd name="T3" fmla="*/ 13 h 13"/>
              <a:gd name="T4" fmla="*/ 11 w 46"/>
              <a:gd name="T5" fmla="*/ 13 h 13"/>
              <a:gd name="T6" fmla="*/ 12 w 46"/>
              <a:gd name="T7" fmla="*/ 13 h 13"/>
              <a:gd name="T8" fmla="*/ 16 w 46"/>
              <a:gd name="T9" fmla="*/ 13 h 13"/>
              <a:gd name="T10" fmla="*/ 25 w 46"/>
              <a:gd name="T11" fmla="*/ 13 h 13"/>
              <a:gd name="T12" fmla="*/ 33 w 46"/>
              <a:gd name="T13" fmla="*/ 11 h 13"/>
              <a:gd name="T14" fmla="*/ 44 w 46"/>
              <a:gd name="T15" fmla="*/ 11 h 13"/>
              <a:gd name="T16" fmla="*/ 44 w 46"/>
              <a:gd name="T17" fmla="*/ 11 h 13"/>
              <a:gd name="T18" fmla="*/ 44 w 46"/>
              <a:gd name="T19" fmla="*/ 11 h 13"/>
              <a:gd name="T20" fmla="*/ 45 w 46"/>
              <a:gd name="T21" fmla="*/ 9 h 13"/>
              <a:gd name="T22" fmla="*/ 46 w 46"/>
              <a:gd name="T23" fmla="*/ 8 h 13"/>
              <a:gd name="T24" fmla="*/ 46 w 46"/>
              <a:gd name="T25" fmla="*/ 8 h 13"/>
              <a:gd name="T26" fmla="*/ 43 w 46"/>
              <a:gd name="T27" fmla="*/ 8 h 13"/>
              <a:gd name="T28" fmla="*/ 42 w 46"/>
              <a:gd name="T29" fmla="*/ 8 h 13"/>
              <a:gd name="T30" fmla="*/ 39 w 46"/>
              <a:gd name="T31" fmla="*/ 6 h 13"/>
              <a:gd name="T32" fmla="*/ 39 w 46"/>
              <a:gd name="T33" fmla="*/ 4 h 13"/>
              <a:gd name="T34" fmla="*/ 38 w 46"/>
              <a:gd name="T35" fmla="*/ 3 h 13"/>
              <a:gd name="T36" fmla="*/ 37 w 46"/>
              <a:gd name="T37" fmla="*/ 0 h 13"/>
              <a:gd name="T38" fmla="*/ 35 w 46"/>
              <a:gd name="T39" fmla="*/ 0 h 13"/>
              <a:gd name="T40" fmla="*/ 33 w 46"/>
              <a:gd name="T41" fmla="*/ 0 h 13"/>
              <a:gd name="T42" fmla="*/ 32 w 46"/>
              <a:gd name="T43" fmla="*/ 0 h 13"/>
              <a:gd name="T44" fmla="*/ 30 w 46"/>
              <a:gd name="T45" fmla="*/ 0 h 13"/>
              <a:gd name="T46" fmla="*/ 28 w 46"/>
              <a:gd name="T47" fmla="*/ 1 h 13"/>
              <a:gd name="T48" fmla="*/ 26 w 46"/>
              <a:gd name="T49" fmla="*/ 2 h 13"/>
              <a:gd name="T50" fmla="*/ 23 w 46"/>
              <a:gd name="T51" fmla="*/ 3 h 13"/>
              <a:gd name="T52" fmla="*/ 19 w 46"/>
              <a:gd name="T53" fmla="*/ 5 h 13"/>
              <a:gd name="T54" fmla="*/ 17 w 46"/>
              <a:gd name="T55" fmla="*/ 5 h 13"/>
              <a:gd name="T56" fmla="*/ 11 w 46"/>
              <a:gd name="T57" fmla="*/ 7 h 13"/>
              <a:gd name="T58" fmla="*/ 4 w 46"/>
              <a:gd name="T59" fmla="*/ 8 h 13"/>
              <a:gd name="T60" fmla="*/ 3 w 46"/>
              <a:gd name="T61" fmla="*/ 8 h 13"/>
              <a:gd name="T62" fmla="*/ 0 w 46"/>
              <a:gd name="T63" fmla="*/ 9 h 13"/>
              <a:gd name="T64" fmla="*/ 0 w 46"/>
              <a:gd name="T65" fmla="*/ 10 h 13"/>
              <a:gd name="T66" fmla="*/ 1 w 46"/>
              <a:gd name="T67" fmla="*/ 11 h 13"/>
              <a:gd name="T68" fmla="*/ 2 w 46"/>
              <a:gd name="T69" fmla="*/ 1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6" h="13">
                <a:moveTo>
                  <a:pt x="2" y="11"/>
                </a:moveTo>
                <a:cubicBezTo>
                  <a:pt x="4" y="13"/>
                  <a:pt x="4" y="13"/>
                  <a:pt x="4" y="13"/>
                </a:cubicBezTo>
                <a:cubicBezTo>
                  <a:pt x="11" y="13"/>
                  <a:pt x="11" y="13"/>
                  <a:pt x="11" y="13"/>
                </a:cubicBezTo>
                <a:cubicBezTo>
                  <a:pt x="12" y="13"/>
                  <a:pt x="12" y="13"/>
                  <a:pt x="12" y="13"/>
                </a:cubicBezTo>
                <a:cubicBezTo>
                  <a:pt x="13" y="13"/>
                  <a:pt x="15" y="13"/>
                  <a:pt x="16" y="13"/>
                </a:cubicBezTo>
                <a:cubicBezTo>
                  <a:pt x="25" y="13"/>
                  <a:pt x="25" y="13"/>
                  <a:pt x="25" y="13"/>
                </a:cubicBezTo>
                <a:cubicBezTo>
                  <a:pt x="29" y="12"/>
                  <a:pt x="32" y="11"/>
                  <a:pt x="33" y="11"/>
                </a:cubicBezTo>
                <a:cubicBezTo>
                  <a:pt x="44" y="11"/>
                  <a:pt x="44" y="11"/>
                  <a:pt x="44" y="11"/>
                </a:cubicBezTo>
                <a:cubicBezTo>
                  <a:pt x="44" y="11"/>
                  <a:pt x="44" y="11"/>
                  <a:pt x="44" y="11"/>
                </a:cubicBezTo>
                <a:cubicBezTo>
                  <a:pt x="44" y="11"/>
                  <a:pt x="44" y="11"/>
                  <a:pt x="44" y="11"/>
                </a:cubicBezTo>
                <a:cubicBezTo>
                  <a:pt x="45" y="9"/>
                  <a:pt x="45" y="9"/>
                  <a:pt x="45" y="9"/>
                </a:cubicBezTo>
                <a:cubicBezTo>
                  <a:pt x="46" y="9"/>
                  <a:pt x="46" y="9"/>
                  <a:pt x="46" y="8"/>
                </a:cubicBezTo>
                <a:cubicBezTo>
                  <a:pt x="46" y="8"/>
                  <a:pt x="46" y="8"/>
                  <a:pt x="46" y="8"/>
                </a:cubicBezTo>
                <a:cubicBezTo>
                  <a:pt x="45" y="9"/>
                  <a:pt x="44" y="9"/>
                  <a:pt x="43" y="8"/>
                </a:cubicBezTo>
                <a:cubicBezTo>
                  <a:pt x="42" y="8"/>
                  <a:pt x="42" y="8"/>
                  <a:pt x="42" y="8"/>
                </a:cubicBezTo>
                <a:cubicBezTo>
                  <a:pt x="41" y="8"/>
                  <a:pt x="40" y="8"/>
                  <a:pt x="39" y="6"/>
                </a:cubicBezTo>
                <a:cubicBezTo>
                  <a:pt x="39" y="5"/>
                  <a:pt x="39" y="5"/>
                  <a:pt x="39" y="4"/>
                </a:cubicBezTo>
                <a:cubicBezTo>
                  <a:pt x="38" y="4"/>
                  <a:pt x="38" y="3"/>
                  <a:pt x="38" y="3"/>
                </a:cubicBezTo>
                <a:cubicBezTo>
                  <a:pt x="37" y="2"/>
                  <a:pt x="37" y="1"/>
                  <a:pt x="37" y="0"/>
                </a:cubicBezTo>
                <a:cubicBezTo>
                  <a:pt x="36" y="0"/>
                  <a:pt x="35" y="0"/>
                  <a:pt x="35" y="0"/>
                </a:cubicBezTo>
                <a:cubicBezTo>
                  <a:pt x="34" y="1"/>
                  <a:pt x="34" y="1"/>
                  <a:pt x="33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1" y="0"/>
                  <a:pt x="31" y="0"/>
                  <a:pt x="30" y="0"/>
                </a:cubicBezTo>
                <a:cubicBezTo>
                  <a:pt x="29" y="0"/>
                  <a:pt x="29" y="1"/>
                  <a:pt x="28" y="1"/>
                </a:cubicBezTo>
                <a:cubicBezTo>
                  <a:pt x="27" y="1"/>
                  <a:pt x="27" y="2"/>
                  <a:pt x="26" y="2"/>
                </a:cubicBezTo>
                <a:cubicBezTo>
                  <a:pt x="25" y="2"/>
                  <a:pt x="24" y="2"/>
                  <a:pt x="23" y="3"/>
                </a:cubicBezTo>
                <a:cubicBezTo>
                  <a:pt x="23" y="4"/>
                  <a:pt x="21" y="4"/>
                  <a:pt x="19" y="5"/>
                </a:cubicBezTo>
                <a:cubicBezTo>
                  <a:pt x="18" y="5"/>
                  <a:pt x="17" y="5"/>
                  <a:pt x="17" y="5"/>
                </a:cubicBezTo>
                <a:cubicBezTo>
                  <a:pt x="16" y="6"/>
                  <a:pt x="15" y="6"/>
                  <a:pt x="11" y="7"/>
                </a:cubicBezTo>
                <a:cubicBezTo>
                  <a:pt x="6" y="7"/>
                  <a:pt x="4" y="8"/>
                  <a:pt x="4" y="8"/>
                </a:cubicBezTo>
                <a:cubicBezTo>
                  <a:pt x="3" y="8"/>
                  <a:pt x="3" y="8"/>
                  <a:pt x="3" y="8"/>
                </a:cubicBezTo>
                <a:cubicBezTo>
                  <a:pt x="0" y="9"/>
                  <a:pt x="0" y="9"/>
                  <a:pt x="0" y="9"/>
                </a:cubicBezTo>
                <a:cubicBezTo>
                  <a:pt x="0" y="10"/>
                  <a:pt x="0" y="10"/>
                  <a:pt x="0" y="10"/>
                </a:cubicBezTo>
                <a:cubicBezTo>
                  <a:pt x="1" y="11"/>
                  <a:pt x="1" y="11"/>
                  <a:pt x="1" y="11"/>
                </a:cubicBezTo>
                <a:cubicBezTo>
                  <a:pt x="2" y="11"/>
                  <a:pt x="2" y="11"/>
                  <a:pt x="2" y="1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Freeform 58">
            <a:extLst>
              <a:ext uri="{FF2B5EF4-FFF2-40B4-BE49-F238E27FC236}">
                <a16:creationId xmlns:a16="http://schemas.microsoft.com/office/drawing/2014/main" id="{413A7618-0641-46A2-8ED9-F113FEC424F0}"/>
              </a:ext>
            </a:extLst>
          </p:cNvPr>
          <p:cNvSpPr>
            <a:spLocks/>
          </p:cNvSpPr>
          <p:nvPr/>
        </p:nvSpPr>
        <p:spPr bwMode="auto">
          <a:xfrm>
            <a:off x="4292083" y="1218729"/>
            <a:ext cx="598488" cy="427038"/>
          </a:xfrm>
          <a:custGeom>
            <a:avLst/>
            <a:gdLst>
              <a:gd name="T0" fmla="*/ 129 w 248"/>
              <a:gd name="T1" fmla="*/ 18 h 191"/>
              <a:gd name="T2" fmla="*/ 113 w 248"/>
              <a:gd name="T3" fmla="*/ 9 h 191"/>
              <a:gd name="T4" fmla="*/ 104 w 248"/>
              <a:gd name="T5" fmla="*/ 12 h 191"/>
              <a:gd name="T6" fmla="*/ 106 w 248"/>
              <a:gd name="T7" fmla="*/ 19 h 191"/>
              <a:gd name="T8" fmla="*/ 85 w 248"/>
              <a:gd name="T9" fmla="*/ 44 h 191"/>
              <a:gd name="T10" fmla="*/ 90 w 248"/>
              <a:gd name="T11" fmla="*/ 32 h 191"/>
              <a:gd name="T12" fmla="*/ 87 w 248"/>
              <a:gd name="T13" fmla="*/ 11 h 191"/>
              <a:gd name="T14" fmla="*/ 52 w 248"/>
              <a:gd name="T15" fmla="*/ 0 h 191"/>
              <a:gd name="T16" fmla="*/ 33 w 248"/>
              <a:gd name="T17" fmla="*/ 75 h 191"/>
              <a:gd name="T18" fmla="*/ 48 w 248"/>
              <a:gd name="T19" fmla="*/ 91 h 191"/>
              <a:gd name="T20" fmla="*/ 7 w 248"/>
              <a:gd name="T21" fmla="*/ 93 h 191"/>
              <a:gd name="T22" fmla="*/ 2 w 248"/>
              <a:gd name="T23" fmla="*/ 92 h 191"/>
              <a:gd name="T24" fmla="*/ 15 w 248"/>
              <a:gd name="T25" fmla="*/ 117 h 191"/>
              <a:gd name="T26" fmla="*/ 25 w 248"/>
              <a:gd name="T27" fmla="*/ 120 h 191"/>
              <a:gd name="T28" fmla="*/ 29 w 248"/>
              <a:gd name="T29" fmla="*/ 125 h 191"/>
              <a:gd name="T30" fmla="*/ 33 w 248"/>
              <a:gd name="T31" fmla="*/ 129 h 191"/>
              <a:gd name="T32" fmla="*/ 37 w 248"/>
              <a:gd name="T33" fmla="*/ 139 h 191"/>
              <a:gd name="T34" fmla="*/ 40 w 248"/>
              <a:gd name="T35" fmla="*/ 145 h 191"/>
              <a:gd name="T36" fmla="*/ 43 w 248"/>
              <a:gd name="T37" fmla="*/ 149 h 191"/>
              <a:gd name="T38" fmla="*/ 50 w 248"/>
              <a:gd name="T39" fmla="*/ 154 h 191"/>
              <a:gd name="T40" fmla="*/ 52 w 248"/>
              <a:gd name="T41" fmla="*/ 148 h 191"/>
              <a:gd name="T42" fmla="*/ 55 w 248"/>
              <a:gd name="T43" fmla="*/ 141 h 191"/>
              <a:gd name="T44" fmla="*/ 62 w 248"/>
              <a:gd name="T45" fmla="*/ 133 h 191"/>
              <a:gd name="T46" fmla="*/ 68 w 248"/>
              <a:gd name="T47" fmla="*/ 129 h 191"/>
              <a:gd name="T48" fmla="*/ 71 w 248"/>
              <a:gd name="T49" fmla="*/ 146 h 191"/>
              <a:gd name="T50" fmla="*/ 76 w 248"/>
              <a:gd name="T51" fmla="*/ 153 h 191"/>
              <a:gd name="T52" fmla="*/ 80 w 248"/>
              <a:gd name="T53" fmla="*/ 157 h 191"/>
              <a:gd name="T54" fmla="*/ 88 w 248"/>
              <a:gd name="T55" fmla="*/ 159 h 191"/>
              <a:gd name="T56" fmla="*/ 100 w 248"/>
              <a:gd name="T57" fmla="*/ 159 h 191"/>
              <a:gd name="T58" fmla="*/ 109 w 248"/>
              <a:gd name="T59" fmla="*/ 162 h 191"/>
              <a:gd name="T60" fmla="*/ 123 w 248"/>
              <a:gd name="T61" fmla="*/ 164 h 191"/>
              <a:gd name="T62" fmla="*/ 131 w 248"/>
              <a:gd name="T63" fmla="*/ 167 h 191"/>
              <a:gd name="T64" fmla="*/ 134 w 248"/>
              <a:gd name="T65" fmla="*/ 171 h 191"/>
              <a:gd name="T66" fmla="*/ 139 w 248"/>
              <a:gd name="T67" fmla="*/ 178 h 191"/>
              <a:gd name="T68" fmla="*/ 144 w 248"/>
              <a:gd name="T69" fmla="*/ 184 h 191"/>
              <a:gd name="T70" fmla="*/ 151 w 248"/>
              <a:gd name="T71" fmla="*/ 188 h 191"/>
              <a:gd name="T72" fmla="*/ 163 w 248"/>
              <a:gd name="T73" fmla="*/ 190 h 191"/>
              <a:gd name="T74" fmla="*/ 182 w 248"/>
              <a:gd name="T75" fmla="*/ 190 h 191"/>
              <a:gd name="T76" fmla="*/ 189 w 248"/>
              <a:gd name="T77" fmla="*/ 180 h 191"/>
              <a:gd name="T78" fmla="*/ 221 w 248"/>
              <a:gd name="T79" fmla="*/ 139 h 191"/>
              <a:gd name="T80" fmla="*/ 248 w 248"/>
              <a:gd name="T81" fmla="*/ 116 h 191"/>
              <a:gd name="T82" fmla="*/ 245 w 248"/>
              <a:gd name="T83" fmla="*/ 111 h 191"/>
              <a:gd name="T84" fmla="*/ 240 w 248"/>
              <a:gd name="T85" fmla="*/ 105 h 191"/>
              <a:gd name="T86" fmla="*/ 231 w 248"/>
              <a:gd name="T87" fmla="*/ 100 h 191"/>
              <a:gd name="T88" fmla="*/ 221 w 248"/>
              <a:gd name="T89" fmla="*/ 101 h 191"/>
              <a:gd name="T90" fmla="*/ 215 w 248"/>
              <a:gd name="T91" fmla="*/ 93 h 191"/>
              <a:gd name="T92" fmla="*/ 215 w 248"/>
              <a:gd name="T93" fmla="*/ 77 h 191"/>
              <a:gd name="T94" fmla="*/ 210 w 248"/>
              <a:gd name="T95" fmla="*/ 74 h 191"/>
              <a:gd name="T96" fmla="*/ 207 w 248"/>
              <a:gd name="T97" fmla="*/ 67 h 191"/>
              <a:gd name="T98" fmla="*/ 211 w 248"/>
              <a:gd name="T99" fmla="*/ 65 h 191"/>
              <a:gd name="T100" fmla="*/ 211 w 248"/>
              <a:gd name="T101" fmla="*/ 53 h 191"/>
              <a:gd name="T102" fmla="*/ 216 w 248"/>
              <a:gd name="T103" fmla="*/ 45 h 191"/>
              <a:gd name="T104" fmla="*/ 213 w 248"/>
              <a:gd name="T105" fmla="*/ 37 h 191"/>
              <a:gd name="T106" fmla="*/ 214 w 248"/>
              <a:gd name="T107" fmla="*/ 22 h 191"/>
              <a:gd name="T108" fmla="*/ 211 w 248"/>
              <a:gd name="T109" fmla="*/ 14 h 191"/>
              <a:gd name="T110" fmla="*/ 200 w 248"/>
              <a:gd name="T111" fmla="*/ 12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48" h="191">
                <a:moveTo>
                  <a:pt x="200" y="12"/>
                </a:moveTo>
                <a:cubicBezTo>
                  <a:pt x="138" y="20"/>
                  <a:pt x="138" y="20"/>
                  <a:pt x="138" y="20"/>
                </a:cubicBezTo>
                <a:cubicBezTo>
                  <a:pt x="129" y="20"/>
                  <a:pt x="129" y="20"/>
                  <a:pt x="129" y="20"/>
                </a:cubicBezTo>
                <a:cubicBezTo>
                  <a:pt x="129" y="18"/>
                  <a:pt x="129" y="18"/>
                  <a:pt x="129" y="18"/>
                </a:cubicBezTo>
                <a:cubicBezTo>
                  <a:pt x="128" y="17"/>
                  <a:pt x="128" y="17"/>
                  <a:pt x="128" y="17"/>
                </a:cubicBezTo>
                <a:cubicBezTo>
                  <a:pt x="127" y="16"/>
                  <a:pt x="127" y="16"/>
                  <a:pt x="127" y="16"/>
                </a:cubicBezTo>
                <a:cubicBezTo>
                  <a:pt x="118" y="10"/>
                  <a:pt x="118" y="10"/>
                  <a:pt x="118" y="10"/>
                </a:cubicBezTo>
                <a:cubicBezTo>
                  <a:pt x="113" y="9"/>
                  <a:pt x="113" y="9"/>
                  <a:pt x="113" y="9"/>
                </a:cubicBezTo>
                <a:cubicBezTo>
                  <a:pt x="106" y="9"/>
                  <a:pt x="106" y="9"/>
                  <a:pt x="106" y="9"/>
                </a:cubicBezTo>
                <a:cubicBezTo>
                  <a:pt x="106" y="9"/>
                  <a:pt x="106" y="9"/>
                  <a:pt x="106" y="9"/>
                </a:cubicBezTo>
                <a:cubicBezTo>
                  <a:pt x="105" y="10"/>
                  <a:pt x="105" y="10"/>
                  <a:pt x="105" y="10"/>
                </a:cubicBezTo>
                <a:cubicBezTo>
                  <a:pt x="104" y="12"/>
                  <a:pt x="104" y="12"/>
                  <a:pt x="104" y="12"/>
                </a:cubicBezTo>
                <a:cubicBezTo>
                  <a:pt x="104" y="14"/>
                  <a:pt x="104" y="14"/>
                  <a:pt x="104" y="14"/>
                </a:cubicBezTo>
                <a:cubicBezTo>
                  <a:pt x="105" y="15"/>
                  <a:pt x="105" y="15"/>
                  <a:pt x="105" y="15"/>
                </a:cubicBezTo>
                <a:cubicBezTo>
                  <a:pt x="107" y="18"/>
                  <a:pt x="107" y="18"/>
                  <a:pt x="107" y="18"/>
                </a:cubicBezTo>
                <a:cubicBezTo>
                  <a:pt x="106" y="19"/>
                  <a:pt x="106" y="19"/>
                  <a:pt x="106" y="19"/>
                </a:cubicBezTo>
                <a:cubicBezTo>
                  <a:pt x="104" y="23"/>
                  <a:pt x="104" y="23"/>
                  <a:pt x="104" y="23"/>
                </a:cubicBezTo>
                <a:cubicBezTo>
                  <a:pt x="88" y="42"/>
                  <a:pt x="88" y="42"/>
                  <a:pt x="88" y="42"/>
                </a:cubicBezTo>
                <a:cubicBezTo>
                  <a:pt x="86" y="43"/>
                  <a:pt x="86" y="43"/>
                  <a:pt x="86" y="43"/>
                </a:cubicBezTo>
                <a:cubicBezTo>
                  <a:pt x="85" y="44"/>
                  <a:pt x="85" y="44"/>
                  <a:pt x="85" y="44"/>
                </a:cubicBezTo>
                <a:cubicBezTo>
                  <a:pt x="85" y="43"/>
                  <a:pt x="85" y="43"/>
                  <a:pt x="85" y="43"/>
                </a:cubicBezTo>
                <a:cubicBezTo>
                  <a:pt x="85" y="42"/>
                  <a:pt x="85" y="42"/>
                  <a:pt x="85" y="42"/>
                </a:cubicBezTo>
                <a:cubicBezTo>
                  <a:pt x="85" y="41"/>
                  <a:pt x="85" y="41"/>
                  <a:pt x="85" y="41"/>
                </a:cubicBezTo>
                <a:cubicBezTo>
                  <a:pt x="90" y="32"/>
                  <a:pt x="90" y="32"/>
                  <a:pt x="90" y="32"/>
                </a:cubicBezTo>
                <a:cubicBezTo>
                  <a:pt x="91" y="31"/>
                  <a:pt x="91" y="31"/>
                  <a:pt x="91" y="31"/>
                </a:cubicBezTo>
                <a:cubicBezTo>
                  <a:pt x="94" y="25"/>
                  <a:pt x="94" y="25"/>
                  <a:pt x="94" y="25"/>
                </a:cubicBezTo>
                <a:cubicBezTo>
                  <a:pt x="95" y="16"/>
                  <a:pt x="95" y="16"/>
                  <a:pt x="95" y="16"/>
                </a:cubicBezTo>
                <a:cubicBezTo>
                  <a:pt x="87" y="11"/>
                  <a:pt x="87" y="11"/>
                  <a:pt x="87" y="11"/>
                </a:cubicBezTo>
                <a:cubicBezTo>
                  <a:pt x="68" y="0"/>
                  <a:pt x="68" y="0"/>
                  <a:pt x="68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40" y="35"/>
                  <a:pt x="40" y="35"/>
                  <a:pt x="40" y="35"/>
                </a:cubicBezTo>
                <a:cubicBezTo>
                  <a:pt x="31" y="68"/>
                  <a:pt x="31" y="68"/>
                  <a:pt x="31" y="68"/>
                </a:cubicBezTo>
                <a:cubicBezTo>
                  <a:pt x="31" y="69"/>
                  <a:pt x="31" y="69"/>
                  <a:pt x="31" y="69"/>
                </a:cubicBezTo>
                <a:cubicBezTo>
                  <a:pt x="33" y="75"/>
                  <a:pt x="33" y="75"/>
                  <a:pt x="33" y="75"/>
                </a:cubicBezTo>
                <a:cubicBezTo>
                  <a:pt x="36" y="83"/>
                  <a:pt x="36" y="83"/>
                  <a:pt x="36" y="83"/>
                </a:cubicBezTo>
                <a:cubicBezTo>
                  <a:pt x="40" y="86"/>
                  <a:pt x="40" y="86"/>
                  <a:pt x="40" y="86"/>
                </a:cubicBezTo>
                <a:cubicBezTo>
                  <a:pt x="46" y="90"/>
                  <a:pt x="46" y="90"/>
                  <a:pt x="46" y="90"/>
                </a:cubicBezTo>
                <a:cubicBezTo>
                  <a:pt x="48" y="91"/>
                  <a:pt x="48" y="91"/>
                  <a:pt x="48" y="91"/>
                </a:cubicBezTo>
                <a:cubicBezTo>
                  <a:pt x="46" y="94"/>
                  <a:pt x="46" y="94"/>
                  <a:pt x="46" y="94"/>
                </a:cubicBezTo>
                <a:cubicBezTo>
                  <a:pt x="17" y="96"/>
                  <a:pt x="17" y="96"/>
                  <a:pt x="17" y="96"/>
                </a:cubicBezTo>
                <a:cubicBezTo>
                  <a:pt x="12" y="95"/>
                  <a:pt x="12" y="95"/>
                  <a:pt x="12" y="95"/>
                </a:cubicBezTo>
                <a:cubicBezTo>
                  <a:pt x="7" y="93"/>
                  <a:pt x="7" y="93"/>
                  <a:pt x="7" y="93"/>
                </a:cubicBezTo>
                <a:cubicBezTo>
                  <a:pt x="4" y="91"/>
                  <a:pt x="4" y="91"/>
                  <a:pt x="4" y="91"/>
                </a:cubicBezTo>
                <a:cubicBezTo>
                  <a:pt x="3" y="91"/>
                  <a:pt x="3" y="91"/>
                  <a:pt x="3" y="91"/>
                </a:cubicBezTo>
                <a:cubicBezTo>
                  <a:pt x="2" y="92"/>
                  <a:pt x="2" y="92"/>
                  <a:pt x="2" y="92"/>
                </a:cubicBezTo>
                <a:cubicBezTo>
                  <a:pt x="2" y="92"/>
                  <a:pt x="2" y="92"/>
                  <a:pt x="2" y="92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97"/>
                  <a:pt x="0" y="97"/>
                  <a:pt x="0" y="97"/>
                </a:cubicBezTo>
                <a:cubicBezTo>
                  <a:pt x="1" y="97"/>
                  <a:pt x="1" y="97"/>
                  <a:pt x="1" y="97"/>
                </a:cubicBezTo>
                <a:cubicBezTo>
                  <a:pt x="15" y="117"/>
                  <a:pt x="15" y="117"/>
                  <a:pt x="15" y="117"/>
                </a:cubicBezTo>
                <a:cubicBezTo>
                  <a:pt x="22" y="119"/>
                  <a:pt x="22" y="119"/>
                  <a:pt x="22" y="119"/>
                </a:cubicBezTo>
                <a:cubicBezTo>
                  <a:pt x="23" y="120"/>
                  <a:pt x="23" y="120"/>
                  <a:pt x="23" y="120"/>
                </a:cubicBezTo>
                <a:cubicBezTo>
                  <a:pt x="23" y="120"/>
                  <a:pt x="23" y="120"/>
                  <a:pt x="23" y="120"/>
                </a:cubicBezTo>
                <a:cubicBezTo>
                  <a:pt x="25" y="120"/>
                  <a:pt x="25" y="120"/>
                  <a:pt x="25" y="120"/>
                </a:cubicBezTo>
                <a:cubicBezTo>
                  <a:pt x="26" y="120"/>
                  <a:pt x="27" y="121"/>
                  <a:pt x="27" y="121"/>
                </a:cubicBezTo>
                <a:cubicBezTo>
                  <a:pt x="29" y="123"/>
                  <a:pt x="29" y="123"/>
                  <a:pt x="29" y="123"/>
                </a:cubicBezTo>
                <a:cubicBezTo>
                  <a:pt x="29" y="124"/>
                  <a:pt x="29" y="124"/>
                  <a:pt x="29" y="124"/>
                </a:cubicBezTo>
                <a:cubicBezTo>
                  <a:pt x="29" y="125"/>
                  <a:pt x="29" y="125"/>
                  <a:pt x="29" y="125"/>
                </a:cubicBezTo>
                <a:cubicBezTo>
                  <a:pt x="30" y="126"/>
                  <a:pt x="30" y="126"/>
                  <a:pt x="30" y="126"/>
                </a:cubicBezTo>
                <a:cubicBezTo>
                  <a:pt x="31" y="126"/>
                  <a:pt x="31" y="127"/>
                  <a:pt x="31" y="127"/>
                </a:cubicBezTo>
                <a:cubicBezTo>
                  <a:pt x="31" y="129"/>
                  <a:pt x="31" y="129"/>
                  <a:pt x="31" y="129"/>
                </a:cubicBezTo>
                <a:cubicBezTo>
                  <a:pt x="33" y="129"/>
                  <a:pt x="33" y="129"/>
                  <a:pt x="33" y="129"/>
                </a:cubicBezTo>
                <a:cubicBezTo>
                  <a:pt x="34" y="129"/>
                  <a:pt x="34" y="129"/>
                  <a:pt x="35" y="130"/>
                </a:cubicBezTo>
                <a:cubicBezTo>
                  <a:pt x="36" y="133"/>
                  <a:pt x="36" y="133"/>
                  <a:pt x="36" y="133"/>
                </a:cubicBezTo>
                <a:cubicBezTo>
                  <a:pt x="36" y="133"/>
                  <a:pt x="37" y="133"/>
                  <a:pt x="37" y="134"/>
                </a:cubicBezTo>
                <a:cubicBezTo>
                  <a:pt x="37" y="139"/>
                  <a:pt x="37" y="139"/>
                  <a:pt x="37" y="139"/>
                </a:cubicBezTo>
                <a:cubicBezTo>
                  <a:pt x="38" y="140"/>
                  <a:pt x="38" y="140"/>
                  <a:pt x="38" y="140"/>
                </a:cubicBezTo>
                <a:cubicBezTo>
                  <a:pt x="38" y="141"/>
                  <a:pt x="38" y="141"/>
                  <a:pt x="38" y="142"/>
                </a:cubicBezTo>
                <a:cubicBezTo>
                  <a:pt x="38" y="143"/>
                  <a:pt x="38" y="143"/>
                  <a:pt x="38" y="143"/>
                </a:cubicBezTo>
                <a:cubicBezTo>
                  <a:pt x="39" y="143"/>
                  <a:pt x="40" y="144"/>
                  <a:pt x="40" y="145"/>
                </a:cubicBezTo>
                <a:cubicBezTo>
                  <a:pt x="40" y="148"/>
                  <a:pt x="40" y="148"/>
                  <a:pt x="40" y="148"/>
                </a:cubicBezTo>
                <a:cubicBezTo>
                  <a:pt x="41" y="148"/>
                  <a:pt x="41" y="148"/>
                  <a:pt x="41" y="148"/>
                </a:cubicBezTo>
                <a:cubicBezTo>
                  <a:pt x="42" y="148"/>
                  <a:pt x="42" y="148"/>
                  <a:pt x="42" y="148"/>
                </a:cubicBezTo>
                <a:cubicBezTo>
                  <a:pt x="42" y="148"/>
                  <a:pt x="43" y="148"/>
                  <a:pt x="43" y="149"/>
                </a:cubicBezTo>
                <a:cubicBezTo>
                  <a:pt x="46" y="153"/>
                  <a:pt x="46" y="153"/>
                  <a:pt x="46" y="153"/>
                </a:cubicBezTo>
                <a:cubicBezTo>
                  <a:pt x="47" y="153"/>
                  <a:pt x="47" y="153"/>
                  <a:pt x="47" y="153"/>
                </a:cubicBezTo>
                <a:cubicBezTo>
                  <a:pt x="48" y="153"/>
                  <a:pt x="48" y="153"/>
                  <a:pt x="48" y="153"/>
                </a:cubicBezTo>
                <a:cubicBezTo>
                  <a:pt x="50" y="154"/>
                  <a:pt x="50" y="154"/>
                  <a:pt x="50" y="154"/>
                </a:cubicBezTo>
                <a:cubicBezTo>
                  <a:pt x="52" y="154"/>
                  <a:pt x="52" y="154"/>
                  <a:pt x="52" y="154"/>
                </a:cubicBezTo>
                <a:cubicBezTo>
                  <a:pt x="52" y="152"/>
                  <a:pt x="52" y="152"/>
                  <a:pt x="52" y="152"/>
                </a:cubicBezTo>
                <a:cubicBezTo>
                  <a:pt x="52" y="151"/>
                  <a:pt x="52" y="151"/>
                  <a:pt x="52" y="151"/>
                </a:cubicBezTo>
                <a:cubicBezTo>
                  <a:pt x="52" y="150"/>
                  <a:pt x="51" y="149"/>
                  <a:pt x="52" y="148"/>
                </a:cubicBezTo>
                <a:cubicBezTo>
                  <a:pt x="52" y="148"/>
                  <a:pt x="52" y="148"/>
                  <a:pt x="52" y="148"/>
                </a:cubicBezTo>
                <a:cubicBezTo>
                  <a:pt x="52" y="147"/>
                  <a:pt x="52" y="147"/>
                  <a:pt x="52" y="147"/>
                </a:cubicBezTo>
                <a:cubicBezTo>
                  <a:pt x="52" y="146"/>
                  <a:pt x="53" y="145"/>
                  <a:pt x="53" y="144"/>
                </a:cubicBezTo>
                <a:cubicBezTo>
                  <a:pt x="53" y="143"/>
                  <a:pt x="54" y="141"/>
                  <a:pt x="55" y="141"/>
                </a:cubicBezTo>
                <a:cubicBezTo>
                  <a:pt x="56" y="139"/>
                  <a:pt x="57" y="138"/>
                  <a:pt x="58" y="137"/>
                </a:cubicBezTo>
                <a:cubicBezTo>
                  <a:pt x="58" y="136"/>
                  <a:pt x="58" y="136"/>
                  <a:pt x="58" y="136"/>
                </a:cubicBezTo>
                <a:cubicBezTo>
                  <a:pt x="59" y="135"/>
                  <a:pt x="60" y="134"/>
                  <a:pt x="61" y="134"/>
                </a:cubicBezTo>
                <a:cubicBezTo>
                  <a:pt x="61" y="134"/>
                  <a:pt x="61" y="133"/>
                  <a:pt x="62" y="133"/>
                </a:cubicBezTo>
                <a:cubicBezTo>
                  <a:pt x="62" y="132"/>
                  <a:pt x="62" y="132"/>
                  <a:pt x="62" y="132"/>
                </a:cubicBezTo>
                <a:cubicBezTo>
                  <a:pt x="62" y="131"/>
                  <a:pt x="62" y="131"/>
                  <a:pt x="63" y="130"/>
                </a:cubicBezTo>
                <a:cubicBezTo>
                  <a:pt x="65" y="129"/>
                  <a:pt x="65" y="129"/>
                  <a:pt x="65" y="129"/>
                </a:cubicBezTo>
                <a:cubicBezTo>
                  <a:pt x="66" y="128"/>
                  <a:pt x="67" y="128"/>
                  <a:pt x="68" y="129"/>
                </a:cubicBezTo>
                <a:cubicBezTo>
                  <a:pt x="70" y="131"/>
                  <a:pt x="70" y="131"/>
                  <a:pt x="70" y="131"/>
                </a:cubicBezTo>
                <a:cubicBezTo>
                  <a:pt x="70" y="132"/>
                  <a:pt x="70" y="132"/>
                  <a:pt x="70" y="133"/>
                </a:cubicBezTo>
                <a:cubicBezTo>
                  <a:pt x="70" y="146"/>
                  <a:pt x="70" y="146"/>
                  <a:pt x="70" y="146"/>
                </a:cubicBezTo>
                <a:cubicBezTo>
                  <a:pt x="71" y="146"/>
                  <a:pt x="71" y="146"/>
                  <a:pt x="71" y="146"/>
                </a:cubicBezTo>
                <a:cubicBezTo>
                  <a:pt x="74" y="148"/>
                  <a:pt x="74" y="148"/>
                  <a:pt x="74" y="148"/>
                </a:cubicBezTo>
                <a:cubicBezTo>
                  <a:pt x="75" y="148"/>
                  <a:pt x="75" y="149"/>
                  <a:pt x="75" y="149"/>
                </a:cubicBezTo>
                <a:cubicBezTo>
                  <a:pt x="75" y="152"/>
                  <a:pt x="75" y="152"/>
                  <a:pt x="75" y="152"/>
                </a:cubicBezTo>
                <a:cubicBezTo>
                  <a:pt x="76" y="153"/>
                  <a:pt x="76" y="153"/>
                  <a:pt x="76" y="153"/>
                </a:cubicBezTo>
                <a:cubicBezTo>
                  <a:pt x="77" y="153"/>
                  <a:pt x="78" y="154"/>
                  <a:pt x="78" y="154"/>
                </a:cubicBezTo>
                <a:cubicBezTo>
                  <a:pt x="78" y="154"/>
                  <a:pt x="78" y="154"/>
                  <a:pt x="78" y="154"/>
                </a:cubicBezTo>
                <a:cubicBezTo>
                  <a:pt x="79" y="156"/>
                  <a:pt x="79" y="156"/>
                  <a:pt x="79" y="156"/>
                </a:cubicBezTo>
                <a:cubicBezTo>
                  <a:pt x="80" y="156"/>
                  <a:pt x="80" y="157"/>
                  <a:pt x="80" y="157"/>
                </a:cubicBezTo>
                <a:cubicBezTo>
                  <a:pt x="84" y="157"/>
                  <a:pt x="84" y="157"/>
                  <a:pt x="84" y="157"/>
                </a:cubicBezTo>
                <a:cubicBezTo>
                  <a:pt x="85" y="157"/>
                  <a:pt x="86" y="158"/>
                  <a:pt x="86" y="159"/>
                </a:cubicBezTo>
                <a:cubicBezTo>
                  <a:pt x="87" y="159"/>
                  <a:pt x="87" y="159"/>
                  <a:pt x="87" y="159"/>
                </a:cubicBezTo>
                <a:cubicBezTo>
                  <a:pt x="88" y="159"/>
                  <a:pt x="88" y="159"/>
                  <a:pt x="88" y="159"/>
                </a:cubicBezTo>
                <a:cubicBezTo>
                  <a:pt x="90" y="161"/>
                  <a:pt x="90" y="161"/>
                  <a:pt x="90" y="161"/>
                </a:cubicBezTo>
                <a:cubicBezTo>
                  <a:pt x="94" y="161"/>
                  <a:pt x="94" y="161"/>
                  <a:pt x="94" y="161"/>
                </a:cubicBezTo>
                <a:cubicBezTo>
                  <a:pt x="95" y="161"/>
                  <a:pt x="95" y="161"/>
                  <a:pt x="95" y="161"/>
                </a:cubicBezTo>
                <a:cubicBezTo>
                  <a:pt x="97" y="160"/>
                  <a:pt x="98" y="159"/>
                  <a:pt x="100" y="159"/>
                </a:cubicBezTo>
                <a:cubicBezTo>
                  <a:pt x="101" y="160"/>
                  <a:pt x="103" y="160"/>
                  <a:pt x="103" y="160"/>
                </a:cubicBezTo>
                <a:cubicBezTo>
                  <a:pt x="104" y="160"/>
                  <a:pt x="104" y="160"/>
                  <a:pt x="104" y="160"/>
                </a:cubicBezTo>
                <a:cubicBezTo>
                  <a:pt x="107" y="162"/>
                  <a:pt x="107" y="162"/>
                  <a:pt x="107" y="162"/>
                </a:cubicBezTo>
                <a:cubicBezTo>
                  <a:pt x="108" y="162"/>
                  <a:pt x="108" y="162"/>
                  <a:pt x="109" y="162"/>
                </a:cubicBezTo>
                <a:cubicBezTo>
                  <a:pt x="110" y="161"/>
                  <a:pt x="112" y="161"/>
                  <a:pt x="113" y="162"/>
                </a:cubicBezTo>
                <a:cubicBezTo>
                  <a:pt x="120" y="162"/>
                  <a:pt x="120" y="162"/>
                  <a:pt x="120" y="162"/>
                </a:cubicBezTo>
                <a:cubicBezTo>
                  <a:pt x="120" y="162"/>
                  <a:pt x="121" y="162"/>
                  <a:pt x="121" y="163"/>
                </a:cubicBezTo>
                <a:cubicBezTo>
                  <a:pt x="122" y="163"/>
                  <a:pt x="122" y="163"/>
                  <a:pt x="123" y="164"/>
                </a:cubicBezTo>
                <a:cubicBezTo>
                  <a:pt x="124" y="165"/>
                  <a:pt x="124" y="165"/>
                  <a:pt x="124" y="165"/>
                </a:cubicBezTo>
                <a:cubicBezTo>
                  <a:pt x="125" y="164"/>
                  <a:pt x="127" y="164"/>
                  <a:pt x="128" y="165"/>
                </a:cubicBezTo>
                <a:cubicBezTo>
                  <a:pt x="128" y="166"/>
                  <a:pt x="129" y="166"/>
                  <a:pt x="129" y="167"/>
                </a:cubicBezTo>
                <a:cubicBezTo>
                  <a:pt x="131" y="167"/>
                  <a:pt x="131" y="167"/>
                  <a:pt x="131" y="167"/>
                </a:cubicBezTo>
                <a:cubicBezTo>
                  <a:pt x="131" y="167"/>
                  <a:pt x="132" y="167"/>
                  <a:pt x="132" y="168"/>
                </a:cubicBezTo>
                <a:cubicBezTo>
                  <a:pt x="134" y="169"/>
                  <a:pt x="134" y="169"/>
                  <a:pt x="134" y="169"/>
                </a:cubicBezTo>
                <a:cubicBezTo>
                  <a:pt x="134" y="170"/>
                  <a:pt x="134" y="170"/>
                  <a:pt x="134" y="171"/>
                </a:cubicBezTo>
                <a:cubicBezTo>
                  <a:pt x="134" y="171"/>
                  <a:pt x="134" y="171"/>
                  <a:pt x="134" y="171"/>
                </a:cubicBezTo>
                <a:cubicBezTo>
                  <a:pt x="134" y="171"/>
                  <a:pt x="134" y="171"/>
                  <a:pt x="134" y="171"/>
                </a:cubicBezTo>
                <a:cubicBezTo>
                  <a:pt x="135" y="172"/>
                  <a:pt x="136" y="173"/>
                  <a:pt x="136" y="174"/>
                </a:cubicBezTo>
                <a:cubicBezTo>
                  <a:pt x="137" y="175"/>
                  <a:pt x="137" y="175"/>
                  <a:pt x="137" y="176"/>
                </a:cubicBezTo>
                <a:cubicBezTo>
                  <a:pt x="138" y="176"/>
                  <a:pt x="139" y="177"/>
                  <a:pt x="139" y="178"/>
                </a:cubicBezTo>
                <a:cubicBezTo>
                  <a:pt x="140" y="178"/>
                  <a:pt x="140" y="178"/>
                  <a:pt x="141" y="178"/>
                </a:cubicBezTo>
                <a:cubicBezTo>
                  <a:pt x="143" y="180"/>
                  <a:pt x="143" y="180"/>
                  <a:pt x="143" y="180"/>
                </a:cubicBezTo>
                <a:cubicBezTo>
                  <a:pt x="144" y="180"/>
                  <a:pt x="144" y="181"/>
                  <a:pt x="144" y="182"/>
                </a:cubicBezTo>
                <a:cubicBezTo>
                  <a:pt x="144" y="184"/>
                  <a:pt x="144" y="184"/>
                  <a:pt x="144" y="184"/>
                </a:cubicBezTo>
                <a:cubicBezTo>
                  <a:pt x="146" y="185"/>
                  <a:pt x="146" y="185"/>
                  <a:pt x="146" y="185"/>
                </a:cubicBezTo>
                <a:cubicBezTo>
                  <a:pt x="146" y="185"/>
                  <a:pt x="147" y="186"/>
                  <a:pt x="148" y="187"/>
                </a:cubicBezTo>
                <a:cubicBezTo>
                  <a:pt x="149" y="188"/>
                  <a:pt x="149" y="188"/>
                  <a:pt x="149" y="188"/>
                </a:cubicBezTo>
                <a:cubicBezTo>
                  <a:pt x="151" y="188"/>
                  <a:pt x="151" y="188"/>
                  <a:pt x="151" y="188"/>
                </a:cubicBezTo>
                <a:cubicBezTo>
                  <a:pt x="152" y="188"/>
                  <a:pt x="153" y="188"/>
                  <a:pt x="153" y="189"/>
                </a:cubicBezTo>
                <a:cubicBezTo>
                  <a:pt x="156" y="189"/>
                  <a:pt x="156" y="189"/>
                  <a:pt x="156" y="189"/>
                </a:cubicBezTo>
                <a:cubicBezTo>
                  <a:pt x="157" y="189"/>
                  <a:pt x="159" y="189"/>
                  <a:pt x="160" y="189"/>
                </a:cubicBezTo>
                <a:cubicBezTo>
                  <a:pt x="161" y="188"/>
                  <a:pt x="163" y="189"/>
                  <a:pt x="163" y="190"/>
                </a:cubicBezTo>
                <a:cubicBezTo>
                  <a:pt x="163" y="191"/>
                  <a:pt x="163" y="191"/>
                  <a:pt x="163" y="191"/>
                </a:cubicBezTo>
                <a:cubicBezTo>
                  <a:pt x="163" y="191"/>
                  <a:pt x="163" y="191"/>
                  <a:pt x="163" y="191"/>
                </a:cubicBezTo>
                <a:cubicBezTo>
                  <a:pt x="175" y="191"/>
                  <a:pt x="175" y="191"/>
                  <a:pt x="175" y="191"/>
                </a:cubicBezTo>
                <a:cubicBezTo>
                  <a:pt x="182" y="190"/>
                  <a:pt x="182" y="190"/>
                  <a:pt x="182" y="190"/>
                </a:cubicBezTo>
                <a:cubicBezTo>
                  <a:pt x="185" y="186"/>
                  <a:pt x="185" y="186"/>
                  <a:pt x="185" y="186"/>
                </a:cubicBezTo>
                <a:cubicBezTo>
                  <a:pt x="188" y="182"/>
                  <a:pt x="188" y="182"/>
                  <a:pt x="188" y="182"/>
                </a:cubicBezTo>
                <a:cubicBezTo>
                  <a:pt x="189" y="181"/>
                  <a:pt x="189" y="181"/>
                  <a:pt x="189" y="181"/>
                </a:cubicBezTo>
                <a:cubicBezTo>
                  <a:pt x="189" y="180"/>
                  <a:pt x="189" y="180"/>
                  <a:pt x="189" y="180"/>
                </a:cubicBezTo>
                <a:cubicBezTo>
                  <a:pt x="189" y="178"/>
                  <a:pt x="189" y="178"/>
                  <a:pt x="189" y="178"/>
                </a:cubicBezTo>
                <a:cubicBezTo>
                  <a:pt x="189" y="177"/>
                  <a:pt x="189" y="177"/>
                  <a:pt x="189" y="177"/>
                </a:cubicBezTo>
                <a:cubicBezTo>
                  <a:pt x="199" y="159"/>
                  <a:pt x="199" y="159"/>
                  <a:pt x="199" y="159"/>
                </a:cubicBezTo>
                <a:cubicBezTo>
                  <a:pt x="221" y="139"/>
                  <a:pt x="221" y="139"/>
                  <a:pt x="221" y="139"/>
                </a:cubicBezTo>
                <a:cubicBezTo>
                  <a:pt x="229" y="131"/>
                  <a:pt x="229" y="131"/>
                  <a:pt x="229" y="131"/>
                </a:cubicBezTo>
                <a:cubicBezTo>
                  <a:pt x="244" y="119"/>
                  <a:pt x="244" y="119"/>
                  <a:pt x="244" y="119"/>
                </a:cubicBezTo>
                <a:cubicBezTo>
                  <a:pt x="248" y="115"/>
                  <a:pt x="248" y="115"/>
                  <a:pt x="248" y="115"/>
                </a:cubicBezTo>
                <a:cubicBezTo>
                  <a:pt x="248" y="116"/>
                  <a:pt x="248" y="116"/>
                  <a:pt x="248" y="116"/>
                </a:cubicBezTo>
                <a:cubicBezTo>
                  <a:pt x="247" y="116"/>
                  <a:pt x="247" y="116"/>
                  <a:pt x="247" y="116"/>
                </a:cubicBezTo>
                <a:cubicBezTo>
                  <a:pt x="245" y="112"/>
                  <a:pt x="245" y="112"/>
                  <a:pt x="245" y="112"/>
                </a:cubicBezTo>
                <a:cubicBezTo>
                  <a:pt x="245" y="112"/>
                  <a:pt x="245" y="112"/>
                  <a:pt x="245" y="111"/>
                </a:cubicBezTo>
                <a:cubicBezTo>
                  <a:pt x="245" y="111"/>
                  <a:pt x="245" y="111"/>
                  <a:pt x="245" y="111"/>
                </a:cubicBezTo>
                <a:cubicBezTo>
                  <a:pt x="243" y="110"/>
                  <a:pt x="243" y="110"/>
                  <a:pt x="243" y="110"/>
                </a:cubicBezTo>
                <a:cubicBezTo>
                  <a:pt x="242" y="109"/>
                  <a:pt x="242" y="109"/>
                  <a:pt x="242" y="108"/>
                </a:cubicBezTo>
                <a:cubicBezTo>
                  <a:pt x="242" y="106"/>
                  <a:pt x="242" y="106"/>
                  <a:pt x="242" y="106"/>
                </a:cubicBezTo>
                <a:cubicBezTo>
                  <a:pt x="241" y="106"/>
                  <a:pt x="240" y="106"/>
                  <a:pt x="240" y="105"/>
                </a:cubicBezTo>
                <a:cubicBezTo>
                  <a:pt x="239" y="105"/>
                  <a:pt x="238" y="104"/>
                  <a:pt x="238" y="104"/>
                </a:cubicBezTo>
                <a:cubicBezTo>
                  <a:pt x="236" y="104"/>
                  <a:pt x="236" y="104"/>
                  <a:pt x="236" y="104"/>
                </a:cubicBezTo>
                <a:cubicBezTo>
                  <a:pt x="235" y="104"/>
                  <a:pt x="235" y="103"/>
                  <a:pt x="234" y="103"/>
                </a:cubicBezTo>
                <a:cubicBezTo>
                  <a:pt x="231" y="100"/>
                  <a:pt x="231" y="100"/>
                  <a:pt x="231" y="100"/>
                </a:cubicBezTo>
                <a:cubicBezTo>
                  <a:pt x="231" y="100"/>
                  <a:pt x="231" y="100"/>
                  <a:pt x="231" y="100"/>
                </a:cubicBezTo>
                <a:cubicBezTo>
                  <a:pt x="229" y="101"/>
                  <a:pt x="229" y="101"/>
                  <a:pt x="229" y="101"/>
                </a:cubicBezTo>
                <a:cubicBezTo>
                  <a:pt x="227" y="102"/>
                  <a:pt x="226" y="102"/>
                  <a:pt x="225" y="101"/>
                </a:cubicBezTo>
                <a:cubicBezTo>
                  <a:pt x="221" y="101"/>
                  <a:pt x="221" y="101"/>
                  <a:pt x="221" y="101"/>
                </a:cubicBezTo>
                <a:cubicBezTo>
                  <a:pt x="220" y="101"/>
                  <a:pt x="220" y="101"/>
                  <a:pt x="219" y="101"/>
                </a:cubicBezTo>
                <a:cubicBezTo>
                  <a:pt x="216" y="98"/>
                  <a:pt x="216" y="98"/>
                  <a:pt x="216" y="98"/>
                </a:cubicBezTo>
                <a:cubicBezTo>
                  <a:pt x="215" y="98"/>
                  <a:pt x="215" y="97"/>
                  <a:pt x="215" y="96"/>
                </a:cubicBezTo>
                <a:cubicBezTo>
                  <a:pt x="215" y="93"/>
                  <a:pt x="215" y="93"/>
                  <a:pt x="215" y="93"/>
                </a:cubicBezTo>
                <a:cubicBezTo>
                  <a:pt x="216" y="92"/>
                  <a:pt x="216" y="92"/>
                  <a:pt x="216" y="92"/>
                </a:cubicBezTo>
                <a:cubicBezTo>
                  <a:pt x="216" y="91"/>
                  <a:pt x="216" y="90"/>
                  <a:pt x="216" y="90"/>
                </a:cubicBezTo>
                <a:cubicBezTo>
                  <a:pt x="216" y="78"/>
                  <a:pt x="216" y="78"/>
                  <a:pt x="216" y="78"/>
                </a:cubicBezTo>
                <a:cubicBezTo>
                  <a:pt x="215" y="77"/>
                  <a:pt x="215" y="77"/>
                  <a:pt x="215" y="77"/>
                </a:cubicBezTo>
                <a:cubicBezTo>
                  <a:pt x="214" y="77"/>
                  <a:pt x="214" y="77"/>
                  <a:pt x="214" y="77"/>
                </a:cubicBezTo>
                <a:cubicBezTo>
                  <a:pt x="213" y="77"/>
                  <a:pt x="212" y="76"/>
                  <a:pt x="212" y="75"/>
                </a:cubicBezTo>
                <a:cubicBezTo>
                  <a:pt x="212" y="74"/>
                  <a:pt x="212" y="74"/>
                  <a:pt x="212" y="74"/>
                </a:cubicBezTo>
                <a:cubicBezTo>
                  <a:pt x="210" y="74"/>
                  <a:pt x="210" y="74"/>
                  <a:pt x="210" y="74"/>
                </a:cubicBezTo>
                <a:cubicBezTo>
                  <a:pt x="210" y="73"/>
                  <a:pt x="210" y="73"/>
                  <a:pt x="210" y="73"/>
                </a:cubicBezTo>
                <a:cubicBezTo>
                  <a:pt x="208" y="72"/>
                  <a:pt x="208" y="72"/>
                  <a:pt x="208" y="72"/>
                </a:cubicBezTo>
                <a:cubicBezTo>
                  <a:pt x="208" y="71"/>
                  <a:pt x="207" y="71"/>
                  <a:pt x="207" y="70"/>
                </a:cubicBezTo>
                <a:cubicBezTo>
                  <a:pt x="207" y="67"/>
                  <a:pt x="207" y="67"/>
                  <a:pt x="207" y="67"/>
                </a:cubicBezTo>
                <a:cubicBezTo>
                  <a:pt x="207" y="67"/>
                  <a:pt x="208" y="66"/>
                  <a:pt x="209" y="66"/>
                </a:cubicBezTo>
                <a:cubicBezTo>
                  <a:pt x="210" y="65"/>
                  <a:pt x="210" y="65"/>
                  <a:pt x="210" y="65"/>
                </a:cubicBezTo>
                <a:cubicBezTo>
                  <a:pt x="211" y="65"/>
                  <a:pt x="211" y="65"/>
                  <a:pt x="211" y="65"/>
                </a:cubicBezTo>
                <a:cubicBezTo>
                  <a:pt x="211" y="65"/>
                  <a:pt x="211" y="65"/>
                  <a:pt x="211" y="65"/>
                </a:cubicBezTo>
                <a:cubicBezTo>
                  <a:pt x="211" y="64"/>
                  <a:pt x="212" y="63"/>
                  <a:pt x="212" y="63"/>
                </a:cubicBezTo>
                <a:cubicBezTo>
                  <a:pt x="212" y="63"/>
                  <a:pt x="212" y="62"/>
                  <a:pt x="212" y="61"/>
                </a:cubicBezTo>
                <a:cubicBezTo>
                  <a:pt x="211" y="60"/>
                  <a:pt x="211" y="60"/>
                  <a:pt x="211" y="60"/>
                </a:cubicBezTo>
                <a:cubicBezTo>
                  <a:pt x="211" y="53"/>
                  <a:pt x="211" y="53"/>
                  <a:pt x="211" y="53"/>
                </a:cubicBezTo>
                <a:cubicBezTo>
                  <a:pt x="211" y="52"/>
                  <a:pt x="211" y="52"/>
                  <a:pt x="212" y="51"/>
                </a:cubicBezTo>
                <a:cubicBezTo>
                  <a:pt x="214" y="48"/>
                  <a:pt x="214" y="48"/>
                  <a:pt x="214" y="48"/>
                </a:cubicBezTo>
                <a:cubicBezTo>
                  <a:pt x="213" y="48"/>
                  <a:pt x="213" y="47"/>
                  <a:pt x="214" y="47"/>
                </a:cubicBezTo>
                <a:cubicBezTo>
                  <a:pt x="214" y="46"/>
                  <a:pt x="214" y="46"/>
                  <a:pt x="216" y="45"/>
                </a:cubicBezTo>
                <a:cubicBezTo>
                  <a:pt x="216" y="41"/>
                  <a:pt x="216" y="41"/>
                  <a:pt x="216" y="41"/>
                </a:cubicBezTo>
                <a:cubicBezTo>
                  <a:pt x="215" y="40"/>
                  <a:pt x="215" y="40"/>
                  <a:pt x="215" y="40"/>
                </a:cubicBezTo>
                <a:cubicBezTo>
                  <a:pt x="215" y="39"/>
                  <a:pt x="215" y="39"/>
                  <a:pt x="215" y="39"/>
                </a:cubicBezTo>
                <a:cubicBezTo>
                  <a:pt x="214" y="39"/>
                  <a:pt x="213" y="38"/>
                  <a:pt x="213" y="37"/>
                </a:cubicBezTo>
                <a:cubicBezTo>
                  <a:pt x="213" y="32"/>
                  <a:pt x="213" y="32"/>
                  <a:pt x="213" y="32"/>
                </a:cubicBezTo>
                <a:cubicBezTo>
                  <a:pt x="213" y="31"/>
                  <a:pt x="214" y="30"/>
                  <a:pt x="215" y="30"/>
                </a:cubicBezTo>
                <a:cubicBezTo>
                  <a:pt x="215" y="22"/>
                  <a:pt x="215" y="22"/>
                  <a:pt x="215" y="22"/>
                </a:cubicBezTo>
                <a:cubicBezTo>
                  <a:pt x="214" y="22"/>
                  <a:pt x="214" y="22"/>
                  <a:pt x="214" y="22"/>
                </a:cubicBezTo>
                <a:cubicBezTo>
                  <a:pt x="214" y="22"/>
                  <a:pt x="213" y="21"/>
                  <a:pt x="212" y="20"/>
                </a:cubicBezTo>
                <a:cubicBezTo>
                  <a:pt x="211" y="17"/>
                  <a:pt x="211" y="17"/>
                  <a:pt x="211" y="17"/>
                </a:cubicBezTo>
                <a:cubicBezTo>
                  <a:pt x="211" y="17"/>
                  <a:pt x="211" y="17"/>
                  <a:pt x="211" y="16"/>
                </a:cubicBezTo>
                <a:cubicBezTo>
                  <a:pt x="211" y="14"/>
                  <a:pt x="211" y="14"/>
                  <a:pt x="211" y="14"/>
                </a:cubicBezTo>
                <a:cubicBezTo>
                  <a:pt x="211" y="13"/>
                  <a:pt x="212" y="12"/>
                  <a:pt x="212" y="12"/>
                </a:cubicBezTo>
                <a:cubicBezTo>
                  <a:pt x="213" y="9"/>
                  <a:pt x="213" y="9"/>
                  <a:pt x="213" y="9"/>
                </a:cubicBezTo>
                <a:cubicBezTo>
                  <a:pt x="213" y="8"/>
                  <a:pt x="213" y="8"/>
                  <a:pt x="213" y="8"/>
                </a:cubicBezTo>
                <a:lnTo>
                  <a:pt x="200" y="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Freeform 59">
            <a:extLst>
              <a:ext uri="{FF2B5EF4-FFF2-40B4-BE49-F238E27FC236}">
                <a16:creationId xmlns:a16="http://schemas.microsoft.com/office/drawing/2014/main" id="{6BE55FA6-297C-4B51-ABF4-81184F43C5F7}"/>
              </a:ext>
            </a:extLst>
          </p:cNvPr>
          <p:cNvSpPr>
            <a:spLocks noEditPoints="1"/>
          </p:cNvSpPr>
          <p:nvPr/>
        </p:nvSpPr>
        <p:spPr bwMode="auto">
          <a:xfrm>
            <a:off x="4801144" y="764704"/>
            <a:ext cx="440267" cy="706438"/>
          </a:xfrm>
          <a:custGeom>
            <a:avLst/>
            <a:gdLst>
              <a:gd name="T0" fmla="*/ 95 w 182"/>
              <a:gd name="T1" fmla="*/ 143 h 317"/>
              <a:gd name="T2" fmla="*/ 86 w 182"/>
              <a:gd name="T3" fmla="*/ 150 h 317"/>
              <a:gd name="T4" fmla="*/ 86 w 182"/>
              <a:gd name="T5" fmla="*/ 158 h 317"/>
              <a:gd name="T6" fmla="*/ 78 w 182"/>
              <a:gd name="T7" fmla="*/ 152 h 317"/>
              <a:gd name="T8" fmla="*/ 76 w 182"/>
              <a:gd name="T9" fmla="*/ 135 h 317"/>
              <a:gd name="T10" fmla="*/ 57 w 182"/>
              <a:gd name="T11" fmla="*/ 123 h 317"/>
              <a:gd name="T12" fmla="*/ 65 w 182"/>
              <a:gd name="T13" fmla="*/ 160 h 317"/>
              <a:gd name="T14" fmla="*/ 100 w 182"/>
              <a:gd name="T15" fmla="*/ 148 h 317"/>
              <a:gd name="T16" fmla="*/ 116 w 182"/>
              <a:gd name="T17" fmla="*/ 170 h 317"/>
              <a:gd name="T18" fmla="*/ 114 w 182"/>
              <a:gd name="T19" fmla="*/ 160 h 317"/>
              <a:gd name="T20" fmla="*/ 121 w 182"/>
              <a:gd name="T21" fmla="*/ 148 h 317"/>
              <a:gd name="T22" fmla="*/ 100 w 182"/>
              <a:gd name="T23" fmla="*/ 100 h 317"/>
              <a:gd name="T24" fmla="*/ 87 w 182"/>
              <a:gd name="T25" fmla="*/ 104 h 317"/>
              <a:gd name="T26" fmla="*/ 93 w 182"/>
              <a:gd name="T27" fmla="*/ 73 h 317"/>
              <a:gd name="T28" fmla="*/ 55 w 182"/>
              <a:gd name="T29" fmla="*/ 101 h 317"/>
              <a:gd name="T30" fmla="*/ 79 w 182"/>
              <a:gd name="T31" fmla="*/ 126 h 317"/>
              <a:gd name="T32" fmla="*/ 115 w 182"/>
              <a:gd name="T33" fmla="*/ 130 h 317"/>
              <a:gd name="T34" fmla="*/ 136 w 182"/>
              <a:gd name="T35" fmla="*/ 111 h 317"/>
              <a:gd name="T36" fmla="*/ 100 w 182"/>
              <a:gd name="T37" fmla="*/ 72 h 317"/>
              <a:gd name="T38" fmla="*/ 108 w 182"/>
              <a:gd name="T39" fmla="*/ 59 h 317"/>
              <a:gd name="T40" fmla="*/ 86 w 182"/>
              <a:gd name="T41" fmla="*/ 60 h 317"/>
              <a:gd name="T42" fmla="*/ 136 w 182"/>
              <a:gd name="T43" fmla="*/ 64 h 317"/>
              <a:gd name="T44" fmla="*/ 135 w 182"/>
              <a:gd name="T45" fmla="*/ 50 h 317"/>
              <a:gd name="T46" fmla="*/ 131 w 182"/>
              <a:gd name="T47" fmla="*/ 39 h 317"/>
              <a:gd name="T48" fmla="*/ 156 w 182"/>
              <a:gd name="T49" fmla="*/ 65 h 317"/>
              <a:gd name="T50" fmla="*/ 144 w 182"/>
              <a:gd name="T51" fmla="*/ 82 h 317"/>
              <a:gd name="T52" fmla="*/ 158 w 182"/>
              <a:gd name="T53" fmla="*/ 66 h 317"/>
              <a:gd name="T54" fmla="*/ 160 w 182"/>
              <a:gd name="T55" fmla="*/ 27 h 317"/>
              <a:gd name="T56" fmla="*/ 142 w 182"/>
              <a:gd name="T57" fmla="*/ 54 h 317"/>
              <a:gd name="T58" fmla="*/ 179 w 182"/>
              <a:gd name="T59" fmla="*/ 30 h 317"/>
              <a:gd name="T60" fmla="*/ 174 w 182"/>
              <a:gd name="T61" fmla="*/ 4 h 317"/>
              <a:gd name="T62" fmla="*/ 178 w 182"/>
              <a:gd name="T63" fmla="*/ 9 h 317"/>
              <a:gd name="T64" fmla="*/ 182 w 182"/>
              <a:gd name="T65" fmla="*/ 3 h 317"/>
              <a:gd name="T66" fmla="*/ 123 w 182"/>
              <a:gd name="T67" fmla="*/ 38 h 317"/>
              <a:gd name="T68" fmla="*/ 102 w 182"/>
              <a:gd name="T69" fmla="*/ 22 h 317"/>
              <a:gd name="T70" fmla="*/ 106 w 182"/>
              <a:gd name="T71" fmla="*/ 13 h 317"/>
              <a:gd name="T72" fmla="*/ 113 w 182"/>
              <a:gd name="T73" fmla="*/ 21 h 317"/>
              <a:gd name="T74" fmla="*/ 117 w 182"/>
              <a:gd name="T75" fmla="*/ 9 h 317"/>
              <a:gd name="T76" fmla="*/ 112 w 182"/>
              <a:gd name="T77" fmla="*/ 14 h 317"/>
              <a:gd name="T78" fmla="*/ 112 w 182"/>
              <a:gd name="T79" fmla="*/ 94 h 317"/>
              <a:gd name="T80" fmla="*/ 128 w 182"/>
              <a:gd name="T81" fmla="*/ 82 h 317"/>
              <a:gd name="T82" fmla="*/ 113 w 182"/>
              <a:gd name="T83" fmla="*/ 62 h 317"/>
              <a:gd name="T84" fmla="*/ 111 w 182"/>
              <a:gd name="T85" fmla="*/ 71 h 317"/>
              <a:gd name="T86" fmla="*/ 101 w 182"/>
              <a:gd name="T87" fmla="*/ 235 h 317"/>
              <a:gd name="T88" fmla="*/ 88 w 182"/>
              <a:gd name="T89" fmla="*/ 231 h 317"/>
              <a:gd name="T90" fmla="*/ 95 w 182"/>
              <a:gd name="T91" fmla="*/ 218 h 317"/>
              <a:gd name="T92" fmla="*/ 60 w 182"/>
              <a:gd name="T93" fmla="*/ 201 h 317"/>
              <a:gd name="T94" fmla="*/ 31 w 182"/>
              <a:gd name="T95" fmla="*/ 200 h 317"/>
              <a:gd name="T96" fmla="*/ 5 w 182"/>
              <a:gd name="T97" fmla="*/ 218 h 317"/>
              <a:gd name="T98" fmla="*/ 6 w 182"/>
              <a:gd name="T99" fmla="*/ 238 h 317"/>
              <a:gd name="T100" fmla="*/ 8 w 182"/>
              <a:gd name="T101" fmla="*/ 253 h 317"/>
              <a:gd name="T102" fmla="*/ 5 w 182"/>
              <a:gd name="T103" fmla="*/ 269 h 317"/>
              <a:gd name="T104" fmla="*/ 0 w 182"/>
              <a:gd name="T105" fmla="*/ 273 h 317"/>
              <a:gd name="T106" fmla="*/ 9 w 182"/>
              <a:gd name="T107" fmla="*/ 281 h 317"/>
              <a:gd name="T108" fmla="*/ 10 w 182"/>
              <a:gd name="T109" fmla="*/ 301 h 317"/>
              <a:gd name="T110" fmla="*/ 25 w 182"/>
              <a:gd name="T111" fmla="*/ 304 h 317"/>
              <a:gd name="T112" fmla="*/ 38 w 182"/>
              <a:gd name="T113" fmla="*/ 313 h 317"/>
              <a:gd name="T114" fmla="*/ 50 w 182"/>
              <a:gd name="T115" fmla="*/ 300 h 317"/>
              <a:gd name="T116" fmla="*/ 81 w 182"/>
              <a:gd name="T117" fmla="*/ 279 h 317"/>
              <a:gd name="T118" fmla="*/ 103 w 182"/>
              <a:gd name="T119" fmla="*/ 235 h 3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82" h="317">
                <a:moveTo>
                  <a:pt x="88" y="151"/>
                </a:moveTo>
                <a:cubicBezTo>
                  <a:pt x="90" y="151"/>
                  <a:pt x="90" y="151"/>
                  <a:pt x="90" y="151"/>
                </a:cubicBezTo>
                <a:cubicBezTo>
                  <a:pt x="94" y="151"/>
                  <a:pt x="94" y="151"/>
                  <a:pt x="94" y="151"/>
                </a:cubicBezTo>
                <a:cubicBezTo>
                  <a:pt x="94" y="151"/>
                  <a:pt x="94" y="151"/>
                  <a:pt x="94" y="151"/>
                </a:cubicBezTo>
                <a:cubicBezTo>
                  <a:pt x="94" y="147"/>
                  <a:pt x="94" y="147"/>
                  <a:pt x="94" y="147"/>
                </a:cubicBezTo>
                <a:cubicBezTo>
                  <a:pt x="95" y="145"/>
                  <a:pt x="95" y="145"/>
                  <a:pt x="95" y="145"/>
                </a:cubicBezTo>
                <a:cubicBezTo>
                  <a:pt x="95" y="143"/>
                  <a:pt x="95" y="143"/>
                  <a:pt x="95" y="143"/>
                </a:cubicBezTo>
                <a:cubicBezTo>
                  <a:pt x="95" y="141"/>
                  <a:pt x="95" y="141"/>
                  <a:pt x="95" y="141"/>
                </a:cubicBezTo>
                <a:cubicBezTo>
                  <a:pt x="94" y="141"/>
                  <a:pt x="94" y="141"/>
                  <a:pt x="94" y="141"/>
                </a:cubicBezTo>
                <a:cubicBezTo>
                  <a:pt x="88" y="143"/>
                  <a:pt x="88" y="143"/>
                  <a:pt x="88" y="143"/>
                </a:cubicBezTo>
                <a:cubicBezTo>
                  <a:pt x="86" y="146"/>
                  <a:pt x="86" y="146"/>
                  <a:pt x="86" y="146"/>
                </a:cubicBezTo>
                <a:cubicBezTo>
                  <a:pt x="85" y="147"/>
                  <a:pt x="85" y="147"/>
                  <a:pt x="85" y="147"/>
                </a:cubicBezTo>
                <a:cubicBezTo>
                  <a:pt x="86" y="149"/>
                  <a:pt x="86" y="149"/>
                  <a:pt x="86" y="149"/>
                </a:cubicBezTo>
                <a:cubicBezTo>
                  <a:pt x="86" y="150"/>
                  <a:pt x="86" y="150"/>
                  <a:pt x="86" y="150"/>
                </a:cubicBezTo>
                <a:lnTo>
                  <a:pt x="88" y="151"/>
                </a:lnTo>
                <a:close/>
                <a:moveTo>
                  <a:pt x="65" y="160"/>
                </a:moveTo>
                <a:cubicBezTo>
                  <a:pt x="66" y="161"/>
                  <a:pt x="66" y="161"/>
                  <a:pt x="66" y="161"/>
                </a:cubicBezTo>
                <a:cubicBezTo>
                  <a:pt x="67" y="161"/>
                  <a:pt x="67" y="161"/>
                  <a:pt x="67" y="161"/>
                </a:cubicBezTo>
                <a:cubicBezTo>
                  <a:pt x="74" y="161"/>
                  <a:pt x="74" y="161"/>
                  <a:pt x="74" y="161"/>
                </a:cubicBezTo>
                <a:cubicBezTo>
                  <a:pt x="84" y="159"/>
                  <a:pt x="84" y="159"/>
                  <a:pt x="84" y="159"/>
                </a:cubicBezTo>
                <a:cubicBezTo>
                  <a:pt x="86" y="158"/>
                  <a:pt x="86" y="158"/>
                  <a:pt x="86" y="158"/>
                </a:cubicBezTo>
                <a:cubicBezTo>
                  <a:pt x="87" y="158"/>
                  <a:pt x="87" y="158"/>
                  <a:pt x="87" y="158"/>
                </a:cubicBezTo>
                <a:cubicBezTo>
                  <a:pt x="87" y="154"/>
                  <a:pt x="87" y="154"/>
                  <a:pt x="87" y="154"/>
                </a:cubicBezTo>
                <a:cubicBezTo>
                  <a:pt x="87" y="153"/>
                  <a:pt x="87" y="153"/>
                  <a:pt x="87" y="153"/>
                </a:cubicBezTo>
                <a:cubicBezTo>
                  <a:pt x="86" y="152"/>
                  <a:pt x="86" y="152"/>
                  <a:pt x="86" y="152"/>
                </a:cubicBezTo>
                <a:cubicBezTo>
                  <a:pt x="82" y="153"/>
                  <a:pt x="82" y="153"/>
                  <a:pt x="82" y="153"/>
                </a:cubicBezTo>
                <a:cubicBezTo>
                  <a:pt x="81" y="154"/>
                  <a:pt x="81" y="154"/>
                  <a:pt x="81" y="154"/>
                </a:cubicBezTo>
                <a:cubicBezTo>
                  <a:pt x="78" y="152"/>
                  <a:pt x="78" y="152"/>
                  <a:pt x="78" y="152"/>
                </a:cubicBezTo>
                <a:cubicBezTo>
                  <a:pt x="77" y="146"/>
                  <a:pt x="77" y="146"/>
                  <a:pt x="77" y="146"/>
                </a:cubicBezTo>
                <a:cubicBezTo>
                  <a:pt x="77" y="145"/>
                  <a:pt x="77" y="145"/>
                  <a:pt x="77" y="145"/>
                </a:cubicBezTo>
                <a:cubicBezTo>
                  <a:pt x="78" y="144"/>
                  <a:pt x="78" y="144"/>
                  <a:pt x="78" y="144"/>
                </a:cubicBezTo>
                <a:cubicBezTo>
                  <a:pt x="79" y="142"/>
                  <a:pt x="79" y="142"/>
                  <a:pt x="79" y="142"/>
                </a:cubicBezTo>
                <a:cubicBezTo>
                  <a:pt x="79" y="142"/>
                  <a:pt x="79" y="142"/>
                  <a:pt x="79" y="142"/>
                </a:cubicBezTo>
                <a:cubicBezTo>
                  <a:pt x="79" y="141"/>
                  <a:pt x="79" y="141"/>
                  <a:pt x="79" y="141"/>
                </a:cubicBezTo>
                <a:cubicBezTo>
                  <a:pt x="76" y="135"/>
                  <a:pt x="76" y="135"/>
                  <a:pt x="76" y="135"/>
                </a:cubicBezTo>
                <a:cubicBezTo>
                  <a:pt x="75" y="134"/>
                  <a:pt x="75" y="134"/>
                  <a:pt x="75" y="134"/>
                </a:cubicBezTo>
                <a:cubicBezTo>
                  <a:pt x="74" y="133"/>
                  <a:pt x="74" y="133"/>
                  <a:pt x="74" y="133"/>
                </a:cubicBezTo>
                <a:cubicBezTo>
                  <a:pt x="74" y="132"/>
                  <a:pt x="74" y="132"/>
                  <a:pt x="74" y="132"/>
                </a:cubicBezTo>
                <a:cubicBezTo>
                  <a:pt x="60" y="123"/>
                  <a:pt x="60" y="123"/>
                  <a:pt x="60" y="123"/>
                </a:cubicBezTo>
                <a:cubicBezTo>
                  <a:pt x="60" y="123"/>
                  <a:pt x="60" y="123"/>
                  <a:pt x="60" y="123"/>
                </a:cubicBezTo>
                <a:cubicBezTo>
                  <a:pt x="59" y="123"/>
                  <a:pt x="59" y="123"/>
                  <a:pt x="59" y="123"/>
                </a:cubicBezTo>
                <a:cubicBezTo>
                  <a:pt x="57" y="123"/>
                  <a:pt x="57" y="123"/>
                  <a:pt x="57" y="123"/>
                </a:cubicBezTo>
                <a:cubicBezTo>
                  <a:pt x="51" y="126"/>
                  <a:pt x="51" y="126"/>
                  <a:pt x="51" y="126"/>
                </a:cubicBezTo>
                <a:cubicBezTo>
                  <a:pt x="50" y="127"/>
                  <a:pt x="50" y="127"/>
                  <a:pt x="50" y="127"/>
                </a:cubicBezTo>
                <a:cubicBezTo>
                  <a:pt x="49" y="129"/>
                  <a:pt x="49" y="129"/>
                  <a:pt x="49" y="129"/>
                </a:cubicBezTo>
                <a:cubicBezTo>
                  <a:pt x="47" y="135"/>
                  <a:pt x="47" y="135"/>
                  <a:pt x="47" y="135"/>
                </a:cubicBezTo>
                <a:cubicBezTo>
                  <a:pt x="47" y="136"/>
                  <a:pt x="47" y="136"/>
                  <a:pt x="47" y="136"/>
                </a:cubicBezTo>
                <a:cubicBezTo>
                  <a:pt x="48" y="137"/>
                  <a:pt x="48" y="137"/>
                  <a:pt x="48" y="137"/>
                </a:cubicBezTo>
                <a:lnTo>
                  <a:pt x="65" y="160"/>
                </a:lnTo>
                <a:close/>
                <a:moveTo>
                  <a:pt x="119" y="145"/>
                </a:moveTo>
                <a:cubicBezTo>
                  <a:pt x="118" y="144"/>
                  <a:pt x="118" y="144"/>
                  <a:pt x="118" y="144"/>
                </a:cubicBezTo>
                <a:cubicBezTo>
                  <a:pt x="118" y="143"/>
                  <a:pt x="118" y="143"/>
                  <a:pt x="118" y="143"/>
                </a:cubicBezTo>
                <a:cubicBezTo>
                  <a:pt x="115" y="143"/>
                  <a:pt x="115" y="143"/>
                  <a:pt x="115" y="143"/>
                </a:cubicBezTo>
                <a:cubicBezTo>
                  <a:pt x="104" y="145"/>
                  <a:pt x="104" y="145"/>
                  <a:pt x="104" y="145"/>
                </a:cubicBezTo>
                <a:cubicBezTo>
                  <a:pt x="103" y="146"/>
                  <a:pt x="103" y="146"/>
                  <a:pt x="103" y="146"/>
                </a:cubicBezTo>
                <a:cubicBezTo>
                  <a:pt x="100" y="148"/>
                  <a:pt x="100" y="148"/>
                  <a:pt x="100" y="148"/>
                </a:cubicBezTo>
                <a:cubicBezTo>
                  <a:pt x="100" y="149"/>
                  <a:pt x="100" y="149"/>
                  <a:pt x="100" y="149"/>
                </a:cubicBezTo>
                <a:cubicBezTo>
                  <a:pt x="108" y="166"/>
                  <a:pt x="108" y="166"/>
                  <a:pt x="108" y="166"/>
                </a:cubicBezTo>
                <a:cubicBezTo>
                  <a:pt x="109" y="168"/>
                  <a:pt x="109" y="168"/>
                  <a:pt x="109" y="168"/>
                </a:cubicBezTo>
                <a:cubicBezTo>
                  <a:pt x="110" y="170"/>
                  <a:pt x="110" y="170"/>
                  <a:pt x="110" y="170"/>
                </a:cubicBezTo>
                <a:cubicBezTo>
                  <a:pt x="112" y="171"/>
                  <a:pt x="112" y="171"/>
                  <a:pt x="112" y="171"/>
                </a:cubicBezTo>
                <a:cubicBezTo>
                  <a:pt x="113" y="171"/>
                  <a:pt x="113" y="171"/>
                  <a:pt x="113" y="171"/>
                </a:cubicBezTo>
                <a:cubicBezTo>
                  <a:pt x="116" y="170"/>
                  <a:pt x="116" y="170"/>
                  <a:pt x="116" y="170"/>
                </a:cubicBezTo>
                <a:cubicBezTo>
                  <a:pt x="117" y="170"/>
                  <a:pt x="117" y="170"/>
                  <a:pt x="117" y="170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65"/>
                  <a:pt x="117" y="165"/>
                  <a:pt x="117" y="165"/>
                </a:cubicBezTo>
                <a:cubicBezTo>
                  <a:pt x="117" y="164"/>
                  <a:pt x="117" y="164"/>
                  <a:pt x="117" y="164"/>
                </a:cubicBezTo>
                <a:cubicBezTo>
                  <a:pt x="115" y="162"/>
                  <a:pt x="115" y="162"/>
                  <a:pt x="115" y="162"/>
                </a:cubicBezTo>
                <a:cubicBezTo>
                  <a:pt x="114" y="161"/>
                  <a:pt x="114" y="161"/>
                  <a:pt x="114" y="161"/>
                </a:cubicBezTo>
                <a:cubicBezTo>
                  <a:pt x="114" y="160"/>
                  <a:pt x="114" y="160"/>
                  <a:pt x="114" y="160"/>
                </a:cubicBezTo>
                <a:cubicBezTo>
                  <a:pt x="115" y="155"/>
                  <a:pt x="115" y="155"/>
                  <a:pt x="115" y="155"/>
                </a:cubicBezTo>
                <a:cubicBezTo>
                  <a:pt x="117" y="150"/>
                  <a:pt x="117" y="150"/>
                  <a:pt x="117" y="150"/>
                </a:cubicBezTo>
                <a:cubicBezTo>
                  <a:pt x="117" y="149"/>
                  <a:pt x="117" y="149"/>
                  <a:pt x="117" y="149"/>
                </a:cubicBezTo>
                <a:cubicBezTo>
                  <a:pt x="119" y="149"/>
                  <a:pt x="119" y="149"/>
                  <a:pt x="119" y="149"/>
                </a:cubicBezTo>
                <a:cubicBezTo>
                  <a:pt x="120" y="149"/>
                  <a:pt x="120" y="149"/>
                  <a:pt x="120" y="149"/>
                </a:cubicBezTo>
                <a:cubicBezTo>
                  <a:pt x="120" y="149"/>
                  <a:pt x="120" y="149"/>
                  <a:pt x="120" y="149"/>
                </a:cubicBezTo>
                <a:cubicBezTo>
                  <a:pt x="121" y="148"/>
                  <a:pt x="121" y="148"/>
                  <a:pt x="121" y="148"/>
                </a:cubicBezTo>
                <a:cubicBezTo>
                  <a:pt x="120" y="147"/>
                  <a:pt x="120" y="147"/>
                  <a:pt x="120" y="147"/>
                </a:cubicBezTo>
                <a:lnTo>
                  <a:pt x="119" y="145"/>
                </a:lnTo>
                <a:close/>
                <a:moveTo>
                  <a:pt x="136" y="111"/>
                </a:moveTo>
                <a:cubicBezTo>
                  <a:pt x="115" y="106"/>
                  <a:pt x="115" y="106"/>
                  <a:pt x="115" y="106"/>
                </a:cubicBezTo>
                <a:cubicBezTo>
                  <a:pt x="102" y="100"/>
                  <a:pt x="102" y="100"/>
                  <a:pt x="102" y="100"/>
                </a:cubicBezTo>
                <a:cubicBezTo>
                  <a:pt x="102" y="100"/>
                  <a:pt x="102" y="100"/>
                  <a:pt x="102" y="100"/>
                </a:cubicBezTo>
                <a:cubicBezTo>
                  <a:pt x="100" y="100"/>
                  <a:pt x="100" y="100"/>
                  <a:pt x="100" y="100"/>
                </a:cubicBezTo>
                <a:cubicBezTo>
                  <a:pt x="98" y="101"/>
                  <a:pt x="98" y="101"/>
                  <a:pt x="98" y="101"/>
                </a:cubicBezTo>
                <a:cubicBezTo>
                  <a:pt x="98" y="102"/>
                  <a:pt x="98" y="102"/>
                  <a:pt x="98" y="102"/>
                </a:cubicBezTo>
                <a:cubicBezTo>
                  <a:pt x="97" y="105"/>
                  <a:pt x="97" y="105"/>
                  <a:pt x="97" y="105"/>
                </a:cubicBezTo>
                <a:cubicBezTo>
                  <a:pt x="97" y="106"/>
                  <a:pt x="97" y="106"/>
                  <a:pt x="97" y="106"/>
                </a:cubicBezTo>
                <a:cubicBezTo>
                  <a:pt x="96" y="107"/>
                  <a:pt x="96" y="107"/>
                  <a:pt x="96" y="107"/>
                </a:cubicBezTo>
                <a:cubicBezTo>
                  <a:pt x="94" y="107"/>
                  <a:pt x="94" y="107"/>
                  <a:pt x="94" y="107"/>
                </a:cubicBezTo>
                <a:cubicBezTo>
                  <a:pt x="87" y="104"/>
                  <a:pt x="87" y="104"/>
                  <a:pt x="87" y="104"/>
                </a:cubicBezTo>
                <a:cubicBezTo>
                  <a:pt x="86" y="103"/>
                  <a:pt x="86" y="103"/>
                  <a:pt x="86" y="103"/>
                </a:cubicBezTo>
                <a:cubicBezTo>
                  <a:pt x="95" y="94"/>
                  <a:pt x="95" y="94"/>
                  <a:pt x="95" y="94"/>
                </a:cubicBezTo>
                <a:cubicBezTo>
                  <a:pt x="97" y="92"/>
                  <a:pt x="97" y="92"/>
                  <a:pt x="97" y="92"/>
                </a:cubicBezTo>
                <a:cubicBezTo>
                  <a:pt x="100" y="91"/>
                  <a:pt x="100" y="91"/>
                  <a:pt x="100" y="91"/>
                </a:cubicBezTo>
                <a:cubicBezTo>
                  <a:pt x="103" y="90"/>
                  <a:pt x="103" y="90"/>
                  <a:pt x="103" y="90"/>
                </a:cubicBezTo>
                <a:cubicBezTo>
                  <a:pt x="103" y="86"/>
                  <a:pt x="103" y="86"/>
                  <a:pt x="103" y="86"/>
                </a:cubicBezTo>
                <a:cubicBezTo>
                  <a:pt x="93" y="73"/>
                  <a:pt x="93" y="73"/>
                  <a:pt x="93" y="73"/>
                </a:cubicBezTo>
                <a:cubicBezTo>
                  <a:pt x="92" y="72"/>
                  <a:pt x="92" y="72"/>
                  <a:pt x="92" y="72"/>
                </a:cubicBezTo>
                <a:cubicBezTo>
                  <a:pt x="76" y="66"/>
                  <a:pt x="76" y="66"/>
                  <a:pt x="76" y="66"/>
                </a:cubicBezTo>
                <a:cubicBezTo>
                  <a:pt x="73" y="66"/>
                  <a:pt x="73" y="66"/>
                  <a:pt x="73" y="66"/>
                </a:cubicBezTo>
                <a:cubicBezTo>
                  <a:pt x="69" y="68"/>
                  <a:pt x="69" y="68"/>
                  <a:pt x="69" y="68"/>
                </a:cubicBezTo>
                <a:cubicBezTo>
                  <a:pt x="61" y="71"/>
                  <a:pt x="61" y="71"/>
                  <a:pt x="61" y="71"/>
                </a:cubicBezTo>
                <a:cubicBezTo>
                  <a:pt x="57" y="76"/>
                  <a:pt x="57" y="76"/>
                  <a:pt x="57" y="76"/>
                </a:cubicBezTo>
                <a:cubicBezTo>
                  <a:pt x="55" y="101"/>
                  <a:pt x="55" y="101"/>
                  <a:pt x="55" y="101"/>
                </a:cubicBezTo>
                <a:cubicBezTo>
                  <a:pt x="55" y="102"/>
                  <a:pt x="55" y="102"/>
                  <a:pt x="55" y="102"/>
                </a:cubicBezTo>
                <a:cubicBezTo>
                  <a:pt x="56" y="106"/>
                  <a:pt x="56" y="106"/>
                  <a:pt x="56" y="106"/>
                </a:cubicBezTo>
                <a:cubicBezTo>
                  <a:pt x="57" y="110"/>
                  <a:pt x="57" y="110"/>
                  <a:pt x="57" y="110"/>
                </a:cubicBezTo>
                <a:cubicBezTo>
                  <a:pt x="58" y="113"/>
                  <a:pt x="58" y="113"/>
                  <a:pt x="58" y="113"/>
                </a:cubicBezTo>
                <a:cubicBezTo>
                  <a:pt x="63" y="117"/>
                  <a:pt x="63" y="117"/>
                  <a:pt x="63" y="117"/>
                </a:cubicBezTo>
                <a:cubicBezTo>
                  <a:pt x="64" y="118"/>
                  <a:pt x="64" y="118"/>
                  <a:pt x="64" y="118"/>
                </a:cubicBezTo>
                <a:cubicBezTo>
                  <a:pt x="79" y="126"/>
                  <a:pt x="79" y="126"/>
                  <a:pt x="79" y="126"/>
                </a:cubicBezTo>
                <a:cubicBezTo>
                  <a:pt x="81" y="126"/>
                  <a:pt x="81" y="126"/>
                  <a:pt x="81" y="126"/>
                </a:cubicBezTo>
                <a:cubicBezTo>
                  <a:pt x="88" y="124"/>
                  <a:pt x="88" y="124"/>
                  <a:pt x="88" y="124"/>
                </a:cubicBezTo>
                <a:cubicBezTo>
                  <a:pt x="102" y="118"/>
                  <a:pt x="102" y="118"/>
                  <a:pt x="102" y="118"/>
                </a:cubicBezTo>
                <a:cubicBezTo>
                  <a:pt x="109" y="120"/>
                  <a:pt x="109" y="120"/>
                  <a:pt x="109" y="120"/>
                </a:cubicBezTo>
                <a:cubicBezTo>
                  <a:pt x="110" y="122"/>
                  <a:pt x="110" y="122"/>
                  <a:pt x="110" y="122"/>
                </a:cubicBezTo>
                <a:cubicBezTo>
                  <a:pt x="114" y="130"/>
                  <a:pt x="114" y="130"/>
                  <a:pt x="114" y="130"/>
                </a:cubicBezTo>
                <a:cubicBezTo>
                  <a:pt x="115" y="130"/>
                  <a:pt x="115" y="130"/>
                  <a:pt x="115" y="130"/>
                </a:cubicBezTo>
                <a:cubicBezTo>
                  <a:pt x="127" y="134"/>
                  <a:pt x="127" y="134"/>
                  <a:pt x="127" y="134"/>
                </a:cubicBezTo>
                <a:cubicBezTo>
                  <a:pt x="128" y="134"/>
                  <a:pt x="128" y="134"/>
                  <a:pt x="128" y="134"/>
                </a:cubicBezTo>
                <a:cubicBezTo>
                  <a:pt x="128" y="133"/>
                  <a:pt x="128" y="133"/>
                  <a:pt x="128" y="133"/>
                </a:cubicBezTo>
                <a:cubicBezTo>
                  <a:pt x="142" y="117"/>
                  <a:pt x="142" y="117"/>
                  <a:pt x="142" y="117"/>
                </a:cubicBezTo>
                <a:cubicBezTo>
                  <a:pt x="144" y="113"/>
                  <a:pt x="144" y="113"/>
                  <a:pt x="144" y="113"/>
                </a:cubicBezTo>
                <a:cubicBezTo>
                  <a:pt x="140" y="112"/>
                  <a:pt x="140" y="112"/>
                  <a:pt x="140" y="112"/>
                </a:cubicBezTo>
                <a:lnTo>
                  <a:pt x="136" y="111"/>
                </a:lnTo>
                <a:close/>
                <a:moveTo>
                  <a:pt x="88" y="65"/>
                </a:moveTo>
                <a:cubicBezTo>
                  <a:pt x="91" y="68"/>
                  <a:pt x="91" y="68"/>
                  <a:pt x="91" y="68"/>
                </a:cubicBezTo>
                <a:cubicBezTo>
                  <a:pt x="92" y="70"/>
                  <a:pt x="92" y="70"/>
                  <a:pt x="92" y="70"/>
                </a:cubicBezTo>
                <a:cubicBezTo>
                  <a:pt x="94" y="71"/>
                  <a:pt x="94" y="71"/>
                  <a:pt x="94" y="71"/>
                </a:cubicBezTo>
                <a:cubicBezTo>
                  <a:pt x="95" y="72"/>
                  <a:pt x="95" y="72"/>
                  <a:pt x="95" y="72"/>
                </a:cubicBezTo>
                <a:cubicBezTo>
                  <a:pt x="96" y="72"/>
                  <a:pt x="96" y="72"/>
                  <a:pt x="96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2" y="72"/>
                  <a:pt x="102" y="72"/>
                  <a:pt x="102" y="72"/>
                </a:cubicBezTo>
                <a:cubicBezTo>
                  <a:pt x="104" y="71"/>
                  <a:pt x="104" y="71"/>
                  <a:pt x="104" y="71"/>
                </a:cubicBezTo>
                <a:cubicBezTo>
                  <a:pt x="105" y="70"/>
                  <a:pt x="105" y="70"/>
                  <a:pt x="105" y="70"/>
                </a:cubicBezTo>
                <a:cubicBezTo>
                  <a:pt x="106" y="69"/>
                  <a:pt x="106" y="69"/>
                  <a:pt x="106" y="69"/>
                </a:cubicBezTo>
                <a:cubicBezTo>
                  <a:pt x="107" y="60"/>
                  <a:pt x="107" y="60"/>
                  <a:pt x="107" y="60"/>
                </a:cubicBezTo>
                <a:cubicBezTo>
                  <a:pt x="108" y="60"/>
                  <a:pt x="108" y="60"/>
                  <a:pt x="108" y="60"/>
                </a:cubicBezTo>
                <a:cubicBezTo>
                  <a:pt x="108" y="59"/>
                  <a:pt x="108" y="59"/>
                  <a:pt x="108" y="59"/>
                </a:cubicBezTo>
                <a:cubicBezTo>
                  <a:pt x="108" y="58"/>
                  <a:pt x="108" y="58"/>
                  <a:pt x="108" y="58"/>
                </a:cubicBezTo>
                <a:cubicBezTo>
                  <a:pt x="105" y="55"/>
                  <a:pt x="105" y="55"/>
                  <a:pt x="105" y="55"/>
                </a:cubicBezTo>
                <a:cubicBezTo>
                  <a:pt x="94" y="53"/>
                  <a:pt x="94" y="53"/>
                  <a:pt x="94" y="53"/>
                </a:cubicBezTo>
                <a:cubicBezTo>
                  <a:pt x="92" y="52"/>
                  <a:pt x="92" y="52"/>
                  <a:pt x="92" y="52"/>
                </a:cubicBezTo>
                <a:cubicBezTo>
                  <a:pt x="91" y="53"/>
                  <a:pt x="91" y="53"/>
                  <a:pt x="91" y="53"/>
                </a:cubicBezTo>
                <a:cubicBezTo>
                  <a:pt x="86" y="60"/>
                  <a:pt x="86" y="60"/>
                  <a:pt x="86" y="60"/>
                </a:cubicBezTo>
                <a:cubicBezTo>
                  <a:pt x="86" y="60"/>
                  <a:pt x="86" y="60"/>
                  <a:pt x="86" y="60"/>
                </a:cubicBezTo>
                <a:cubicBezTo>
                  <a:pt x="86" y="62"/>
                  <a:pt x="86" y="62"/>
                  <a:pt x="86" y="62"/>
                </a:cubicBezTo>
                <a:cubicBezTo>
                  <a:pt x="87" y="65"/>
                  <a:pt x="87" y="65"/>
                  <a:pt x="87" y="65"/>
                </a:cubicBezTo>
                <a:lnTo>
                  <a:pt x="88" y="65"/>
                </a:lnTo>
                <a:close/>
                <a:moveTo>
                  <a:pt x="134" y="66"/>
                </a:moveTo>
                <a:cubicBezTo>
                  <a:pt x="136" y="66"/>
                  <a:pt x="136" y="66"/>
                  <a:pt x="136" y="66"/>
                </a:cubicBezTo>
                <a:cubicBezTo>
                  <a:pt x="136" y="65"/>
                  <a:pt x="136" y="65"/>
                  <a:pt x="136" y="65"/>
                </a:cubicBezTo>
                <a:cubicBezTo>
                  <a:pt x="136" y="64"/>
                  <a:pt x="136" y="64"/>
                  <a:pt x="136" y="64"/>
                </a:cubicBezTo>
                <a:cubicBezTo>
                  <a:pt x="136" y="63"/>
                  <a:pt x="136" y="63"/>
                  <a:pt x="136" y="63"/>
                </a:cubicBezTo>
                <a:cubicBezTo>
                  <a:pt x="134" y="63"/>
                  <a:pt x="134" y="63"/>
                  <a:pt x="134" y="63"/>
                </a:cubicBezTo>
                <a:cubicBezTo>
                  <a:pt x="133" y="62"/>
                  <a:pt x="133" y="62"/>
                  <a:pt x="133" y="62"/>
                </a:cubicBezTo>
                <a:cubicBezTo>
                  <a:pt x="133" y="61"/>
                  <a:pt x="133" y="61"/>
                  <a:pt x="133" y="61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3" y="54"/>
                  <a:pt x="133" y="54"/>
                  <a:pt x="133" y="54"/>
                </a:cubicBezTo>
                <a:cubicBezTo>
                  <a:pt x="135" y="50"/>
                  <a:pt x="135" y="50"/>
                  <a:pt x="135" y="50"/>
                </a:cubicBezTo>
                <a:cubicBezTo>
                  <a:pt x="137" y="47"/>
                  <a:pt x="137" y="47"/>
                  <a:pt x="137" y="47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44"/>
                  <a:pt x="136" y="44"/>
                  <a:pt x="136" y="44"/>
                </a:cubicBezTo>
                <a:cubicBezTo>
                  <a:pt x="136" y="43"/>
                  <a:pt x="136" y="43"/>
                  <a:pt x="136" y="43"/>
                </a:cubicBezTo>
                <a:cubicBezTo>
                  <a:pt x="132" y="39"/>
                  <a:pt x="132" y="39"/>
                  <a:pt x="132" y="39"/>
                </a:cubicBezTo>
                <a:cubicBezTo>
                  <a:pt x="132" y="39"/>
                  <a:pt x="132" y="39"/>
                  <a:pt x="132" y="39"/>
                </a:cubicBezTo>
                <a:cubicBezTo>
                  <a:pt x="131" y="39"/>
                  <a:pt x="131" y="39"/>
                  <a:pt x="131" y="39"/>
                </a:cubicBezTo>
                <a:cubicBezTo>
                  <a:pt x="129" y="40"/>
                  <a:pt x="129" y="40"/>
                  <a:pt x="129" y="40"/>
                </a:cubicBezTo>
                <a:cubicBezTo>
                  <a:pt x="128" y="41"/>
                  <a:pt x="128" y="41"/>
                  <a:pt x="128" y="41"/>
                </a:cubicBezTo>
                <a:cubicBezTo>
                  <a:pt x="128" y="44"/>
                  <a:pt x="128" y="44"/>
                  <a:pt x="128" y="44"/>
                </a:cubicBezTo>
                <a:cubicBezTo>
                  <a:pt x="128" y="61"/>
                  <a:pt x="128" y="61"/>
                  <a:pt x="128" y="61"/>
                </a:cubicBezTo>
                <a:cubicBezTo>
                  <a:pt x="130" y="68"/>
                  <a:pt x="130" y="68"/>
                  <a:pt x="130" y="68"/>
                </a:cubicBezTo>
                <a:lnTo>
                  <a:pt x="134" y="66"/>
                </a:lnTo>
                <a:close/>
                <a:moveTo>
                  <a:pt x="156" y="65"/>
                </a:moveTo>
                <a:cubicBezTo>
                  <a:pt x="151" y="61"/>
                  <a:pt x="151" y="61"/>
                  <a:pt x="151" y="61"/>
                </a:cubicBezTo>
                <a:cubicBezTo>
                  <a:pt x="150" y="61"/>
                  <a:pt x="150" y="61"/>
                  <a:pt x="150" y="61"/>
                </a:cubicBezTo>
                <a:cubicBezTo>
                  <a:pt x="146" y="63"/>
                  <a:pt x="146" y="63"/>
                  <a:pt x="146" y="63"/>
                </a:cubicBezTo>
                <a:cubicBezTo>
                  <a:pt x="146" y="63"/>
                  <a:pt x="146" y="63"/>
                  <a:pt x="146" y="63"/>
                </a:cubicBezTo>
                <a:cubicBezTo>
                  <a:pt x="145" y="63"/>
                  <a:pt x="145" y="63"/>
                  <a:pt x="145" y="63"/>
                </a:cubicBezTo>
                <a:cubicBezTo>
                  <a:pt x="143" y="81"/>
                  <a:pt x="143" y="81"/>
                  <a:pt x="143" y="81"/>
                </a:cubicBezTo>
                <a:cubicBezTo>
                  <a:pt x="144" y="82"/>
                  <a:pt x="144" y="82"/>
                  <a:pt x="144" y="82"/>
                </a:cubicBezTo>
                <a:cubicBezTo>
                  <a:pt x="144" y="83"/>
                  <a:pt x="144" y="83"/>
                  <a:pt x="144" y="83"/>
                </a:cubicBezTo>
                <a:cubicBezTo>
                  <a:pt x="145" y="83"/>
                  <a:pt x="145" y="83"/>
                  <a:pt x="145" y="83"/>
                </a:cubicBezTo>
                <a:cubicBezTo>
                  <a:pt x="147" y="83"/>
                  <a:pt x="147" y="83"/>
                  <a:pt x="147" y="83"/>
                </a:cubicBezTo>
                <a:cubicBezTo>
                  <a:pt x="148" y="82"/>
                  <a:pt x="148" y="82"/>
                  <a:pt x="148" y="82"/>
                </a:cubicBezTo>
                <a:cubicBezTo>
                  <a:pt x="160" y="75"/>
                  <a:pt x="160" y="75"/>
                  <a:pt x="160" y="75"/>
                </a:cubicBezTo>
                <a:cubicBezTo>
                  <a:pt x="162" y="72"/>
                  <a:pt x="162" y="72"/>
                  <a:pt x="162" y="72"/>
                </a:cubicBezTo>
                <a:cubicBezTo>
                  <a:pt x="158" y="66"/>
                  <a:pt x="158" y="66"/>
                  <a:pt x="158" y="66"/>
                </a:cubicBezTo>
                <a:lnTo>
                  <a:pt x="156" y="65"/>
                </a:lnTo>
                <a:close/>
                <a:moveTo>
                  <a:pt x="179" y="24"/>
                </a:moveTo>
                <a:cubicBezTo>
                  <a:pt x="178" y="22"/>
                  <a:pt x="178" y="22"/>
                  <a:pt x="178" y="22"/>
                </a:cubicBezTo>
                <a:cubicBezTo>
                  <a:pt x="178" y="21"/>
                  <a:pt x="178" y="21"/>
                  <a:pt x="178" y="21"/>
                </a:cubicBezTo>
                <a:cubicBezTo>
                  <a:pt x="177" y="21"/>
                  <a:pt x="177" y="21"/>
                  <a:pt x="177" y="21"/>
                </a:cubicBezTo>
                <a:cubicBezTo>
                  <a:pt x="176" y="21"/>
                  <a:pt x="176" y="21"/>
                  <a:pt x="176" y="21"/>
                </a:cubicBezTo>
                <a:cubicBezTo>
                  <a:pt x="160" y="27"/>
                  <a:pt x="160" y="27"/>
                  <a:pt x="160" y="27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43" y="45"/>
                  <a:pt x="143" y="45"/>
                  <a:pt x="143" y="45"/>
                </a:cubicBezTo>
                <a:cubicBezTo>
                  <a:pt x="142" y="48"/>
                  <a:pt x="142" y="48"/>
                  <a:pt x="142" y="48"/>
                </a:cubicBezTo>
                <a:cubicBezTo>
                  <a:pt x="141" y="48"/>
                  <a:pt x="141" y="48"/>
                  <a:pt x="141" y="48"/>
                </a:cubicBezTo>
                <a:cubicBezTo>
                  <a:pt x="141" y="52"/>
                  <a:pt x="141" y="52"/>
                  <a:pt x="141" y="52"/>
                </a:cubicBezTo>
                <a:cubicBezTo>
                  <a:pt x="142" y="54"/>
                  <a:pt x="142" y="54"/>
                  <a:pt x="142" y="54"/>
                </a:cubicBezTo>
                <a:cubicBezTo>
                  <a:pt x="142" y="54"/>
                  <a:pt x="142" y="54"/>
                  <a:pt x="142" y="54"/>
                </a:cubicBezTo>
                <a:cubicBezTo>
                  <a:pt x="142" y="55"/>
                  <a:pt x="142" y="55"/>
                  <a:pt x="142" y="55"/>
                </a:cubicBezTo>
                <a:cubicBezTo>
                  <a:pt x="143" y="55"/>
                  <a:pt x="143" y="55"/>
                  <a:pt x="143" y="55"/>
                </a:cubicBezTo>
                <a:cubicBezTo>
                  <a:pt x="168" y="35"/>
                  <a:pt x="168" y="35"/>
                  <a:pt x="168" y="35"/>
                </a:cubicBezTo>
                <a:cubicBezTo>
                  <a:pt x="170" y="31"/>
                  <a:pt x="170" y="31"/>
                  <a:pt x="170" y="31"/>
                </a:cubicBezTo>
                <a:cubicBezTo>
                  <a:pt x="175" y="29"/>
                  <a:pt x="175" y="29"/>
                  <a:pt x="175" y="29"/>
                </a:cubicBezTo>
                <a:cubicBezTo>
                  <a:pt x="179" y="30"/>
                  <a:pt x="179" y="30"/>
                  <a:pt x="179" y="30"/>
                </a:cubicBezTo>
                <a:cubicBezTo>
                  <a:pt x="179" y="30"/>
                  <a:pt x="179" y="30"/>
                  <a:pt x="179" y="30"/>
                </a:cubicBezTo>
                <a:cubicBezTo>
                  <a:pt x="180" y="30"/>
                  <a:pt x="180" y="30"/>
                  <a:pt x="180" y="30"/>
                </a:cubicBezTo>
                <a:cubicBezTo>
                  <a:pt x="180" y="29"/>
                  <a:pt x="180" y="29"/>
                  <a:pt x="180" y="29"/>
                </a:cubicBezTo>
                <a:lnTo>
                  <a:pt x="179" y="24"/>
                </a:lnTo>
                <a:close/>
                <a:moveTo>
                  <a:pt x="181" y="0"/>
                </a:moveTo>
                <a:cubicBezTo>
                  <a:pt x="180" y="0"/>
                  <a:pt x="180" y="0"/>
                  <a:pt x="180" y="0"/>
                </a:cubicBezTo>
                <a:cubicBezTo>
                  <a:pt x="174" y="4"/>
                  <a:pt x="174" y="4"/>
                  <a:pt x="174" y="4"/>
                </a:cubicBezTo>
                <a:cubicBezTo>
                  <a:pt x="174" y="4"/>
                  <a:pt x="174" y="4"/>
                  <a:pt x="174" y="4"/>
                </a:cubicBezTo>
                <a:cubicBezTo>
                  <a:pt x="172" y="9"/>
                  <a:pt x="172" y="9"/>
                  <a:pt x="172" y="9"/>
                </a:cubicBezTo>
                <a:cubicBezTo>
                  <a:pt x="172" y="11"/>
                  <a:pt x="172" y="11"/>
                  <a:pt x="172" y="11"/>
                </a:cubicBezTo>
                <a:cubicBezTo>
                  <a:pt x="173" y="11"/>
                  <a:pt x="173" y="11"/>
                  <a:pt x="173" y="11"/>
                </a:cubicBezTo>
                <a:cubicBezTo>
                  <a:pt x="176" y="12"/>
                  <a:pt x="176" y="12"/>
                  <a:pt x="176" y="12"/>
                </a:cubicBezTo>
                <a:cubicBezTo>
                  <a:pt x="180" y="11"/>
                  <a:pt x="180" y="11"/>
                  <a:pt x="180" y="11"/>
                </a:cubicBezTo>
                <a:cubicBezTo>
                  <a:pt x="180" y="10"/>
                  <a:pt x="180" y="10"/>
                  <a:pt x="180" y="10"/>
                </a:cubicBezTo>
                <a:cubicBezTo>
                  <a:pt x="178" y="9"/>
                  <a:pt x="178" y="9"/>
                  <a:pt x="178" y="9"/>
                </a:cubicBezTo>
                <a:cubicBezTo>
                  <a:pt x="178" y="8"/>
                  <a:pt x="178" y="8"/>
                  <a:pt x="178" y="8"/>
                </a:cubicBezTo>
                <a:cubicBezTo>
                  <a:pt x="178" y="7"/>
                  <a:pt x="178" y="7"/>
                  <a:pt x="178" y="7"/>
                </a:cubicBezTo>
                <a:cubicBezTo>
                  <a:pt x="179" y="4"/>
                  <a:pt x="179" y="4"/>
                  <a:pt x="179" y="4"/>
                </a:cubicBezTo>
                <a:cubicBezTo>
                  <a:pt x="180" y="4"/>
                  <a:pt x="180" y="4"/>
                  <a:pt x="180" y="4"/>
                </a:cubicBezTo>
                <a:cubicBezTo>
                  <a:pt x="181" y="3"/>
                  <a:pt x="181" y="3"/>
                  <a:pt x="181" y="3"/>
                </a:cubicBezTo>
                <a:cubicBezTo>
                  <a:pt x="181" y="3"/>
                  <a:pt x="181" y="3"/>
                  <a:pt x="181" y="3"/>
                </a:cubicBezTo>
                <a:cubicBezTo>
                  <a:pt x="182" y="3"/>
                  <a:pt x="182" y="3"/>
                  <a:pt x="182" y="3"/>
                </a:cubicBezTo>
                <a:cubicBezTo>
                  <a:pt x="182" y="2"/>
                  <a:pt x="182" y="2"/>
                  <a:pt x="182" y="2"/>
                </a:cubicBezTo>
                <a:lnTo>
                  <a:pt x="181" y="0"/>
                </a:lnTo>
                <a:close/>
                <a:moveTo>
                  <a:pt x="101" y="37"/>
                </a:moveTo>
                <a:cubicBezTo>
                  <a:pt x="119" y="41"/>
                  <a:pt x="119" y="41"/>
                  <a:pt x="119" y="41"/>
                </a:cubicBezTo>
                <a:cubicBezTo>
                  <a:pt x="122" y="40"/>
                  <a:pt x="122" y="40"/>
                  <a:pt x="122" y="40"/>
                </a:cubicBezTo>
                <a:cubicBezTo>
                  <a:pt x="123" y="39"/>
                  <a:pt x="123" y="39"/>
                  <a:pt x="123" y="39"/>
                </a:cubicBezTo>
                <a:cubicBezTo>
                  <a:pt x="123" y="38"/>
                  <a:pt x="123" y="38"/>
                  <a:pt x="123" y="38"/>
                </a:cubicBezTo>
                <a:cubicBezTo>
                  <a:pt x="122" y="35"/>
                  <a:pt x="122" y="35"/>
                  <a:pt x="122" y="35"/>
                </a:cubicBezTo>
                <a:cubicBezTo>
                  <a:pt x="114" y="27"/>
                  <a:pt x="114" y="27"/>
                  <a:pt x="114" y="27"/>
                </a:cubicBezTo>
                <a:cubicBezTo>
                  <a:pt x="113" y="27"/>
                  <a:pt x="113" y="27"/>
                  <a:pt x="113" y="27"/>
                </a:cubicBezTo>
                <a:cubicBezTo>
                  <a:pt x="112" y="28"/>
                  <a:pt x="112" y="28"/>
                  <a:pt x="112" y="28"/>
                </a:cubicBezTo>
                <a:cubicBezTo>
                  <a:pt x="111" y="28"/>
                  <a:pt x="111" y="28"/>
                  <a:pt x="111" y="28"/>
                </a:cubicBezTo>
                <a:cubicBezTo>
                  <a:pt x="102" y="23"/>
                  <a:pt x="102" y="23"/>
                  <a:pt x="102" y="23"/>
                </a:cubicBezTo>
                <a:cubicBezTo>
                  <a:pt x="102" y="22"/>
                  <a:pt x="102" y="22"/>
                  <a:pt x="102" y="22"/>
                </a:cubicBezTo>
                <a:cubicBezTo>
                  <a:pt x="105" y="17"/>
                  <a:pt x="105" y="17"/>
                  <a:pt x="105" y="17"/>
                </a:cubicBezTo>
                <a:cubicBezTo>
                  <a:pt x="105" y="16"/>
                  <a:pt x="105" y="16"/>
                  <a:pt x="105" y="16"/>
                </a:cubicBezTo>
                <a:cubicBezTo>
                  <a:pt x="107" y="16"/>
                  <a:pt x="107" y="16"/>
                  <a:pt x="107" y="16"/>
                </a:cubicBezTo>
                <a:cubicBezTo>
                  <a:pt x="107" y="15"/>
                  <a:pt x="107" y="15"/>
                  <a:pt x="107" y="15"/>
                </a:cubicBezTo>
                <a:cubicBezTo>
                  <a:pt x="108" y="14"/>
                  <a:pt x="108" y="14"/>
                  <a:pt x="108" y="14"/>
                </a:cubicBezTo>
                <a:cubicBezTo>
                  <a:pt x="107" y="14"/>
                  <a:pt x="107" y="14"/>
                  <a:pt x="107" y="14"/>
                </a:cubicBezTo>
                <a:cubicBezTo>
                  <a:pt x="106" y="13"/>
                  <a:pt x="106" y="13"/>
                  <a:pt x="106" y="13"/>
                </a:cubicBezTo>
                <a:cubicBezTo>
                  <a:pt x="104" y="13"/>
                  <a:pt x="104" y="13"/>
                  <a:pt x="104" y="13"/>
                </a:cubicBezTo>
                <a:cubicBezTo>
                  <a:pt x="91" y="20"/>
                  <a:pt x="91" y="20"/>
                  <a:pt x="91" y="20"/>
                </a:cubicBezTo>
                <a:cubicBezTo>
                  <a:pt x="91" y="21"/>
                  <a:pt x="91" y="21"/>
                  <a:pt x="91" y="21"/>
                </a:cubicBezTo>
                <a:cubicBezTo>
                  <a:pt x="91" y="22"/>
                  <a:pt x="91" y="22"/>
                  <a:pt x="91" y="22"/>
                </a:cubicBezTo>
                <a:cubicBezTo>
                  <a:pt x="101" y="36"/>
                  <a:pt x="101" y="36"/>
                  <a:pt x="101" y="36"/>
                </a:cubicBezTo>
                <a:lnTo>
                  <a:pt x="101" y="37"/>
                </a:lnTo>
                <a:close/>
                <a:moveTo>
                  <a:pt x="113" y="21"/>
                </a:moveTo>
                <a:cubicBezTo>
                  <a:pt x="115" y="21"/>
                  <a:pt x="115" y="21"/>
                  <a:pt x="115" y="21"/>
                </a:cubicBezTo>
                <a:cubicBezTo>
                  <a:pt x="116" y="20"/>
                  <a:pt x="116" y="20"/>
                  <a:pt x="116" y="20"/>
                </a:cubicBezTo>
                <a:cubicBezTo>
                  <a:pt x="117" y="20"/>
                  <a:pt x="117" y="20"/>
                  <a:pt x="117" y="20"/>
                </a:cubicBezTo>
                <a:cubicBezTo>
                  <a:pt x="116" y="16"/>
                  <a:pt x="116" y="16"/>
                  <a:pt x="116" y="16"/>
                </a:cubicBezTo>
                <a:cubicBezTo>
                  <a:pt x="115" y="12"/>
                  <a:pt x="115" y="12"/>
                  <a:pt x="115" y="12"/>
                </a:cubicBezTo>
                <a:cubicBezTo>
                  <a:pt x="115" y="12"/>
                  <a:pt x="115" y="12"/>
                  <a:pt x="115" y="12"/>
                </a:cubicBezTo>
                <a:cubicBezTo>
                  <a:pt x="117" y="9"/>
                  <a:pt x="117" y="9"/>
                  <a:pt x="117" y="9"/>
                </a:cubicBezTo>
                <a:cubicBezTo>
                  <a:pt x="117" y="9"/>
                  <a:pt x="117" y="9"/>
                  <a:pt x="117" y="9"/>
                </a:cubicBezTo>
                <a:cubicBezTo>
                  <a:pt x="117" y="8"/>
                  <a:pt x="117" y="8"/>
                  <a:pt x="117" y="8"/>
                </a:cubicBezTo>
                <a:cubicBezTo>
                  <a:pt x="115" y="7"/>
                  <a:pt x="115" y="7"/>
                  <a:pt x="115" y="7"/>
                </a:cubicBezTo>
                <a:cubicBezTo>
                  <a:pt x="115" y="6"/>
                  <a:pt x="115" y="6"/>
                  <a:pt x="115" y="6"/>
                </a:cubicBezTo>
                <a:cubicBezTo>
                  <a:pt x="114" y="7"/>
                  <a:pt x="114" y="7"/>
                  <a:pt x="114" y="7"/>
                </a:cubicBezTo>
                <a:cubicBezTo>
                  <a:pt x="114" y="7"/>
                  <a:pt x="114" y="7"/>
                  <a:pt x="114" y="7"/>
                </a:cubicBezTo>
                <a:cubicBezTo>
                  <a:pt x="112" y="14"/>
                  <a:pt x="112" y="14"/>
                  <a:pt x="112" y="14"/>
                </a:cubicBezTo>
                <a:cubicBezTo>
                  <a:pt x="111" y="16"/>
                  <a:pt x="111" y="16"/>
                  <a:pt x="111" y="16"/>
                </a:cubicBezTo>
                <a:cubicBezTo>
                  <a:pt x="111" y="17"/>
                  <a:pt x="111" y="17"/>
                  <a:pt x="111" y="17"/>
                </a:cubicBezTo>
                <a:cubicBezTo>
                  <a:pt x="112" y="18"/>
                  <a:pt x="112" y="18"/>
                  <a:pt x="112" y="18"/>
                </a:cubicBezTo>
                <a:lnTo>
                  <a:pt x="113" y="21"/>
                </a:lnTo>
                <a:close/>
                <a:moveTo>
                  <a:pt x="115" y="85"/>
                </a:moveTo>
                <a:cubicBezTo>
                  <a:pt x="114" y="87"/>
                  <a:pt x="114" y="87"/>
                  <a:pt x="114" y="87"/>
                </a:cubicBezTo>
                <a:cubicBezTo>
                  <a:pt x="112" y="94"/>
                  <a:pt x="112" y="94"/>
                  <a:pt x="112" y="94"/>
                </a:cubicBezTo>
                <a:cubicBezTo>
                  <a:pt x="112" y="95"/>
                  <a:pt x="112" y="95"/>
                  <a:pt x="112" y="95"/>
                </a:cubicBezTo>
                <a:cubicBezTo>
                  <a:pt x="113" y="95"/>
                  <a:pt x="113" y="95"/>
                  <a:pt x="113" y="95"/>
                </a:cubicBezTo>
                <a:cubicBezTo>
                  <a:pt x="114" y="96"/>
                  <a:pt x="114" y="96"/>
                  <a:pt x="114" y="96"/>
                </a:cubicBezTo>
                <a:cubicBezTo>
                  <a:pt x="124" y="96"/>
                  <a:pt x="124" y="96"/>
                  <a:pt x="124" y="96"/>
                </a:cubicBezTo>
                <a:cubicBezTo>
                  <a:pt x="127" y="92"/>
                  <a:pt x="127" y="92"/>
                  <a:pt x="127" y="92"/>
                </a:cubicBezTo>
                <a:cubicBezTo>
                  <a:pt x="128" y="82"/>
                  <a:pt x="128" y="82"/>
                  <a:pt x="128" y="82"/>
                </a:cubicBezTo>
                <a:cubicBezTo>
                  <a:pt x="128" y="82"/>
                  <a:pt x="128" y="82"/>
                  <a:pt x="128" y="82"/>
                </a:cubicBezTo>
                <a:cubicBezTo>
                  <a:pt x="127" y="81"/>
                  <a:pt x="127" y="81"/>
                  <a:pt x="127" y="81"/>
                </a:cubicBezTo>
                <a:cubicBezTo>
                  <a:pt x="126" y="81"/>
                  <a:pt x="126" y="81"/>
                  <a:pt x="126" y="81"/>
                </a:cubicBezTo>
                <a:cubicBezTo>
                  <a:pt x="116" y="85"/>
                  <a:pt x="116" y="85"/>
                  <a:pt x="116" y="85"/>
                </a:cubicBezTo>
                <a:lnTo>
                  <a:pt x="115" y="85"/>
                </a:lnTo>
                <a:close/>
                <a:moveTo>
                  <a:pt x="114" y="63"/>
                </a:moveTo>
                <a:cubicBezTo>
                  <a:pt x="114" y="63"/>
                  <a:pt x="114" y="63"/>
                  <a:pt x="114" y="63"/>
                </a:cubicBezTo>
                <a:cubicBezTo>
                  <a:pt x="113" y="62"/>
                  <a:pt x="113" y="62"/>
                  <a:pt x="113" y="62"/>
                </a:cubicBezTo>
                <a:cubicBezTo>
                  <a:pt x="113" y="61"/>
                  <a:pt x="113" y="61"/>
                  <a:pt x="113" y="61"/>
                </a:cubicBezTo>
                <a:cubicBezTo>
                  <a:pt x="110" y="61"/>
                  <a:pt x="110" y="61"/>
                  <a:pt x="110" y="61"/>
                </a:cubicBezTo>
                <a:cubicBezTo>
                  <a:pt x="109" y="62"/>
                  <a:pt x="109" y="62"/>
                  <a:pt x="109" y="62"/>
                </a:cubicBezTo>
                <a:cubicBezTo>
                  <a:pt x="109" y="65"/>
                  <a:pt x="109" y="65"/>
                  <a:pt x="109" y="65"/>
                </a:cubicBezTo>
                <a:cubicBezTo>
                  <a:pt x="109" y="66"/>
                  <a:pt x="109" y="66"/>
                  <a:pt x="109" y="66"/>
                </a:cubicBezTo>
                <a:cubicBezTo>
                  <a:pt x="110" y="70"/>
                  <a:pt x="110" y="70"/>
                  <a:pt x="110" y="70"/>
                </a:cubicBezTo>
                <a:cubicBezTo>
                  <a:pt x="111" y="71"/>
                  <a:pt x="111" y="71"/>
                  <a:pt x="111" y="71"/>
                </a:cubicBezTo>
                <a:cubicBezTo>
                  <a:pt x="111" y="71"/>
                  <a:pt x="111" y="71"/>
                  <a:pt x="111" y="71"/>
                </a:cubicBezTo>
                <a:cubicBezTo>
                  <a:pt x="112" y="70"/>
                  <a:pt x="112" y="70"/>
                  <a:pt x="112" y="70"/>
                </a:cubicBezTo>
                <a:cubicBezTo>
                  <a:pt x="114" y="64"/>
                  <a:pt x="114" y="64"/>
                  <a:pt x="114" y="64"/>
                </a:cubicBezTo>
                <a:lnTo>
                  <a:pt x="114" y="63"/>
                </a:lnTo>
                <a:close/>
                <a:moveTo>
                  <a:pt x="103" y="235"/>
                </a:moveTo>
                <a:cubicBezTo>
                  <a:pt x="102" y="235"/>
                  <a:pt x="102" y="235"/>
                  <a:pt x="102" y="235"/>
                </a:cubicBezTo>
                <a:cubicBezTo>
                  <a:pt x="101" y="235"/>
                  <a:pt x="101" y="235"/>
                  <a:pt x="101" y="235"/>
                </a:cubicBezTo>
                <a:cubicBezTo>
                  <a:pt x="100" y="236"/>
                  <a:pt x="100" y="236"/>
                  <a:pt x="100" y="236"/>
                </a:cubicBezTo>
                <a:cubicBezTo>
                  <a:pt x="97" y="237"/>
                  <a:pt x="97" y="237"/>
                  <a:pt x="97" y="237"/>
                </a:cubicBezTo>
                <a:cubicBezTo>
                  <a:pt x="94" y="238"/>
                  <a:pt x="94" y="238"/>
                  <a:pt x="94" y="238"/>
                </a:cubicBezTo>
                <a:cubicBezTo>
                  <a:pt x="93" y="238"/>
                  <a:pt x="93" y="238"/>
                  <a:pt x="93" y="238"/>
                </a:cubicBezTo>
                <a:cubicBezTo>
                  <a:pt x="92" y="237"/>
                  <a:pt x="92" y="237"/>
                  <a:pt x="92" y="237"/>
                </a:cubicBezTo>
                <a:cubicBezTo>
                  <a:pt x="91" y="235"/>
                  <a:pt x="91" y="235"/>
                  <a:pt x="91" y="235"/>
                </a:cubicBezTo>
                <a:cubicBezTo>
                  <a:pt x="88" y="231"/>
                  <a:pt x="88" y="231"/>
                  <a:pt x="88" y="231"/>
                </a:cubicBezTo>
                <a:cubicBezTo>
                  <a:pt x="88" y="230"/>
                  <a:pt x="88" y="230"/>
                  <a:pt x="88" y="230"/>
                </a:cubicBezTo>
                <a:cubicBezTo>
                  <a:pt x="90" y="225"/>
                  <a:pt x="90" y="225"/>
                  <a:pt x="90" y="225"/>
                </a:cubicBezTo>
                <a:cubicBezTo>
                  <a:pt x="91" y="222"/>
                  <a:pt x="91" y="222"/>
                  <a:pt x="91" y="222"/>
                </a:cubicBezTo>
                <a:cubicBezTo>
                  <a:pt x="92" y="221"/>
                  <a:pt x="92" y="221"/>
                  <a:pt x="92" y="221"/>
                </a:cubicBezTo>
                <a:cubicBezTo>
                  <a:pt x="93" y="220"/>
                  <a:pt x="93" y="220"/>
                  <a:pt x="93" y="220"/>
                </a:cubicBezTo>
                <a:cubicBezTo>
                  <a:pt x="93" y="219"/>
                  <a:pt x="93" y="219"/>
                  <a:pt x="93" y="219"/>
                </a:cubicBezTo>
                <a:cubicBezTo>
                  <a:pt x="95" y="218"/>
                  <a:pt x="95" y="218"/>
                  <a:pt x="95" y="218"/>
                </a:cubicBezTo>
                <a:cubicBezTo>
                  <a:pt x="102" y="204"/>
                  <a:pt x="102" y="204"/>
                  <a:pt x="102" y="204"/>
                </a:cubicBezTo>
                <a:cubicBezTo>
                  <a:pt x="104" y="196"/>
                  <a:pt x="104" y="196"/>
                  <a:pt x="104" y="196"/>
                </a:cubicBezTo>
                <a:cubicBezTo>
                  <a:pt x="104" y="193"/>
                  <a:pt x="104" y="193"/>
                  <a:pt x="104" y="193"/>
                </a:cubicBezTo>
                <a:cubicBezTo>
                  <a:pt x="103" y="192"/>
                  <a:pt x="103" y="192"/>
                  <a:pt x="103" y="192"/>
                </a:cubicBezTo>
                <a:cubicBezTo>
                  <a:pt x="102" y="192"/>
                  <a:pt x="102" y="192"/>
                  <a:pt x="102" y="192"/>
                </a:cubicBezTo>
                <a:cubicBezTo>
                  <a:pt x="69" y="192"/>
                  <a:pt x="69" y="192"/>
                  <a:pt x="69" y="192"/>
                </a:cubicBezTo>
                <a:cubicBezTo>
                  <a:pt x="60" y="201"/>
                  <a:pt x="60" y="201"/>
                  <a:pt x="60" y="201"/>
                </a:cubicBezTo>
                <a:cubicBezTo>
                  <a:pt x="60" y="202"/>
                  <a:pt x="60" y="202"/>
                  <a:pt x="60" y="202"/>
                </a:cubicBezTo>
                <a:cubicBezTo>
                  <a:pt x="59" y="205"/>
                  <a:pt x="59" y="205"/>
                  <a:pt x="59" y="205"/>
                </a:cubicBezTo>
                <a:cubicBezTo>
                  <a:pt x="58" y="206"/>
                  <a:pt x="58" y="206"/>
                  <a:pt x="58" y="206"/>
                </a:cubicBezTo>
                <a:cubicBezTo>
                  <a:pt x="49" y="205"/>
                  <a:pt x="49" y="205"/>
                  <a:pt x="49" y="205"/>
                </a:cubicBezTo>
                <a:cubicBezTo>
                  <a:pt x="48" y="204"/>
                  <a:pt x="48" y="204"/>
                  <a:pt x="48" y="204"/>
                </a:cubicBezTo>
                <a:cubicBezTo>
                  <a:pt x="33" y="200"/>
                  <a:pt x="33" y="200"/>
                  <a:pt x="33" y="200"/>
                </a:cubicBezTo>
                <a:cubicBezTo>
                  <a:pt x="31" y="200"/>
                  <a:pt x="31" y="200"/>
                  <a:pt x="31" y="200"/>
                </a:cubicBezTo>
                <a:cubicBezTo>
                  <a:pt x="18" y="201"/>
                  <a:pt x="18" y="201"/>
                  <a:pt x="18" y="201"/>
                </a:cubicBezTo>
                <a:cubicBezTo>
                  <a:pt x="10" y="208"/>
                  <a:pt x="10" y="208"/>
                  <a:pt x="10" y="208"/>
                </a:cubicBezTo>
                <a:cubicBezTo>
                  <a:pt x="8" y="210"/>
                  <a:pt x="8" y="210"/>
                  <a:pt x="8" y="210"/>
                </a:cubicBezTo>
                <a:cubicBezTo>
                  <a:pt x="6" y="211"/>
                  <a:pt x="6" y="211"/>
                  <a:pt x="6" y="211"/>
                </a:cubicBezTo>
                <a:cubicBezTo>
                  <a:pt x="6" y="211"/>
                  <a:pt x="6" y="211"/>
                  <a:pt x="6" y="212"/>
                </a:cubicBezTo>
                <a:cubicBezTo>
                  <a:pt x="5" y="217"/>
                  <a:pt x="5" y="217"/>
                  <a:pt x="5" y="217"/>
                </a:cubicBezTo>
                <a:cubicBezTo>
                  <a:pt x="5" y="218"/>
                  <a:pt x="5" y="218"/>
                  <a:pt x="5" y="218"/>
                </a:cubicBezTo>
                <a:cubicBezTo>
                  <a:pt x="5" y="219"/>
                  <a:pt x="5" y="220"/>
                  <a:pt x="4" y="220"/>
                </a:cubicBezTo>
                <a:cubicBezTo>
                  <a:pt x="4" y="220"/>
                  <a:pt x="4" y="220"/>
                  <a:pt x="4" y="220"/>
                </a:cubicBezTo>
                <a:cubicBezTo>
                  <a:pt x="5" y="222"/>
                  <a:pt x="5" y="222"/>
                  <a:pt x="5" y="222"/>
                </a:cubicBezTo>
                <a:cubicBezTo>
                  <a:pt x="6" y="222"/>
                  <a:pt x="6" y="222"/>
                  <a:pt x="6" y="222"/>
                </a:cubicBezTo>
                <a:cubicBezTo>
                  <a:pt x="7" y="222"/>
                  <a:pt x="8" y="223"/>
                  <a:pt x="8" y="224"/>
                </a:cubicBezTo>
                <a:cubicBezTo>
                  <a:pt x="8" y="236"/>
                  <a:pt x="8" y="236"/>
                  <a:pt x="8" y="236"/>
                </a:cubicBezTo>
                <a:cubicBezTo>
                  <a:pt x="8" y="237"/>
                  <a:pt x="7" y="238"/>
                  <a:pt x="6" y="238"/>
                </a:cubicBezTo>
                <a:cubicBezTo>
                  <a:pt x="6" y="239"/>
                  <a:pt x="6" y="239"/>
                  <a:pt x="6" y="239"/>
                </a:cubicBezTo>
                <a:cubicBezTo>
                  <a:pt x="7" y="239"/>
                  <a:pt x="8" y="240"/>
                  <a:pt x="8" y="241"/>
                </a:cubicBezTo>
                <a:cubicBezTo>
                  <a:pt x="8" y="242"/>
                  <a:pt x="8" y="242"/>
                  <a:pt x="8" y="242"/>
                </a:cubicBezTo>
                <a:cubicBezTo>
                  <a:pt x="9" y="243"/>
                  <a:pt x="9" y="243"/>
                  <a:pt x="9" y="243"/>
                </a:cubicBezTo>
                <a:cubicBezTo>
                  <a:pt x="9" y="244"/>
                  <a:pt x="9" y="244"/>
                  <a:pt x="9" y="244"/>
                </a:cubicBezTo>
                <a:cubicBezTo>
                  <a:pt x="9" y="251"/>
                  <a:pt x="9" y="251"/>
                  <a:pt x="9" y="251"/>
                </a:cubicBezTo>
                <a:cubicBezTo>
                  <a:pt x="9" y="252"/>
                  <a:pt x="9" y="253"/>
                  <a:pt x="8" y="253"/>
                </a:cubicBezTo>
                <a:cubicBezTo>
                  <a:pt x="8" y="253"/>
                  <a:pt x="8" y="253"/>
                  <a:pt x="8" y="254"/>
                </a:cubicBezTo>
                <a:cubicBezTo>
                  <a:pt x="7" y="254"/>
                  <a:pt x="7" y="255"/>
                  <a:pt x="6" y="255"/>
                </a:cubicBezTo>
                <a:cubicBezTo>
                  <a:pt x="4" y="257"/>
                  <a:pt x="4" y="257"/>
                  <a:pt x="4" y="257"/>
                </a:cubicBezTo>
                <a:cubicBezTo>
                  <a:pt x="4" y="261"/>
                  <a:pt x="4" y="261"/>
                  <a:pt x="4" y="261"/>
                </a:cubicBezTo>
                <a:cubicBezTo>
                  <a:pt x="5" y="262"/>
                  <a:pt x="5" y="262"/>
                  <a:pt x="5" y="264"/>
                </a:cubicBezTo>
                <a:cubicBezTo>
                  <a:pt x="5" y="266"/>
                  <a:pt x="5" y="268"/>
                  <a:pt x="5" y="268"/>
                </a:cubicBezTo>
                <a:cubicBezTo>
                  <a:pt x="5" y="269"/>
                  <a:pt x="5" y="269"/>
                  <a:pt x="5" y="269"/>
                </a:cubicBezTo>
                <a:cubicBezTo>
                  <a:pt x="5" y="270"/>
                  <a:pt x="5" y="271"/>
                  <a:pt x="4" y="271"/>
                </a:cubicBezTo>
                <a:cubicBezTo>
                  <a:pt x="4" y="271"/>
                  <a:pt x="4" y="271"/>
                  <a:pt x="4" y="271"/>
                </a:cubicBezTo>
                <a:cubicBezTo>
                  <a:pt x="3" y="272"/>
                  <a:pt x="3" y="272"/>
                  <a:pt x="3" y="272"/>
                </a:cubicBezTo>
                <a:cubicBezTo>
                  <a:pt x="3" y="272"/>
                  <a:pt x="3" y="273"/>
                  <a:pt x="2" y="273"/>
                </a:cubicBezTo>
                <a:cubicBezTo>
                  <a:pt x="1" y="273"/>
                  <a:pt x="1" y="273"/>
                  <a:pt x="1" y="273"/>
                </a:cubicBezTo>
                <a:cubicBezTo>
                  <a:pt x="1" y="273"/>
                  <a:pt x="1" y="273"/>
                  <a:pt x="0" y="273"/>
                </a:cubicBezTo>
                <a:cubicBezTo>
                  <a:pt x="0" y="273"/>
                  <a:pt x="0" y="273"/>
                  <a:pt x="0" y="273"/>
                </a:cubicBezTo>
                <a:cubicBezTo>
                  <a:pt x="1" y="274"/>
                  <a:pt x="1" y="274"/>
                  <a:pt x="1" y="274"/>
                </a:cubicBezTo>
                <a:cubicBezTo>
                  <a:pt x="4" y="275"/>
                  <a:pt x="4" y="275"/>
                  <a:pt x="4" y="275"/>
                </a:cubicBezTo>
                <a:cubicBezTo>
                  <a:pt x="4" y="276"/>
                  <a:pt x="5" y="276"/>
                  <a:pt x="5" y="277"/>
                </a:cubicBezTo>
                <a:cubicBezTo>
                  <a:pt x="5" y="277"/>
                  <a:pt x="5" y="277"/>
                  <a:pt x="5" y="277"/>
                </a:cubicBezTo>
                <a:cubicBezTo>
                  <a:pt x="6" y="277"/>
                  <a:pt x="6" y="277"/>
                  <a:pt x="6" y="277"/>
                </a:cubicBezTo>
                <a:cubicBezTo>
                  <a:pt x="9" y="280"/>
                  <a:pt x="9" y="280"/>
                  <a:pt x="9" y="280"/>
                </a:cubicBezTo>
                <a:cubicBezTo>
                  <a:pt x="9" y="281"/>
                  <a:pt x="9" y="281"/>
                  <a:pt x="9" y="281"/>
                </a:cubicBezTo>
                <a:cubicBezTo>
                  <a:pt x="9" y="294"/>
                  <a:pt x="9" y="294"/>
                  <a:pt x="9" y="294"/>
                </a:cubicBezTo>
                <a:cubicBezTo>
                  <a:pt x="9" y="295"/>
                  <a:pt x="9" y="295"/>
                  <a:pt x="9" y="295"/>
                </a:cubicBezTo>
                <a:cubicBezTo>
                  <a:pt x="10" y="296"/>
                  <a:pt x="10" y="296"/>
                  <a:pt x="10" y="296"/>
                </a:cubicBezTo>
                <a:cubicBezTo>
                  <a:pt x="10" y="297"/>
                  <a:pt x="10" y="298"/>
                  <a:pt x="10" y="298"/>
                </a:cubicBezTo>
                <a:cubicBezTo>
                  <a:pt x="9" y="299"/>
                  <a:pt x="9" y="299"/>
                  <a:pt x="8" y="299"/>
                </a:cubicBezTo>
                <a:cubicBezTo>
                  <a:pt x="8" y="299"/>
                  <a:pt x="8" y="299"/>
                  <a:pt x="8" y="299"/>
                </a:cubicBezTo>
                <a:cubicBezTo>
                  <a:pt x="10" y="301"/>
                  <a:pt x="10" y="301"/>
                  <a:pt x="10" y="301"/>
                </a:cubicBezTo>
                <a:cubicBezTo>
                  <a:pt x="16" y="301"/>
                  <a:pt x="16" y="301"/>
                  <a:pt x="16" y="301"/>
                </a:cubicBezTo>
                <a:cubicBezTo>
                  <a:pt x="16" y="301"/>
                  <a:pt x="16" y="301"/>
                  <a:pt x="16" y="301"/>
                </a:cubicBezTo>
                <a:cubicBezTo>
                  <a:pt x="18" y="300"/>
                  <a:pt x="18" y="300"/>
                  <a:pt x="18" y="300"/>
                </a:cubicBezTo>
                <a:cubicBezTo>
                  <a:pt x="19" y="300"/>
                  <a:pt x="19" y="300"/>
                  <a:pt x="19" y="300"/>
                </a:cubicBezTo>
                <a:cubicBezTo>
                  <a:pt x="21" y="300"/>
                  <a:pt x="21" y="300"/>
                  <a:pt x="21" y="300"/>
                </a:cubicBezTo>
                <a:cubicBezTo>
                  <a:pt x="22" y="300"/>
                  <a:pt x="22" y="300"/>
                  <a:pt x="23" y="301"/>
                </a:cubicBezTo>
                <a:cubicBezTo>
                  <a:pt x="25" y="304"/>
                  <a:pt x="25" y="304"/>
                  <a:pt x="25" y="304"/>
                </a:cubicBezTo>
                <a:cubicBezTo>
                  <a:pt x="29" y="304"/>
                  <a:pt x="29" y="304"/>
                  <a:pt x="29" y="304"/>
                </a:cubicBezTo>
                <a:cubicBezTo>
                  <a:pt x="30" y="304"/>
                  <a:pt x="30" y="304"/>
                  <a:pt x="31" y="305"/>
                </a:cubicBezTo>
                <a:cubicBezTo>
                  <a:pt x="32" y="305"/>
                  <a:pt x="32" y="305"/>
                  <a:pt x="33" y="306"/>
                </a:cubicBezTo>
                <a:cubicBezTo>
                  <a:pt x="34" y="306"/>
                  <a:pt x="35" y="307"/>
                  <a:pt x="35" y="308"/>
                </a:cubicBezTo>
                <a:cubicBezTo>
                  <a:pt x="35" y="311"/>
                  <a:pt x="35" y="311"/>
                  <a:pt x="35" y="311"/>
                </a:cubicBezTo>
                <a:cubicBezTo>
                  <a:pt x="37" y="312"/>
                  <a:pt x="37" y="312"/>
                  <a:pt x="37" y="312"/>
                </a:cubicBezTo>
                <a:cubicBezTo>
                  <a:pt x="38" y="313"/>
                  <a:pt x="38" y="313"/>
                  <a:pt x="38" y="313"/>
                </a:cubicBezTo>
                <a:cubicBezTo>
                  <a:pt x="38" y="315"/>
                  <a:pt x="38" y="315"/>
                  <a:pt x="38" y="315"/>
                </a:cubicBezTo>
                <a:cubicBezTo>
                  <a:pt x="39" y="317"/>
                  <a:pt x="39" y="317"/>
                  <a:pt x="39" y="317"/>
                </a:cubicBezTo>
                <a:cubicBezTo>
                  <a:pt x="41" y="316"/>
                  <a:pt x="41" y="316"/>
                  <a:pt x="41" y="316"/>
                </a:cubicBezTo>
                <a:cubicBezTo>
                  <a:pt x="45" y="311"/>
                  <a:pt x="45" y="311"/>
                  <a:pt x="45" y="311"/>
                </a:cubicBezTo>
                <a:cubicBezTo>
                  <a:pt x="47" y="307"/>
                  <a:pt x="47" y="307"/>
                  <a:pt x="47" y="307"/>
                </a:cubicBezTo>
                <a:cubicBezTo>
                  <a:pt x="48" y="305"/>
                  <a:pt x="48" y="305"/>
                  <a:pt x="48" y="305"/>
                </a:cubicBezTo>
                <a:cubicBezTo>
                  <a:pt x="50" y="300"/>
                  <a:pt x="50" y="300"/>
                  <a:pt x="50" y="300"/>
                </a:cubicBezTo>
                <a:cubicBezTo>
                  <a:pt x="53" y="296"/>
                  <a:pt x="53" y="296"/>
                  <a:pt x="53" y="296"/>
                </a:cubicBezTo>
                <a:cubicBezTo>
                  <a:pt x="58" y="290"/>
                  <a:pt x="58" y="290"/>
                  <a:pt x="58" y="290"/>
                </a:cubicBezTo>
                <a:cubicBezTo>
                  <a:pt x="61" y="287"/>
                  <a:pt x="61" y="287"/>
                  <a:pt x="61" y="287"/>
                </a:cubicBezTo>
                <a:cubicBezTo>
                  <a:pt x="64" y="286"/>
                  <a:pt x="64" y="286"/>
                  <a:pt x="64" y="286"/>
                </a:cubicBezTo>
                <a:cubicBezTo>
                  <a:pt x="69" y="285"/>
                  <a:pt x="69" y="285"/>
                  <a:pt x="69" y="285"/>
                </a:cubicBezTo>
                <a:cubicBezTo>
                  <a:pt x="81" y="279"/>
                  <a:pt x="81" y="279"/>
                  <a:pt x="81" y="279"/>
                </a:cubicBezTo>
                <a:cubicBezTo>
                  <a:pt x="81" y="279"/>
                  <a:pt x="81" y="279"/>
                  <a:pt x="81" y="279"/>
                </a:cubicBezTo>
                <a:cubicBezTo>
                  <a:pt x="93" y="266"/>
                  <a:pt x="93" y="266"/>
                  <a:pt x="93" y="266"/>
                </a:cubicBezTo>
                <a:cubicBezTo>
                  <a:pt x="94" y="264"/>
                  <a:pt x="94" y="264"/>
                  <a:pt x="94" y="264"/>
                </a:cubicBezTo>
                <a:cubicBezTo>
                  <a:pt x="104" y="240"/>
                  <a:pt x="104" y="240"/>
                  <a:pt x="104" y="240"/>
                </a:cubicBezTo>
                <a:cubicBezTo>
                  <a:pt x="104" y="239"/>
                  <a:pt x="104" y="239"/>
                  <a:pt x="104" y="239"/>
                </a:cubicBezTo>
                <a:cubicBezTo>
                  <a:pt x="104" y="238"/>
                  <a:pt x="104" y="238"/>
                  <a:pt x="104" y="238"/>
                </a:cubicBezTo>
                <a:cubicBezTo>
                  <a:pt x="104" y="236"/>
                  <a:pt x="104" y="236"/>
                  <a:pt x="104" y="236"/>
                </a:cubicBezTo>
                <a:lnTo>
                  <a:pt x="103" y="23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7" name="Freeform 60">
            <a:extLst>
              <a:ext uri="{FF2B5EF4-FFF2-40B4-BE49-F238E27FC236}">
                <a16:creationId xmlns:a16="http://schemas.microsoft.com/office/drawing/2014/main" id="{F9460347-3CAB-49EA-8E34-96D532CAFCD5}"/>
              </a:ext>
            </a:extLst>
          </p:cNvPr>
          <p:cNvSpPr>
            <a:spLocks noEditPoints="1"/>
          </p:cNvSpPr>
          <p:nvPr/>
        </p:nvSpPr>
        <p:spPr bwMode="auto">
          <a:xfrm>
            <a:off x="3731433" y="1277466"/>
            <a:ext cx="1086907" cy="781050"/>
          </a:xfrm>
          <a:custGeom>
            <a:avLst/>
            <a:gdLst>
              <a:gd name="T0" fmla="*/ 38 w 450"/>
              <a:gd name="T1" fmla="*/ 74 h 350"/>
              <a:gd name="T2" fmla="*/ 40 w 450"/>
              <a:gd name="T3" fmla="*/ 65 h 350"/>
              <a:gd name="T4" fmla="*/ 447 w 450"/>
              <a:gd name="T5" fmla="*/ 163 h 350"/>
              <a:gd name="T6" fmla="*/ 414 w 450"/>
              <a:gd name="T7" fmla="*/ 175 h 350"/>
              <a:gd name="T8" fmla="*/ 377 w 450"/>
              <a:gd name="T9" fmla="*/ 164 h 350"/>
              <a:gd name="T10" fmla="*/ 364 w 450"/>
              <a:gd name="T11" fmla="*/ 148 h 350"/>
              <a:gd name="T12" fmla="*/ 352 w 450"/>
              <a:gd name="T13" fmla="*/ 141 h 350"/>
              <a:gd name="T14" fmla="*/ 326 w 450"/>
              <a:gd name="T15" fmla="*/ 139 h 350"/>
              <a:gd name="T16" fmla="*/ 306 w 450"/>
              <a:gd name="T17" fmla="*/ 131 h 350"/>
              <a:gd name="T18" fmla="*/ 298 w 450"/>
              <a:gd name="T19" fmla="*/ 107 h 350"/>
              <a:gd name="T20" fmla="*/ 288 w 450"/>
              <a:gd name="T21" fmla="*/ 123 h 350"/>
              <a:gd name="T22" fmla="*/ 275 w 450"/>
              <a:gd name="T23" fmla="*/ 130 h 350"/>
              <a:gd name="T24" fmla="*/ 265 w 450"/>
              <a:gd name="T25" fmla="*/ 108 h 350"/>
              <a:gd name="T26" fmla="*/ 254 w 450"/>
              <a:gd name="T27" fmla="*/ 98 h 350"/>
              <a:gd name="T28" fmla="*/ 228 w 450"/>
              <a:gd name="T29" fmla="*/ 103 h 350"/>
              <a:gd name="T30" fmla="*/ 236 w 450"/>
              <a:gd name="T31" fmla="*/ 123 h 350"/>
              <a:gd name="T32" fmla="*/ 234 w 450"/>
              <a:gd name="T33" fmla="*/ 152 h 350"/>
              <a:gd name="T34" fmla="*/ 243 w 450"/>
              <a:gd name="T35" fmla="*/ 163 h 350"/>
              <a:gd name="T36" fmla="*/ 203 w 450"/>
              <a:gd name="T37" fmla="*/ 148 h 350"/>
              <a:gd name="T38" fmla="*/ 207 w 450"/>
              <a:gd name="T39" fmla="*/ 183 h 350"/>
              <a:gd name="T40" fmla="*/ 201 w 450"/>
              <a:gd name="T41" fmla="*/ 185 h 350"/>
              <a:gd name="T42" fmla="*/ 198 w 450"/>
              <a:gd name="T43" fmla="*/ 185 h 350"/>
              <a:gd name="T44" fmla="*/ 176 w 450"/>
              <a:gd name="T45" fmla="*/ 164 h 350"/>
              <a:gd name="T46" fmla="*/ 180 w 450"/>
              <a:gd name="T47" fmla="*/ 206 h 350"/>
              <a:gd name="T48" fmla="*/ 213 w 450"/>
              <a:gd name="T49" fmla="*/ 245 h 350"/>
              <a:gd name="T50" fmla="*/ 180 w 450"/>
              <a:gd name="T51" fmla="*/ 237 h 350"/>
              <a:gd name="T52" fmla="*/ 175 w 450"/>
              <a:gd name="T53" fmla="*/ 290 h 350"/>
              <a:gd name="T54" fmla="*/ 220 w 450"/>
              <a:gd name="T55" fmla="*/ 282 h 350"/>
              <a:gd name="T56" fmla="*/ 223 w 450"/>
              <a:gd name="T57" fmla="*/ 283 h 350"/>
              <a:gd name="T58" fmla="*/ 186 w 450"/>
              <a:gd name="T59" fmla="*/ 307 h 350"/>
              <a:gd name="T60" fmla="*/ 232 w 450"/>
              <a:gd name="T61" fmla="*/ 324 h 350"/>
              <a:gd name="T62" fmla="*/ 233 w 450"/>
              <a:gd name="T63" fmla="*/ 337 h 350"/>
              <a:gd name="T64" fmla="*/ 258 w 450"/>
              <a:gd name="T65" fmla="*/ 348 h 350"/>
              <a:gd name="T66" fmla="*/ 270 w 450"/>
              <a:gd name="T67" fmla="*/ 343 h 350"/>
              <a:gd name="T68" fmla="*/ 261 w 450"/>
              <a:gd name="T69" fmla="*/ 331 h 350"/>
              <a:gd name="T70" fmla="*/ 244 w 450"/>
              <a:gd name="T71" fmla="*/ 323 h 350"/>
              <a:gd name="T72" fmla="*/ 264 w 450"/>
              <a:gd name="T73" fmla="*/ 311 h 350"/>
              <a:gd name="T74" fmla="*/ 275 w 450"/>
              <a:gd name="T75" fmla="*/ 287 h 350"/>
              <a:gd name="T76" fmla="*/ 291 w 450"/>
              <a:gd name="T77" fmla="*/ 279 h 350"/>
              <a:gd name="T78" fmla="*/ 325 w 450"/>
              <a:gd name="T79" fmla="*/ 271 h 350"/>
              <a:gd name="T80" fmla="*/ 346 w 450"/>
              <a:gd name="T81" fmla="*/ 266 h 350"/>
              <a:gd name="T82" fmla="*/ 375 w 450"/>
              <a:gd name="T83" fmla="*/ 255 h 350"/>
              <a:gd name="T84" fmla="*/ 396 w 450"/>
              <a:gd name="T85" fmla="*/ 240 h 350"/>
              <a:gd name="T86" fmla="*/ 369 w 450"/>
              <a:gd name="T87" fmla="*/ 234 h 350"/>
              <a:gd name="T88" fmla="*/ 418 w 450"/>
              <a:gd name="T89" fmla="*/ 196 h 350"/>
              <a:gd name="T90" fmla="*/ 419 w 450"/>
              <a:gd name="T91" fmla="*/ 209 h 350"/>
              <a:gd name="T92" fmla="*/ 132 w 450"/>
              <a:gd name="T93" fmla="*/ 64 h 350"/>
              <a:gd name="T94" fmla="*/ 126 w 450"/>
              <a:gd name="T95" fmla="*/ 38 h 350"/>
              <a:gd name="T96" fmla="*/ 117 w 450"/>
              <a:gd name="T97" fmla="*/ 2 h 350"/>
              <a:gd name="T98" fmla="*/ 68 w 450"/>
              <a:gd name="T99" fmla="*/ 42 h 350"/>
              <a:gd name="T100" fmla="*/ 52 w 450"/>
              <a:gd name="T101" fmla="*/ 81 h 350"/>
              <a:gd name="T102" fmla="*/ 1 w 450"/>
              <a:gd name="T103" fmla="*/ 93 h 350"/>
              <a:gd name="T104" fmla="*/ 20 w 450"/>
              <a:gd name="T105" fmla="*/ 109 h 350"/>
              <a:gd name="T106" fmla="*/ 37 w 450"/>
              <a:gd name="T107" fmla="*/ 114 h 350"/>
              <a:gd name="T108" fmla="*/ 49 w 450"/>
              <a:gd name="T109" fmla="*/ 119 h 350"/>
              <a:gd name="T110" fmla="*/ 58 w 450"/>
              <a:gd name="T111" fmla="*/ 120 h 350"/>
              <a:gd name="T112" fmla="*/ 86 w 450"/>
              <a:gd name="T113" fmla="*/ 143 h 350"/>
              <a:gd name="T114" fmla="*/ 82 w 450"/>
              <a:gd name="T115" fmla="*/ 107 h 350"/>
              <a:gd name="T116" fmla="*/ 134 w 450"/>
              <a:gd name="T117" fmla="*/ 76 h 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50" h="350">
                <a:moveTo>
                  <a:pt x="37" y="74"/>
                </a:moveTo>
                <a:cubicBezTo>
                  <a:pt x="37" y="74"/>
                  <a:pt x="37" y="74"/>
                  <a:pt x="37" y="74"/>
                </a:cubicBezTo>
                <a:cubicBezTo>
                  <a:pt x="36" y="74"/>
                  <a:pt x="36" y="74"/>
                  <a:pt x="36" y="74"/>
                </a:cubicBezTo>
                <a:cubicBezTo>
                  <a:pt x="37" y="75"/>
                  <a:pt x="37" y="75"/>
                  <a:pt x="37" y="75"/>
                </a:cubicBezTo>
                <a:cubicBezTo>
                  <a:pt x="39" y="76"/>
                  <a:pt x="39" y="76"/>
                  <a:pt x="39" y="76"/>
                </a:cubicBezTo>
                <a:cubicBezTo>
                  <a:pt x="39" y="76"/>
                  <a:pt x="39" y="76"/>
                  <a:pt x="39" y="76"/>
                </a:cubicBezTo>
                <a:cubicBezTo>
                  <a:pt x="39" y="76"/>
                  <a:pt x="39" y="76"/>
                  <a:pt x="39" y="76"/>
                </a:cubicBezTo>
                <a:cubicBezTo>
                  <a:pt x="39" y="75"/>
                  <a:pt x="39" y="75"/>
                  <a:pt x="39" y="75"/>
                </a:cubicBezTo>
                <a:cubicBezTo>
                  <a:pt x="39" y="74"/>
                  <a:pt x="39" y="74"/>
                  <a:pt x="39" y="74"/>
                </a:cubicBezTo>
                <a:cubicBezTo>
                  <a:pt x="38" y="74"/>
                  <a:pt x="38" y="74"/>
                  <a:pt x="38" y="74"/>
                </a:cubicBezTo>
                <a:lnTo>
                  <a:pt x="37" y="74"/>
                </a:lnTo>
                <a:close/>
                <a:moveTo>
                  <a:pt x="41" y="73"/>
                </a:moveTo>
                <a:cubicBezTo>
                  <a:pt x="47" y="77"/>
                  <a:pt x="47" y="77"/>
                  <a:pt x="47" y="77"/>
                </a:cubicBezTo>
                <a:cubicBezTo>
                  <a:pt x="48" y="78"/>
                  <a:pt x="48" y="78"/>
                  <a:pt x="48" y="78"/>
                </a:cubicBezTo>
                <a:cubicBezTo>
                  <a:pt x="48" y="77"/>
                  <a:pt x="48" y="77"/>
                  <a:pt x="48" y="77"/>
                </a:cubicBezTo>
                <a:cubicBezTo>
                  <a:pt x="48" y="76"/>
                  <a:pt x="48" y="76"/>
                  <a:pt x="48" y="76"/>
                </a:cubicBezTo>
                <a:cubicBezTo>
                  <a:pt x="48" y="73"/>
                  <a:pt x="48" y="73"/>
                  <a:pt x="48" y="73"/>
                </a:cubicBezTo>
                <a:cubicBezTo>
                  <a:pt x="47" y="72"/>
                  <a:pt x="47" y="72"/>
                  <a:pt x="47" y="72"/>
                </a:cubicBezTo>
                <a:cubicBezTo>
                  <a:pt x="45" y="71"/>
                  <a:pt x="45" y="71"/>
                  <a:pt x="45" y="71"/>
                </a:cubicBezTo>
                <a:cubicBezTo>
                  <a:pt x="40" y="65"/>
                  <a:pt x="40" y="65"/>
                  <a:pt x="40" y="65"/>
                </a:cubicBezTo>
                <a:cubicBezTo>
                  <a:pt x="40" y="64"/>
                  <a:pt x="40" y="64"/>
                  <a:pt x="40" y="64"/>
                </a:cubicBezTo>
                <a:cubicBezTo>
                  <a:pt x="36" y="64"/>
                  <a:pt x="36" y="64"/>
                  <a:pt x="36" y="64"/>
                </a:cubicBezTo>
                <a:cubicBezTo>
                  <a:pt x="35" y="64"/>
                  <a:pt x="35" y="64"/>
                  <a:pt x="35" y="64"/>
                </a:cubicBezTo>
                <a:cubicBezTo>
                  <a:pt x="34" y="64"/>
                  <a:pt x="34" y="64"/>
                  <a:pt x="34" y="64"/>
                </a:cubicBezTo>
                <a:cubicBezTo>
                  <a:pt x="34" y="66"/>
                  <a:pt x="34" y="66"/>
                  <a:pt x="34" y="66"/>
                </a:cubicBezTo>
                <a:cubicBezTo>
                  <a:pt x="35" y="66"/>
                  <a:pt x="35" y="66"/>
                  <a:pt x="35" y="66"/>
                </a:cubicBezTo>
                <a:lnTo>
                  <a:pt x="41" y="73"/>
                </a:lnTo>
                <a:close/>
                <a:moveTo>
                  <a:pt x="450" y="163"/>
                </a:moveTo>
                <a:cubicBezTo>
                  <a:pt x="449" y="163"/>
                  <a:pt x="449" y="163"/>
                  <a:pt x="449" y="163"/>
                </a:cubicBezTo>
                <a:cubicBezTo>
                  <a:pt x="447" y="163"/>
                  <a:pt x="447" y="163"/>
                  <a:pt x="447" y="163"/>
                </a:cubicBezTo>
                <a:cubicBezTo>
                  <a:pt x="446" y="163"/>
                  <a:pt x="446" y="163"/>
                  <a:pt x="446" y="163"/>
                </a:cubicBezTo>
                <a:cubicBezTo>
                  <a:pt x="445" y="164"/>
                  <a:pt x="445" y="164"/>
                  <a:pt x="445" y="164"/>
                </a:cubicBezTo>
                <a:cubicBezTo>
                  <a:pt x="444" y="165"/>
                  <a:pt x="444" y="165"/>
                  <a:pt x="444" y="165"/>
                </a:cubicBezTo>
                <a:cubicBezTo>
                  <a:pt x="444" y="166"/>
                  <a:pt x="444" y="166"/>
                  <a:pt x="444" y="166"/>
                </a:cubicBezTo>
                <a:cubicBezTo>
                  <a:pt x="443" y="170"/>
                  <a:pt x="443" y="170"/>
                  <a:pt x="443" y="170"/>
                </a:cubicBezTo>
                <a:cubicBezTo>
                  <a:pt x="443" y="172"/>
                  <a:pt x="443" y="172"/>
                  <a:pt x="443" y="172"/>
                </a:cubicBezTo>
                <a:cubicBezTo>
                  <a:pt x="441" y="173"/>
                  <a:pt x="441" y="173"/>
                  <a:pt x="441" y="173"/>
                </a:cubicBezTo>
                <a:cubicBezTo>
                  <a:pt x="439" y="174"/>
                  <a:pt x="439" y="174"/>
                  <a:pt x="439" y="174"/>
                </a:cubicBezTo>
                <a:cubicBezTo>
                  <a:pt x="431" y="175"/>
                  <a:pt x="431" y="175"/>
                  <a:pt x="431" y="175"/>
                </a:cubicBezTo>
                <a:cubicBezTo>
                  <a:pt x="414" y="175"/>
                  <a:pt x="414" y="175"/>
                  <a:pt x="414" y="175"/>
                </a:cubicBezTo>
                <a:cubicBezTo>
                  <a:pt x="396" y="172"/>
                  <a:pt x="396" y="172"/>
                  <a:pt x="396" y="172"/>
                </a:cubicBezTo>
                <a:cubicBezTo>
                  <a:pt x="396" y="171"/>
                  <a:pt x="396" y="171"/>
                  <a:pt x="396" y="171"/>
                </a:cubicBezTo>
                <a:cubicBezTo>
                  <a:pt x="394" y="166"/>
                  <a:pt x="394" y="166"/>
                  <a:pt x="394" y="166"/>
                </a:cubicBezTo>
                <a:cubicBezTo>
                  <a:pt x="394" y="167"/>
                  <a:pt x="393" y="167"/>
                  <a:pt x="393" y="167"/>
                </a:cubicBezTo>
                <a:cubicBezTo>
                  <a:pt x="393" y="167"/>
                  <a:pt x="391" y="167"/>
                  <a:pt x="389" y="167"/>
                </a:cubicBezTo>
                <a:cubicBezTo>
                  <a:pt x="388" y="167"/>
                  <a:pt x="388" y="167"/>
                  <a:pt x="387" y="167"/>
                </a:cubicBezTo>
                <a:cubicBezTo>
                  <a:pt x="383" y="167"/>
                  <a:pt x="383" y="167"/>
                  <a:pt x="383" y="167"/>
                </a:cubicBezTo>
                <a:cubicBezTo>
                  <a:pt x="382" y="167"/>
                  <a:pt x="381" y="166"/>
                  <a:pt x="381" y="166"/>
                </a:cubicBezTo>
                <a:cubicBezTo>
                  <a:pt x="381" y="166"/>
                  <a:pt x="381" y="166"/>
                  <a:pt x="380" y="166"/>
                </a:cubicBezTo>
                <a:cubicBezTo>
                  <a:pt x="380" y="166"/>
                  <a:pt x="378" y="165"/>
                  <a:pt x="377" y="164"/>
                </a:cubicBezTo>
                <a:cubicBezTo>
                  <a:pt x="376" y="163"/>
                  <a:pt x="375" y="163"/>
                  <a:pt x="375" y="163"/>
                </a:cubicBezTo>
                <a:cubicBezTo>
                  <a:pt x="373" y="160"/>
                  <a:pt x="373" y="160"/>
                  <a:pt x="373" y="160"/>
                </a:cubicBezTo>
                <a:cubicBezTo>
                  <a:pt x="372" y="159"/>
                  <a:pt x="372" y="159"/>
                  <a:pt x="372" y="159"/>
                </a:cubicBezTo>
                <a:cubicBezTo>
                  <a:pt x="372" y="157"/>
                  <a:pt x="372" y="157"/>
                  <a:pt x="372" y="157"/>
                </a:cubicBezTo>
                <a:cubicBezTo>
                  <a:pt x="371" y="156"/>
                  <a:pt x="371" y="156"/>
                  <a:pt x="371" y="156"/>
                </a:cubicBezTo>
                <a:cubicBezTo>
                  <a:pt x="371" y="156"/>
                  <a:pt x="369" y="155"/>
                  <a:pt x="368" y="154"/>
                </a:cubicBezTo>
                <a:cubicBezTo>
                  <a:pt x="368" y="154"/>
                  <a:pt x="367" y="153"/>
                  <a:pt x="366" y="153"/>
                </a:cubicBezTo>
                <a:cubicBezTo>
                  <a:pt x="365" y="153"/>
                  <a:pt x="364" y="152"/>
                  <a:pt x="364" y="151"/>
                </a:cubicBezTo>
                <a:cubicBezTo>
                  <a:pt x="365" y="150"/>
                  <a:pt x="365" y="150"/>
                  <a:pt x="365" y="149"/>
                </a:cubicBezTo>
                <a:cubicBezTo>
                  <a:pt x="365" y="149"/>
                  <a:pt x="364" y="149"/>
                  <a:pt x="364" y="148"/>
                </a:cubicBezTo>
                <a:cubicBezTo>
                  <a:pt x="363" y="148"/>
                  <a:pt x="363" y="148"/>
                  <a:pt x="363" y="148"/>
                </a:cubicBezTo>
                <a:cubicBezTo>
                  <a:pt x="362" y="147"/>
                  <a:pt x="362" y="146"/>
                  <a:pt x="362" y="145"/>
                </a:cubicBezTo>
                <a:cubicBezTo>
                  <a:pt x="362" y="145"/>
                  <a:pt x="362" y="145"/>
                  <a:pt x="362" y="145"/>
                </a:cubicBezTo>
                <a:cubicBezTo>
                  <a:pt x="362" y="145"/>
                  <a:pt x="362" y="145"/>
                  <a:pt x="362" y="145"/>
                </a:cubicBezTo>
                <a:cubicBezTo>
                  <a:pt x="359" y="145"/>
                  <a:pt x="359" y="145"/>
                  <a:pt x="359" y="145"/>
                </a:cubicBezTo>
                <a:cubicBezTo>
                  <a:pt x="358" y="145"/>
                  <a:pt x="357" y="145"/>
                  <a:pt x="357" y="144"/>
                </a:cubicBezTo>
                <a:cubicBezTo>
                  <a:pt x="357" y="143"/>
                  <a:pt x="357" y="143"/>
                  <a:pt x="357" y="143"/>
                </a:cubicBezTo>
                <a:cubicBezTo>
                  <a:pt x="356" y="143"/>
                  <a:pt x="356" y="143"/>
                  <a:pt x="356" y="143"/>
                </a:cubicBezTo>
                <a:cubicBezTo>
                  <a:pt x="355" y="143"/>
                  <a:pt x="355" y="143"/>
                  <a:pt x="354" y="142"/>
                </a:cubicBezTo>
                <a:cubicBezTo>
                  <a:pt x="352" y="141"/>
                  <a:pt x="352" y="141"/>
                  <a:pt x="352" y="141"/>
                </a:cubicBezTo>
                <a:cubicBezTo>
                  <a:pt x="352" y="141"/>
                  <a:pt x="351" y="140"/>
                  <a:pt x="350" y="140"/>
                </a:cubicBezTo>
                <a:cubicBezTo>
                  <a:pt x="344" y="140"/>
                  <a:pt x="344" y="140"/>
                  <a:pt x="344" y="140"/>
                </a:cubicBezTo>
                <a:cubicBezTo>
                  <a:pt x="344" y="140"/>
                  <a:pt x="344" y="140"/>
                  <a:pt x="344" y="140"/>
                </a:cubicBezTo>
                <a:cubicBezTo>
                  <a:pt x="343" y="139"/>
                  <a:pt x="342" y="139"/>
                  <a:pt x="342" y="139"/>
                </a:cubicBezTo>
                <a:cubicBezTo>
                  <a:pt x="341" y="140"/>
                  <a:pt x="339" y="140"/>
                  <a:pt x="338" y="139"/>
                </a:cubicBezTo>
                <a:cubicBezTo>
                  <a:pt x="338" y="139"/>
                  <a:pt x="338" y="139"/>
                  <a:pt x="338" y="139"/>
                </a:cubicBezTo>
                <a:cubicBezTo>
                  <a:pt x="335" y="138"/>
                  <a:pt x="335" y="138"/>
                  <a:pt x="335" y="138"/>
                </a:cubicBezTo>
                <a:cubicBezTo>
                  <a:pt x="334" y="138"/>
                  <a:pt x="332" y="138"/>
                  <a:pt x="331" y="137"/>
                </a:cubicBezTo>
                <a:cubicBezTo>
                  <a:pt x="330" y="137"/>
                  <a:pt x="330" y="137"/>
                  <a:pt x="329" y="138"/>
                </a:cubicBezTo>
                <a:cubicBezTo>
                  <a:pt x="328" y="139"/>
                  <a:pt x="327" y="140"/>
                  <a:pt x="326" y="139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22" y="139"/>
                  <a:pt x="322" y="139"/>
                  <a:pt x="322" y="139"/>
                </a:cubicBezTo>
                <a:cubicBezTo>
                  <a:pt x="321" y="139"/>
                  <a:pt x="321" y="138"/>
                  <a:pt x="320" y="138"/>
                </a:cubicBezTo>
                <a:cubicBezTo>
                  <a:pt x="319" y="137"/>
                  <a:pt x="319" y="137"/>
                  <a:pt x="319" y="137"/>
                </a:cubicBezTo>
                <a:cubicBezTo>
                  <a:pt x="316" y="137"/>
                  <a:pt x="316" y="137"/>
                  <a:pt x="316" y="137"/>
                </a:cubicBezTo>
                <a:cubicBezTo>
                  <a:pt x="315" y="137"/>
                  <a:pt x="314" y="136"/>
                  <a:pt x="314" y="135"/>
                </a:cubicBezTo>
                <a:cubicBezTo>
                  <a:pt x="310" y="135"/>
                  <a:pt x="310" y="135"/>
                  <a:pt x="310" y="135"/>
                </a:cubicBezTo>
                <a:cubicBezTo>
                  <a:pt x="309" y="135"/>
                  <a:pt x="308" y="134"/>
                  <a:pt x="308" y="133"/>
                </a:cubicBezTo>
                <a:cubicBezTo>
                  <a:pt x="308" y="132"/>
                  <a:pt x="308" y="132"/>
                  <a:pt x="308" y="132"/>
                </a:cubicBezTo>
                <a:cubicBezTo>
                  <a:pt x="306" y="131"/>
                  <a:pt x="306" y="131"/>
                  <a:pt x="306" y="131"/>
                </a:cubicBezTo>
                <a:cubicBezTo>
                  <a:pt x="306" y="130"/>
                  <a:pt x="306" y="130"/>
                  <a:pt x="306" y="130"/>
                </a:cubicBezTo>
                <a:cubicBezTo>
                  <a:pt x="305" y="129"/>
                  <a:pt x="305" y="129"/>
                  <a:pt x="305" y="129"/>
                </a:cubicBezTo>
                <a:cubicBezTo>
                  <a:pt x="304" y="129"/>
                  <a:pt x="303" y="128"/>
                  <a:pt x="303" y="127"/>
                </a:cubicBezTo>
                <a:cubicBezTo>
                  <a:pt x="303" y="125"/>
                  <a:pt x="303" y="125"/>
                  <a:pt x="303" y="125"/>
                </a:cubicBezTo>
                <a:cubicBezTo>
                  <a:pt x="301" y="124"/>
                  <a:pt x="301" y="124"/>
                  <a:pt x="301" y="124"/>
                </a:cubicBezTo>
                <a:cubicBezTo>
                  <a:pt x="300" y="123"/>
                  <a:pt x="300" y="123"/>
                  <a:pt x="300" y="123"/>
                </a:cubicBezTo>
                <a:cubicBezTo>
                  <a:pt x="299" y="123"/>
                  <a:pt x="298" y="122"/>
                  <a:pt x="298" y="121"/>
                </a:cubicBezTo>
                <a:cubicBezTo>
                  <a:pt x="298" y="108"/>
                  <a:pt x="298" y="108"/>
                  <a:pt x="298" y="108"/>
                </a:cubicBezTo>
                <a:cubicBezTo>
                  <a:pt x="298" y="107"/>
                  <a:pt x="298" y="107"/>
                  <a:pt x="298" y="107"/>
                </a:cubicBezTo>
                <a:cubicBezTo>
                  <a:pt x="298" y="107"/>
                  <a:pt x="298" y="107"/>
                  <a:pt x="298" y="107"/>
                </a:cubicBezTo>
                <a:cubicBezTo>
                  <a:pt x="298" y="107"/>
                  <a:pt x="298" y="107"/>
                  <a:pt x="298" y="107"/>
                </a:cubicBezTo>
                <a:cubicBezTo>
                  <a:pt x="298" y="108"/>
                  <a:pt x="298" y="108"/>
                  <a:pt x="297" y="108"/>
                </a:cubicBezTo>
                <a:cubicBezTo>
                  <a:pt x="297" y="109"/>
                  <a:pt x="296" y="110"/>
                  <a:pt x="295" y="111"/>
                </a:cubicBezTo>
                <a:cubicBezTo>
                  <a:pt x="295" y="112"/>
                  <a:pt x="295" y="112"/>
                  <a:pt x="295" y="113"/>
                </a:cubicBezTo>
                <a:cubicBezTo>
                  <a:pt x="294" y="114"/>
                  <a:pt x="294" y="114"/>
                  <a:pt x="294" y="114"/>
                </a:cubicBezTo>
                <a:cubicBezTo>
                  <a:pt x="294" y="114"/>
                  <a:pt x="292" y="115"/>
                  <a:pt x="290" y="117"/>
                </a:cubicBezTo>
                <a:cubicBezTo>
                  <a:pt x="290" y="118"/>
                  <a:pt x="290" y="118"/>
                  <a:pt x="290" y="119"/>
                </a:cubicBezTo>
                <a:cubicBezTo>
                  <a:pt x="290" y="119"/>
                  <a:pt x="289" y="120"/>
                  <a:pt x="288" y="122"/>
                </a:cubicBezTo>
                <a:cubicBezTo>
                  <a:pt x="288" y="123"/>
                  <a:pt x="288" y="123"/>
                  <a:pt x="288" y="123"/>
                </a:cubicBezTo>
                <a:cubicBezTo>
                  <a:pt x="288" y="123"/>
                  <a:pt x="288" y="123"/>
                  <a:pt x="288" y="123"/>
                </a:cubicBezTo>
                <a:cubicBezTo>
                  <a:pt x="288" y="124"/>
                  <a:pt x="288" y="124"/>
                  <a:pt x="288" y="124"/>
                </a:cubicBezTo>
                <a:cubicBezTo>
                  <a:pt x="288" y="125"/>
                  <a:pt x="288" y="125"/>
                  <a:pt x="288" y="126"/>
                </a:cubicBezTo>
                <a:cubicBezTo>
                  <a:pt x="288" y="130"/>
                  <a:pt x="288" y="130"/>
                  <a:pt x="288" y="130"/>
                </a:cubicBezTo>
                <a:cubicBezTo>
                  <a:pt x="288" y="132"/>
                  <a:pt x="287" y="133"/>
                  <a:pt x="286" y="133"/>
                </a:cubicBezTo>
                <a:cubicBezTo>
                  <a:pt x="285" y="133"/>
                  <a:pt x="284" y="133"/>
                  <a:pt x="283" y="132"/>
                </a:cubicBezTo>
                <a:cubicBezTo>
                  <a:pt x="281" y="132"/>
                  <a:pt x="281" y="132"/>
                  <a:pt x="281" y="132"/>
                </a:cubicBezTo>
                <a:cubicBezTo>
                  <a:pt x="281" y="132"/>
                  <a:pt x="281" y="132"/>
                  <a:pt x="280" y="132"/>
                </a:cubicBezTo>
                <a:cubicBezTo>
                  <a:pt x="278" y="131"/>
                  <a:pt x="278" y="131"/>
                  <a:pt x="278" y="131"/>
                </a:cubicBezTo>
                <a:cubicBezTo>
                  <a:pt x="277" y="131"/>
                  <a:pt x="277" y="131"/>
                  <a:pt x="277" y="131"/>
                </a:cubicBezTo>
                <a:cubicBezTo>
                  <a:pt x="276" y="131"/>
                  <a:pt x="276" y="130"/>
                  <a:pt x="275" y="130"/>
                </a:cubicBezTo>
                <a:cubicBezTo>
                  <a:pt x="272" y="126"/>
                  <a:pt x="272" y="126"/>
                  <a:pt x="272" y="126"/>
                </a:cubicBezTo>
                <a:cubicBezTo>
                  <a:pt x="271" y="126"/>
                  <a:pt x="271" y="126"/>
                  <a:pt x="271" y="126"/>
                </a:cubicBezTo>
                <a:cubicBezTo>
                  <a:pt x="269" y="124"/>
                  <a:pt x="269" y="124"/>
                  <a:pt x="269" y="124"/>
                </a:cubicBezTo>
                <a:cubicBezTo>
                  <a:pt x="268" y="124"/>
                  <a:pt x="268" y="123"/>
                  <a:pt x="268" y="123"/>
                </a:cubicBezTo>
                <a:cubicBezTo>
                  <a:pt x="268" y="121"/>
                  <a:pt x="268" y="121"/>
                  <a:pt x="268" y="121"/>
                </a:cubicBezTo>
                <a:cubicBezTo>
                  <a:pt x="267" y="121"/>
                  <a:pt x="266" y="120"/>
                  <a:pt x="266" y="119"/>
                </a:cubicBezTo>
                <a:cubicBezTo>
                  <a:pt x="266" y="117"/>
                  <a:pt x="266" y="117"/>
                  <a:pt x="266" y="117"/>
                </a:cubicBezTo>
                <a:cubicBezTo>
                  <a:pt x="265" y="115"/>
                  <a:pt x="265" y="115"/>
                  <a:pt x="265" y="115"/>
                </a:cubicBezTo>
                <a:cubicBezTo>
                  <a:pt x="265" y="115"/>
                  <a:pt x="265" y="115"/>
                  <a:pt x="265" y="114"/>
                </a:cubicBezTo>
                <a:cubicBezTo>
                  <a:pt x="265" y="108"/>
                  <a:pt x="265" y="108"/>
                  <a:pt x="265" y="108"/>
                </a:cubicBezTo>
                <a:cubicBezTo>
                  <a:pt x="264" y="107"/>
                  <a:pt x="264" y="107"/>
                  <a:pt x="264" y="107"/>
                </a:cubicBezTo>
                <a:cubicBezTo>
                  <a:pt x="261" y="107"/>
                  <a:pt x="261" y="107"/>
                  <a:pt x="261" y="107"/>
                </a:cubicBezTo>
                <a:cubicBezTo>
                  <a:pt x="260" y="107"/>
                  <a:pt x="259" y="106"/>
                  <a:pt x="259" y="105"/>
                </a:cubicBezTo>
                <a:cubicBezTo>
                  <a:pt x="259" y="102"/>
                  <a:pt x="259" y="102"/>
                  <a:pt x="259" y="102"/>
                </a:cubicBezTo>
                <a:cubicBezTo>
                  <a:pt x="258" y="101"/>
                  <a:pt x="258" y="101"/>
                  <a:pt x="258" y="101"/>
                </a:cubicBezTo>
                <a:cubicBezTo>
                  <a:pt x="257" y="101"/>
                  <a:pt x="257" y="100"/>
                  <a:pt x="257" y="100"/>
                </a:cubicBezTo>
                <a:cubicBezTo>
                  <a:pt x="257" y="99"/>
                  <a:pt x="257" y="99"/>
                  <a:pt x="257" y="99"/>
                </a:cubicBezTo>
                <a:cubicBezTo>
                  <a:pt x="256" y="98"/>
                  <a:pt x="256" y="98"/>
                  <a:pt x="256" y="98"/>
                </a:cubicBezTo>
                <a:cubicBezTo>
                  <a:pt x="254" y="98"/>
                  <a:pt x="254" y="98"/>
                  <a:pt x="254" y="98"/>
                </a:cubicBezTo>
                <a:cubicBezTo>
                  <a:pt x="254" y="98"/>
                  <a:pt x="254" y="98"/>
                  <a:pt x="254" y="98"/>
                </a:cubicBezTo>
                <a:cubicBezTo>
                  <a:pt x="255" y="96"/>
                  <a:pt x="255" y="96"/>
                  <a:pt x="255" y="96"/>
                </a:cubicBezTo>
                <a:cubicBezTo>
                  <a:pt x="252" y="107"/>
                  <a:pt x="252" y="107"/>
                  <a:pt x="252" y="107"/>
                </a:cubicBezTo>
                <a:cubicBezTo>
                  <a:pt x="251" y="112"/>
                  <a:pt x="251" y="112"/>
                  <a:pt x="251" y="112"/>
                </a:cubicBezTo>
                <a:cubicBezTo>
                  <a:pt x="250" y="113"/>
                  <a:pt x="250" y="113"/>
                  <a:pt x="250" y="113"/>
                </a:cubicBezTo>
                <a:cubicBezTo>
                  <a:pt x="248" y="114"/>
                  <a:pt x="248" y="114"/>
                  <a:pt x="248" y="114"/>
                </a:cubicBezTo>
                <a:cubicBezTo>
                  <a:pt x="246" y="114"/>
                  <a:pt x="246" y="114"/>
                  <a:pt x="246" y="114"/>
                </a:cubicBezTo>
                <a:cubicBezTo>
                  <a:pt x="239" y="111"/>
                  <a:pt x="239" y="111"/>
                  <a:pt x="239" y="111"/>
                </a:cubicBezTo>
                <a:cubicBezTo>
                  <a:pt x="237" y="112"/>
                  <a:pt x="237" y="112"/>
                  <a:pt x="237" y="112"/>
                </a:cubicBezTo>
                <a:cubicBezTo>
                  <a:pt x="229" y="104"/>
                  <a:pt x="229" y="104"/>
                  <a:pt x="229" y="104"/>
                </a:cubicBezTo>
                <a:cubicBezTo>
                  <a:pt x="228" y="103"/>
                  <a:pt x="228" y="103"/>
                  <a:pt x="228" y="103"/>
                </a:cubicBezTo>
                <a:cubicBezTo>
                  <a:pt x="226" y="104"/>
                  <a:pt x="226" y="104"/>
                  <a:pt x="226" y="104"/>
                </a:cubicBezTo>
                <a:cubicBezTo>
                  <a:pt x="226" y="104"/>
                  <a:pt x="226" y="104"/>
                  <a:pt x="226" y="104"/>
                </a:cubicBezTo>
                <a:cubicBezTo>
                  <a:pt x="225" y="106"/>
                  <a:pt x="225" y="106"/>
                  <a:pt x="225" y="106"/>
                </a:cubicBezTo>
                <a:cubicBezTo>
                  <a:pt x="223" y="112"/>
                  <a:pt x="223" y="112"/>
                  <a:pt x="223" y="112"/>
                </a:cubicBezTo>
                <a:cubicBezTo>
                  <a:pt x="228" y="121"/>
                  <a:pt x="228" y="121"/>
                  <a:pt x="228" y="121"/>
                </a:cubicBezTo>
                <a:cubicBezTo>
                  <a:pt x="228" y="121"/>
                  <a:pt x="228" y="121"/>
                  <a:pt x="228" y="121"/>
                </a:cubicBezTo>
                <a:cubicBezTo>
                  <a:pt x="232" y="123"/>
                  <a:pt x="232" y="123"/>
                  <a:pt x="232" y="123"/>
                </a:cubicBezTo>
                <a:cubicBezTo>
                  <a:pt x="233" y="123"/>
                  <a:pt x="233" y="123"/>
                  <a:pt x="233" y="123"/>
                </a:cubicBezTo>
                <a:cubicBezTo>
                  <a:pt x="233" y="123"/>
                  <a:pt x="233" y="123"/>
                  <a:pt x="233" y="123"/>
                </a:cubicBezTo>
                <a:cubicBezTo>
                  <a:pt x="236" y="123"/>
                  <a:pt x="236" y="123"/>
                  <a:pt x="236" y="123"/>
                </a:cubicBezTo>
                <a:cubicBezTo>
                  <a:pt x="255" y="140"/>
                  <a:pt x="255" y="140"/>
                  <a:pt x="255" y="140"/>
                </a:cubicBezTo>
                <a:cubicBezTo>
                  <a:pt x="267" y="158"/>
                  <a:pt x="267" y="158"/>
                  <a:pt x="267" y="158"/>
                </a:cubicBezTo>
                <a:cubicBezTo>
                  <a:pt x="270" y="165"/>
                  <a:pt x="270" y="165"/>
                  <a:pt x="270" y="165"/>
                </a:cubicBezTo>
                <a:cubicBezTo>
                  <a:pt x="268" y="163"/>
                  <a:pt x="268" y="163"/>
                  <a:pt x="268" y="163"/>
                </a:cubicBezTo>
                <a:cubicBezTo>
                  <a:pt x="238" y="145"/>
                  <a:pt x="238" y="145"/>
                  <a:pt x="238" y="145"/>
                </a:cubicBezTo>
                <a:cubicBezTo>
                  <a:pt x="237" y="145"/>
                  <a:pt x="237" y="145"/>
                  <a:pt x="237" y="145"/>
                </a:cubicBezTo>
                <a:cubicBezTo>
                  <a:pt x="232" y="147"/>
                  <a:pt x="232" y="147"/>
                  <a:pt x="232" y="147"/>
                </a:cubicBezTo>
                <a:cubicBezTo>
                  <a:pt x="232" y="148"/>
                  <a:pt x="232" y="148"/>
                  <a:pt x="232" y="148"/>
                </a:cubicBezTo>
                <a:cubicBezTo>
                  <a:pt x="233" y="152"/>
                  <a:pt x="233" y="152"/>
                  <a:pt x="233" y="152"/>
                </a:cubicBezTo>
                <a:cubicBezTo>
                  <a:pt x="234" y="152"/>
                  <a:pt x="234" y="152"/>
                  <a:pt x="234" y="152"/>
                </a:cubicBezTo>
                <a:cubicBezTo>
                  <a:pt x="243" y="157"/>
                  <a:pt x="243" y="157"/>
                  <a:pt x="243" y="157"/>
                </a:cubicBezTo>
                <a:cubicBezTo>
                  <a:pt x="252" y="163"/>
                  <a:pt x="252" y="163"/>
                  <a:pt x="252" y="163"/>
                </a:cubicBezTo>
                <a:cubicBezTo>
                  <a:pt x="253" y="165"/>
                  <a:pt x="253" y="165"/>
                  <a:pt x="253" y="165"/>
                </a:cubicBezTo>
                <a:cubicBezTo>
                  <a:pt x="255" y="168"/>
                  <a:pt x="255" y="168"/>
                  <a:pt x="255" y="168"/>
                </a:cubicBezTo>
                <a:cubicBezTo>
                  <a:pt x="256" y="169"/>
                  <a:pt x="256" y="169"/>
                  <a:pt x="256" y="169"/>
                </a:cubicBezTo>
                <a:cubicBezTo>
                  <a:pt x="255" y="169"/>
                  <a:pt x="255" y="169"/>
                  <a:pt x="255" y="169"/>
                </a:cubicBezTo>
                <a:cubicBezTo>
                  <a:pt x="249" y="167"/>
                  <a:pt x="249" y="167"/>
                  <a:pt x="249" y="167"/>
                </a:cubicBezTo>
                <a:cubicBezTo>
                  <a:pt x="248" y="166"/>
                  <a:pt x="248" y="166"/>
                  <a:pt x="248" y="166"/>
                </a:cubicBezTo>
                <a:cubicBezTo>
                  <a:pt x="246" y="165"/>
                  <a:pt x="246" y="165"/>
                  <a:pt x="246" y="165"/>
                </a:cubicBezTo>
                <a:cubicBezTo>
                  <a:pt x="243" y="163"/>
                  <a:pt x="243" y="163"/>
                  <a:pt x="243" y="163"/>
                </a:cubicBezTo>
                <a:cubicBezTo>
                  <a:pt x="240" y="161"/>
                  <a:pt x="240" y="161"/>
                  <a:pt x="240" y="161"/>
                </a:cubicBezTo>
                <a:cubicBezTo>
                  <a:pt x="225" y="163"/>
                  <a:pt x="225" y="163"/>
                  <a:pt x="225" y="163"/>
                </a:cubicBezTo>
                <a:cubicBezTo>
                  <a:pt x="224" y="167"/>
                  <a:pt x="224" y="167"/>
                  <a:pt x="224" y="167"/>
                </a:cubicBezTo>
                <a:cubicBezTo>
                  <a:pt x="224" y="168"/>
                  <a:pt x="224" y="168"/>
                  <a:pt x="224" y="168"/>
                </a:cubicBezTo>
                <a:cubicBezTo>
                  <a:pt x="223" y="168"/>
                  <a:pt x="223" y="168"/>
                  <a:pt x="223" y="168"/>
                </a:cubicBezTo>
                <a:cubicBezTo>
                  <a:pt x="214" y="163"/>
                  <a:pt x="214" y="163"/>
                  <a:pt x="214" y="163"/>
                </a:cubicBezTo>
                <a:cubicBezTo>
                  <a:pt x="214" y="163"/>
                  <a:pt x="214" y="163"/>
                  <a:pt x="214" y="163"/>
                </a:cubicBezTo>
                <a:cubicBezTo>
                  <a:pt x="211" y="157"/>
                  <a:pt x="211" y="157"/>
                  <a:pt x="211" y="157"/>
                </a:cubicBezTo>
                <a:cubicBezTo>
                  <a:pt x="208" y="153"/>
                  <a:pt x="208" y="153"/>
                  <a:pt x="208" y="153"/>
                </a:cubicBezTo>
                <a:cubicBezTo>
                  <a:pt x="203" y="148"/>
                  <a:pt x="203" y="148"/>
                  <a:pt x="203" y="148"/>
                </a:cubicBezTo>
                <a:cubicBezTo>
                  <a:pt x="201" y="151"/>
                  <a:pt x="201" y="151"/>
                  <a:pt x="201" y="151"/>
                </a:cubicBezTo>
                <a:cubicBezTo>
                  <a:pt x="200" y="152"/>
                  <a:pt x="200" y="152"/>
                  <a:pt x="200" y="152"/>
                </a:cubicBezTo>
                <a:cubicBezTo>
                  <a:pt x="199" y="154"/>
                  <a:pt x="199" y="154"/>
                  <a:pt x="199" y="154"/>
                </a:cubicBezTo>
                <a:cubicBezTo>
                  <a:pt x="198" y="156"/>
                  <a:pt x="198" y="156"/>
                  <a:pt x="198" y="156"/>
                </a:cubicBezTo>
                <a:cubicBezTo>
                  <a:pt x="198" y="157"/>
                  <a:pt x="198" y="157"/>
                  <a:pt x="198" y="157"/>
                </a:cubicBezTo>
                <a:cubicBezTo>
                  <a:pt x="205" y="168"/>
                  <a:pt x="205" y="168"/>
                  <a:pt x="205" y="168"/>
                </a:cubicBezTo>
                <a:cubicBezTo>
                  <a:pt x="206" y="180"/>
                  <a:pt x="206" y="180"/>
                  <a:pt x="206" y="180"/>
                </a:cubicBezTo>
                <a:cubicBezTo>
                  <a:pt x="206" y="180"/>
                  <a:pt x="206" y="180"/>
                  <a:pt x="206" y="180"/>
                </a:cubicBezTo>
                <a:cubicBezTo>
                  <a:pt x="206" y="181"/>
                  <a:pt x="206" y="181"/>
                  <a:pt x="206" y="181"/>
                </a:cubicBezTo>
                <a:cubicBezTo>
                  <a:pt x="207" y="183"/>
                  <a:pt x="207" y="183"/>
                  <a:pt x="207" y="183"/>
                </a:cubicBezTo>
                <a:cubicBezTo>
                  <a:pt x="207" y="183"/>
                  <a:pt x="207" y="183"/>
                  <a:pt x="207" y="183"/>
                </a:cubicBezTo>
                <a:cubicBezTo>
                  <a:pt x="206" y="184"/>
                  <a:pt x="206" y="184"/>
                  <a:pt x="206" y="184"/>
                </a:cubicBezTo>
                <a:cubicBezTo>
                  <a:pt x="205" y="184"/>
                  <a:pt x="205" y="184"/>
                  <a:pt x="205" y="184"/>
                </a:cubicBezTo>
                <a:cubicBezTo>
                  <a:pt x="205" y="184"/>
                  <a:pt x="205" y="184"/>
                  <a:pt x="205" y="184"/>
                </a:cubicBezTo>
                <a:cubicBezTo>
                  <a:pt x="204" y="183"/>
                  <a:pt x="204" y="183"/>
                  <a:pt x="204" y="183"/>
                </a:cubicBezTo>
                <a:cubicBezTo>
                  <a:pt x="203" y="182"/>
                  <a:pt x="203" y="182"/>
                  <a:pt x="203" y="182"/>
                </a:cubicBezTo>
                <a:cubicBezTo>
                  <a:pt x="202" y="183"/>
                  <a:pt x="202" y="183"/>
                  <a:pt x="202" y="183"/>
                </a:cubicBezTo>
                <a:cubicBezTo>
                  <a:pt x="201" y="183"/>
                  <a:pt x="201" y="183"/>
                  <a:pt x="201" y="183"/>
                </a:cubicBezTo>
                <a:cubicBezTo>
                  <a:pt x="201" y="184"/>
                  <a:pt x="201" y="184"/>
                  <a:pt x="201" y="184"/>
                </a:cubicBezTo>
                <a:cubicBezTo>
                  <a:pt x="201" y="185"/>
                  <a:pt x="201" y="185"/>
                  <a:pt x="201" y="185"/>
                </a:cubicBezTo>
                <a:cubicBezTo>
                  <a:pt x="203" y="186"/>
                  <a:pt x="203" y="186"/>
                  <a:pt x="203" y="186"/>
                </a:cubicBezTo>
                <a:cubicBezTo>
                  <a:pt x="203" y="186"/>
                  <a:pt x="203" y="186"/>
                  <a:pt x="203" y="186"/>
                </a:cubicBezTo>
                <a:cubicBezTo>
                  <a:pt x="204" y="187"/>
                  <a:pt x="204" y="187"/>
                  <a:pt x="204" y="187"/>
                </a:cubicBezTo>
                <a:cubicBezTo>
                  <a:pt x="204" y="188"/>
                  <a:pt x="204" y="188"/>
                  <a:pt x="204" y="188"/>
                </a:cubicBezTo>
                <a:cubicBezTo>
                  <a:pt x="203" y="188"/>
                  <a:pt x="203" y="188"/>
                  <a:pt x="203" y="188"/>
                </a:cubicBezTo>
                <a:cubicBezTo>
                  <a:pt x="203" y="188"/>
                  <a:pt x="203" y="188"/>
                  <a:pt x="203" y="188"/>
                </a:cubicBezTo>
                <a:cubicBezTo>
                  <a:pt x="202" y="188"/>
                  <a:pt x="202" y="188"/>
                  <a:pt x="202" y="188"/>
                </a:cubicBezTo>
                <a:cubicBezTo>
                  <a:pt x="202" y="188"/>
                  <a:pt x="202" y="188"/>
                  <a:pt x="202" y="188"/>
                </a:cubicBezTo>
                <a:cubicBezTo>
                  <a:pt x="201" y="188"/>
                  <a:pt x="201" y="188"/>
                  <a:pt x="201" y="188"/>
                </a:cubicBezTo>
                <a:cubicBezTo>
                  <a:pt x="198" y="185"/>
                  <a:pt x="198" y="185"/>
                  <a:pt x="198" y="185"/>
                </a:cubicBezTo>
                <a:cubicBezTo>
                  <a:pt x="196" y="182"/>
                  <a:pt x="196" y="182"/>
                  <a:pt x="196" y="182"/>
                </a:cubicBezTo>
                <a:cubicBezTo>
                  <a:pt x="196" y="180"/>
                  <a:pt x="196" y="180"/>
                  <a:pt x="196" y="180"/>
                </a:cubicBezTo>
                <a:cubicBezTo>
                  <a:pt x="196" y="178"/>
                  <a:pt x="196" y="178"/>
                  <a:pt x="196" y="178"/>
                </a:cubicBezTo>
                <a:cubicBezTo>
                  <a:pt x="196" y="175"/>
                  <a:pt x="196" y="175"/>
                  <a:pt x="196" y="175"/>
                </a:cubicBezTo>
                <a:cubicBezTo>
                  <a:pt x="194" y="165"/>
                  <a:pt x="194" y="165"/>
                  <a:pt x="194" y="165"/>
                </a:cubicBezTo>
                <a:cubicBezTo>
                  <a:pt x="193" y="164"/>
                  <a:pt x="193" y="164"/>
                  <a:pt x="193" y="164"/>
                </a:cubicBezTo>
                <a:cubicBezTo>
                  <a:pt x="190" y="163"/>
                  <a:pt x="190" y="163"/>
                  <a:pt x="190" y="163"/>
                </a:cubicBezTo>
                <a:cubicBezTo>
                  <a:pt x="189" y="163"/>
                  <a:pt x="189" y="163"/>
                  <a:pt x="189" y="163"/>
                </a:cubicBezTo>
                <a:cubicBezTo>
                  <a:pt x="185" y="163"/>
                  <a:pt x="185" y="163"/>
                  <a:pt x="185" y="163"/>
                </a:cubicBezTo>
                <a:cubicBezTo>
                  <a:pt x="176" y="164"/>
                  <a:pt x="176" y="164"/>
                  <a:pt x="176" y="164"/>
                </a:cubicBezTo>
                <a:cubicBezTo>
                  <a:pt x="174" y="165"/>
                  <a:pt x="174" y="165"/>
                  <a:pt x="174" y="165"/>
                </a:cubicBezTo>
                <a:cubicBezTo>
                  <a:pt x="174" y="166"/>
                  <a:pt x="174" y="166"/>
                  <a:pt x="174" y="166"/>
                </a:cubicBezTo>
                <a:cubicBezTo>
                  <a:pt x="176" y="193"/>
                  <a:pt x="176" y="193"/>
                  <a:pt x="176" y="193"/>
                </a:cubicBezTo>
                <a:cubicBezTo>
                  <a:pt x="177" y="195"/>
                  <a:pt x="177" y="195"/>
                  <a:pt x="177" y="195"/>
                </a:cubicBezTo>
                <a:cubicBezTo>
                  <a:pt x="183" y="199"/>
                  <a:pt x="183" y="199"/>
                  <a:pt x="183" y="199"/>
                </a:cubicBezTo>
                <a:cubicBezTo>
                  <a:pt x="194" y="205"/>
                  <a:pt x="194" y="205"/>
                  <a:pt x="194" y="205"/>
                </a:cubicBezTo>
                <a:cubicBezTo>
                  <a:pt x="185" y="205"/>
                  <a:pt x="185" y="205"/>
                  <a:pt x="185" y="205"/>
                </a:cubicBezTo>
                <a:cubicBezTo>
                  <a:pt x="184" y="205"/>
                  <a:pt x="184" y="205"/>
                  <a:pt x="184" y="205"/>
                </a:cubicBezTo>
                <a:cubicBezTo>
                  <a:pt x="183" y="205"/>
                  <a:pt x="183" y="205"/>
                  <a:pt x="183" y="205"/>
                </a:cubicBezTo>
                <a:cubicBezTo>
                  <a:pt x="180" y="206"/>
                  <a:pt x="180" y="206"/>
                  <a:pt x="180" y="206"/>
                </a:cubicBezTo>
                <a:cubicBezTo>
                  <a:pt x="179" y="207"/>
                  <a:pt x="179" y="207"/>
                  <a:pt x="179" y="207"/>
                </a:cubicBezTo>
                <a:cubicBezTo>
                  <a:pt x="175" y="219"/>
                  <a:pt x="175" y="219"/>
                  <a:pt x="175" y="219"/>
                </a:cubicBezTo>
                <a:cubicBezTo>
                  <a:pt x="175" y="220"/>
                  <a:pt x="175" y="220"/>
                  <a:pt x="175" y="220"/>
                </a:cubicBezTo>
                <a:cubicBezTo>
                  <a:pt x="175" y="221"/>
                  <a:pt x="175" y="221"/>
                  <a:pt x="175" y="221"/>
                </a:cubicBezTo>
                <a:cubicBezTo>
                  <a:pt x="190" y="240"/>
                  <a:pt x="190" y="240"/>
                  <a:pt x="190" y="240"/>
                </a:cubicBezTo>
                <a:cubicBezTo>
                  <a:pt x="194" y="244"/>
                  <a:pt x="194" y="244"/>
                  <a:pt x="194" y="244"/>
                </a:cubicBezTo>
                <a:cubicBezTo>
                  <a:pt x="196" y="244"/>
                  <a:pt x="196" y="244"/>
                  <a:pt x="196" y="244"/>
                </a:cubicBezTo>
                <a:cubicBezTo>
                  <a:pt x="199" y="243"/>
                  <a:pt x="199" y="243"/>
                  <a:pt x="199" y="243"/>
                </a:cubicBezTo>
                <a:cubicBezTo>
                  <a:pt x="206" y="242"/>
                  <a:pt x="206" y="242"/>
                  <a:pt x="206" y="242"/>
                </a:cubicBezTo>
                <a:cubicBezTo>
                  <a:pt x="213" y="245"/>
                  <a:pt x="213" y="245"/>
                  <a:pt x="213" y="245"/>
                </a:cubicBezTo>
                <a:cubicBezTo>
                  <a:pt x="214" y="245"/>
                  <a:pt x="214" y="245"/>
                  <a:pt x="214" y="245"/>
                </a:cubicBezTo>
                <a:cubicBezTo>
                  <a:pt x="214" y="246"/>
                  <a:pt x="214" y="246"/>
                  <a:pt x="214" y="246"/>
                </a:cubicBezTo>
                <a:cubicBezTo>
                  <a:pt x="215" y="246"/>
                  <a:pt x="215" y="246"/>
                  <a:pt x="215" y="246"/>
                </a:cubicBezTo>
                <a:cubicBezTo>
                  <a:pt x="214" y="247"/>
                  <a:pt x="214" y="247"/>
                  <a:pt x="214" y="247"/>
                </a:cubicBezTo>
                <a:cubicBezTo>
                  <a:pt x="214" y="248"/>
                  <a:pt x="214" y="248"/>
                  <a:pt x="214" y="248"/>
                </a:cubicBezTo>
                <a:cubicBezTo>
                  <a:pt x="197" y="254"/>
                  <a:pt x="197" y="254"/>
                  <a:pt x="197" y="254"/>
                </a:cubicBezTo>
                <a:cubicBezTo>
                  <a:pt x="196" y="254"/>
                  <a:pt x="196" y="254"/>
                  <a:pt x="196" y="254"/>
                </a:cubicBezTo>
                <a:cubicBezTo>
                  <a:pt x="191" y="249"/>
                  <a:pt x="191" y="249"/>
                  <a:pt x="191" y="249"/>
                </a:cubicBezTo>
                <a:cubicBezTo>
                  <a:pt x="191" y="248"/>
                  <a:pt x="191" y="248"/>
                  <a:pt x="191" y="248"/>
                </a:cubicBezTo>
                <a:cubicBezTo>
                  <a:pt x="180" y="237"/>
                  <a:pt x="180" y="237"/>
                  <a:pt x="180" y="237"/>
                </a:cubicBezTo>
                <a:cubicBezTo>
                  <a:pt x="176" y="236"/>
                  <a:pt x="176" y="236"/>
                  <a:pt x="176" y="236"/>
                </a:cubicBezTo>
                <a:cubicBezTo>
                  <a:pt x="172" y="236"/>
                  <a:pt x="172" y="236"/>
                  <a:pt x="172" y="236"/>
                </a:cubicBezTo>
                <a:cubicBezTo>
                  <a:pt x="170" y="242"/>
                  <a:pt x="170" y="242"/>
                  <a:pt x="170" y="242"/>
                </a:cubicBezTo>
                <a:cubicBezTo>
                  <a:pt x="167" y="255"/>
                  <a:pt x="167" y="255"/>
                  <a:pt x="167" y="255"/>
                </a:cubicBezTo>
                <a:cubicBezTo>
                  <a:pt x="167" y="258"/>
                  <a:pt x="167" y="258"/>
                  <a:pt x="167" y="258"/>
                </a:cubicBezTo>
                <a:cubicBezTo>
                  <a:pt x="166" y="263"/>
                  <a:pt x="166" y="263"/>
                  <a:pt x="166" y="263"/>
                </a:cubicBezTo>
                <a:cubicBezTo>
                  <a:pt x="168" y="269"/>
                  <a:pt x="168" y="269"/>
                  <a:pt x="168" y="269"/>
                </a:cubicBezTo>
                <a:cubicBezTo>
                  <a:pt x="168" y="270"/>
                  <a:pt x="168" y="270"/>
                  <a:pt x="168" y="270"/>
                </a:cubicBezTo>
                <a:cubicBezTo>
                  <a:pt x="173" y="286"/>
                  <a:pt x="173" y="286"/>
                  <a:pt x="173" y="286"/>
                </a:cubicBezTo>
                <a:cubicBezTo>
                  <a:pt x="175" y="290"/>
                  <a:pt x="175" y="290"/>
                  <a:pt x="175" y="290"/>
                </a:cubicBezTo>
                <a:cubicBezTo>
                  <a:pt x="175" y="291"/>
                  <a:pt x="175" y="291"/>
                  <a:pt x="175" y="291"/>
                </a:cubicBezTo>
                <a:cubicBezTo>
                  <a:pt x="178" y="294"/>
                  <a:pt x="178" y="294"/>
                  <a:pt x="178" y="294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80" y="295"/>
                  <a:pt x="180" y="295"/>
                  <a:pt x="180" y="295"/>
                </a:cubicBezTo>
                <a:cubicBezTo>
                  <a:pt x="202" y="292"/>
                  <a:pt x="202" y="292"/>
                  <a:pt x="202" y="292"/>
                </a:cubicBezTo>
                <a:cubicBezTo>
                  <a:pt x="205" y="292"/>
                  <a:pt x="205" y="292"/>
                  <a:pt x="205" y="292"/>
                </a:cubicBezTo>
                <a:cubicBezTo>
                  <a:pt x="210" y="291"/>
                  <a:pt x="210" y="291"/>
                  <a:pt x="210" y="291"/>
                </a:cubicBezTo>
                <a:cubicBezTo>
                  <a:pt x="210" y="291"/>
                  <a:pt x="210" y="291"/>
                  <a:pt x="210" y="291"/>
                </a:cubicBezTo>
                <a:cubicBezTo>
                  <a:pt x="218" y="283"/>
                  <a:pt x="218" y="283"/>
                  <a:pt x="218" y="283"/>
                </a:cubicBezTo>
                <a:cubicBezTo>
                  <a:pt x="220" y="282"/>
                  <a:pt x="220" y="282"/>
                  <a:pt x="220" y="282"/>
                </a:cubicBezTo>
                <a:cubicBezTo>
                  <a:pt x="220" y="281"/>
                  <a:pt x="220" y="281"/>
                  <a:pt x="220" y="281"/>
                </a:cubicBezTo>
                <a:cubicBezTo>
                  <a:pt x="221" y="280"/>
                  <a:pt x="221" y="280"/>
                  <a:pt x="221" y="280"/>
                </a:cubicBezTo>
                <a:cubicBezTo>
                  <a:pt x="223" y="278"/>
                  <a:pt x="223" y="278"/>
                  <a:pt x="223" y="278"/>
                </a:cubicBezTo>
                <a:cubicBezTo>
                  <a:pt x="224" y="277"/>
                  <a:pt x="224" y="277"/>
                  <a:pt x="224" y="277"/>
                </a:cubicBezTo>
                <a:cubicBezTo>
                  <a:pt x="225" y="277"/>
                  <a:pt x="225" y="277"/>
                  <a:pt x="225" y="277"/>
                </a:cubicBezTo>
                <a:cubicBezTo>
                  <a:pt x="225" y="277"/>
                  <a:pt x="225" y="277"/>
                  <a:pt x="225" y="277"/>
                </a:cubicBezTo>
                <a:cubicBezTo>
                  <a:pt x="225" y="278"/>
                  <a:pt x="225" y="278"/>
                  <a:pt x="225" y="278"/>
                </a:cubicBezTo>
                <a:cubicBezTo>
                  <a:pt x="225" y="281"/>
                  <a:pt x="225" y="281"/>
                  <a:pt x="225" y="281"/>
                </a:cubicBezTo>
                <a:cubicBezTo>
                  <a:pt x="224" y="281"/>
                  <a:pt x="224" y="281"/>
                  <a:pt x="224" y="281"/>
                </a:cubicBezTo>
                <a:cubicBezTo>
                  <a:pt x="223" y="283"/>
                  <a:pt x="223" y="283"/>
                  <a:pt x="223" y="283"/>
                </a:cubicBezTo>
                <a:cubicBezTo>
                  <a:pt x="219" y="287"/>
                  <a:pt x="219" y="287"/>
                  <a:pt x="219" y="287"/>
                </a:cubicBezTo>
                <a:cubicBezTo>
                  <a:pt x="215" y="291"/>
                  <a:pt x="215" y="291"/>
                  <a:pt x="215" y="291"/>
                </a:cubicBezTo>
                <a:cubicBezTo>
                  <a:pt x="213" y="292"/>
                  <a:pt x="213" y="292"/>
                  <a:pt x="213" y="292"/>
                </a:cubicBezTo>
                <a:cubicBezTo>
                  <a:pt x="204" y="295"/>
                  <a:pt x="204" y="295"/>
                  <a:pt x="204" y="295"/>
                </a:cubicBezTo>
                <a:cubicBezTo>
                  <a:pt x="200" y="297"/>
                  <a:pt x="200" y="297"/>
                  <a:pt x="200" y="297"/>
                </a:cubicBezTo>
                <a:cubicBezTo>
                  <a:pt x="197" y="296"/>
                  <a:pt x="197" y="296"/>
                  <a:pt x="197" y="296"/>
                </a:cubicBezTo>
                <a:cubicBezTo>
                  <a:pt x="194" y="297"/>
                  <a:pt x="194" y="297"/>
                  <a:pt x="194" y="297"/>
                </a:cubicBezTo>
                <a:cubicBezTo>
                  <a:pt x="189" y="301"/>
                  <a:pt x="189" y="301"/>
                  <a:pt x="189" y="301"/>
                </a:cubicBezTo>
                <a:cubicBezTo>
                  <a:pt x="188" y="302"/>
                  <a:pt x="188" y="302"/>
                  <a:pt x="188" y="302"/>
                </a:cubicBezTo>
                <a:cubicBezTo>
                  <a:pt x="186" y="307"/>
                  <a:pt x="186" y="307"/>
                  <a:pt x="186" y="307"/>
                </a:cubicBezTo>
                <a:cubicBezTo>
                  <a:pt x="185" y="309"/>
                  <a:pt x="185" y="309"/>
                  <a:pt x="185" y="309"/>
                </a:cubicBezTo>
                <a:cubicBezTo>
                  <a:pt x="185" y="309"/>
                  <a:pt x="185" y="309"/>
                  <a:pt x="185" y="309"/>
                </a:cubicBezTo>
                <a:cubicBezTo>
                  <a:pt x="186" y="311"/>
                  <a:pt x="186" y="311"/>
                  <a:pt x="186" y="311"/>
                </a:cubicBezTo>
                <a:cubicBezTo>
                  <a:pt x="189" y="312"/>
                  <a:pt x="189" y="312"/>
                  <a:pt x="189" y="312"/>
                </a:cubicBezTo>
                <a:cubicBezTo>
                  <a:pt x="200" y="312"/>
                  <a:pt x="200" y="312"/>
                  <a:pt x="200" y="312"/>
                </a:cubicBezTo>
                <a:cubicBezTo>
                  <a:pt x="209" y="312"/>
                  <a:pt x="209" y="312"/>
                  <a:pt x="209" y="312"/>
                </a:cubicBezTo>
                <a:cubicBezTo>
                  <a:pt x="210" y="312"/>
                  <a:pt x="210" y="312"/>
                  <a:pt x="210" y="312"/>
                </a:cubicBezTo>
                <a:cubicBezTo>
                  <a:pt x="212" y="313"/>
                  <a:pt x="212" y="313"/>
                  <a:pt x="212" y="313"/>
                </a:cubicBezTo>
                <a:cubicBezTo>
                  <a:pt x="214" y="313"/>
                  <a:pt x="214" y="313"/>
                  <a:pt x="214" y="313"/>
                </a:cubicBezTo>
                <a:cubicBezTo>
                  <a:pt x="232" y="324"/>
                  <a:pt x="232" y="324"/>
                  <a:pt x="232" y="324"/>
                </a:cubicBezTo>
                <a:cubicBezTo>
                  <a:pt x="232" y="325"/>
                  <a:pt x="232" y="325"/>
                  <a:pt x="232" y="325"/>
                </a:cubicBezTo>
                <a:cubicBezTo>
                  <a:pt x="232" y="326"/>
                  <a:pt x="232" y="326"/>
                  <a:pt x="232" y="326"/>
                </a:cubicBezTo>
                <a:cubicBezTo>
                  <a:pt x="231" y="326"/>
                  <a:pt x="231" y="326"/>
                  <a:pt x="231" y="326"/>
                </a:cubicBezTo>
                <a:cubicBezTo>
                  <a:pt x="230" y="327"/>
                  <a:pt x="230" y="327"/>
                  <a:pt x="230" y="327"/>
                </a:cubicBezTo>
                <a:cubicBezTo>
                  <a:pt x="228" y="327"/>
                  <a:pt x="228" y="327"/>
                  <a:pt x="228" y="327"/>
                </a:cubicBezTo>
                <a:cubicBezTo>
                  <a:pt x="229" y="327"/>
                  <a:pt x="229" y="327"/>
                  <a:pt x="229" y="327"/>
                </a:cubicBezTo>
                <a:cubicBezTo>
                  <a:pt x="229" y="333"/>
                  <a:pt x="229" y="333"/>
                  <a:pt x="229" y="333"/>
                </a:cubicBezTo>
                <a:cubicBezTo>
                  <a:pt x="229" y="335"/>
                  <a:pt x="229" y="335"/>
                  <a:pt x="229" y="335"/>
                </a:cubicBezTo>
                <a:cubicBezTo>
                  <a:pt x="229" y="335"/>
                  <a:pt x="231" y="336"/>
                  <a:pt x="232" y="336"/>
                </a:cubicBezTo>
                <a:cubicBezTo>
                  <a:pt x="233" y="337"/>
                  <a:pt x="233" y="337"/>
                  <a:pt x="233" y="337"/>
                </a:cubicBezTo>
                <a:cubicBezTo>
                  <a:pt x="234" y="337"/>
                  <a:pt x="235" y="337"/>
                  <a:pt x="236" y="338"/>
                </a:cubicBezTo>
                <a:cubicBezTo>
                  <a:pt x="241" y="341"/>
                  <a:pt x="241" y="341"/>
                  <a:pt x="241" y="341"/>
                </a:cubicBezTo>
                <a:cubicBezTo>
                  <a:pt x="244" y="344"/>
                  <a:pt x="244" y="344"/>
                  <a:pt x="244" y="344"/>
                </a:cubicBezTo>
                <a:cubicBezTo>
                  <a:pt x="246" y="345"/>
                  <a:pt x="247" y="346"/>
                  <a:pt x="247" y="347"/>
                </a:cubicBezTo>
                <a:cubicBezTo>
                  <a:pt x="249" y="349"/>
                  <a:pt x="249" y="349"/>
                  <a:pt x="249" y="349"/>
                </a:cubicBezTo>
                <a:cubicBezTo>
                  <a:pt x="249" y="350"/>
                  <a:pt x="249" y="350"/>
                  <a:pt x="251" y="349"/>
                </a:cubicBezTo>
                <a:cubicBezTo>
                  <a:pt x="252" y="349"/>
                  <a:pt x="253" y="348"/>
                  <a:pt x="254" y="348"/>
                </a:cubicBezTo>
                <a:cubicBezTo>
                  <a:pt x="254" y="348"/>
                  <a:pt x="254" y="348"/>
                  <a:pt x="254" y="348"/>
                </a:cubicBezTo>
                <a:cubicBezTo>
                  <a:pt x="255" y="348"/>
                  <a:pt x="256" y="348"/>
                  <a:pt x="257" y="348"/>
                </a:cubicBezTo>
                <a:cubicBezTo>
                  <a:pt x="258" y="348"/>
                  <a:pt x="258" y="348"/>
                  <a:pt x="258" y="348"/>
                </a:cubicBezTo>
                <a:cubicBezTo>
                  <a:pt x="258" y="348"/>
                  <a:pt x="258" y="348"/>
                  <a:pt x="258" y="347"/>
                </a:cubicBezTo>
                <a:cubicBezTo>
                  <a:pt x="259" y="347"/>
                  <a:pt x="259" y="347"/>
                  <a:pt x="260" y="347"/>
                </a:cubicBezTo>
                <a:cubicBezTo>
                  <a:pt x="263" y="346"/>
                  <a:pt x="263" y="346"/>
                  <a:pt x="263" y="346"/>
                </a:cubicBezTo>
                <a:cubicBezTo>
                  <a:pt x="264" y="346"/>
                  <a:pt x="266" y="346"/>
                  <a:pt x="267" y="347"/>
                </a:cubicBezTo>
                <a:cubicBezTo>
                  <a:pt x="267" y="348"/>
                  <a:pt x="267" y="348"/>
                  <a:pt x="267" y="348"/>
                </a:cubicBezTo>
                <a:cubicBezTo>
                  <a:pt x="268" y="348"/>
                  <a:pt x="270" y="348"/>
                  <a:pt x="270" y="348"/>
                </a:cubicBezTo>
                <a:cubicBezTo>
                  <a:pt x="270" y="348"/>
                  <a:pt x="270" y="348"/>
                  <a:pt x="270" y="348"/>
                </a:cubicBezTo>
                <a:cubicBezTo>
                  <a:pt x="271" y="347"/>
                  <a:pt x="271" y="347"/>
                  <a:pt x="271" y="347"/>
                </a:cubicBezTo>
                <a:cubicBezTo>
                  <a:pt x="271" y="346"/>
                  <a:pt x="271" y="344"/>
                  <a:pt x="270" y="344"/>
                </a:cubicBezTo>
                <a:cubicBezTo>
                  <a:pt x="270" y="343"/>
                  <a:pt x="270" y="343"/>
                  <a:pt x="270" y="343"/>
                </a:cubicBezTo>
                <a:cubicBezTo>
                  <a:pt x="270" y="340"/>
                  <a:pt x="270" y="340"/>
                  <a:pt x="270" y="340"/>
                </a:cubicBezTo>
                <a:cubicBezTo>
                  <a:pt x="270" y="339"/>
                  <a:pt x="270" y="338"/>
                  <a:pt x="270" y="338"/>
                </a:cubicBezTo>
                <a:cubicBezTo>
                  <a:pt x="270" y="336"/>
                  <a:pt x="270" y="336"/>
                  <a:pt x="270" y="336"/>
                </a:cubicBezTo>
                <a:cubicBezTo>
                  <a:pt x="270" y="332"/>
                  <a:pt x="270" y="332"/>
                  <a:pt x="270" y="332"/>
                </a:cubicBezTo>
                <a:cubicBezTo>
                  <a:pt x="269" y="330"/>
                  <a:pt x="269" y="330"/>
                  <a:pt x="269" y="330"/>
                </a:cubicBezTo>
                <a:cubicBezTo>
                  <a:pt x="269" y="329"/>
                  <a:pt x="269" y="329"/>
                  <a:pt x="269" y="329"/>
                </a:cubicBezTo>
                <a:cubicBezTo>
                  <a:pt x="265" y="329"/>
                  <a:pt x="265" y="329"/>
                  <a:pt x="265" y="329"/>
                </a:cubicBezTo>
                <a:cubicBezTo>
                  <a:pt x="264" y="330"/>
                  <a:pt x="264" y="330"/>
                  <a:pt x="264" y="330"/>
                </a:cubicBezTo>
                <a:cubicBezTo>
                  <a:pt x="263" y="330"/>
                  <a:pt x="263" y="330"/>
                  <a:pt x="263" y="330"/>
                </a:cubicBezTo>
                <a:cubicBezTo>
                  <a:pt x="261" y="331"/>
                  <a:pt x="261" y="331"/>
                  <a:pt x="261" y="331"/>
                </a:cubicBezTo>
                <a:cubicBezTo>
                  <a:pt x="259" y="331"/>
                  <a:pt x="259" y="331"/>
                  <a:pt x="259" y="331"/>
                </a:cubicBezTo>
                <a:cubicBezTo>
                  <a:pt x="257" y="333"/>
                  <a:pt x="257" y="333"/>
                  <a:pt x="257" y="333"/>
                </a:cubicBezTo>
                <a:cubicBezTo>
                  <a:pt x="256" y="334"/>
                  <a:pt x="256" y="334"/>
                  <a:pt x="256" y="334"/>
                </a:cubicBezTo>
                <a:cubicBezTo>
                  <a:pt x="247" y="334"/>
                  <a:pt x="247" y="334"/>
                  <a:pt x="247" y="334"/>
                </a:cubicBezTo>
                <a:cubicBezTo>
                  <a:pt x="246" y="334"/>
                  <a:pt x="245" y="333"/>
                  <a:pt x="245" y="332"/>
                </a:cubicBezTo>
                <a:cubicBezTo>
                  <a:pt x="244" y="328"/>
                  <a:pt x="244" y="328"/>
                  <a:pt x="244" y="328"/>
                </a:cubicBezTo>
                <a:cubicBezTo>
                  <a:pt x="244" y="328"/>
                  <a:pt x="244" y="328"/>
                  <a:pt x="244" y="328"/>
                </a:cubicBezTo>
                <a:cubicBezTo>
                  <a:pt x="244" y="325"/>
                  <a:pt x="244" y="325"/>
                  <a:pt x="244" y="325"/>
                </a:cubicBezTo>
                <a:cubicBezTo>
                  <a:pt x="244" y="323"/>
                  <a:pt x="244" y="323"/>
                  <a:pt x="244" y="323"/>
                </a:cubicBezTo>
                <a:cubicBezTo>
                  <a:pt x="244" y="323"/>
                  <a:pt x="244" y="323"/>
                  <a:pt x="244" y="323"/>
                </a:cubicBezTo>
                <a:cubicBezTo>
                  <a:pt x="243" y="323"/>
                  <a:pt x="242" y="322"/>
                  <a:pt x="242" y="321"/>
                </a:cubicBezTo>
                <a:cubicBezTo>
                  <a:pt x="242" y="316"/>
                  <a:pt x="242" y="316"/>
                  <a:pt x="242" y="316"/>
                </a:cubicBezTo>
                <a:cubicBezTo>
                  <a:pt x="242" y="314"/>
                  <a:pt x="243" y="314"/>
                  <a:pt x="244" y="313"/>
                </a:cubicBezTo>
                <a:cubicBezTo>
                  <a:pt x="245" y="313"/>
                  <a:pt x="246" y="313"/>
                  <a:pt x="247" y="314"/>
                </a:cubicBezTo>
                <a:cubicBezTo>
                  <a:pt x="253" y="314"/>
                  <a:pt x="253" y="314"/>
                  <a:pt x="253" y="314"/>
                </a:cubicBezTo>
                <a:cubicBezTo>
                  <a:pt x="253" y="314"/>
                  <a:pt x="253" y="314"/>
                  <a:pt x="253" y="314"/>
                </a:cubicBezTo>
                <a:cubicBezTo>
                  <a:pt x="255" y="313"/>
                  <a:pt x="257" y="313"/>
                  <a:pt x="258" y="313"/>
                </a:cubicBezTo>
                <a:cubicBezTo>
                  <a:pt x="260" y="312"/>
                  <a:pt x="260" y="312"/>
                  <a:pt x="260" y="312"/>
                </a:cubicBezTo>
                <a:cubicBezTo>
                  <a:pt x="260" y="311"/>
                  <a:pt x="261" y="311"/>
                  <a:pt x="261" y="311"/>
                </a:cubicBezTo>
                <a:cubicBezTo>
                  <a:pt x="264" y="311"/>
                  <a:pt x="264" y="311"/>
                  <a:pt x="264" y="311"/>
                </a:cubicBezTo>
                <a:cubicBezTo>
                  <a:pt x="268" y="309"/>
                  <a:pt x="268" y="309"/>
                  <a:pt x="268" y="309"/>
                </a:cubicBezTo>
                <a:cubicBezTo>
                  <a:pt x="271" y="304"/>
                  <a:pt x="271" y="304"/>
                  <a:pt x="271" y="304"/>
                </a:cubicBezTo>
                <a:cubicBezTo>
                  <a:pt x="273" y="300"/>
                  <a:pt x="273" y="300"/>
                  <a:pt x="273" y="300"/>
                </a:cubicBezTo>
                <a:cubicBezTo>
                  <a:pt x="273" y="299"/>
                  <a:pt x="273" y="299"/>
                  <a:pt x="273" y="299"/>
                </a:cubicBezTo>
                <a:cubicBezTo>
                  <a:pt x="273" y="298"/>
                  <a:pt x="273" y="298"/>
                  <a:pt x="273" y="298"/>
                </a:cubicBezTo>
                <a:cubicBezTo>
                  <a:pt x="273" y="297"/>
                  <a:pt x="273" y="297"/>
                  <a:pt x="273" y="297"/>
                </a:cubicBezTo>
                <a:cubicBezTo>
                  <a:pt x="273" y="294"/>
                  <a:pt x="273" y="294"/>
                  <a:pt x="273" y="294"/>
                </a:cubicBezTo>
                <a:cubicBezTo>
                  <a:pt x="273" y="292"/>
                  <a:pt x="274" y="291"/>
                  <a:pt x="274" y="291"/>
                </a:cubicBezTo>
                <a:cubicBezTo>
                  <a:pt x="274" y="289"/>
                  <a:pt x="274" y="289"/>
                  <a:pt x="274" y="289"/>
                </a:cubicBezTo>
                <a:cubicBezTo>
                  <a:pt x="275" y="287"/>
                  <a:pt x="275" y="287"/>
                  <a:pt x="275" y="287"/>
                </a:cubicBezTo>
                <a:cubicBezTo>
                  <a:pt x="274" y="286"/>
                  <a:pt x="274" y="284"/>
                  <a:pt x="275" y="282"/>
                </a:cubicBezTo>
                <a:cubicBezTo>
                  <a:pt x="275" y="280"/>
                  <a:pt x="276" y="279"/>
                  <a:pt x="277" y="278"/>
                </a:cubicBezTo>
                <a:cubicBezTo>
                  <a:pt x="278" y="278"/>
                  <a:pt x="278" y="278"/>
                  <a:pt x="278" y="278"/>
                </a:cubicBezTo>
                <a:cubicBezTo>
                  <a:pt x="279" y="278"/>
                  <a:pt x="279" y="278"/>
                  <a:pt x="279" y="278"/>
                </a:cubicBezTo>
                <a:cubicBezTo>
                  <a:pt x="279" y="278"/>
                  <a:pt x="279" y="278"/>
                  <a:pt x="279" y="278"/>
                </a:cubicBezTo>
                <a:cubicBezTo>
                  <a:pt x="284" y="276"/>
                  <a:pt x="284" y="276"/>
                  <a:pt x="284" y="276"/>
                </a:cubicBezTo>
                <a:cubicBezTo>
                  <a:pt x="285" y="276"/>
                  <a:pt x="285" y="276"/>
                  <a:pt x="286" y="277"/>
                </a:cubicBezTo>
                <a:cubicBezTo>
                  <a:pt x="288" y="277"/>
                  <a:pt x="288" y="277"/>
                  <a:pt x="288" y="277"/>
                </a:cubicBezTo>
                <a:cubicBezTo>
                  <a:pt x="290" y="279"/>
                  <a:pt x="290" y="279"/>
                  <a:pt x="290" y="279"/>
                </a:cubicBezTo>
                <a:cubicBezTo>
                  <a:pt x="291" y="279"/>
                  <a:pt x="291" y="279"/>
                  <a:pt x="291" y="279"/>
                </a:cubicBezTo>
                <a:cubicBezTo>
                  <a:pt x="293" y="279"/>
                  <a:pt x="293" y="279"/>
                  <a:pt x="293" y="279"/>
                </a:cubicBezTo>
                <a:cubicBezTo>
                  <a:pt x="294" y="279"/>
                  <a:pt x="294" y="279"/>
                  <a:pt x="294" y="279"/>
                </a:cubicBezTo>
                <a:cubicBezTo>
                  <a:pt x="294" y="280"/>
                  <a:pt x="294" y="280"/>
                  <a:pt x="294" y="280"/>
                </a:cubicBezTo>
                <a:cubicBezTo>
                  <a:pt x="295" y="279"/>
                  <a:pt x="297" y="277"/>
                  <a:pt x="299" y="276"/>
                </a:cubicBezTo>
                <a:cubicBezTo>
                  <a:pt x="298" y="276"/>
                  <a:pt x="298" y="275"/>
                  <a:pt x="298" y="274"/>
                </a:cubicBezTo>
                <a:cubicBezTo>
                  <a:pt x="299" y="273"/>
                  <a:pt x="299" y="273"/>
                  <a:pt x="300" y="273"/>
                </a:cubicBezTo>
                <a:cubicBezTo>
                  <a:pt x="319" y="273"/>
                  <a:pt x="319" y="273"/>
                  <a:pt x="319" y="273"/>
                </a:cubicBezTo>
                <a:cubicBezTo>
                  <a:pt x="320" y="273"/>
                  <a:pt x="320" y="273"/>
                  <a:pt x="320" y="273"/>
                </a:cubicBezTo>
                <a:cubicBezTo>
                  <a:pt x="321" y="272"/>
                  <a:pt x="322" y="272"/>
                  <a:pt x="323" y="272"/>
                </a:cubicBezTo>
                <a:cubicBezTo>
                  <a:pt x="325" y="271"/>
                  <a:pt x="325" y="271"/>
                  <a:pt x="325" y="271"/>
                </a:cubicBezTo>
                <a:cubicBezTo>
                  <a:pt x="326" y="271"/>
                  <a:pt x="326" y="271"/>
                  <a:pt x="327" y="271"/>
                </a:cubicBezTo>
                <a:cubicBezTo>
                  <a:pt x="327" y="270"/>
                  <a:pt x="328" y="269"/>
                  <a:pt x="329" y="269"/>
                </a:cubicBezTo>
                <a:cubicBezTo>
                  <a:pt x="332" y="269"/>
                  <a:pt x="332" y="269"/>
                  <a:pt x="332" y="269"/>
                </a:cubicBezTo>
                <a:cubicBezTo>
                  <a:pt x="333" y="268"/>
                  <a:pt x="333" y="268"/>
                  <a:pt x="333" y="268"/>
                </a:cubicBezTo>
                <a:cubicBezTo>
                  <a:pt x="334" y="268"/>
                  <a:pt x="334" y="268"/>
                  <a:pt x="335" y="268"/>
                </a:cubicBezTo>
                <a:cubicBezTo>
                  <a:pt x="336" y="268"/>
                  <a:pt x="336" y="268"/>
                  <a:pt x="336" y="268"/>
                </a:cubicBezTo>
                <a:cubicBezTo>
                  <a:pt x="339" y="267"/>
                  <a:pt x="339" y="267"/>
                  <a:pt x="339" y="267"/>
                </a:cubicBezTo>
                <a:cubicBezTo>
                  <a:pt x="341" y="267"/>
                  <a:pt x="342" y="267"/>
                  <a:pt x="343" y="267"/>
                </a:cubicBezTo>
                <a:cubicBezTo>
                  <a:pt x="345" y="267"/>
                  <a:pt x="345" y="267"/>
                  <a:pt x="345" y="267"/>
                </a:cubicBezTo>
                <a:cubicBezTo>
                  <a:pt x="346" y="267"/>
                  <a:pt x="346" y="266"/>
                  <a:pt x="346" y="266"/>
                </a:cubicBezTo>
                <a:cubicBezTo>
                  <a:pt x="350" y="263"/>
                  <a:pt x="350" y="263"/>
                  <a:pt x="350" y="263"/>
                </a:cubicBezTo>
                <a:cubicBezTo>
                  <a:pt x="350" y="262"/>
                  <a:pt x="350" y="262"/>
                  <a:pt x="351" y="261"/>
                </a:cubicBezTo>
                <a:cubicBezTo>
                  <a:pt x="352" y="260"/>
                  <a:pt x="354" y="259"/>
                  <a:pt x="355" y="261"/>
                </a:cubicBezTo>
                <a:cubicBezTo>
                  <a:pt x="361" y="261"/>
                  <a:pt x="361" y="261"/>
                  <a:pt x="361" y="261"/>
                </a:cubicBezTo>
                <a:cubicBezTo>
                  <a:pt x="364" y="260"/>
                  <a:pt x="364" y="260"/>
                  <a:pt x="364" y="260"/>
                </a:cubicBezTo>
                <a:cubicBezTo>
                  <a:pt x="364" y="259"/>
                  <a:pt x="364" y="259"/>
                  <a:pt x="364" y="259"/>
                </a:cubicBezTo>
                <a:cubicBezTo>
                  <a:pt x="364" y="258"/>
                  <a:pt x="364" y="258"/>
                  <a:pt x="365" y="257"/>
                </a:cubicBezTo>
                <a:cubicBezTo>
                  <a:pt x="365" y="257"/>
                  <a:pt x="365" y="257"/>
                  <a:pt x="366" y="256"/>
                </a:cubicBezTo>
                <a:cubicBezTo>
                  <a:pt x="368" y="255"/>
                  <a:pt x="370" y="255"/>
                  <a:pt x="371" y="255"/>
                </a:cubicBezTo>
                <a:cubicBezTo>
                  <a:pt x="375" y="255"/>
                  <a:pt x="375" y="255"/>
                  <a:pt x="375" y="255"/>
                </a:cubicBezTo>
                <a:cubicBezTo>
                  <a:pt x="376" y="255"/>
                  <a:pt x="377" y="255"/>
                  <a:pt x="378" y="257"/>
                </a:cubicBezTo>
                <a:cubicBezTo>
                  <a:pt x="379" y="256"/>
                  <a:pt x="380" y="256"/>
                  <a:pt x="382" y="257"/>
                </a:cubicBezTo>
                <a:cubicBezTo>
                  <a:pt x="382" y="257"/>
                  <a:pt x="382" y="257"/>
                  <a:pt x="382" y="257"/>
                </a:cubicBezTo>
                <a:cubicBezTo>
                  <a:pt x="383" y="256"/>
                  <a:pt x="383" y="256"/>
                  <a:pt x="385" y="257"/>
                </a:cubicBezTo>
                <a:cubicBezTo>
                  <a:pt x="385" y="257"/>
                  <a:pt x="386" y="256"/>
                  <a:pt x="387" y="257"/>
                </a:cubicBezTo>
                <a:cubicBezTo>
                  <a:pt x="387" y="257"/>
                  <a:pt x="388" y="257"/>
                  <a:pt x="389" y="257"/>
                </a:cubicBezTo>
                <a:cubicBezTo>
                  <a:pt x="392" y="258"/>
                  <a:pt x="392" y="258"/>
                  <a:pt x="392" y="258"/>
                </a:cubicBezTo>
                <a:cubicBezTo>
                  <a:pt x="387" y="256"/>
                  <a:pt x="387" y="256"/>
                  <a:pt x="387" y="256"/>
                </a:cubicBezTo>
                <a:cubicBezTo>
                  <a:pt x="392" y="245"/>
                  <a:pt x="392" y="245"/>
                  <a:pt x="392" y="245"/>
                </a:cubicBezTo>
                <a:cubicBezTo>
                  <a:pt x="396" y="240"/>
                  <a:pt x="396" y="240"/>
                  <a:pt x="396" y="240"/>
                </a:cubicBezTo>
                <a:cubicBezTo>
                  <a:pt x="405" y="232"/>
                  <a:pt x="405" y="232"/>
                  <a:pt x="405" y="232"/>
                </a:cubicBezTo>
                <a:cubicBezTo>
                  <a:pt x="421" y="213"/>
                  <a:pt x="421" y="213"/>
                  <a:pt x="421" y="213"/>
                </a:cubicBezTo>
                <a:cubicBezTo>
                  <a:pt x="421" y="211"/>
                  <a:pt x="421" y="211"/>
                  <a:pt x="421" y="211"/>
                </a:cubicBezTo>
                <a:cubicBezTo>
                  <a:pt x="415" y="210"/>
                  <a:pt x="415" y="210"/>
                  <a:pt x="415" y="210"/>
                </a:cubicBezTo>
                <a:cubicBezTo>
                  <a:pt x="395" y="211"/>
                  <a:pt x="395" y="211"/>
                  <a:pt x="395" y="211"/>
                </a:cubicBezTo>
                <a:cubicBezTo>
                  <a:pt x="390" y="213"/>
                  <a:pt x="390" y="213"/>
                  <a:pt x="390" y="213"/>
                </a:cubicBezTo>
                <a:cubicBezTo>
                  <a:pt x="388" y="214"/>
                  <a:pt x="388" y="214"/>
                  <a:pt x="388" y="214"/>
                </a:cubicBezTo>
                <a:cubicBezTo>
                  <a:pt x="377" y="224"/>
                  <a:pt x="377" y="224"/>
                  <a:pt x="377" y="224"/>
                </a:cubicBezTo>
                <a:cubicBezTo>
                  <a:pt x="371" y="231"/>
                  <a:pt x="371" y="231"/>
                  <a:pt x="371" y="231"/>
                </a:cubicBezTo>
                <a:cubicBezTo>
                  <a:pt x="369" y="234"/>
                  <a:pt x="369" y="234"/>
                  <a:pt x="369" y="234"/>
                </a:cubicBezTo>
                <a:cubicBezTo>
                  <a:pt x="365" y="237"/>
                  <a:pt x="365" y="237"/>
                  <a:pt x="365" y="237"/>
                </a:cubicBezTo>
                <a:cubicBezTo>
                  <a:pt x="363" y="238"/>
                  <a:pt x="363" y="238"/>
                  <a:pt x="363" y="238"/>
                </a:cubicBezTo>
                <a:cubicBezTo>
                  <a:pt x="362" y="236"/>
                  <a:pt x="362" y="236"/>
                  <a:pt x="362" y="236"/>
                </a:cubicBezTo>
                <a:cubicBezTo>
                  <a:pt x="364" y="229"/>
                  <a:pt x="364" y="229"/>
                  <a:pt x="364" y="229"/>
                </a:cubicBezTo>
                <a:cubicBezTo>
                  <a:pt x="380" y="211"/>
                  <a:pt x="380" y="211"/>
                  <a:pt x="380" y="211"/>
                </a:cubicBezTo>
                <a:cubicBezTo>
                  <a:pt x="381" y="211"/>
                  <a:pt x="381" y="211"/>
                  <a:pt x="381" y="211"/>
                </a:cubicBezTo>
                <a:cubicBezTo>
                  <a:pt x="407" y="198"/>
                  <a:pt x="407" y="198"/>
                  <a:pt x="407" y="198"/>
                </a:cubicBezTo>
                <a:cubicBezTo>
                  <a:pt x="416" y="196"/>
                  <a:pt x="416" y="196"/>
                  <a:pt x="416" y="196"/>
                </a:cubicBezTo>
                <a:cubicBezTo>
                  <a:pt x="417" y="196"/>
                  <a:pt x="417" y="196"/>
                  <a:pt x="417" y="196"/>
                </a:cubicBezTo>
                <a:cubicBezTo>
                  <a:pt x="418" y="196"/>
                  <a:pt x="418" y="196"/>
                  <a:pt x="418" y="196"/>
                </a:cubicBezTo>
                <a:cubicBezTo>
                  <a:pt x="418" y="197"/>
                  <a:pt x="418" y="197"/>
                  <a:pt x="418" y="197"/>
                </a:cubicBezTo>
                <a:cubicBezTo>
                  <a:pt x="418" y="198"/>
                  <a:pt x="418" y="198"/>
                  <a:pt x="418" y="198"/>
                </a:cubicBezTo>
                <a:cubicBezTo>
                  <a:pt x="418" y="199"/>
                  <a:pt x="418" y="199"/>
                  <a:pt x="418" y="199"/>
                </a:cubicBezTo>
                <a:cubicBezTo>
                  <a:pt x="418" y="200"/>
                  <a:pt x="418" y="200"/>
                  <a:pt x="418" y="200"/>
                </a:cubicBezTo>
                <a:cubicBezTo>
                  <a:pt x="416" y="202"/>
                  <a:pt x="416" y="202"/>
                  <a:pt x="416" y="202"/>
                </a:cubicBezTo>
                <a:cubicBezTo>
                  <a:pt x="416" y="203"/>
                  <a:pt x="416" y="203"/>
                  <a:pt x="416" y="203"/>
                </a:cubicBezTo>
                <a:cubicBezTo>
                  <a:pt x="417" y="208"/>
                  <a:pt x="417" y="208"/>
                  <a:pt x="417" y="208"/>
                </a:cubicBezTo>
                <a:cubicBezTo>
                  <a:pt x="417" y="208"/>
                  <a:pt x="417" y="208"/>
                  <a:pt x="417" y="208"/>
                </a:cubicBezTo>
                <a:cubicBezTo>
                  <a:pt x="418" y="209"/>
                  <a:pt x="418" y="209"/>
                  <a:pt x="418" y="209"/>
                </a:cubicBezTo>
                <a:cubicBezTo>
                  <a:pt x="419" y="209"/>
                  <a:pt x="419" y="209"/>
                  <a:pt x="419" y="209"/>
                </a:cubicBezTo>
                <a:cubicBezTo>
                  <a:pt x="420" y="209"/>
                  <a:pt x="420" y="209"/>
                  <a:pt x="420" y="209"/>
                </a:cubicBezTo>
                <a:cubicBezTo>
                  <a:pt x="421" y="209"/>
                  <a:pt x="421" y="209"/>
                  <a:pt x="421" y="209"/>
                </a:cubicBezTo>
                <a:cubicBezTo>
                  <a:pt x="422" y="208"/>
                  <a:pt x="422" y="208"/>
                  <a:pt x="422" y="208"/>
                </a:cubicBezTo>
                <a:cubicBezTo>
                  <a:pt x="439" y="186"/>
                  <a:pt x="439" y="186"/>
                  <a:pt x="439" y="186"/>
                </a:cubicBezTo>
                <a:cubicBezTo>
                  <a:pt x="445" y="176"/>
                  <a:pt x="445" y="176"/>
                  <a:pt x="445" y="176"/>
                </a:cubicBezTo>
                <a:cubicBezTo>
                  <a:pt x="450" y="167"/>
                  <a:pt x="450" y="167"/>
                  <a:pt x="450" y="167"/>
                </a:cubicBezTo>
                <a:cubicBezTo>
                  <a:pt x="450" y="165"/>
                  <a:pt x="450" y="165"/>
                  <a:pt x="450" y="165"/>
                </a:cubicBezTo>
                <a:cubicBezTo>
                  <a:pt x="450" y="164"/>
                  <a:pt x="450" y="164"/>
                  <a:pt x="450" y="164"/>
                </a:cubicBezTo>
                <a:lnTo>
                  <a:pt x="450" y="163"/>
                </a:lnTo>
                <a:close/>
                <a:moveTo>
                  <a:pt x="132" y="64"/>
                </a:moveTo>
                <a:cubicBezTo>
                  <a:pt x="126" y="68"/>
                  <a:pt x="126" y="68"/>
                  <a:pt x="126" y="68"/>
                </a:cubicBezTo>
                <a:cubicBezTo>
                  <a:pt x="125" y="71"/>
                  <a:pt x="125" y="71"/>
                  <a:pt x="125" y="71"/>
                </a:cubicBezTo>
                <a:cubicBezTo>
                  <a:pt x="122" y="74"/>
                  <a:pt x="122" y="74"/>
                  <a:pt x="122" y="74"/>
                </a:cubicBezTo>
                <a:cubicBezTo>
                  <a:pt x="115" y="77"/>
                  <a:pt x="115" y="77"/>
                  <a:pt x="115" y="77"/>
                </a:cubicBezTo>
                <a:cubicBezTo>
                  <a:pt x="113" y="78"/>
                  <a:pt x="113" y="78"/>
                  <a:pt x="113" y="78"/>
                </a:cubicBezTo>
                <a:cubicBezTo>
                  <a:pt x="105" y="75"/>
                  <a:pt x="105" y="75"/>
                  <a:pt x="105" y="75"/>
                </a:cubicBezTo>
                <a:cubicBezTo>
                  <a:pt x="105" y="74"/>
                  <a:pt x="105" y="74"/>
                  <a:pt x="105" y="74"/>
                </a:cubicBezTo>
                <a:cubicBezTo>
                  <a:pt x="105" y="73"/>
                  <a:pt x="105" y="73"/>
                  <a:pt x="105" y="73"/>
                </a:cubicBezTo>
                <a:cubicBezTo>
                  <a:pt x="110" y="64"/>
                  <a:pt x="110" y="64"/>
                  <a:pt x="110" y="6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31" y="26"/>
                  <a:pt x="131" y="26"/>
                  <a:pt x="131" y="26"/>
                </a:cubicBezTo>
                <a:cubicBezTo>
                  <a:pt x="132" y="23"/>
                  <a:pt x="132" y="23"/>
                  <a:pt x="132" y="23"/>
                </a:cubicBezTo>
                <a:cubicBezTo>
                  <a:pt x="130" y="12"/>
                  <a:pt x="130" y="12"/>
                  <a:pt x="130" y="12"/>
                </a:cubicBezTo>
                <a:cubicBezTo>
                  <a:pt x="122" y="3"/>
                  <a:pt x="122" y="3"/>
                  <a:pt x="122" y="3"/>
                </a:cubicBezTo>
                <a:cubicBezTo>
                  <a:pt x="119" y="0"/>
                  <a:pt x="119" y="0"/>
                  <a:pt x="119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17" y="1"/>
                  <a:pt x="117" y="1"/>
                  <a:pt x="117" y="1"/>
                </a:cubicBezTo>
                <a:cubicBezTo>
                  <a:pt x="116" y="1"/>
                  <a:pt x="116" y="1"/>
                  <a:pt x="116" y="1"/>
                </a:cubicBezTo>
                <a:cubicBezTo>
                  <a:pt x="116" y="2"/>
                  <a:pt x="116" y="2"/>
                  <a:pt x="116" y="2"/>
                </a:cubicBezTo>
                <a:cubicBezTo>
                  <a:pt x="117" y="2"/>
                  <a:pt x="117" y="2"/>
                  <a:pt x="117" y="2"/>
                </a:cubicBezTo>
                <a:cubicBezTo>
                  <a:pt x="117" y="3"/>
                  <a:pt x="117" y="3"/>
                  <a:pt x="117" y="3"/>
                </a:cubicBezTo>
                <a:cubicBezTo>
                  <a:pt x="117" y="5"/>
                  <a:pt x="117" y="5"/>
                  <a:pt x="117" y="5"/>
                </a:cubicBezTo>
                <a:cubicBezTo>
                  <a:pt x="117" y="6"/>
                  <a:pt x="117" y="6"/>
                  <a:pt x="117" y="6"/>
                </a:cubicBezTo>
                <a:cubicBezTo>
                  <a:pt x="114" y="8"/>
                  <a:pt x="114" y="8"/>
                  <a:pt x="114" y="8"/>
                </a:cubicBezTo>
                <a:cubicBezTo>
                  <a:pt x="108" y="13"/>
                  <a:pt x="108" y="13"/>
                  <a:pt x="108" y="13"/>
                </a:cubicBezTo>
                <a:cubicBezTo>
                  <a:pt x="95" y="21"/>
                  <a:pt x="95" y="21"/>
                  <a:pt x="95" y="21"/>
                </a:cubicBezTo>
                <a:cubicBezTo>
                  <a:pt x="87" y="29"/>
                  <a:pt x="87" y="29"/>
                  <a:pt x="87" y="29"/>
                </a:cubicBezTo>
                <a:cubicBezTo>
                  <a:pt x="82" y="37"/>
                  <a:pt x="82" y="37"/>
                  <a:pt x="82" y="37"/>
                </a:cubicBezTo>
                <a:cubicBezTo>
                  <a:pt x="71" y="41"/>
                  <a:pt x="71" y="41"/>
                  <a:pt x="71" y="41"/>
                </a:cubicBezTo>
                <a:cubicBezTo>
                  <a:pt x="68" y="42"/>
                  <a:pt x="68" y="42"/>
                  <a:pt x="68" y="42"/>
                </a:cubicBezTo>
                <a:cubicBezTo>
                  <a:pt x="59" y="44"/>
                  <a:pt x="59" y="44"/>
                  <a:pt x="59" y="44"/>
                </a:cubicBezTo>
                <a:cubicBezTo>
                  <a:pt x="58" y="44"/>
                  <a:pt x="58" y="44"/>
                  <a:pt x="58" y="44"/>
                </a:cubicBezTo>
                <a:cubicBezTo>
                  <a:pt x="47" y="52"/>
                  <a:pt x="47" y="52"/>
                  <a:pt x="47" y="52"/>
                </a:cubicBezTo>
                <a:cubicBezTo>
                  <a:pt x="44" y="56"/>
                  <a:pt x="44" y="56"/>
                  <a:pt x="44" y="56"/>
                </a:cubicBezTo>
                <a:cubicBezTo>
                  <a:pt x="44" y="57"/>
                  <a:pt x="44" y="57"/>
                  <a:pt x="44" y="57"/>
                </a:cubicBezTo>
                <a:cubicBezTo>
                  <a:pt x="45" y="63"/>
                  <a:pt x="45" y="63"/>
                  <a:pt x="45" y="63"/>
                </a:cubicBezTo>
                <a:cubicBezTo>
                  <a:pt x="46" y="65"/>
                  <a:pt x="46" y="65"/>
                  <a:pt x="46" y="65"/>
                </a:cubicBezTo>
                <a:cubicBezTo>
                  <a:pt x="47" y="68"/>
                  <a:pt x="47" y="68"/>
                  <a:pt x="47" y="68"/>
                </a:cubicBezTo>
                <a:cubicBezTo>
                  <a:pt x="48" y="69"/>
                  <a:pt x="48" y="69"/>
                  <a:pt x="48" y="69"/>
                </a:cubicBezTo>
                <a:cubicBezTo>
                  <a:pt x="52" y="81"/>
                  <a:pt x="52" y="81"/>
                  <a:pt x="52" y="81"/>
                </a:cubicBezTo>
                <a:cubicBezTo>
                  <a:pt x="41" y="79"/>
                  <a:pt x="41" y="79"/>
                  <a:pt x="41" y="79"/>
                </a:cubicBezTo>
                <a:cubicBezTo>
                  <a:pt x="31" y="76"/>
                  <a:pt x="31" y="76"/>
                  <a:pt x="31" y="76"/>
                </a:cubicBezTo>
                <a:cubicBezTo>
                  <a:pt x="31" y="75"/>
                  <a:pt x="31" y="75"/>
                  <a:pt x="31" y="75"/>
                </a:cubicBezTo>
                <a:cubicBezTo>
                  <a:pt x="30" y="73"/>
                  <a:pt x="30" y="73"/>
                  <a:pt x="30" y="73"/>
                </a:cubicBezTo>
                <a:cubicBezTo>
                  <a:pt x="27" y="71"/>
                  <a:pt x="27" y="71"/>
                  <a:pt x="27" y="71"/>
                </a:cubicBezTo>
                <a:cubicBezTo>
                  <a:pt x="16" y="66"/>
                  <a:pt x="16" y="66"/>
                  <a:pt x="16" y="66"/>
                </a:cubicBezTo>
                <a:cubicBezTo>
                  <a:pt x="15" y="66"/>
                  <a:pt x="15" y="66"/>
                  <a:pt x="15" y="66"/>
                </a:cubicBezTo>
                <a:cubicBezTo>
                  <a:pt x="5" y="82"/>
                  <a:pt x="5" y="82"/>
                  <a:pt x="5" y="82"/>
                </a:cubicBezTo>
                <a:cubicBezTo>
                  <a:pt x="5" y="83"/>
                  <a:pt x="5" y="83"/>
                  <a:pt x="5" y="83"/>
                </a:cubicBezTo>
                <a:cubicBezTo>
                  <a:pt x="1" y="93"/>
                  <a:pt x="1" y="93"/>
                  <a:pt x="1" y="93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7"/>
                  <a:pt x="0" y="97"/>
                  <a:pt x="0" y="97"/>
                </a:cubicBezTo>
                <a:cubicBezTo>
                  <a:pt x="5" y="109"/>
                  <a:pt x="5" y="109"/>
                  <a:pt x="5" y="109"/>
                </a:cubicBezTo>
                <a:cubicBezTo>
                  <a:pt x="7" y="112"/>
                  <a:pt x="7" y="112"/>
                  <a:pt x="7" y="112"/>
                </a:cubicBezTo>
                <a:cubicBezTo>
                  <a:pt x="7" y="112"/>
                  <a:pt x="7" y="112"/>
                  <a:pt x="7" y="112"/>
                </a:cubicBezTo>
                <a:cubicBezTo>
                  <a:pt x="8" y="111"/>
                  <a:pt x="9" y="111"/>
                  <a:pt x="10" y="111"/>
                </a:cubicBezTo>
                <a:cubicBezTo>
                  <a:pt x="11" y="110"/>
                  <a:pt x="11" y="110"/>
                  <a:pt x="11" y="110"/>
                </a:cubicBezTo>
                <a:cubicBezTo>
                  <a:pt x="12" y="110"/>
                  <a:pt x="12" y="110"/>
                  <a:pt x="13" y="110"/>
                </a:cubicBezTo>
                <a:cubicBezTo>
                  <a:pt x="14" y="109"/>
                  <a:pt x="14" y="109"/>
                  <a:pt x="14" y="109"/>
                </a:cubicBezTo>
                <a:cubicBezTo>
                  <a:pt x="20" y="109"/>
                  <a:pt x="20" y="109"/>
                  <a:pt x="20" y="109"/>
                </a:cubicBezTo>
                <a:cubicBezTo>
                  <a:pt x="22" y="111"/>
                  <a:pt x="22" y="111"/>
                  <a:pt x="22" y="111"/>
                </a:cubicBezTo>
                <a:cubicBezTo>
                  <a:pt x="23" y="111"/>
                  <a:pt x="23" y="111"/>
                  <a:pt x="23" y="111"/>
                </a:cubicBezTo>
                <a:cubicBezTo>
                  <a:pt x="25" y="112"/>
                  <a:pt x="25" y="112"/>
                  <a:pt x="25" y="112"/>
                </a:cubicBezTo>
                <a:cubicBezTo>
                  <a:pt x="28" y="114"/>
                  <a:pt x="28" y="114"/>
                  <a:pt x="28" y="114"/>
                </a:cubicBezTo>
                <a:cubicBezTo>
                  <a:pt x="28" y="114"/>
                  <a:pt x="28" y="114"/>
                  <a:pt x="28" y="114"/>
                </a:cubicBezTo>
                <a:cubicBezTo>
                  <a:pt x="28" y="114"/>
                  <a:pt x="28" y="114"/>
                  <a:pt x="29" y="114"/>
                </a:cubicBezTo>
                <a:cubicBezTo>
                  <a:pt x="31" y="114"/>
                  <a:pt x="31" y="114"/>
                  <a:pt x="31" y="114"/>
                </a:cubicBezTo>
                <a:cubicBezTo>
                  <a:pt x="33" y="114"/>
                  <a:pt x="33" y="114"/>
                  <a:pt x="33" y="114"/>
                </a:cubicBezTo>
                <a:cubicBezTo>
                  <a:pt x="34" y="114"/>
                  <a:pt x="34" y="114"/>
                  <a:pt x="34" y="114"/>
                </a:cubicBezTo>
                <a:cubicBezTo>
                  <a:pt x="35" y="114"/>
                  <a:pt x="36" y="114"/>
                  <a:pt x="37" y="114"/>
                </a:cubicBezTo>
                <a:cubicBezTo>
                  <a:pt x="38" y="114"/>
                  <a:pt x="40" y="115"/>
                  <a:pt x="40" y="115"/>
                </a:cubicBezTo>
                <a:cubicBezTo>
                  <a:pt x="40" y="115"/>
                  <a:pt x="40" y="115"/>
                  <a:pt x="40" y="115"/>
                </a:cubicBezTo>
                <a:cubicBezTo>
                  <a:pt x="41" y="115"/>
                  <a:pt x="41" y="115"/>
                  <a:pt x="41" y="115"/>
                </a:cubicBezTo>
                <a:cubicBezTo>
                  <a:pt x="41" y="115"/>
                  <a:pt x="41" y="115"/>
                  <a:pt x="41" y="115"/>
                </a:cubicBezTo>
                <a:cubicBezTo>
                  <a:pt x="41" y="115"/>
                  <a:pt x="41" y="116"/>
                  <a:pt x="42" y="116"/>
                </a:cubicBezTo>
                <a:cubicBezTo>
                  <a:pt x="43" y="116"/>
                  <a:pt x="43" y="116"/>
                  <a:pt x="43" y="116"/>
                </a:cubicBezTo>
                <a:cubicBezTo>
                  <a:pt x="44" y="116"/>
                  <a:pt x="44" y="116"/>
                  <a:pt x="44" y="116"/>
                </a:cubicBezTo>
                <a:cubicBezTo>
                  <a:pt x="46" y="117"/>
                  <a:pt x="46" y="117"/>
                  <a:pt x="46" y="117"/>
                </a:cubicBezTo>
                <a:cubicBezTo>
                  <a:pt x="48" y="117"/>
                  <a:pt x="48" y="117"/>
                  <a:pt x="48" y="117"/>
                </a:cubicBezTo>
                <a:cubicBezTo>
                  <a:pt x="49" y="119"/>
                  <a:pt x="49" y="119"/>
                  <a:pt x="49" y="119"/>
                </a:cubicBezTo>
                <a:cubicBezTo>
                  <a:pt x="50" y="120"/>
                  <a:pt x="50" y="120"/>
                  <a:pt x="50" y="120"/>
                </a:cubicBezTo>
                <a:cubicBezTo>
                  <a:pt x="50" y="121"/>
                  <a:pt x="50" y="121"/>
                  <a:pt x="50" y="121"/>
                </a:cubicBezTo>
                <a:cubicBezTo>
                  <a:pt x="51" y="122"/>
                  <a:pt x="51" y="122"/>
                  <a:pt x="51" y="122"/>
                </a:cubicBezTo>
                <a:cubicBezTo>
                  <a:pt x="51" y="123"/>
                  <a:pt x="51" y="123"/>
                  <a:pt x="51" y="123"/>
                </a:cubicBezTo>
                <a:cubicBezTo>
                  <a:pt x="52" y="122"/>
                  <a:pt x="52" y="122"/>
                  <a:pt x="52" y="122"/>
                </a:cubicBezTo>
                <a:cubicBezTo>
                  <a:pt x="54" y="120"/>
                  <a:pt x="54" y="120"/>
                  <a:pt x="54" y="120"/>
                </a:cubicBezTo>
                <a:cubicBezTo>
                  <a:pt x="57" y="119"/>
                  <a:pt x="57" y="119"/>
                  <a:pt x="57" y="119"/>
                </a:cubicBezTo>
                <a:cubicBezTo>
                  <a:pt x="57" y="119"/>
                  <a:pt x="57" y="119"/>
                  <a:pt x="57" y="119"/>
                </a:cubicBezTo>
                <a:cubicBezTo>
                  <a:pt x="58" y="119"/>
                  <a:pt x="58" y="119"/>
                  <a:pt x="58" y="119"/>
                </a:cubicBezTo>
                <a:cubicBezTo>
                  <a:pt x="58" y="120"/>
                  <a:pt x="58" y="120"/>
                  <a:pt x="58" y="120"/>
                </a:cubicBezTo>
                <a:cubicBezTo>
                  <a:pt x="54" y="126"/>
                  <a:pt x="54" y="126"/>
                  <a:pt x="54" y="126"/>
                </a:cubicBezTo>
                <a:cubicBezTo>
                  <a:pt x="54" y="132"/>
                  <a:pt x="54" y="132"/>
                  <a:pt x="54" y="132"/>
                </a:cubicBezTo>
                <a:cubicBezTo>
                  <a:pt x="54" y="134"/>
                  <a:pt x="54" y="134"/>
                  <a:pt x="54" y="134"/>
                </a:cubicBezTo>
                <a:cubicBezTo>
                  <a:pt x="55" y="135"/>
                  <a:pt x="55" y="135"/>
                  <a:pt x="55" y="135"/>
                </a:cubicBezTo>
                <a:cubicBezTo>
                  <a:pt x="56" y="137"/>
                  <a:pt x="56" y="137"/>
                  <a:pt x="56" y="137"/>
                </a:cubicBezTo>
                <a:cubicBezTo>
                  <a:pt x="56" y="138"/>
                  <a:pt x="56" y="138"/>
                  <a:pt x="56" y="138"/>
                </a:cubicBezTo>
                <a:cubicBezTo>
                  <a:pt x="62" y="147"/>
                  <a:pt x="62" y="147"/>
                  <a:pt x="62" y="147"/>
                </a:cubicBezTo>
                <a:cubicBezTo>
                  <a:pt x="73" y="150"/>
                  <a:pt x="73" y="150"/>
                  <a:pt x="73" y="150"/>
                </a:cubicBezTo>
                <a:cubicBezTo>
                  <a:pt x="76" y="150"/>
                  <a:pt x="76" y="150"/>
                  <a:pt x="76" y="150"/>
                </a:cubicBezTo>
                <a:cubicBezTo>
                  <a:pt x="86" y="143"/>
                  <a:pt x="86" y="143"/>
                  <a:pt x="86" y="143"/>
                </a:cubicBezTo>
                <a:cubicBezTo>
                  <a:pt x="87" y="143"/>
                  <a:pt x="87" y="143"/>
                  <a:pt x="87" y="143"/>
                </a:cubicBezTo>
                <a:cubicBezTo>
                  <a:pt x="87" y="142"/>
                  <a:pt x="87" y="142"/>
                  <a:pt x="87" y="142"/>
                </a:cubicBezTo>
                <a:cubicBezTo>
                  <a:pt x="99" y="126"/>
                  <a:pt x="99" y="126"/>
                  <a:pt x="99" y="126"/>
                </a:cubicBezTo>
                <a:cubicBezTo>
                  <a:pt x="101" y="123"/>
                  <a:pt x="101" y="123"/>
                  <a:pt x="101" y="123"/>
                </a:cubicBezTo>
                <a:cubicBezTo>
                  <a:pt x="102" y="119"/>
                  <a:pt x="102" y="119"/>
                  <a:pt x="102" y="119"/>
                </a:cubicBezTo>
                <a:cubicBezTo>
                  <a:pt x="102" y="119"/>
                  <a:pt x="102" y="119"/>
                  <a:pt x="102" y="119"/>
                </a:cubicBezTo>
                <a:cubicBezTo>
                  <a:pt x="103" y="114"/>
                  <a:pt x="103" y="114"/>
                  <a:pt x="103" y="114"/>
                </a:cubicBezTo>
                <a:cubicBezTo>
                  <a:pt x="101" y="102"/>
                  <a:pt x="101" y="102"/>
                  <a:pt x="101" y="102"/>
                </a:cubicBezTo>
                <a:cubicBezTo>
                  <a:pt x="99" y="102"/>
                  <a:pt x="99" y="102"/>
                  <a:pt x="99" y="102"/>
                </a:cubicBezTo>
                <a:cubicBezTo>
                  <a:pt x="82" y="107"/>
                  <a:pt x="82" y="107"/>
                  <a:pt x="82" y="107"/>
                </a:cubicBezTo>
                <a:cubicBezTo>
                  <a:pt x="98" y="97"/>
                  <a:pt x="98" y="97"/>
                  <a:pt x="98" y="97"/>
                </a:cubicBezTo>
                <a:cubicBezTo>
                  <a:pt x="101" y="80"/>
                  <a:pt x="101" y="80"/>
                  <a:pt x="101" y="80"/>
                </a:cubicBezTo>
                <a:cubicBezTo>
                  <a:pt x="119" y="84"/>
                  <a:pt x="119" y="84"/>
                  <a:pt x="119" y="84"/>
                </a:cubicBezTo>
                <a:cubicBezTo>
                  <a:pt x="120" y="84"/>
                  <a:pt x="120" y="84"/>
                  <a:pt x="120" y="84"/>
                </a:cubicBezTo>
                <a:cubicBezTo>
                  <a:pt x="120" y="85"/>
                  <a:pt x="120" y="85"/>
                  <a:pt x="120" y="85"/>
                </a:cubicBezTo>
                <a:cubicBezTo>
                  <a:pt x="122" y="84"/>
                  <a:pt x="122" y="84"/>
                  <a:pt x="122" y="84"/>
                </a:cubicBezTo>
                <a:cubicBezTo>
                  <a:pt x="125" y="83"/>
                  <a:pt x="125" y="83"/>
                  <a:pt x="125" y="83"/>
                </a:cubicBezTo>
                <a:cubicBezTo>
                  <a:pt x="132" y="78"/>
                  <a:pt x="132" y="78"/>
                  <a:pt x="132" y="78"/>
                </a:cubicBezTo>
                <a:cubicBezTo>
                  <a:pt x="134" y="76"/>
                  <a:pt x="134" y="76"/>
                  <a:pt x="134" y="76"/>
                </a:cubicBezTo>
                <a:cubicBezTo>
                  <a:pt x="134" y="76"/>
                  <a:pt x="134" y="76"/>
                  <a:pt x="134" y="76"/>
                </a:cubicBezTo>
                <a:cubicBezTo>
                  <a:pt x="134" y="75"/>
                  <a:pt x="134" y="75"/>
                  <a:pt x="134" y="75"/>
                </a:cubicBezTo>
                <a:cubicBezTo>
                  <a:pt x="135" y="66"/>
                  <a:pt x="135" y="66"/>
                  <a:pt x="135" y="66"/>
                </a:cubicBezTo>
                <a:cubicBezTo>
                  <a:pt x="135" y="66"/>
                  <a:pt x="135" y="66"/>
                  <a:pt x="135" y="66"/>
                </a:cubicBezTo>
                <a:cubicBezTo>
                  <a:pt x="134" y="64"/>
                  <a:pt x="134" y="64"/>
                  <a:pt x="134" y="64"/>
                </a:cubicBezTo>
                <a:lnTo>
                  <a:pt x="132" y="6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Freeform 61">
            <a:extLst>
              <a:ext uri="{FF2B5EF4-FFF2-40B4-BE49-F238E27FC236}">
                <a16:creationId xmlns:a16="http://schemas.microsoft.com/office/drawing/2014/main" id="{A5BF0225-F19B-446C-91DB-F1281B3F82CD}"/>
              </a:ext>
            </a:extLst>
          </p:cNvPr>
          <p:cNvSpPr>
            <a:spLocks/>
          </p:cNvSpPr>
          <p:nvPr/>
        </p:nvSpPr>
        <p:spPr bwMode="auto">
          <a:xfrm>
            <a:off x="4709993" y="1766416"/>
            <a:ext cx="165100" cy="166688"/>
          </a:xfrm>
          <a:custGeom>
            <a:avLst/>
            <a:gdLst>
              <a:gd name="T0" fmla="*/ 27 w 68"/>
              <a:gd name="T1" fmla="*/ 17 h 75"/>
              <a:gd name="T2" fmla="*/ 27 w 68"/>
              <a:gd name="T3" fmla="*/ 18 h 75"/>
              <a:gd name="T4" fmla="*/ 29 w 68"/>
              <a:gd name="T5" fmla="*/ 21 h 75"/>
              <a:gd name="T6" fmla="*/ 28 w 68"/>
              <a:gd name="T7" fmla="*/ 24 h 75"/>
              <a:gd name="T8" fmla="*/ 25 w 68"/>
              <a:gd name="T9" fmla="*/ 24 h 75"/>
              <a:gd name="T10" fmla="*/ 20 w 68"/>
              <a:gd name="T11" fmla="*/ 24 h 75"/>
              <a:gd name="T12" fmla="*/ 18 w 68"/>
              <a:gd name="T13" fmla="*/ 26 h 75"/>
              <a:gd name="T14" fmla="*/ 19 w 68"/>
              <a:gd name="T15" fmla="*/ 29 h 75"/>
              <a:gd name="T16" fmla="*/ 22 w 68"/>
              <a:gd name="T17" fmla="*/ 29 h 75"/>
              <a:gd name="T18" fmla="*/ 26 w 68"/>
              <a:gd name="T19" fmla="*/ 26 h 75"/>
              <a:gd name="T20" fmla="*/ 30 w 68"/>
              <a:gd name="T21" fmla="*/ 25 h 75"/>
              <a:gd name="T22" fmla="*/ 33 w 68"/>
              <a:gd name="T23" fmla="*/ 30 h 75"/>
              <a:gd name="T24" fmla="*/ 31 w 68"/>
              <a:gd name="T25" fmla="*/ 35 h 75"/>
              <a:gd name="T26" fmla="*/ 30 w 68"/>
              <a:gd name="T27" fmla="*/ 36 h 75"/>
              <a:gd name="T28" fmla="*/ 32 w 68"/>
              <a:gd name="T29" fmla="*/ 39 h 75"/>
              <a:gd name="T30" fmla="*/ 29 w 68"/>
              <a:gd name="T31" fmla="*/ 42 h 75"/>
              <a:gd name="T32" fmla="*/ 24 w 68"/>
              <a:gd name="T33" fmla="*/ 42 h 75"/>
              <a:gd name="T34" fmla="*/ 20 w 68"/>
              <a:gd name="T35" fmla="*/ 43 h 75"/>
              <a:gd name="T36" fmla="*/ 6 w 68"/>
              <a:gd name="T37" fmla="*/ 43 h 75"/>
              <a:gd name="T38" fmla="*/ 1 w 68"/>
              <a:gd name="T39" fmla="*/ 42 h 75"/>
              <a:gd name="T40" fmla="*/ 0 w 68"/>
              <a:gd name="T41" fmla="*/ 43 h 75"/>
              <a:gd name="T42" fmla="*/ 4 w 68"/>
              <a:gd name="T43" fmla="*/ 45 h 75"/>
              <a:gd name="T44" fmla="*/ 6 w 68"/>
              <a:gd name="T45" fmla="*/ 43 h 75"/>
              <a:gd name="T46" fmla="*/ 10 w 68"/>
              <a:gd name="T47" fmla="*/ 43 h 75"/>
              <a:gd name="T48" fmla="*/ 15 w 68"/>
              <a:gd name="T49" fmla="*/ 46 h 75"/>
              <a:gd name="T50" fmla="*/ 18 w 68"/>
              <a:gd name="T51" fmla="*/ 49 h 75"/>
              <a:gd name="T52" fmla="*/ 22 w 68"/>
              <a:gd name="T53" fmla="*/ 51 h 75"/>
              <a:gd name="T54" fmla="*/ 25 w 68"/>
              <a:gd name="T55" fmla="*/ 55 h 75"/>
              <a:gd name="T56" fmla="*/ 27 w 68"/>
              <a:gd name="T57" fmla="*/ 58 h 75"/>
              <a:gd name="T58" fmla="*/ 31 w 68"/>
              <a:gd name="T59" fmla="*/ 58 h 75"/>
              <a:gd name="T60" fmla="*/ 35 w 68"/>
              <a:gd name="T61" fmla="*/ 61 h 75"/>
              <a:gd name="T62" fmla="*/ 37 w 68"/>
              <a:gd name="T63" fmla="*/ 63 h 75"/>
              <a:gd name="T64" fmla="*/ 39 w 68"/>
              <a:gd name="T65" fmla="*/ 65 h 75"/>
              <a:gd name="T66" fmla="*/ 41 w 68"/>
              <a:gd name="T67" fmla="*/ 70 h 75"/>
              <a:gd name="T68" fmla="*/ 45 w 68"/>
              <a:gd name="T69" fmla="*/ 73 h 75"/>
              <a:gd name="T70" fmla="*/ 47 w 68"/>
              <a:gd name="T71" fmla="*/ 75 h 75"/>
              <a:gd name="T72" fmla="*/ 51 w 68"/>
              <a:gd name="T73" fmla="*/ 73 h 75"/>
              <a:gd name="T74" fmla="*/ 52 w 68"/>
              <a:gd name="T75" fmla="*/ 72 h 75"/>
              <a:gd name="T76" fmla="*/ 54 w 68"/>
              <a:gd name="T77" fmla="*/ 68 h 75"/>
              <a:gd name="T78" fmla="*/ 56 w 68"/>
              <a:gd name="T79" fmla="*/ 65 h 75"/>
              <a:gd name="T80" fmla="*/ 62 w 68"/>
              <a:gd name="T81" fmla="*/ 60 h 75"/>
              <a:gd name="T82" fmla="*/ 64 w 68"/>
              <a:gd name="T83" fmla="*/ 60 h 75"/>
              <a:gd name="T84" fmla="*/ 65 w 68"/>
              <a:gd name="T85" fmla="*/ 58 h 75"/>
              <a:gd name="T86" fmla="*/ 65 w 68"/>
              <a:gd name="T87" fmla="*/ 56 h 75"/>
              <a:gd name="T88" fmla="*/ 65 w 68"/>
              <a:gd name="T89" fmla="*/ 53 h 75"/>
              <a:gd name="T90" fmla="*/ 65 w 68"/>
              <a:gd name="T91" fmla="*/ 47 h 75"/>
              <a:gd name="T92" fmla="*/ 65 w 68"/>
              <a:gd name="T93" fmla="*/ 41 h 75"/>
              <a:gd name="T94" fmla="*/ 66 w 68"/>
              <a:gd name="T95" fmla="*/ 38 h 75"/>
              <a:gd name="T96" fmla="*/ 67 w 68"/>
              <a:gd name="T97" fmla="*/ 34 h 75"/>
              <a:gd name="T98" fmla="*/ 68 w 68"/>
              <a:gd name="T99" fmla="*/ 33 h 75"/>
              <a:gd name="T100" fmla="*/ 67 w 68"/>
              <a:gd name="T101" fmla="*/ 31 h 75"/>
              <a:gd name="T102" fmla="*/ 65 w 68"/>
              <a:gd name="T103" fmla="*/ 30 h 75"/>
              <a:gd name="T104" fmla="*/ 59 w 68"/>
              <a:gd name="T105" fmla="*/ 23 h 75"/>
              <a:gd name="T106" fmla="*/ 57 w 68"/>
              <a:gd name="T107" fmla="*/ 22 h 75"/>
              <a:gd name="T108" fmla="*/ 55 w 68"/>
              <a:gd name="T109" fmla="*/ 19 h 75"/>
              <a:gd name="T110" fmla="*/ 55 w 68"/>
              <a:gd name="T111" fmla="*/ 12 h 75"/>
              <a:gd name="T112" fmla="*/ 54 w 68"/>
              <a:gd name="T113" fmla="*/ 1 h 75"/>
              <a:gd name="T114" fmla="*/ 51 w 68"/>
              <a:gd name="T115" fmla="*/ 3 h 75"/>
              <a:gd name="T116" fmla="*/ 40 w 68"/>
              <a:gd name="T117" fmla="*/ 11 h 75"/>
              <a:gd name="T118" fmla="*/ 34 w 68"/>
              <a:gd name="T119" fmla="*/ 14 h 75"/>
              <a:gd name="T120" fmla="*/ 26 w 68"/>
              <a:gd name="T121" fmla="*/ 13 h 75"/>
              <a:gd name="T122" fmla="*/ 27 w 68"/>
              <a:gd name="T123" fmla="*/ 15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8" h="75">
                <a:moveTo>
                  <a:pt x="27" y="15"/>
                </a:moveTo>
                <a:cubicBezTo>
                  <a:pt x="27" y="17"/>
                  <a:pt x="27" y="17"/>
                  <a:pt x="27" y="17"/>
                </a:cubicBezTo>
                <a:cubicBezTo>
                  <a:pt x="27" y="18"/>
                  <a:pt x="27" y="18"/>
                  <a:pt x="27" y="18"/>
                </a:cubicBezTo>
                <a:cubicBezTo>
                  <a:pt x="27" y="18"/>
                  <a:pt x="27" y="18"/>
                  <a:pt x="27" y="18"/>
                </a:cubicBezTo>
                <a:cubicBezTo>
                  <a:pt x="27" y="19"/>
                  <a:pt x="27" y="19"/>
                  <a:pt x="27" y="19"/>
                </a:cubicBezTo>
                <a:cubicBezTo>
                  <a:pt x="28" y="19"/>
                  <a:pt x="29" y="20"/>
                  <a:pt x="29" y="21"/>
                </a:cubicBezTo>
                <a:cubicBezTo>
                  <a:pt x="29" y="22"/>
                  <a:pt x="29" y="22"/>
                  <a:pt x="29" y="22"/>
                </a:cubicBezTo>
                <a:cubicBezTo>
                  <a:pt x="29" y="23"/>
                  <a:pt x="28" y="24"/>
                  <a:pt x="28" y="24"/>
                </a:cubicBezTo>
                <a:cubicBezTo>
                  <a:pt x="27" y="24"/>
                  <a:pt x="26" y="24"/>
                  <a:pt x="26" y="24"/>
                </a:cubicBezTo>
                <a:cubicBezTo>
                  <a:pt x="25" y="24"/>
                  <a:pt x="25" y="24"/>
                  <a:pt x="25" y="24"/>
                </a:cubicBezTo>
                <a:cubicBezTo>
                  <a:pt x="24" y="24"/>
                  <a:pt x="24" y="24"/>
                  <a:pt x="23" y="24"/>
                </a:cubicBezTo>
                <a:cubicBezTo>
                  <a:pt x="20" y="24"/>
                  <a:pt x="20" y="24"/>
                  <a:pt x="20" y="24"/>
                </a:cubicBezTo>
                <a:cubicBezTo>
                  <a:pt x="20" y="25"/>
                  <a:pt x="20" y="25"/>
                  <a:pt x="19" y="25"/>
                </a:cubicBezTo>
                <a:cubicBezTo>
                  <a:pt x="18" y="26"/>
                  <a:pt x="18" y="26"/>
                  <a:pt x="18" y="26"/>
                </a:cubicBezTo>
                <a:cubicBezTo>
                  <a:pt x="18" y="27"/>
                  <a:pt x="18" y="27"/>
                  <a:pt x="18" y="27"/>
                </a:cubicBezTo>
                <a:cubicBezTo>
                  <a:pt x="18" y="28"/>
                  <a:pt x="18" y="28"/>
                  <a:pt x="19" y="29"/>
                </a:cubicBezTo>
                <a:cubicBezTo>
                  <a:pt x="19" y="29"/>
                  <a:pt x="19" y="29"/>
                  <a:pt x="19" y="29"/>
                </a:cubicBezTo>
                <a:cubicBezTo>
                  <a:pt x="22" y="29"/>
                  <a:pt x="22" y="29"/>
                  <a:pt x="22" y="29"/>
                </a:cubicBezTo>
                <a:cubicBezTo>
                  <a:pt x="22" y="28"/>
                  <a:pt x="23" y="28"/>
                  <a:pt x="24" y="27"/>
                </a:cubicBezTo>
                <a:cubicBezTo>
                  <a:pt x="25" y="26"/>
                  <a:pt x="26" y="26"/>
                  <a:pt x="26" y="26"/>
                </a:cubicBezTo>
                <a:cubicBezTo>
                  <a:pt x="26" y="25"/>
                  <a:pt x="26" y="25"/>
                  <a:pt x="27" y="25"/>
                </a:cubicBezTo>
                <a:cubicBezTo>
                  <a:pt x="30" y="25"/>
                  <a:pt x="30" y="25"/>
                  <a:pt x="30" y="25"/>
                </a:cubicBezTo>
                <a:cubicBezTo>
                  <a:pt x="31" y="26"/>
                  <a:pt x="32" y="26"/>
                  <a:pt x="32" y="27"/>
                </a:cubicBezTo>
                <a:cubicBezTo>
                  <a:pt x="33" y="30"/>
                  <a:pt x="33" y="30"/>
                  <a:pt x="33" y="30"/>
                </a:cubicBezTo>
                <a:cubicBezTo>
                  <a:pt x="34" y="30"/>
                  <a:pt x="34" y="31"/>
                  <a:pt x="34" y="31"/>
                </a:cubicBezTo>
                <a:cubicBezTo>
                  <a:pt x="34" y="33"/>
                  <a:pt x="33" y="35"/>
                  <a:pt x="31" y="35"/>
                </a:cubicBezTo>
                <a:cubicBezTo>
                  <a:pt x="31" y="35"/>
                  <a:pt x="31" y="35"/>
                  <a:pt x="31" y="35"/>
                </a:cubicBezTo>
                <a:cubicBezTo>
                  <a:pt x="30" y="36"/>
                  <a:pt x="30" y="36"/>
                  <a:pt x="30" y="36"/>
                </a:cubicBezTo>
                <a:cubicBezTo>
                  <a:pt x="30" y="37"/>
                  <a:pt x="30" y="37"/>
                  <a:pt x="30" y="37"/>
                </a:cubicBezTo>
                <a:cubicBezTo>
                  <a:pt x="31" y="38"/>
                  <a:pt x="32" y="38"/>
                  <a:pt x="32" y="39"/>
                </a:cubicBezTo>
                <a:cubicBezTo>
                  <a:pt x="32" y="40"/>
                  <a:pt x="31" y="41"/>
                  <a:pt x="29" y="42"/>
                </a:cubicBezTo>
                <a:cubicBezTo>
                  <a:pt x="29" y="42"/>
                  <a:pt x="29" y="42"/>
                  <a:pt x="29" y="42"/>
                </a:cubicBezTo>
                <a:cubicBezTo>
                  <a:pt x="28" y="43"/>
                  <a:pt x="27" y="43"/>
                  <a:pt x="26" y="43"/>
                </a:cubicBezTo>
                <a:cubicBezTo>
                  <a:pt x="25" y="43"/>
                  <a:pt x="24" y="42"/>
                  <a:pt x="24" y="42"/>
                </a:cubicBezTo>
                <a:cubicBezTo>
                  <a:pt x="23" y="42"/>
                  <a:pt x="23" y="42"/>
                  <a:pt x="23" y="42"/>
                </a:cubicBezTo>
                <a:cubicBezTo>
                  <a:pt x="22" y="43"/>
                  <a:pt x="21" y="43"/>
                  <a:pt x="20" y="43"/>
                </a:cubicBezTo>
                <a:cubicBezTo>
                  <a:pt x="8" y="43"/>
                  <a:pt x="8" y="43"/>
                  <a:pt x="8" y="43"/>
                </a:cubicBezTo>
                <a:cubicBezTo>
                  <a:pt x="7" y="43"/>
                  <a:pt x="7" y="43"/>
                  <a:pt x="6" y="43"/>
                </a:cubicBezTo>
                <a:cubicBezTo>
                  <a:pt x="5" y="43"/>
                  <a:pt x="3" y="44"/>
                  <a:pt x="2" y="42"/>
                </a:cubicBezTo>
                <a:cubicBezTo>
                  <a:pt x="2" y="42"/>
                  <a:pt x="2" y="42"/>
                  <a:pt x="1" y="42"/>
                </a:cubicBezTo>
                <a:cubicBezTo>
                  <a:pt x="0" y="43"/>
                  <a:pt x="0" y="43"/>
                  <a:pt x="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0" y="45"/>
                  <a:pt x="0" y="45"/>
                  <a:pt x="0" y="45"/>
                </a:cubicBezTo>
                <a:cubicBezTo>
                  <a:pt x="4" y="45"/>
                  <a:pt x="4" y="45"/>
                  <a:pt x="4" y="45"/>
                </a:cubicBezTo>
                <a:cubicBezTo>
                  <a:pt x="5" y="44"/>
                  <a:pt x="5" y="44"/>
                  <a:pt x="5" y="44"/>
                </a:cubicBezTo>
                <a:cubicBezTo>
                  <a:pt x="5" y="43"/>
                  <a:pt x="5" y="43"/>
                  <a:pt x="6" y="43"/>
                </a:cubicBezTo>
                <a:cubicBezTo>
                  <a:pt x="9" y="43"/>
                  <a:pt x="9" y="43"/>
                  <a:pt x="9" y="43"/>
                </a:cubicBezTo>
                <a:cubicBezTo>
                  <a:pt x="9" y="43"/>
                  <a:pt x="9" y="43"/>
                  <a:pt x="10" y="43"/>
                </a:cubicBezTo>
                <a:cubicBezTo>
                  <a:pt x="12" y="45"/>
                  <a:pt x="12" y="45"/>
                  <a:pt x="12" y="45"/>
                </a:cubicBezTo>
                <a:cubicBezTo>
                  <a:pt x="15" y="46"/>
                  <a:pt x="15" y="46"/>
                  <a:pt x="15" y="46"/>
                </a:cubicBezTo>
                <a:cubicBezTo>
                  <a:pt x="16" y="46"/>
                  <a:pt x="16" y="46"/>
                  <a:pt x="16" y="47"/>
                </a:cubicBezTo>
                <a:cubicBezTo>
                  <a:pt x="18" y="49"/>
                  <a:pt x="18" y="49"/>
                  <a:pt x="18" y="49"/>
                </a:cubicBezTo>
                <a:cubicBezTo>
                  <a:pt x="20" y="49"/>
                  <a:pt x="20" y="49"/>
                  <a:pt x="20" y="49"/>
                </a:cubicBezTo>
                <a:cubicBezTo>
                  <a:pt x="21" y="49"/>
                  <a:pt x="21" y="50"/>
                  <a:pt x="22" y="51"/>
                </a:cubicBezTo>
                <a:cubicBezTo>
                  <a:pt x="23" y="54"/>
                  <a:pt x="23" y="54"/>
                  <a:pt x="23" y="54"/>
                </a:cubicBezTo>
                <a:cubicBezTo>
                  <a:pt x="24" y="54"/>
                  <a:pt x="24" y="55"/>
                  <a:pt x="25" y="55"/>
                </a:cubicBezTo>
                <a:cubicBezTo>
                  <a:pt x="26" y="58"/>
                  <a:pt x="26" y="58"/>
                  <a:pt x="26" y="58"/>
                </a:cubicBezTo>
                <a:cubicBezTo>
                  <a:pt x="27" y="58"/>
                  <a:pt x="27" y="58"/>
                  <a:pt x="27" y="58"/>
                </a:cubicBezTo>
                <a:cubicBezTo>
                  <a:pt x="28" y="58"/>
                  <a:pt x="29" y="58"/>
                  <a:pt x="29" y="58"/>
                </a:cubicBezTo>
                <a:cubicBezTo>
                  <a:pt x="30" y="58"/>
                  <a:pt x="31" y="58"/>
                  <a:pt x="31" y="58"/>
                </a:cubicBezTo>
                <a:cubicBezTo>
                  <a:pt x="32" y="59"/>
                  <a:pt x="32" y="59"/>
                  <a:pt x="32" y="59"/>
                </a:cubicBezTo>
                <a:cubicBezTo>
                  <a:pt x="33" y="59"/>
                  <a:pt x="34" y="60"/>
                  <a:pt x="35" y="61"/>
                </a:cubicBezTo>
                <a:cubicBezTo>
                  <a:pt x="37" y="63"/>
                  <a:pt x="37" y="63"/>
                  <a:pt x="37" y="63"/>
                </a:cubicBezTo>
                <a:cubicBezTo>
                  <a:pt x="37" y="63"/>
                  <a:pt x="37" y="63"/>
                  <a:pt x="37" y="63"/>
                </a:cubicBezTo>
                <a:cubicBezTo>
                  <a:pt x="38" y="65"/>
                  <a:pt x="38" y="65"/>
                  <a:pt x="38" y="65"/>
                </a:cubicBezTo>
                <a:cubicBezTo>
                  <a:pt x="39" y="65"/>
                  <a:pt x="39" y="65"/>
                  <a:pt x="39" y="65"/>
                </a:cubicBezTo>
                <a:cubicBezTo>
                  <a:pt x="40" y="65"/>
                  <a:pt x="41" y="66"/>
                  <a:pt x="41" y="67"/>
                </a:cubicBezTo>
                <a:cubicBezTo>
                  <a:pt x="41" y="70"/>
                  <a:pt x="41" y="70"/>
                  <a:pt x="41" y="70"/>
                </a:cubicBezTo>
                <a:cubicBezTo>
                  <a:pt x="41" y="71"/>
                  <a:pt x="41" y="71"/>
                  <a:pt x="41" y="71"/>
                </a:cubicBezTo>
                <a:cubicBezTo>
                  <a:pt x="45" y="73"/>
                  <a:pt x="45" y="73"/>
                  <a:pt x="45" y="73"/>
                </a:cubicBezTo>
                <a:cubicBezTo>
                  <a:pt x="45" y="73"/>
                  <a:pt x="45" y="73"/>
                  <a:pt x="45" y="73"/>
                </a:cubicBezTo>
                <a:cubicBezTo>
                  <a:pt x="47" y="75"/>
                  <a:pt x="47" y="75"/>
                  <a:pt x="47" y="75"/>
                </a:cubicBezTo>
                <a:cubicBezTo>
                  <a:pt x="50" y="75"/>
                  <a:pt x="50" y="75"/>
                  <a:pt x="50" y="75"/>
                </a:cubicBezTo>
                <a:cubicBezTo>
                  <a:pt x="51" y="73"/>
                  <a:pt x="51" y="73"/>
                  <a:pt x="51" y="73"/>
                </a:cubicBezTo>
                <a:cubicBezTo>
                  <a:pt x="52" y="73"/>
                  <a:pt x="52" y="73"/>
                  <a:pt x="52" y="73"/>
                </a:cubicBezTo>
                <a:cubicBezTo>
                  <a:pt x="52" y="72"/>
                  <a:pt x="52" y="72"/>
                  <a:pt x="52" y="72"/>
                </a:cubicBezTo>
                <a:cubicBezTo>
                  <a:pt x="51" y="71"/>
                  <a:pt x="51" y="71"/>
                  <a:pt x="51" y="70"/>
                </a:cubicBezTo>
                <a:cubicBezTo>
                  <a:pt x="51" y="69"/>
                  <a:pt x="52" y="68"/>
                  <a:pt x="54" y="68"/>
                </a:cubicBezTo>
                <a:cubicBezTo>
                  <a:pt x="54" y="68"/>
                  <a:pt x="54" y="68"/>
                  <a:pt x="55" y="68"/>
                </a:cubicBezTo>
                <a:cubicBezTo>
                  <a:pt x="56" y="66"/>
                  <a:pt x="56" y="66"/>
                  <a:pt x="56" y="65"/>
                </a:cubicBezTo>
                <a:cubicBezTo>
                  <a:pt x="57" y="65"/>
                  <a:pt x="57" y="64"/>
                  <a:pt x="57" y="63"/>
                </a:cubicBezTo>
                <a:cubicBezTo>
                  <a:pt x="59" y="62"/>
                  <a:pt x="61" y="61"/>
                  <a:pt x="62" y="60"/>
                </a:cubicBezTo>
                <a:cubicBezTo>
                  <a:pt x="63" y="60"/>
                  <a:pt x="63" y="60"/>
                  <a:pt x="63" y="60"/>
                </a:cubicBezTo>
                <a:cubicBezTo>
                  <a:pt x="63" y="60"/>
                  <a:pt x="63" y="60"/>
                  <a:pt x="64" y="60"/>
                </a:cubicBezTo>
                <a:cubicBezTo>
                  <a:pt x="64" y="60"/>
                  <a:pt x="64" y="59"/>
                  <a:pt x="65" y="59"/>
                </a:cubicBezTo>
                <a:cubicBezTo>
                  <a:pt x="65" y="58"/>
                  <a:pt x="65" y="58"/>
                  <a:pt x="65" y="58"/>
                </a:cubicBezTo>
                <a:cubicBezTo>
                  <a:pt x="65" y="57"/>
                  <a:pt x="65" y="57"/>
                  <a:pt x="65" y="57"/>
                </a:cubicBezTo>
                <a:cubicBezTo>
                  <a:pt x="65" y="56"/>
                  <a:pt x="65" y="56"/>
                  <a:pt x="65" y="56"/>
                </a:cubicBezTo>
                <a:cubicBezTo>
                  <a:pt x="65" y="55"/>
                  <a:pt x="65" y="54"/>
                  <a:pt x="65" y="54"/>
                </a:cubicBezTo>
                <a:cubicBezTo>
                  <a:pt x="65" y="54"/>
                  <a:pt x="65" y="54"/>
                  <a:pt x="65" y="53"/>
                </a:cubicBezTo>
                <a:cubicBezTo>
                  <a:pt x="65" y="51"/>
                  <a:pt x="65" y="49"/>
                  <a:pt x="65" y="49"/>
                </a:cubicBezTo>
                <a:cubicBezTo>
                  <a:pt x="65" y="48"/>
                  <a:pt x="65" y="47"/>
                  <a:pt x="65" y="47"/>
                </a:cubicBezTo>
                <a:cubicBezTo>
                  <a:pt x="65" y="46"/>
                  <a:pt x="65" y="45"/>
                  <a:pt x="65" y="44"/>
                </a:cubicBezTo>
                <a:cubicBezTo>
                  <a:pt x="65" y="43"/>
                  <a:pt x="65" y="41"/>
                  <a:pt x="65" y="41"/>
                </a:cubicBezTo>
                <a:cubicBezTo>
                  <a:pt x="65" y="40"/>
                  <a:pt x="65" y="40"/>
                  <a:pt x="65" y="40"/>
                </a:cubicBezTo>
                <a:cubicBezTo>
                  <a:pt x="66" y="39"/>
                  <a:pt x="66" y="38"/>
                  <a:pt x="66" y="38"/>
                </a:cubicBezTo>
                <a:cubicBezTo>
                  <a:pt x="66" y="37"/>
                  <a:pt x="66" y="37"/>
                  <a:pt x="66" y="37"/>
                </a:cubicBezTo>
                <a:cubicBezTo>
                  <a:pt x="66" y="37"/>
                  <a:pt x="66" y="36"/>
                  <a:pt x="67" y="34"/>
                </a:cubicBezTo>
                <a:cubicBezTo>
                  <a:pt x="68" y="33"/>
                  <a:pt x="68" y="33"/>
                  <a:pt x="68" y="33"/>
                </a:cubicBezTo>
                <a:cubicBezTo>
                  <a:pt x="68" y="33"/>
                  <a:pt x="68" y="33"/>
                  <a:pt x="68" y="33"/>
                </a:cubicBezTo>
                <a:cubicBezTo>
                  <a:pt x="68" y="33"/>
                  <a:pt x="68" y="33"/>
                  <a:pt x="68" y="33"/>
                </a:cubicBezTo>
                <a:cubicBezTo>
                  <a:pt x="67" y="31"/>
                  <a:pt x="67" y="31"/>
                  <a:pt x="67" y="31"/>
                </a:cubicBezTo>
                <a:cubicBezTo>
                  <a:pt x="65" y="30"/>
                  <a:pt x="65" y="30"/>
                  <a:pt x="65" y="30"/>
                </a:cubicBezTo>
                <a:cubicBezTo>
                  <a:pt x="65" y="30"/>
                  <a:pt x="65" y="30"/>
                  <a:pt x="65" y="30"/>
                </a:cubicBezTo>
                <a:cubicBezTo>
                  <a:pt x="60" y="24"/>
                  <a:pt x="60" y="24"/>
                  <a:pt x="60" y="24"/>
                </a:cubicBezTo>
                <a:cubicBezTo>
                  <a:pt x="59" y="23"/>
                  <a:pt x="59" y="23"/>
                  <a:pt x="59" y="23"/>
                </a:cubicBezTo>
                <a:cubicBezTo>
                  <a:pt x="58" y="22"/>
                  <a:pt x="58" y="22"/>
                  <a:pt x="58" y="22"/>
                </a:cubicBezTo>
                <a:cubicBezTo>
                  <a:pt x="57" y="22"/>
                  <a:pt x="57" y="22"/>
                  <a:pt x="57" y="22"/>
                </a:cubicBezTo>
                <a:cubicBezTo>
                  <a:pt x="55" y="20"/>
                  <a:pt x="55" y="20"/>
                  <a:pt x="55" y="20"/>
                </a:cubicBezTo>
                <a:cubicBezTo>
                  <a:pt x="55" y="19"/>
                  <a:pt x="55" y="19"/>
                  <a:pt x="55" y="19"/>
                </a:cubicBezTo>
                <a:cubicBezTo>
                  <a:pt x="55" y="19"/>
                  <a:pt x="55" y="18"/>
                  <a:pt x="55" y="17"/>
                </a:cubicBezTo>
                <a:cubicBezTo>
                  <a:pt x="55" y="12"/>
                  <a:pt x="55" y="12"/>
                  <a:pt x="55" y="12"/>
                </a:cubicBezTo>
                <a:cubicBezTo>
                  <a:pt x="54" y="11"/>
                  <a:pt x="54" y="11"/>
                  <a:pt x="54" y="11"/>
                </a:cubicBezTo>
                <a:cubicBezTo>
                  <a:pt x="54" y="1"/>
                  <a:pt x="54" y="1"/>
                  <a:pt x="54" y="1"/>
                </a:cubicBezTo>
                <a:cubicBezTo>
                  <a:pt x="54" y="0"/>
                  <a:pt x="54" y="0"/>
                  <a:pt x="54" y="0"/>
                </a:cubicBezTo>
                <a:cubicBezTo>
                  <a:pt x="51" y="3"/>
                  <a:pt x="51" y="3"/>
                  <a:pt x="51" y="3"/>
                </a:cubicBezTo>
                <a:cubicBezTo>
                  <a:pt x="42" y="10"/>
                  <a:pt x="42" y="10"/>
                  <a:pt x="42" y="10"/>
                </a:cubicBezTo>
                <a:cubicBezTo>
                  <a:pt x="40" y="11"/>
                  <a:pt x="40" y="11"/>
                  <a:pt x="40" y="11"/>
                </a:cubicBezTo>
                <a:cubicBezTo>
                  <a:pt x="35" y="13"/>
                  <a:pt x="35" y="13"/>
                  <a:pt x="35" y="13"/>
                </a:cubicBezTo>
                <a:cubicBezTo>
                  <a:pt x="34" y="14"/>
                  <a:pt x="34" y="14"/>
                  <a:pt x="34" y="14"/>
                </a:cubicBezTo>
                <a:cubicBezTo>
                  <a:pt x="32" y="14"/>
                  <a:pt x="32" y="14"/>
                  <a:pt x="32" y="14"/>
                </a:cubicBezTo>
                <a:cubicBezTo>
                  <a:pt x="26" y="13"/>
                  <a:pt x="26" y="13"/>
                  <a:pt x="26" y="13"/>
                </a:cubicBezTo>
                <a:cubicBezTo>
                  <a:pt x="26" y="13"/>
                  <a:pt x="26" y="13"/>
                  <a:pt x="26" y="13"/>
                </a:cubicBezTo>
                <a:cubicBezTo>
                  <a:pt x="27" y="14"/>
                  <a:pt x="27" y="14"/>
                  <a:pt x="27" y="1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9" name="Freeform 62">
            <a:extLst>
              <a:ext uri="{FF2B5EF4-FFF2-40B4-BE49-F238E27FC236}">
                <a16:creationId xmlns:a16="http://schemas.microsoft.com/office/drawing/2014/main" id="{C7B468A9-5096-462B-B81C-94137EE2370F}"/>
              </a:ext>
            </a:extLst>
          </p:cNvPr>
          <p:cNvSpPr>
            <a:spLocks noEditPoints="1"/>
          </p:cNvSpPr>
          <p:nvPr/>
        </p:nvSpPr>
        <p:spPr bwMode="auto">
          <a:xfrm>
            <a:off x="3559452" y="1529879"/>
            <a:ext cx="1370675" cy="782638"/>
          </a:xfrm>
          <a:custGeom>
            <a:avLst/>
            <a:gdLst>
              <a:gd name="T0" fmla="*/ 54 w 567"/>
              <a:gd name="T1" fmla="*/ 86 h 351"/>
              <a:gd name="T2" fmla="*/ 16 w 567"/>
              <a:gd name="T3" fmla="*/ 257 h 351"/>
              <a:gd name="T4" fmla="*/ 2 w 567"/>
              <a:gd name="T5" fmla="*/ 285 h 351"/>
              <a:gd name="T6" fmla="*/ 55 w 567"/>
              <a:gd name="T7" fmla="*/ 132 h 351"/>
              <a:gd name="T8" fmla="*/ 47 w 567"/>
              <a:gd name="T9" fmla="*/ 135 h 351"/>
              <a:gd name="T10" fmla="*/ 19 w 567"/>
              <a:gd name="T11" fmla="*/ 121 h 351"/>
              <a:gd name="T12" fmla="*/ 27 w 567"/>
              <a:gd name="T13" fmla="*/ 178 h 351"/>
              <a:gd name="T14" fmla="*/ 48 w 567"/>
              <a:gd name="T15" fmla="*/ 235 h 351"/>
              <a:gd name="T16" fmla="*/ 69 w 567"/>
              <a:gd name="T17" fmla="*/ 3 h 351"/>
              <a:gd name="T18" fmla="*/ 76 w 567"/>
              <a:gd name="T19" fmla="*/ 41 h 351"/>
              <a:gd name="T20" fmla="*/ 36 w 567"/>
              <a:gd name="T21" fmla="*/ 131 h 351"/>
              <a:gd name="T22" fmla="*/ 221 w 567"/>
              <a:gd name="T23" fmla="*/ 126 h 351"/>
              <a:gd name="T24" fmla="*/ 231 w 567"/>
              <a:gd name="T25" fmla="*/ 193 h 351"/>
              <a:gd name="T26" fmla="*/ 223 w 567"/>
              <a:gd name="T27" fmla="*/ 145 h 351"/>
              <a:gd name="T28" fmla="*/ 135 w 567"/>
              <a:gd name="T29" fmla="*/ 253 h 351"/>
              <a:gd name="T30" fmla="*/ 171 w 567"/>
              <a:gd name="T31" fmla="*/ 253 h 351"/>
              <a:gd name="T32" fmla="*/ 185 w 567"/>
              <a:gd name="T33" fmla="*/ 269 h 351"/>
              <a:gd name="T34" fmla="*/ 202 w 567"/>
              <a:gd name="T35" fmla="*/ 297 h 351"/>
              <a:gd name="T36" fmla="*/ 268 w 567"/>
              <a:gd name="T37" fmla="*/ 205 h 351"/>
              <a:gd name="T38" fmla="*/ 200 w 567"/>
              <a:gd name="T39" fmla="*/ 161 h 351"/>
              <a:gd name="T40" fmla="*/ 162 w 567"/>
              <a:gd name="T41" fmla="*/ 146 h 351"/>
              <a:gd name="T42" fmla="*/ 120 w 567"/>
              <a:gd name="T43" fmla="*/ 140 h 351"/>
              <a:gd name="T44" fmla="*/ 141 w 567"/>
              <a:gd name="T45" fmla="*/ 171 h 351"/>
              <a:gd name="T46" fmla="*/ 175 w 567"/>
              <a:gd name="T47" fmla="*/ 228 h 351"/>
              <a:gd name="T48" fmla="*/ 44 w 567"/>
              <a:gd name="T49" fmla="*/ 170 h 351"/>
              <a:gd name="T50" fmla="*/ 37 w 567"/>
              <a:gd name="T51" fmla="*/ 162 h 351"/>
              <a:gd name="T52" fmla="*/ 33 w 567"/>
              <a:gd name="T53" fmla="*/ 141 h 351"/>
              <a:gd name="T54" fmla="*/ 117 w 567"/>
              <a:gd name="T55" fmla="*/ 10 h 351"/>
              <a:gd name="T56" fmla="*/ 92 w 567"/>
              <a:gd name="T57" fmla="*/ 2 h 351"/>
              <a:gd name="T58" fmla="*/ 82 w 567"/>
              <a:gd name="T59" fmla="*/ 25 h 351"/>
              <a:gd name="T60" fmla="*/ 92 w 567"/>
              <a:gd name="T61" fmla="*/ 39 h 351"/>
              <a:gd name="T62" fmla="*/ 559 w 567"/>
              <a:gd name="T63" fmla="*/ 196 h 351"/>
              <a:gd name="T64" fmla="*/ 538 w 567"/>
              <a:gd name="T65" fmla="*/ 179 h 351"/>
              <a:gd name="T66" fmla="*/ 510 w 567"/>
              <a:gd name="T67" fmla="*/ 171 h 351"/>
              <a:gd name="T68" fmla="*/ 483 w 567"/>
              <a:gd name="T69" fmla="*/ 153 h 351"/>
              <a:gd name="T70" fmla="*/ 503 w 567"/>
              <a:gd name="T71" fmla="*/ 140 h 351"/>
              <a:gd name="T72" fmla="*/ 494 w 567"/>
              <a:gd name="T73" fmla="*/ 126 h 351"/>
              <a:gd name="T74" fmla="*/ 487 w 567"/>
              <a:gd name="T75" fmla="*/ 124 h 351"/>
              <a:gd name="T76" fmla="*/ 442 w 567"/>
              <a:gd name="T77" fmla="*/ 146 h 351"/>
              <a:gd name="T78" fmla="*/ 406 w 567"/>
              <a:gd name="T79" fmla="*/ 159 h 351"/>
              <a:gd name="T80" fmla="*/ 361 w 567"/>
              <a:gd name="T81" fmla="*/ 169 h 351"/>
              <a:gd name="T82" fmla="*/ 345 w 567"/>
              <a:gd name="T83" fmla="*/ 193 h 351"/>
              <a:gd name="T84" fmla="*/ 319 w 567"/>
              <a:gd name="T85" fmla="*/ 214 h 351"/>
              <a:gd name="T86" fmla="*/ 345 w 567"/>
              <a:gd name="T87" fmla="*/ 227 h 351"/>
              <a:gd name="T88" fmla="*/ 315 w 567"/>
              <a:gd name="T89" fmla="*/ 236 h 351"/>
              <a:gd name="T90" fmla="*/ 289 w 567"/>
              <a:gd name="T91" fmla="*/ 208 h 351"/>
              <a:gd name="T92" fmla="*/ 262 w 567"/>
              <a:gd name="T93" fmla="*/ 231 h 351"/>
              <a:gd name="T94" fmla="*/ 258 w 567"/>
              <a:gd name="T95" fmla="*/ 239 h 351"/>
              <a:gd name="T96" fmla="*/ 284 w 567"/>
              <a:gd name="T97" fmla="*/ 270 h 351"/>
              <a:gd name="T98" fmla="*/ 250 w 567"/>
              <a:gd name="T99" fmla="*/ 297 h 351"/>
              <a:gd name="T100" fmla="*/ 237 w 567"/>
              <a:gd name="T101" fmla="*/ 315 h 351"/>
              <a:gd name="T102" fmla="*/ 276 w 567"/>
              <a:gd name="T103" fmla="*/ 315 h 351"/>
              <a:gd name="T104" fmla="*/ 305 w 567"/>
              <a:gd name="T105" fmla="*/ 295 h 351"/>
              <a:gd name="T106" fmla="*/ 346 w 567"/>
              <a:gd name="T107" fmla="*/ 299 h 351"/>
              <a:gd name="T108" fmla="*/ 323 w 567"/>
              <a:gd name="T109" fmla="*/ 347 h 351"/>
              <a:gd name="T110" fmla="*/ 367 w 567"/>
              <a:gd name="T111" fmla="*/ 349 h 351"/>
              <a:gd name="T112" fmla="*/ 413 w 567"/>
              <a:gd name="T113" fmla="*/ 349 h 351"/>
              <a:gd name="T114" fmla="*/ 432 w 567"/>
              <a:gd name="T115" fmla="*/ 327 h 351"/>
              <a:gd name="T116" fmla="*/ 446 w 567"/>
              <a:gd name="T117" fmla="*/ 309 h 351"/>
              <a:gd name="T118" fmla="*/ 470 w 567"/>
              <a:gd name="T119" fmla="*/ 286 h 351"/>
              <a:gd name="T120" fmla="*/ 504 w 567"/>
              <a:gd name="T121" fmla="*/ 279 h 351"/>
              <a:gd name="T122" fmla="*/ 520 w 567"/>
              <a:gd name="T123" fmla="*/ 236 h 351"/>
              <a:gd name="T124" fmla="*/ 556 w 567"/>
              <a:gd name="T125" fmla="*/ 218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67" h="351">
                <a:moveTo>
                  <a:pt x="54" y="86"/>
                </a:moveTo>
                <a:cubicBezTo>
                  <a:pt x="54" y="87"/>
                  <a:pt x="54" y="87"/>
                  <a:pt x="54" y="87"/>
                </a:cubicBezTo>
                <a:cubicBezTo>
                  <a:pt x="54" y="88"/>
                  <a:pt x="54" y="88"/>
                  <a:pt x="54" y="88"/>
                </a:cubicBezTo>
                <a:cubicBezTo>
                  <a:pt x="57" y="88"/>
                  <a:pt x="57" y="88"/>
                  <a:pt x="57" y="88"/>
                </a:cubicBezTo>
                <a:cubicBezTo>
                  <a:pt x="60" y="87"/>
                  <a:pt x="60" y="87"/>
                  <a:pt x="60" y="87"/>
                </a:cubicBezTo>
                <a:cubicBezTo>
                  <a:pt x="63" y="85"/>
                  <a:pt x="63" y="85"/>
                  <a:pt x="63" y="85"/>
                </a:cubicBezTo>
                <a:cubicBezTo>
                  <a:pt x="63" y="83"/>
                  <a:pt x="63" y="83"/>
                  <a:pt x="63" y="83"/>
                </a:cubicBezTo>
                <a:cubicBezTo>
                  <a:pt x="64" y="82"/>
                  <a:pt x="64" y="82"/>
                  <a:pt x="64" y="82"/>
                </a:cubicBezTo>
                <a:cubicBezTo>
                  <a:pt x="65" y="82"/>
                  <a:pt x="65" y="82"/>
                  <a:pt x="65" y="82"/>
                </a:cubicBezTo>
                <a:cubicBezTo>
                  <a:pt x="65" y="82"/>
                  <a:pt x="65" y="82"/>
                  <a:pt x="65" y="82"/>
                </a:cubicBezTo>
                <a:cubicBezTo>
                  <a:pt x="65" y="80"/>
                  <a:pt x="65" y="80"/>
                  <a:pt x="65" y="80"/>
                </a:cubicBezTo>
                <a:cubicBezTo>
                  <a:pt x="64" y="80"/>
                  <a:pt x="64" y="80"/>
                  <a:pt x="64" y="80"/>
                </a:cubicBezTo>
                <a:cubicBezTo>
                  <a:pt x="63" y="79"/>
                  <a:pt x="63" y="79"/>
                  <a:pt x="63" y="79"/>
                </a:cubicBezTo>
                <a:cubicBezTo>
                  <a:pt x="59" y="79"/>
                  <a:pt x="59" y="79"/>
                  <a:pt x="59" y="79"/>
                </a:cubicBezTo>
                <a:cubicBezTo>
                  <a:pt x="58" y="80"/>
                  <a:pt x="58" y="80"/>
                  <a:pt x="58" y="80"/>
                </a:cubicBezTo>
                <a:cubicBezTo>
                  <a:pt x="57" y="80"/>
                  <a:pt x="57" y="80"/>
                  <a:pt x="57" y="80"/>
                </a:cubicBezTo>
                <a:lnTo>
                  <a:pt x="54" y="86"/>
                </a:lnTo>
                <a:close/>
                <a:moveTo>
                  <a:pt x="57" y="72"/>
                </a:moveTo>
                <a:cubicBezTo>
                  <a:pt x="57" y="70"/>
                  <a:pt x="57" y="70"/>
                  <a:pt x="57" y="70"/>
                </a:cubicBezTo>
                <a:cubicBezTo>
                  <a:pt x="57" y="69"/>
                  <a:pt x="57" y="69"/>
                  <a:pt x="57" y="69"/>
                </a:cubicBezTo>
                <a:cubicBezTo>
                  <a:pt x="56" y="69"/>
                  <a:pt x="56" y="69"/>
                  <a:pt x="56" y="69"/>
                </a:cubicBezTo>
                <a:cubicBezTo>
                  <a:pt x="56" y="68"/>
                  <a:pt x="56" y="68"/>
                  <a:pt x="56" y="68"/>
                </a:cubicBezTo>
                <a:cubicBezTo>
                  <a:pt x="55" y="68"/>
                  <a:pt x="55" y="68"/>
                  <a:pt x="55" y="68"/>
                </a:cubicBezTo>
                <a:cubicBezTo>
                  <a:pt x="54" y="68"/>
                  <a:pt x="54" y="68"/>
                  <a:pt x="54" y="68"/>
                </a:cubicBezTo>
                <a:cubicBezTo>
                  <a:pt x="52" y="68"/>
                  <a:pt x="52" y="68"/>
                  <a:pt x="52" y="68"/>
                </a:cubicBezTo>
                <a:cubicBezTo>
                  <a:pt x="50" y="70"/>
                  <a:pt x="50" y="70"/>
                  <a:pt x="50" y="70"/>
                </a:cubicBezTo>
                <a:cubicBezTo>
                  <a:pt x="49" y="71"/>
                  <a:pt x="49" y="71"/>
                  <a:pt x="49" y="71"/>
                </a:cubicBezTo>
                <a:cubicBezTo>
                  <a:pt x="49" y="72"/>
                  <a:pt x="49" y="72"/>
                  <a:pt x="49" y="72"/>
                </a:cubicBezTo>
                <a:cubicBezTo>
                  <a:pt x="49" y="73"/>
                  <a:pt x="49" y="73"/>
                  <a:pt x="49" y="73"/>
                </a:cubicBezTo>
                <a:cubicBezTo>
                  <a:pt x="53" y="74"/>
                  <a:pt x="53" y="74"/>
                  <a:pt x="53" y="74"/>
                </a:cubicBezTo>
                <a:lnTo>
                  <a:pt x="57" y="72"/>
                </a:lnTo>
                <a:close/>
                <a:moveTo>
                  <a:pt x="20" y="254"/>
                </a:moveTo>
                <a:cubicBezTo>
                  <a:pt x="18" y="255"/>
                  <a:pt x="18" y="255"/>
                  <a:pt x="18" y="255"/>
                </a:cubicBezTo>
                <a:cubicBezTo>
                  <a:pt x="16" y="257"/>
                  <a:pt x="16" y="257"/>
                  <a:pt x="16" y="257"/>
                </a:cubicBezTo>
                <a:cubicBezTo>
                  <a:pt x="2" y="272"/>
                  <a:pt x="2" y="272"/>
                  <a:pt x="2" y="272"/>
                </a:cubicBezTo>
                <a:cubicBezTo>
                  <a:pt x="2" y="272"/>
                  <a:pt x="2" y="272"/>
                  <a:pt x="2" y="272"/>
                </a:cubicBezTo>
                <a:cubicBezTo>
                  <a:pt x="1" y="274"/>
                  <a:pt x="1" y="274"/>
                  <a:pt x="1" y="274"/>
                </a:cubicBezTo>
                <a:cubicBezTo>
                  <a:pt x="2" y="275"/>
                  <a:pt x="2" y="275"/>
                  <a:pt x="2" y="275"/>
                </a:cubicBezTo>
                <a:cubicBezTo>
                  <a:pt x="2" y="275"/>
                  <a:pt x="2" y="275"/>
                  <a:pt x="2" y="275"/>
                </a:cubicBezTo>
                <a:cubicBezTo>
                  <a:pt x="3" y="276"/>
                  <a:pt x="3" y="276"/>
                  <a:pt x="3" y="276"/>
                </a:cubicBezTo>
                <a:cubicBezTo>
                  <a:pt x="6" y="276"/>
                  <a:pt x="6" y="276"/>
                  <a:pt x="6" y="276"/>
                </a:cubicBezTo>
                <a:cubicBezTo>
                  <a:pt x="15" y="278"/>
                  <a:pt x="15" y="278"/>
                  <a:pt x="15" y="278"/>
                </a:cubicBezTo>
                <a:cubicBezTo>
                  <a:pt x="19" y="276"/>
                  <a:pt x="19" y="276"/>
                  <a:pt x="19" y="276"/>
                </a:cubicBezTo>
                <a:cubicBezTo>
                  <a:pt x="24" y="270"/>
                  <a:pt x="24" y="270"/>
                  <a:pt x="24" y="270"/>
                </a:cubicBezTo>
                <a:cubicBezTo>
                  <a:pt x="24" y="264"/>
                  <a:pt x="24" y="264"/>
                  <a:pt x="24" y="264"/>
                </a:cubicBezTo>
                <a:lnTo>
                  <a:pt x="20" y="254"/>
                </a:lnTo>
                <a:close/>
                <a:moveTo>
                  <a:pt x="4" y="277"/>
                </a:moveTo>
                <a:cubicBezTo>
                  <a:pt x="1" y="277"/>
                  <a:pt x="1" y="277"/>
                  <a:pt x="1" y="277"/>
                </a:cubicBezTo>
                <a:cubicBezTo>
                  <a:pt x="0" y="277"/>
                  <a:pt x="0" y="277"/>
                  <a:pt x="0" y="277"/>
                </a:cubicBezTo>
                <a:cubicBezTo>
                  <a:pt x="0" y="280"/>
                  <a:pt x="0" y="280"/>
                  <a:pt x="0" y="280"/>
                </a:cubicBezTo>
                <a:cubicBezTo>
                  <a:pt x="2" y="285"/>
                  <a:pt x="2" y="285"/>
                  <a:pt x="2" y="285"/>
                </a:cubicBezTo>
                <a:cubicBezTo>
                  <a:pt x="2" y="286"/>
                  <a:pt x="2" y="286"/>
                  <a:pt x="2" y="286"/>
                </a:cubicBezTo>
                <a:cubicBezTo>
                  <a:pt x="4" y="286"/>
                  <a:pt x="4" y="286"/>
                  <a:pt x="4" y="286"/>
                </a:cubicBezTo>
                <a:cubicBezTo>
                  <a:pt x="7" y="285"/>
                  <a:pt x="7" y="285"/>
                  <a:pt x="7" y="285"/>
                </a:cubicBezTo>
                <a:cubicBezTo>
                  <a:pt x="8" y="284"/>
                  <a:pt x="8" y="284"/>
                  <a:pt x="8" y="284"/>
                </a:cubicBezTo>
                <a:cubicBezTo>
                  <a:pt x="9" y="284"/>
                  <a:pt x="9" y="284"/>
                  <a:pt x="9" y="284"/>
                </a:cubicBezTo>
                <a:cubicBezTo>
                  <a:pt x="10" y="280"/>
                  <a:pt x="10" y="280"/>
                  <a:pt x="10" y="280"/>
                </a:cubicBezTo>
                <a:cubicBezTo>
                  <a:pt x="11" y="280"/>
                  <a:pt x="11" y="280"/>
                  <a:pt x="11" y="280"/>
                </a:cubicBezTo>
                <a:cubicBezTo>
                  <a:pt x="12" y="280"/>
                  <a:pt x="12" y="280"/>
                  <a:pt x="12" y="280"/>
                </a:cubicBezTo>
                <a:cubicBezTo>
                  <a:pt x="11" y="279"/>
                  <a:pt x="11" y="279"/>
                  <a:pt x="11" y="279"/>
                </a:cubicBezTo>
                <a:lnTo>
                  <a:pt x="4" y="277"/>
                </a:lnTo>
                <a:close/>
                <a:moveTo>
                  <a:pt x="64" y="127"/>
                </a:moveTo>
                <a:cubicBezTo>
                  <a:pt x="64" y="127"/>
                  <a:pt x="64" y="127"/>
                  <a:pt x="64" y="127"/>
                </a:cubicBezTo>
                <a:cubicBezTo>
                  <a:pt x="62" y="127"/>
                  <a:pt x="62" y="127"/>
                  <a:pt x="62" y="127"/>
                </a:cubicBezTo>
                <a:cubicBezTo>
                  <a:pt x="61" y="127"/>
                  <a:pt x="61" y="127"/>
                  <a:pt x="61" y="127"/>
                </a:cubicBezTo>
                <a:cubicBezTo>
                  <a:pt x="56" y="131"/>
                  <a:pt x="56" y="131"/>
                  <a:pt x="56" y="131"/>
                </a:cubicBezTo>
                <a:cubicBezTo>
                  <a:pt x="55" y="131"/>
                  <a:pt x="55" y="131"/>
                  <a:pt x="55" y="131"/>
                </a:cubicBezTo>
                <a:cubicBezTo>
                  <a:pt x="55" y="132"/>
                  <a:pt x="55" y="132"/>
                  <a:pt x="55" y="132"/>
                </a:cubicBezTo>
                <a:cubicBezTo>
                  <a:pt x="55" y="133"/>
                  <a:pt x="55" y="133"/>
                  <a:pt x="55" y="133"/>
                </a:cubicBezTo>
                <a:cubicBezTo>
                  <a:pt x="57" y="136"/>
                  <a:pt x="57" y="136"/>
                  <a:pt x="57" y="136"/>
                </a:cubicBezTo>
                <a:cubicBezTo>
                  <a:pt x="60" y="137"/>
                  <a:pt x="60" y="137"/>
                  <a:pt x="60" y="137"/>
                </a:cubicBezTo>
                <a:cubicBezTo>
                  <a:pt x="60" y="137"/>
                  <a:pt x="60" y="137"/>
                  <a:pt x="60" y="137"/>
                </a:cubicBezTo>
                <a:cubicBezTo>
                  <a:pt x="62" y="136"/>
                  <a:pt x="62" y="136"/>
                  <a:pt x="62" y="136"/>
                </a:cubicBezTo>
                <a:cubicBezTo>
                  <a:pt x="65" y="131"/>
                  <a:pt x="65" y="131"/>
                  <a:pt x="65" y="131"/>
                </a:cubicBezTo>
                <a:cubicBezTo>
                  <a:pt x="65" y="128"/>
                  <a:pt x="65" y="128"/>
                  <a:pt x="65" y="128"/>
                </a:cubicBezTo>
                <a:lnTo>
                  <a:pt x="64" y="127"/>
                </a:lnTo>
                <a:close/>
                <a:moveTo>
                  <a:pt x="54" y="127"/>
                </a:moveTo>
                <a:cubicBezTo>
                  <a:pt x="54" y="127"/>
                  <a:pt x="54" y="127"/>
                  <a:pt x="54" y="127"/>
                </a:cubicBezTo>
                <a:cubicBezTo>
                  <a:pt x="52" y="126"/>
                  <a:pt x="52" y="126"/>
                  <a:pt x="52" y="126"/>
                </a:cubicBezTo>
                <a:cubicBezTo>
                  <a:pt x="51" y="127"/>
                  <a:pt x="51" y="127"/>
                  <a:pt x="51" y="127"/>
                </a:cubicBezTo>
                <a:cubicBezTo>
                  <a:pt x="50" y="128"/>
                  <a:pt x="50" y="128"/>
                  <a:pt x="50" y="128"/>
                </a:cubicBezTo>
                <a:cubicBezTo>
                  <a:pt x="47" y="132"/>
                  <a:pt x="47" y="132"/>
                  <a:pt x="47" y="132"/>
                </a:cubicBezTo>
                <a:cubicBezTo>
                  <a:pt x="47" y="133"/>
                  <a:pt x="47" y="133"/>
                  <a:pt x="47" y="133"/>
                </a:cubicBezTo>
                <a:cubicBezTo>
                  <a:pt x="47" y="134"/>
                  <a:pt x="47" y="134"/>
                  <a:pt x="47" y="134"/>
                </a:cubicBezTo>
                <a:cubicBezTo>
                  <a:pt x="47" y="135"/>
                  <a:pt x="47" y="135"/>
                  <a:pt x="47" y="135"/>
                </a:cubicBezTo>
                <a:cubicBezTo>
                  <a:pt x="48" y="136"/>
                  <a:pt x="48" y="136"/>
                  <a:pt x="48" y="136"/>
                </a:cubicBezTo>
                <a:cubicBezTo>
                  <a:pt x="49" y="136"/>
                  <a:pt x="49" y="136"/>
                  <a:pt x="49" y="136"/>
                </a:cubicBezTo>
                <a:cubicBezTo>
                  <a:pt x="51" y="136"/>
                  <a:pt x="51" y="136"/>
                  <a:pt x="51" y="136"/>
                </a:cubicBezTo>
                <a:cubicBezTo>
                  <a:pt x="53" y="134"/>
                  <a:pt x="53" y="134"/>
                  <a:pt x="53" y="134"/>
                </a:cubicBezTo>
                <a:cubicBezTo>
                  <a:pt x="55" y="128"/>
                  <a:pt x="55" y="128"/>
                  <a:pt x="55" y="128"/>
                </a:cubicBezTo>
                <a:lnTo>
                  <a:pt x="54" y="127"/>
                </a:lnTo>
                <a:close/>
                <a:moveTo>
                  <a:pt x="75" y="104"/>
                </a:moveTo>
                <a:cubicBezTo>
                  <a:pt x="58" y="92"/>
                  <a:pt x="58" y="92"/>
                  <a:pt x="58" y="92"/>
                </a:cubicBezTo>
                <a:cubicBezTo>
                  <a:pt x="57" y="91"/>
                  <a:pt x="57" y="91"/>
                  <a:pt x="57" y="91"/>
                </a:cubicBezTo>
                <a:cubicBezTo>
                  <a:pt x="56" y="91"/>
                  <a:pt x="56" y="91"/>
                  <a:pt x="56" y="91"/>
                </a:cubicBezTo>
                <a:cubicBezTo>
                  <a:pt x="39" y="91"/>
                  <a:pt x="39" y="91"/>
                  <a:pt x="39" y="91"/>
                </a:cubicBezTo>
                <a:cubicBezTo>
                  <a:pt x="18" y="98"/>
                  <a:pt x="18" y="98"/>
                  <a:pt x="18" y="98"/>
                </a:cubicBezTo>
                <a:cubicBezTo>
                  <a:pt x="17" y="98"/>
                  <a:pt x="17" y="98"/>
                  <a:pt x="17" y="98"/>
                </a:cubicBezTo>
                <a:cubicBezTo>
                  <a:pt x="9" y="113"/>
                  <a:pt x="9" y="113"/>
                  <a:pt x="9" y="113"/>
                </a:cubicBezTo>
                <a:cubicBezTo>
                  <a:pt x="10" y="114"/>
                  <a:pt x="10" y="114"/>
                  <a:pt x="10" y="114"/>
                </a:cubicBezTo>
                <a:cubicBezTo>
                  <a:pt x="11" y="115"/>
                  <a:pt x="11" y="115"/>
                  <a:pt x="11" y="115"/>
                </a:cubicBezTo>
                <a:cubicBezTo>
                  <a:pt x="19" y="121"/>
                  <a:pt x="19" y="121"/>
                  <a:pt x="19" y="121"/>
                </a:cubicBezTo>
                <a:cubicBezTo>
                  <a:pt x="20" y="122"/>
                  <a:pt x="20" y="122"/>
                  <a:pt x="20" y="122"/>
                </a:cubicBezTo>
                <a:cubicBezTo>
                  <a:pt x="33" y="124"/>
                  <a:pt x="33" y="124"/>
                  <a:pt x="33" y="124"/>
                </a:cubicBezTo>
                <a:cubicBezTo>
                  <a:pt x="43" y="124"/>
                  <a:pt x="43" y="124"/>
                  <a:pt x="43" y="124"/>
                </a:cubicBezTo>
                <a:cubicBezTo>
                  <a:pt x="59" y="125"/>
                  <a:pt x="59" y="125"/>
                  <a:pt x="59" y="125"/>
                </a:cubicBezTo>
                <a:cubicBezTo>
                  <a:pt x="66" y="116"/>
                  <a:pt x="66" y="116"/>
                  <a:pt x="66" y="116"/>
                </a:cubicBezTo>
                <a:cubicBezTo>
                  <a:pt x="69" y="110"/>
                  <a:pt x="69" y="110"/>
                  <a:pt x="69" y="110"/>
                </a:cubicBezTo>
                <a:cubicBezTo>
                  <a:pt x="75" y="107"/>
                  <a:pt x="75" y="107"/>
                  <a:pt x="75" y="107"/>
                </a:cubicBezTo>
                <a:cubicBezTo>
                  <a:pt x="75" y="106"/>
                  <a:pt x="75" y="106"/>
                  <a:pt x="75" y="106"/>
                </a:cubicBezTo>
                <a:cubicBezTo>
                  <a:pt x="76" y="105"/>
                  <a:pt x="76" y="105"/>
                  <a:pt x="76" y="105"/>
                </a:cubicBezTo>
                <a:cubicBezTo>
                  <a:pt x="75" y="104"/>
                  <a:pt x="75" y="104"/>
                  <a:pt x="75" y="104"/>
                </a:cubicBezTo>
                <a:close/>
                <a:moveTo>
                  <a:pt x="53" y="191"/>
                </a:moveTo>
                <a:cubicBezTo>
                  <a:pt x="53" y="190"/>
                  <a:pt x="53" y="190"/>
                  <a:pt x="53" y="190"/>
                </a:cubicBezTo>
                <a:cubicBezTo>
                  <a:pt x="53" y="189"/>
                  <a:pt x="53" y="189"/>
                  <a:pt x="53" y="189"/>
                </a:cubicBezTo>
                <a:cubicBezTo>
                  <a:pt x="51" y="185"/>
                  <a:pt x="51" y="185"/>
                  <a:pt x="51" y="185"/>
                </a:cubicBezTo>
                <a:cubicBezTo>
                  <a:pt x="38" y="178"/>
                  <a:pt x="38" y="178"/>
                  <a:pt x="38" y="178"/>
                </a:cubicBezTo>
                <a:cubicBezTo>
                  <a:pt x="30" y="175"/>
                  <a:pt x="30" y="175"/>
                  <a:pt x="30" y="175"/>
                </a:cubicBezTo>
                <a:cubicBezTo>
                  <a:pt x="27" y="178"/>
                  <a:pt x="27" y="178"/>
                  <a:pt x="27" y="178"/>
                </a:cubicBezTo>
                <a:cubicBezTo>
                  <a:pt x="23" y="194"/>
                  <a:pt x="23" y="194"/>
                  <a:pt x="23" y="194"/>
                </a:cubicBezTo>
                <a:cubicBezTo>
                  <a:pt x="21" y="202"/>
                  <a:pt x="21" y="202"/>
                  <a:pt x="21" y="202"/>
                </a:cubicBezTo>
                <a:cubicBezTo>
                  <a:pt x="21" y="215"/>
                  <a:pt x="21" y="215"/>
                  <a:pt x="21" y="215"/>
                </a:cubicBezTo>
                <a:cubicBezTo>
                  <a:pt x="22" y="218"/>
                  <a:pt x="22" y="218"/>
                  <a:pt x="22" y="218"/>
                </a:cubicBezTo>
                <a:cubicBezTo>
                  <a:pt x="23" y="228"/>
                  <a:pt x="23" y="228"/>
                  <a:pt x="23" y="228"/>
                </a:cubicBezTo>
                <a:cubicBezTo>
                  <a:pt x="25" y="235"/>
                  <a:pt x="25" y="235"/>
                  <a:pt x="25" y="235"/>
                </a:cubicBezTo>
                <a:cubicBezTo>
                  <a:pt x="26" y="235"/>
                  <a:pt x="26" y="235"/>
                  <a:pt x="26" y="235"/>
                </a:cubicBezTo>
                <a:cubicBezTo>
                  <a:pt x="27" y="237"/>
                  <a:pt x="27" y="237"/>
                  <a:pt x="27" y="237"/>
                </a:cubicBezTo>
                <a:cubicBezTo>
                  <a:pt x="29" y="238"/>
                  <a:pt x="29" y="238"/>
                  <a:pt x="29" y="238"/>
                </a:cubicBezTo>
                <a:cubicBezTo>
                  <a:pt x="30" y="238"/>
                  <a:pt x="30" y="238"/>
                  <a:pt x="30" y="238"/>
                </a:cubicBezTo>
                <a:cubicBezTo>
                  <a:pt x="47" y="241"/>
                  <a:pt x="47" y="241"/>
                  <a:pt x="47" y="241"/>
                </a:cubicBezTo>
                <a:cubicBezTo>
                  <a:pt x="48" y="241"/>
                  <a:pt x="48" y="241"/>
                  <a:pt x="48" y="241"/>
                </a:cubicBezTo>
                <a:cubicBezTo>
                  <a:pt x="48" y="240"/>
                  <a:pt x="48" y="240"/>
                  <a:pt x="48" y="240"/>
                </a:cubicBezTo>
                <a:cubicBezTo>
                  <a:pt x="49" y="240"/>
                  <a:pt x="49" y="240"/>
                  <a:pt x="49" y="240"/>
                </a:cubicBezTo>
                <a:cubicBezTo>
                  <a:pt x="49" y="239"/>
                  <a:pt x="49" y="239"/>
                  <a:pt x="49" y="239"/>
                </a:cubicBezTo>
                <a:cubicBezTo>
                  <a:pt x="48" y="236"/>
                  <a:pt x="48" y="236"/>
                  <a:pt x="48" y="236"/>
                </a:cubicBezTo>
                <a:cubicBezTo>
                  <a:pt x="48" y="235"/>
                  <a:pt x="48" y="235"/>
                  <a:pt x="48" y="235"/>
                </a:cubicBezTo>
                <a:cubicBezTo>
                  <a:pt x="46" y="232"/>
                  <a:pt x="46" y="232"/>
                  <a:pt x="46" y="232"/>
                </a:cubicBezTo>
                <a:cubicBezTo>
                  <a:pt x="46" y="231"/>
                  <a:pt x="46" y="231"/>
                  <a:pt x="46" y="231"/>
                </a:cubicBezTo>
                <a:cubicBezTo>
                  <a:pt x="45" y="225"/>
                  <a:pt x="45" y="225"/>
                  <a:pt x="45" y="225"/>
                </a:cubicBezTo>
                <a:cubicBezTo>
                  <a:pt x="44" y="215"/>
                  <a:pt x="44" y="215"/>
                  <a:pt x="44" y="215"/>
                </a:cubicBezTo>
                <a:cubicBezTo>
                  <a:pt x="44" y="207"/>
                  <a:pt x="44" y="207"/>
                  <a:pt x="44" y="207"/>
                </a:cubicBezTo>
                <a:lnTo>
                  <a:pt x="53" y="191"/>
                </a:lnTo>
                <a:close/>
                <a:moveTo>
                  <a:pt x="64" y="10"/>
                </a:moveTo>
                <a:cubicBezTo>
                  <a:pt x="64" y="10"/>
                  <a:pt x="64" y="10"/>
                  <a:pt x="64" y="10"/>
                </a:cubicBezTo>
                <a:cubicBezTo>
                  <a:pt x="69" y="11"/>
                  <a:pt x="69" y="11"/>
                  <a:pt x="69" y="11"/>
                </a:cubicBezTo>
                <a:cubicBezTo>
                  <a:pt x="71" y="11"/>
                  <a:pt x="71" y="11"/>
                  <a:pt x="71" y="11"/>
                </a:cubicBezTo>
                <a:cubicBezTo>
                  <a:pt x="72" y="11"/>
                  <a:pt x="72" y="11"/>
                  <a:pt x="72" y="11"/>
                </a:cubicBezTo>
                <a:cubicBezTo>
                  <a:pt x="72" y="10"/>
                  <a:pt x="72" y="10"/>
                  <a:pt x="72" y="10"/>
                </a:cubicBezTo>
                <a:cubicBezTo>
                  <a:pt x="72" y="10"/>
                  <a:pt x="72" y="10"/>
                  <a:pt x="72" y="10"/>
                </a:cubicBezTo>
                <a:cubicBezTo>
                  <a:pt x="71" y="5"/>
                  <a:pt x="71" y="5"/>
                  <a:pt x="71" y="5"/>
                </a:cubicBezTo>
                <a:cubicBezTo>
                  <a:pt x="71" y="4"/>
                  <a:pt x="71" y="4"/>
                  <a:pt x="71" y="4"/>
                </a:cubicBezTo>
                <a:cubicBezTo>
                  <a:pt x="70" y="4"/>
                  <a:pt x="70" y="4"/>
                  <a:pt x="70" y="4"/>
                </a:cubicBezTo>
                <a:cubicBezTo>
                  <a:pt x="69" y="3"/>
                  <a:pt x="69" y="3"/>
                  <a:pt x="69" y="3"/>
                </a:cubicBezTo>
                <a:cubicBezTo>
                  <a:pt x="67" y="3"/>
                  <a:pt x="67" y="3"/>
                  <a:pt x="67" y="3"/>
                </a:cubicBezTo>
                <a:cubicBezTo>
                  <a:pt x="63" y="6"/>
                  <a:pt x="63" y="6"/>
                  <a:pt x="63" y="6"/>
                </a:cubicBezTo>
                <a:cubicBezTo>
                  <a:pt x="63" y="7"/>
                  <a:pt x="63" y="7"/>
                  <a:pt x="63" y="7"/>
                </a:cubicBezTo>
                <a:cubicBezTo>
                  <a:pt x="63" y="9"/>
                  <a:pt x="63" y="9"/>
                  <a:pt x="63" y="9"/>
                </a:cubicBezTo>
                <a:lnTo>
                  <a:pt x="64" y="10"/>
                </a:lnTo>
                <a:close/>
                <a:moveTo>
                  <a:pt x="87" y="43"/>
                </a:moveTo>
                <a:cubicBezTo>
                  <a:pt x="88" y="42"/>
                  <a:pt x="88" y="42"/>
                  <a:pt x="88" y="42"/>
                </a:cubicBezTo>
                <a:cubicBezTo>
                  <a:pt x="89" y="41"/>
                  <a:pt x="89" y="41"/>
                  <a:pt x="89" y="41"/>
                </a:cubicBezTo>
                <a:cubicBezTo>
                  <a:pt x="89" y="40"/>
                  <a:pt x="89" y="40"/>
                  <a:pt x="89" y="40"/>
                </a:cubicBezTo>
                <a:cubicBezTo>
                  <a:pt x="89" y="39"/>
                  <a:pt x="89" y="39"/>
                  <a:pt x="89" y="39"/>
                </a:cubicBezTo>
                <a:cubicBezTo>
                  <a:pt x="89" y="38"/>
                  <a:pt x="89" y="38"/>
                  <a:pt x="89" y="38"/>
                </a:cubicBezTo>
                <a:cubicBezTo>
                  <a:pt x="89" y="37"/>
                  <a:pt x="89" y="37"/>
                  <a:pt x="89" y="37"/>
                </a:cubicBezTo>
                <a:cubicBezTo>
                  <a:pt x="89" y="35"/>
                  <a:pt x="89" y="35"/>
                  <a:pt x="89" y="35"/>
                </a:cubicBezTo>
                <a:cubicBezTo>
                  <a:pt x="88" y="34"/>
                  <a:pt x="88" y="34"/>
                  <a:pt x="88" y="34"/>
                </a:cubicBezTo>
                <a:cubicBezTo>
                  <a:pt x="88" y="34"/>
                  <a:pt x="88" y="34"/>
                  <a:pt x="88" y="34"/>
                </a:cubicBezTo>
                <a:cubicBezTo>
                  <a:pt x="85" y="35"/>
                  <a:pt x="85" y="35"/>
                  <a:pt x="85" y="35"/>
                </a:cubicBezTo>
                <a:cubicBezTo>
                  <a:pt x="76" y="41"/>
                  <a:pt x="76" y="41"/>
                  <a:pt x="76" y="41"/>
                </a:cubicBezTo>
                <a:cubicBezTo>
                  <a:pt x="76" y="42"/>
                  <a:pt x="76" y="42"/>
                  <a:pt x="76" y="42"/>
                </a:cubicBezTo>
                <a:cubicBezTo>
                  <a:pt x="77" y="44"/>
                  <a:pt x="77" y="44"/>
                  <a:pt x="77" y="44"/>
                </a:cubicBezTo>
                <a:cubicBezTo>
                  <a:pt x="77" y="44"/>
                  <a:pt x="77" y="44"/>
                  <a:pt x="77" y="44"/>
                </a:cubicBezTo>
                <a:lnTo>
                  <a:pt x="87" y="43"/>
                </a:lnTo>
                <a:close/>
                <a:moveTo>
                  <a:pt x="34" y="128"/>
                </a:moveTo>
                <a:cubicBezTo>
                  <a:pt x="33" y="127"/>
                  <a:pt x="33" y="127"/>
                  <a:pt x="33" y="127"/>
                </a:cubicBezTo>
                <a:cubicBezTo>
                  <a:pt x="33" y="127"/>
                  <a:pt x="33" y="127"/>
                  <a:pt x="33" y="127"/>
                </a:cubicBezTo>
                <a:cubicBezTo>
                  <a:pt x="29" y="128"/>
                  <a:pt x="29" y="128"/>
                  <a:pt x="29" y="128"/>
                </a:cubicBezTo>
                <a:cubicBezTo>
                  <a:pt x="29" y="129"/>
                  <a:pt x="29" y="129"/>
                  <a:pt x="29" y="129"/>
                </a:cubicBezTo>
                <a:cubicBezTo>
                  <a:pt x="29" y="129"/>
                  <a:pt x="29" y="129"/>
                  <a:pt x="29" y="129"/>
                </a:cubicBezTo>
                <a:cubicBezTo>
                  <a:pt x="31" y="137"/>
                  <a:pt x="31" y="137"/>
                  <a:pt x="31" y="137"/>
                </a:cubicBezTo>
                <a:cubicBezTo>
                  <a:pt x="32" y="139"/>
                  <a:pt x="32" y="139"/>
                  <a:pt x="32" y="139"/>
                </a:cubicBezTo>
                <a:cubicBezTo>
                  <a:pt x="34" y="139"/>
                  <a:pt x="34" y="139"/>
                  <a:pt x="34" y="139"/>
                </a:cubicBezTo>
                <a:cubicBezTo>
                  <a:pt x="35" y="138"/>
                  <a:pt x="35" y="138"/>
                  <a:pt x="35" y="138"/>
                </a:cubicBezTo>
                <a:cubicBezTo>
                  <a:pt x="36" y="136"/>
                  <a:pt x="36" y="136"/>
                  <a:pt x="36" y="136"/>
                </a:cubicBezTo>
                <a:cubicBezTo>
                  <a:pt x="36" y="132"/>
                  <a:pt x="36" y="132"/>
                  <a:pt x="36" y="132"/>
                </a:cubicBezTo>
                <a:cubicBezTo>
                  <a:pt x="36" y="131"/>
                  <a:pt x="36" y="131"/>
                  <a:pt x="36" y="131"/>
                </a:cubicBezTo>
                <a:cubicBezTo>
                  <a:pt x="36" y="131"/>
                  <a:pt x="36" y="131"/>
                  <a:pt x="36" y="131"/>
                </a:cubicBezTo>
                <a:lnTo>
                  <a:pt x="34" y="128"/>
                </a:lnTo>
                <a:close/>
                <a:moveTo>
                  <a:pt x="221" y="138"/>
                </a:moveTo>
                <a:cubicBezTo>
                  <a:pt x="222" y="140"/>
                  <a:pt x="222" y="140"/>
                  <a:pt x="222" y="140"/>
                </a:cubicBezTo>
                <a:cubicBezTo>
                  <a:pt x="223" y="140"/>
                  <a:pt x="223" y="140"/>
                  <a:pt x="223" y="140"/>
                </a:cubicBezTo>
                <a:cubicBezTo>
                  <a:pt x="224" y="138"/>
                  <a:pt x="224" y="138"/>
                  <a:pt x="224" y="138"/>
                </a:cubicBezTo>
                <a:cubicBezTo>
                  <a:pt x="224" y="138"/>
                  <a:pt x="224" y="138"/>
                  <a:pt x="224" y="138"/>
                </a:cubicBezTo>
                <a:cubicBezTo>
                  <a:pt x="224" y="137"/>
                  <a:pt x="224" y="137"/>
                  <a:pt x="224" y="137"/>
                </a:cubicBezTo>
                <a:cubicBezTo>
                  <a:pt x="224" y="134"/>
                  <a:pt x="224" y="134"/>
                  <a:pt x="224" y="134"/>
                </a:cubicBezTo>
                <a:cubicBezTo>
                  <a:pt x="225" y="131"/>
                  <a:pt x="225" y="131"/>
                  <a:pt x="225" y="131"/>
                </a:cubicBezTo>
                <a:cubicBezTo>
                  <a:pt x="226" y="127"/>
                  <a:pt x="226" y="127"/>
                  <a:pt x="226" y="127"/>
                </a:cubicBezTo>
                <a:cubicBezTo>
                  <a:pt x="227" y="124"/>
                  <a:pt x="227" y="124"/>
                  <a:pt x="227" y="124"/>
                </a:cubicBezTo>
                <a:cubicBezTo>
                  <a:pt x="227" y="123"/>
                  <a:pt x="227" y="123"/>
                  <a:pt x="227" y="123"/>
                </a:cubicBezTo>
                <a:cubicBezTo>
                  <a:pt x="227" y="122"/>
                  <a:pt x="227" y="122"/>
                  <a:pt x="227" y="122"/>
                </a:cubicBezTo>
                <a:cubicBezTo>
                  <a:pt x="226" y="121"/>
                  <a:pt x="226" y="121"/>
                  <a:pt x="226" y="121"/>
                </a:cubicBezTo>
                <a:cubicBezTo>
                  <a:pt x="222" y="125"/>
                  <a:pt x="222" y="125"/>
                  <a:pt x="222" y="125"/>
                </a:cubicBezTo>
                <a:cubicBezTo>
                  <a:pt x="221" y="126"/>
                  <a:pt x="221" y="126"/>
                  <a:pt x="221" y="126"/>
                </a:cubicBezTo>
                <a:cubicBezTo>
                  <a:pt x="220" y="131"/>
                  <a:pt x="220" y="131"/>
                  <a:pt x="220" y="131"/>
                </a:cubicBezTo>
                <a:cubicBezTo>
                  <a:pt x="220" y="133"/>
                  <a:pt x="220" y="133"/>
                  <a:pt x="220" y="133"/>
                </a:cubicBezTo>
                <a:cubicBezTo>
                  <a:pt x="220" y="136"/>
                  <a:pt x="220" y="136"/>
                  <a:pt x="220" y="136"/>
                </a:cubicBezTo>
                <a:lnTo>
                  <a:pt x="221" y="138"/>
                </a:lnTo>
                <a:close/>
                <a:moveTo>
                  <a:pt x="221" y="186"/>
                </a:moveTo>
                <a:cubicBezTo>
                  <a:pt x="219" y="187"/>
                  <a:pt x="219" y="187"/>
                  <a:pt x="219" y="187"/>
                </a:cubicBezTo>
                <a:cubicBezTo>
                  <a:pt x="218" y="188"/>
                  <a:pt x="218" y="188"/>
                  <a:pt x="218" y="188"/>
                </a:cubicBezTo>
                <a:cubicBezTo>
                  <a:pt x="218" y="189"/>
                  <a:pt x="218" y="189"/>
                  <a:pt x="218" y="189"/>
                </a:cubicBezTo>
                <a:cubicBezTo>
                  <a:pt x="217" y="190"/>
                  <a:pt x="217" y="190"/>
                  <a:pt x="217" y="190"/>
                </a:cubicBezTo>
                <a:cubicBezTo>
                  <a:pt x="217" y="192"/>
                  <a:pt x="217" y="192"/>
                  <a:pt x="217" y="192"/>
                </a:cubicBezTo>
                <a:cubicBezTo>
                  <a:pt x="218" y="194"/>
                  <a:pt x="218" y="194"/>
                  <a:pt x="218" y="194"/>
                </a:cubicBezTo>
                <a:cubicBezTo>
                  <a:pt x="219" y="196"/>
                  <a:pt x="219" y="196"/>
                  <a:pt x="219" y="196"/>
                </a:cubicBezTo>
                <a:cubicBezTo>
                  <a:pt x="222" y="199"/>
                  <a:pt x="222" y="199"/>
                  <a:pt x="222" y="199"/>
                </a:cubicBezTo>
                <a:cubicBezTo>
                  <a:pt x="226" y="199"/>
                  <a:pt x="226" y="199"/>
                  <a:pt x="226" y="199"/>
                </a:cubicBezTo>
                <a:cubicBezTo>
                  <a:pt x="230" y="197"/>
                  <a:pt x="230" y="197"/>
                  <a:pt x="230" y="197"/>
                </a:cubicBezTo>
                <a:cubicBezTo>
                  <a:pt x="231" y="195"/>
                  <a:pt x="231" y="195"/>
                  <a:pt x="231" y="195"/>
                </a:cubicBezTo>
                <a:cubicBezTo>
                  <a:pt x="231" y="193"/>
                  <a:pt x="231" y="193"/>
                  <a:pt x="231" y="193"/>
                </a:cubicBezTo>
                <a:cubicBezTo>
                  <a:pt x="231" y="192"/>
                  <a:pt x="231" y="192"/>
                  <a:pt x="231" y="192"/>
                </a:cubicBezTo>
                <a:cubicBezTo>
                  <a:pt x="231" y="192"/>
                  <a:pt x="231" y="192"/>
                  <a:pt x="231" y="192"/>
                </a:cubicBezTo>
                <a:cubicBezTo>
                  <a:pt x="230" y="191"/>
                  <a:pt x="230" y="191"/>
                  <a:pt x="230" y="191"/>
                </a:cubicBezTo>
                <a:cubicBezTo>
                  <a:pt x="229" y="190"/>
                  <a:pt x="229" y="190"/>
                  <a:pt x="229" y="190"/>
                </a:cubicBezTo>
                <a:cubicBezTo>
                  <a:pt x="228" y="189"/>
                  <a:pt x="228" y="189"/>
                  <a:pt x="228" y="189"/>
                </a:cubicBezTo>
                <a:cubicBezTo>
                  <a:pt x="224" y="187"/>
                  <a:pt x="224" y="187"/>
                  <a:pt x="224" y="187"/>
                </a:cubicBezTo>
                <a:lnTo>
                  <a:pt x="221" y="186"/>
                </a:lnTo>
                <a:close/>
                <a:moveTo>
                  <a:pt x="212" y="186"/>
                </a:moveTo>
                <a:cubicBezTo>
                  <a:pt x="214" y="186"/>
                  <a:pt x="214" y="186"/>
                  <a:pt x="214" y="186"/>
                </a:cubicBezTo>
                <a:cubicBezTo>
                  <a:pt x="217" y="185"/>
                  <a:pt x="217" y="185"/>
                  <a:pt x="217" y="185"/>
                </a:cubicBezTo>
                <a:cubicBezTo>
                  <a:pt x="218" y="183"/>
                  <a:pt x="218" y="183"/>
                  <a:pt x="218" y="183"/>
                </a:cubicBezTo>
                <a:cubicBezTo>
                  <a:pt x="221" y="181"/>
                  <a:pt x="221" y="181"/>
                  <a:pt x="221" y="181"/>
                </a:cubicBezTo>
                <a:cubicBezTo>
                  <a:pt x="221" y="181"/>
                  <a:pt x="221" y="181"/>
                  <a:pt x="221" y="181"/>
                </a:cubicBezTo>
                <a:cubicBezTo>
                  <a:pt x="222" y="178"/>
                  <a:pt x="222" y="178"/>
                  <a:pt x="222" y="178"/>
                </a:cubicBezTo>
                <a:cubicBezTo>
                  <a:pt x="222" y="178"/>
                  <a:pt x="222" y="178"/>
                  <a:pt x="222" y="178"/>
                </a:cubicBezTo>
                <a:cubicBezTo>
                  <a:pt x="219" y="155"/>
                  <a:pt x="219" y="155"/>
                  <a:pt x="219" y="155"/>
                </a:cubicBezTo>
                <a:cubicBezTo>
                  <a:pt x="223" y="145"/>
                  <a:pt x="223" y="145"/>
                  <a:pt x="223" y="145"/>
                </a:cubicBezTo>
                <a:cubicBezTo>
                  <a:pt x="223" y="145"/>
                  <a:pt x="223" y="145"/>
                  <a:pt x="223" y="145"/>
                </a:cubicBezTo>
                <a:cubicBezTo>
                  <a:pt x="223" y="145"/>
                  <a:pt x="223" y="145"/>
                  <a:pt x="223" y="145"/>
                </a:cubicBezTo>
                <a:cubicBezTo>
                  <a:pt x="223" y="143"/>
                  <a:pt x="223" y="143"/>
                  <a:pt x="223" y="143"/>
                </a:cubicBezTo>
                <a:cubicBezTo>
                  <a:pt x="222" y="143"/>
                  <a:pt x="222" y="143"/>
                  <a:pt x="222" y="143"/>
                </a:cubicBezTo>
                <a:cubicBezTo>
                  <a:pt x="221" y="143"/>
                  <a:pt x="221" y="143"/>
                  <a:pt x="221" y="143"/>
                </a:cubicBezTo>
                <a:cubicBezTo>
                  <a:pt x="212" y="154"/>
                  <a:pt x="212" y="154"/>
                  <a:pt x="212" y="154"/>
                </a:cubicBezTo>
                <a:cubicBezTo>
                  <a:pt x="211" y="156"/>
                  <a:pt x="211" y="156"/>
                  <a:pt x="211" y="156"/>
                </a:cubicBezTo>
                <a:cubicBezTo>
                  <a:pt x="210" y="161"/>
                  <a:pt x="210" y="161"/>
                  <a:pt x="210" y="161"/>
                </a:cubicBezTo>
                <a:cubicBezTo>
                  <a:pt x="209" y="179"/>
                  <a:pt x="209" y="179"/>
                  <a:pt x="209" y="179"/>
                </a:cubicBezTo>
                <a:cubicBezTo>
                  <a:pt x="210" y="185"/>
                  <a:pt x="210" y="185"/>
                  <a:pt x="210" y="185"/>
                </a:cubicBezTo>
                <a:lnTo>
                  <a:pt x="212" y="186"/>
                </a:lnTo>
                <a:close/>
                <a:moveTo>
                  <a:pt x="150" y="250"/>
                </a:moveTo>
                <a:cubicBezTo>
                  <a:pt x="147" y="250"/>
                  <a:pt x="147" y="250"/>
                  <a:pt x="147" y="250"/>
                </a:cubicBezTo>
                <a:cubicBezTo>
                  <a:pt x="145" y="250"/>
                  <a:pt x="145" y="250"/>
                  <a:pt x="145" y="250"/>
                </a:cubicBezTo>
                <a:cubicBezTo>
                  <a:pt x="142" y="250"/>
                  <a:pt x="142" y="250"/>
                  <a:pt x="142" y="250"/>
                </a:cubicBezTo>
                <a:cubicBezTo>
                  <a:pt x="141" y="251"/>
                  <a:pt x="141" y="251"/>
                  <a:pt x="141" y="251"/>
                </a:cubicBezTo>
                <a:cubicBezTo>
                  <a:pt x="135" y="253"/>
                  <a:pt x="135" y="253"/>
                  <a:pt x="135" y="253"/>
                </a:cubicBezTo>
                <a:cubicBezTo>
                  <a:pt x="134" y="254"/>
                  <a:pt x="134" y="254"/>
                  <a:pt x="134" y="254"/>
                </a:cubicBezTo>
                <a:cubicBezTo>
                  <a:pt x="134" y="255"/>
                  <a:pt x="134" y="255"/>
                  <a:pt x="134" y="255"/>
                </a:cubicBezTo>
                <a:cubicBezTo>
                  <a:pt x="135" y="257"/>
                  <a:pt x="135" y="257"/>
                  <a:pt x="135" y="257"/>
                </a:cubicBezTo>
                <a:cubicBezTo>
                  <a:pt x="135" y="257"/>
                  <a:pt x="135" y="257"/>
                  <a:pt x="135" y="257"/>
                </a:cubicBezTo>
                <a:cubicBezTo>
                  <a:pt x="136" y="258"/>
                  <a:pt x="136" y="258"/>
                  <a:pt x="136" y="258"/>
                </a:cubicBezTo>
                <a:cubicBezTo>
                  <a:pt x="148" y="254"/>
                  <a:pt x="148" y="254"/>
                  <a:pt x="148" y="254"/>
                </a:cubicBezTo>
                <a:cubicBezTo>
                  <a:pt x="150" y="253"/>
                  <a:pt x="150" y="253"/>
                  <a:pt x="150" y="253"/>
                </a:cubicBezTo>
                <a:cubicBezTo>
                  <a:pt x="151" y="253"/>
                  <a:pt x="151" y="253"/>
                  <a:pt x="151" y="253"/>
                </a:cubicBezTo>
                <a:cubicBezTo>
                  <a:pt x="151" y="252"/>
                  <a:pt x="151" y="252"/>
                  <a:pt x="151" y="252"/>
                </a:cubicBezTo>
                <a:cubicBezTo>
                  <a:pt x="151" y="252"/>
                  <a:pt x="151" y="252"/>
                  <a:pt x="151" y="252"/>
                </a:cubicBezTo>
                <a:cubicBezTo>
                  <a:pt x="151" y="251"/>
                  <a:pt x="151" y="251"/>
                  <a:pt x="151" y="251"/>
                </a:cubicBezTo>
                <a:lnTo>
                  <a:pt x="150" y="250"/>
                </a:lnTo>
                <a:close/>
                <a:moveTo>
                  <a:pt x="185" y="262"/>
                </a:moveTo>
                <a:cubicBezTo>
                  <a:pt x="182" y="259"/>
                  <a:pt x="182" y="259"/>
                  <a:pt x="182" y="259"/>
                </a:cubicBezTo>
                <a:cubicBezTo>
                  <a:pt x="176" y="254"/>
                  <a:pt x="176" y="254"/>
                  <a:pt x="176" y="254"/>
                </a:cubicBezTo>
                <a:cubicBezTo>
                  <a:pt x="174" y="253"/>
                  <a:pt x="174" y="253"/>
                  <a:pt x="174" y="253"/>
                </a:cubicBezTo>
                <a:cubicBezTo>
                  <a:pt x="171" y="253"/>
                  <a:pt x="171" y="253"/>
                  <a:pt x="171" y="253"/>
                </a:cubicBezTo>
                <a:cubicBezTo>
                  <a:pt x="167" y="254"/>
                  <a:pt x="167" y="254"/>
                  <a:pt x="167" y="254"/>
                </a:cubicBezTo>
                <a:cubicBezTo>
                  <a:pt x="166" y="255"/>
                  <a:pt x="166" y="255"/>
                  <a:pt x="166" y="255"/>
                </a:cubicBezTo>
                <a:cubicBezTo>
                  <a:pt x="162" y="258"/>
                  <a:pt x="162" y="258"/>
                  <a:pt x="162" y="258"/>
                </a:cubicBezTo>
                <a:cubicBezTo>
                  <a:pt x="157" y="265"/>
                  <a:pt x="157" y="265"/>
                  <a:pt x="157" y="265"/>
                </a:cubicBezTo>
                <a:cubicBezTo>
                  <a:pt x="160" y="270"/>
                  <a:pt x="160" y="270"/>
                  <a:pt x="160" y="270"/>
                </a:cubicBezTo>
                <a:cubicBezTo>
                  <a:pt x="165" y="276"/>
                  <a:pt x="165" y="276"/>
                  <a:pt x="165" y="276"/>
                </a:cubicBezTo>
                <a:cubicBezTo>
                  <a:pt x="173" y="284"/>
                  <a:pt x="173" y="284"/>
                  <a:pt x="173" y="284"/>
                </a:cubicBezTo>
                <a:cubicBezTo>
                  <a:pt x="174" y="284"/>
                  <a:pt x="174" y="284"/>
                  <a:pt x="174" y="284"/>
                </a:cubicBezTo>
                <a:cubicBezTo>
                  <a:pt x="175" y="284"/>
                  <a:pt x="175" y="284"/>
                  <a:pt x="175" y="284"/>
                </a:cubicBezTo>
                <a:cubicBezTo>
                  <a:pt x="178" y="282"/>
                  <a:pt x="178" y="282"/>
                  <a:pt x="178" y="282"/>
                </a:cubicBezTo>
                <a:cubicBezTo>
                  <a:pt x="180" y="280"/>
                  <a:pt x="180" y="280"/>
                  <a:pt x="180" y="280"/>
                </a:cubicBezTo>
                <a:cubicBezTo>
                  <a:pt x="182" y="279"/>
                  <a:pt x="182" y="279"/>
                  <a:pt x="182" y="279"/>
                </a:cubicBezTo>
                <a:cubicBezTo>
                  <a:pt x="183" y="276"/>
                  <a:pt x="183" y="276"/>
                  <a:pt x="183" y="276"/>
                </a:cubicBezTo>
                <a:cubicBezTo>
                  <a:pt x="183" y="275"/>
                  <a:pt x="183" y="275"/>
                  <a:pt x="183" y="275"/>
                </a:cubicBezTo>
                <a:cubicBezTo>
                  <a:pt x="184" y="269"/>
                  <a:pt x="184" y="269"/>
                  <a:pt x="184" y="269"/>
                </a:cubicBezTo>
                <a:cubicBezTo>
                  <a:pt x="184" y="269"/>
                  <a:pt x="184" y="269"/>
                  <a:pt x="184" y="269"/>
                </a:cubicBezTo>
                <a:cubicBezTo>
                  <a:pt x="185" y="269"/>
                  <a:pt x="185" y="269"/>
                  <a:pt x="185" y="269"/>
                </a:cubicBezTo>
                <a:cubicBezTo>
                  <a:pt x="186" y="264"/>
                  <a:pt x="186" y="264"/>
                  <a:pt x="186" y="264"/>
                </a:cubicBezTo>
                <a:cubicBezTo>
                  <a:pt x="185" y="263"/>
                  <a:pt x="185" y="263"/>
                  <a:pt x="185" y="263"/>
                </a:cubicBezTo>
                <a:lnTo>
                  <a:pt x="185" y="262"/>
                </a:lnTo>
                <a:close/>
                <a:moveTo>
                  <a:pt x="200" y="282"/>
                </a:moveTo>
                <a:cubicBezTo>
                  <a:pt x="198" y="282"/>
                  <a:pt x="198" y="282"/>
                  <a:pt x="198" y="282"/>
                </a:cubicBezTo>
                <a:cubicBezTo>
                  <a:pt x="197" y="282"/>
                  <a:pt x="197" y="282"/>
                  <a:pt x="197" y="282"/>
                </a:cubicBezTo>
                <a:cubicBezTo>
                  <a:pt x="190" y="289"/>
                  <a:pt x="190" y="289"/>
                  <a:pt x="190" y="289"/>
                </a:cubicBezTo>
                <a:cubicBezTo>
                  <a:pt x="189" y="291"/>
                  <a:pt x="189" y="291"/>
                  <a:pt x="189" y="291"/>
                </a:cubicBezTo>
                <a:cubicBezTo>
                  <a:pt x="188" y="292"/>
                  <a:pt x="188" y="292"/>
                  <a:pt x="188" y="292"/>
                </a:cubicBezTo>
                <a:cubicBezTo>
                  <a:pt x="189" y="295"/>
                  <a:pt x="189" y="295"/>
                  <a:pt x="189" y="295"/>
                </a:cubicBezTo>
                <a:cubicBezTo>
                  <a:pt x="189" y="296"/>
                  <a:pt x="189" y="296"/>
                  <a:pt x="189" y="296"/>
                </a:cubicBezTo>
                <a:cubicBezTo>
                  <a:pt x="193" y="300"/>
                  <a:pt x="193" y="300"/>
                  <a:pt x="193" y="300"/>
                </a:cubicBezTo>
                <a:cubicBezTo>
                  <a:pt x="196" y="301"/>
                  <a:pt x="196" y="301"/>
                  <a:pt x="196" y="301"/>
                </a:cubicBezTo>
                <a:cubicBezTo>
                  <a:pt x="198" y="301"/>
                  <a:pt x="198" y="301"/>
                  <a:pt x="198" y="301"/>
                </a:cubicBezTo>
                <a:cubicBezTo>
                  <a:pt x="199" y="300"/>
                  <a:pt x="199" y="300"/>
                  <a:pt x="199" y="300"/>
                </a:cubicBezTo>
                <a:cubicBezTo>
                  <a:pt x="201" y="298"/>
                  <a:pt x="201" y="298"/>
                  <a:pt x="201" y="298"/>
                </a:cubicBezTo>
                <a:cubicBezTo>
                  <a:pt x="202" y="297"/>
                  <a:pt x="202" y="297"/>
                  <a:pt x="202" y="297"/>
                </a:cubicBezTo>
                <a:cubicBezTo>
                  <a:pt x="202" y="294"/>
                  <a:pt x="202" y="294"/>
                  <a:pt x="202" y="294"/>
                </a:cubicBezTo>
                <a:cubicBezTo>
                  <a:pt x="203" y="288"/>
                  <a:pt x="203" y="288"/>
                  <a:pt x="203" y="288"/>
                </a:cubicBezTo>
                <a:cubicBezTo>
                  <a:pt x="204" y="286"/>
                  <a:pt x="204" y="286"/>
                  <a:pt x="204" y="286"/>
                </a:cubicBezTo>
                <a:cubicBezTo>
                  <a:pt x="203" y="285"/>
                  <a:pt x="203" y="285"/>
                  <a:pt x="203" y="285"/>
                </a:cubicBezTo>
                <a:lnTo>
                  <a:pt x="200" y="282"/>
                </a:lnTo>
                <a:close/>
                <a:moveTo>
                  <a:pt x="246" y="239"/>
                </a:moveTo>
                <a:cubicBezTo>
                  <a:pt x="248" y="234"/>
                  <a:pt x="248" y="234"/>
                  <a:pt x="248" y="234"/>
                </a:cubicBezTo>
                <a:cubicBezTo>
                  <a:pt x="248" y="233"/>
                  <a:pt x="248" y="233"/>
                  <a:pt x="248" y="233"/>
                </a:cubicBezTo>
                <a:cubicBezTo>
                  <a:pt x="248" y="227"/>
                  <a:pt x="248" y="227"/>
                  <a:pt x="248" y="227"/>
                </a:cubicBezTo>
                <a:cubicBezTo>
                  <a:pt x="247" y="226"/>
                  <a:pt x="247" y="226"/>
                  <a:pt x="247" y="226"/>
                </a:cubicBezTo>
                <a:cubicBezTo>
                  <a:pt x="252" y="227"/>
                  <a:pt x="252" y="227"/>
                  <a:pt x="252" y="227"/>
                </a:cubicBezTo>
                <a:cubicBezTo>
                  <a:pt x="254" y="226"/>
                  <a:pt x="254" y="226"/>
                  <a:pt x="254" y="226"/>
                </a:cubicBezTo>
                <a:cubicBezTo>
                  <a:pt x="258" y="223"/>
                  <a:pt x="258" y="223"/>
                  <a:pt x="258" y="223"/>
                </a:cubicBezTo>
                <a:cubicBezTo>
                  <a:pt x="265" y="218"/>
                  <a:pt x="265" y="218"/>
                  <a:pt x="265" y="218"/>
                </a:cubicBezTo>
                <a:cubicBezTo>
                  <a:pt x="265" y="216"/>
                  <a:pt x="265" y="216"/>
                  <a:pt x="265" y="216"/>
                </a:cubicBezTo>
                <a:cubicBezTo>
                  <a:pt x="266" y="215"/>
                  <a:pt x="266" y="215"/>
                  <a:pt x="266" y="215"/>
                </a:cubicBezTo>
                <a:cubicBezTo>
                  <a:pt x="268" y="205"/>
                  <a:pt x="268" y="205"/>
                  <a:pt x="268" y="205"/>
                </a:cubicBezTo>
                <a:cubicBezTo>
                  <a:pt x="268" y="204"/>
                  <a:pt x="268" y="204"/>
                  <a:pt x="268" y="204"/>
                </a:cubicBezTo>
                <a:cubicBezTo>
                  <a:pt x="267" y="203"/>
                  <a:pt x="267" y="203"/>
                  <a:pt x="267" y="203"/>
                </a:cubicBezTo>
                <a:cubicBezTo>
                  <a:pt x="257" y="200"/>
                  <a:pt x="257" y="200"/>
                  <a:pt x="257" y="200"/>
                </a:cubicBezTo>
                <a:cubicBezTo>
                  <a:pt x="255" y="200"/>
                  <a:pt x="255" y="200"/>
                  <a:pt x="255" y="200"/>
                </a:cubicBezTo>
                <a:cubicBezTo>
                  <a:pt x="252" y="200"/>
                  <a:pt x="252" y="200"/>
                  <a:pt x="252" y="200"/>
                </a:cubicBezTo>
                <a:cubicBezTo>
                  <a:pt x="251" y="201"/>
                  <a:pt x="251" y="201"/>
                  <a:pt x="251" y="201"/>
                </a:cubicBezTo>
                <a:cubicBezTo>
                  <a:pt x="244" y="205"/>
                  <a:pt x="244" y="205"/>
                  <a:pt x="244" y="205"/>
                </a:cubicBezTo>
                <a:cubicBezTo>
                  <a:pt x="237" y="208"/>
                  <a:pt x="237" y="208"/>
                  <a:pt x="237" y="208"/>
                </a:cubicBezTo>
                <a:cubicBezTo>
                  <a:pt x="235" y="208"/>
                  <a:pt x="235" y="208"/>
                  <a:pt x="235" y="208"/>
                </a:cubicBezTo>
                <a:cubicBezTo>
                  <a:pt x="233" y="207"/>
                  <a:pt x="233" y="207"/>
                  <a:pt x="233" y="207"/>
                </a:cubicBezTo>
                <a:cubicBezTo>
                  <a:pt x="219" y="200"/>
                  <a:pt x="219" y="200"/>
                  <a:pt x="219" y="200"/>
                </a:cubicBezTo>
                <a:cubicBezTo>
                  <a:pt x="215" y="197"/>
                  <a:pt x="215" y="197"/>
                  <a:pt x="215" y="197"/>
                </a:cubicBezTo>
                <a:cubicBezTo>
                  <a:pt x="206" y="189"/>
                  <a:pt x="206" y="189"/>
                  <a:pt x="206" y="189"/>
                </a:cubicBezTo>
                <a:cubicBezTo>
                  <a:pt x="200" y="176"/>
                  <a:pt x="200" y="176"/>
                  <a:pt x="200" y="176"/>
                </a:cubicBezTo>
                <a:cubicBezTo>
                  <a:pt x="200" y="175"/>
                  <a:pt x="200" y="175"/>
                  <a:pt x="200" y="175"/>
                </a:cubicBezTo>
                <a:cubicBezTo>
                  <a:pt x="199" y="167"/>
                  <a:pt x="199" y="167"/>
                  <a:pt x="199" y="167"/>
                </a:cubicBezTo>
                <a:cubicBezTo>
                  <a:pt x="200" y="161"/>
                  <a:pt x="200" y="161"/>
                  <a:pt x="200" y="161"/>
                </a:cubicBezTo>
                <a:cubicBezTo>
                  <a:pt x="201" y="135"/>
                  <a:pt x="201" y="135"/>
                  <a:pt x="201" y="135"/>
                </a:cubicBezTo>
                <a:cubicBezTo>
                  <a:pt x="201" y="124"/>
                  <a:pt x="201" y="124"/>
                  <a:pt x="201" y="124"/>
                </a:cubicBezTo>
                <a:cubicBezTo>
                  <a:pt x="201" y="122"/>
                  <a:pt x="201" y="122"/>
                  <a:pt x="201" y="122"/>
                </a:cubicBezTo>
                <a:cubicBezTo>
                  <a:pt x="201" y="121"/>
                  <a:pt x="201" y="121"/>
                  <a:pt x="201" y="121"/>
                </a:cubicBezTo>
                <a:cubicBezTo>
                  <a:pt x="197" y="115"/>
                  <a:pt x="197" y="115"/>
                  <a:pt x="197" y="115"/>
                </a:cubicBezTo>
                <a:cubicBezTo>
                  <a:pt x="189" y="102"/>
                  <a:pt x="189" y="102"/>
                  <a:pt x="189" y="102"/>
                </a:cubicBezTo>
                <a:cubicBezTo>
                  <a:pt x="188" y="101"/>
                  <a:pt x="188" y="101"/>
                  <a:pt x="188" y="101"/>
                </a:cubicBezTo>
                <a:cubicBezTo>
                  <a:pt x="180" y="92"/>
                  <a:pt x="180" y="92"/>
                  <a:pt x="180" y="92"/>
                </a:cubicBezTo>
                <a:cubicBezTo>
                  <a:pt x="179" y="92"/>
                  <a:pt x="179" y="92"/>
                  <a:pt x="179" y="92"/>
                </a:cubicBezTo>
                <a:cubicBezTo>
                  <a:pt x="173" y="91"/>
                  <a:pt x="173" y="91"/>
                  <a:pt x="173" y="91"/>
                </a:cubicBezTo>
                <a:cubicBezTo>
                  <a:pt x="171" y="91"/>
                  <a:pt x="171" y="91"/>
                  <a:pt x="171" y="91"/>
                </a:cubicBezTo>
                <a:cubicBezTo>
                  <a:pt x="163" y="106"/>
                  <a:pt x="163" y="106"/>
                  <a:pt x="163" y="106"/>
                </a:cubicBezTo>
                <a:cubicBezTo>
                  <a:pt x="163" y="107"/>
                  <a:pt x="163" y="107"/>
                  <a:pt x="163" y="107"/>
                </a:cubicBezTo>
                <a:cubicBezTo>
                  <a:pt x="165" y="127"/>
                  <a:pt x="165" y="127"/>
                  <a:pt x="165" y="127"/>
                </a:cubicBezTo>
                <a:cubicBezTo>
                  <a:pt x="166" y="128"/>
                  <a:pt x="166" y="128"/>
                  <a:pt x="166" y="128"/>
                </a:cubicBezTo>
                <a:cubicBezTo>
                  <a:pt x="168" y="134"/>
                  <a:pt x="168" y="134"/>
                  <a:pt x="168" y="134"/>
                </a:cubicBezTo>
                <a:cubicBezTo>
                  <a:pt x="162" y="146"/>
                  <a:pt x="162" y="146"/>
                  <a:pt x="162" y="146"/>
                </a:cubicBezTo>
                <a:cubicBezTo>
                  <a:pt x="161" y="147"/>
                  <a:pt x="161" y="147"/>
                  <a:pt x="161" y="147"/>
                </a:cubicBezTo>
                <a:cubicBezTo>
                  <a:pt x="160" y="147"/>
                  <a:pt x="160" y="147"/>
                  <a:pt x="160" y="147"/>
                </a:cubicBezTo>
                <a:cubicBezTo>
                  <a:pt x="145" y="129"/>
                  <a:pt x="145" y="129"/>
                  <a:pt x="145" y="129"/>
                </a:cubicBezTo>
                <a:cubicBezTo>
                  <a:pt x="142" y="123"/>
                  <a:pt x="142" y="123"/>
                  <a:pt x="142" y="123"/>
                </a:cubicBezTo>
                <a:cubicBezTo>
                  <a:pt x="141" y="121"/>
                  <a:pt x="141" y="121"/>
                  <a:pt x="141" y="121"/>
                </a:cubicBezTo>
                <a:cubicBezTo>
                  <a:pt x="140" y="119"/>
                  <a:pt x="140" y="119"/>
                  <a:pt x="140" y="119"/>
                </a:cubicBezTo>
                <a:cubicBezTo>
                  <a:pt x="139" y="118"/>
                  <a:pt x="139" y="118"/>
                  <a:pt x="139" y="118"/>
                </a:cubicBezTo>
                <a:cubicBezTo>
                  <a:pt x="136" y="115"/>
                  <a:pt x="136" y="115"/>
                  <a:pt x="136" y="115"/>
                </a:cubicBezTo>
                <a:cubicBezTo>
                  <a:pt x="135" y="114"/>
                  <a:pt x="135" y="114"/>
                  <a:pt x="135" y="114"/>
                </a:cubicBezTo>
                <a:cubicBezTo>
                  <a:pt x="134" y="114"/>
                  <a:pt x="134" y="114"/>
                  <a:pt x="134" y="114"/>
                </a:cubicBezTo>
                <a:cubicBezTo>
                  <a:pt x="133" y="115"/>
                  <a:pt x="133" y="115"/>
                  <a:pt x="133" y="115"/>
                </a:cubicBezTo>
                <a:cubicBezTo>
                  <a:pt x="133" y="116"/>
                  <a:pt x="133" y="116"/>
                  <a:pt x="133" y="116"/>
                </a:cubicBezTo>
                <a:cubicBezTo>
                  <a:pt x="133" y="116"/>
                  <a:pt x="133" y="116"/>
                  <a:pt x="133" y="116"/>
                </a:cubicBezTo>
                <a:cubicBezTo>
                  <a:pt x="134" y="142"/>
                  <a:pt x="134" y="142"/>
                  <a:pt x="134" y="142"/>
                </a:cubicBezTo>
                <a:cubicBezTo>
                  <a:pt x="123" y="140"/>
                  <a:pt x="123" y="140"/>
                  <a:pt x="123" y="140"/>
                </a:cubicBezTo>
                <a:cubicBezTo>
                  <a:pt x="122" y="140"/>
                  <a:pt x="122" y="140"/>
                  <a:pt x="122" y="140"/>
                </a:cubicBezTo>
                <a:cubicBezTo>
                  <a:pt x="120" y="140"/>
                  <a:pt x="120" y="140"/>
                  <a:pt x="120" y="140"/>
                </a:cubicBezTo>
                <a:cubicBezTo>
                  <a:pt x="118" y="141"/>
                  <a:pt x="118" y="141"/>
                  <a:pt x="118" y="141"/>
                </a:cubicBezTo>
                <a:cubicBezTo>
                  <a:pt x="118" y="142"/>
                  <a:pt x="118" y="142"/>
                  <a:pt x="118" y="142"/>
                </a:cubicBezTo>
                <a:cubicBezTo>
                  <a:pt x="116" y="143"/>
                  <a:pt x="116" y="143"/>
                  <a:pt x="116" y="143"/>
                </a:cubicBezTo>
                <a:cubicBezTo>
                  <a:pt x="112" y="152"/>
                  <a:pt x="112" y="152"/>
                  <a:pt x="112" y="152"/>
                </a:cubicBezTo>
                <a:cubicBezTo>
                  <a:pt x="111" y="156"/>
                  <a:pt x="111" y="156"/>
                  <a:pt x="111" y="156"/>
                </a:cubicBezTo>
                <a:cubicBezTo>
                  <a:pt x="111" y="159"/>
                  <a:pt x="111" y="159"/>
                  <a:pt x="111" y="159"/>
                </a:cubicBezTo>
                <a:cubicBezTo>
                  <a:pt x="112" y="159"/>
                  <a:pt x="112" y="159"/>
                  <a:pt x="112" y="159"/>
                </a:cubicBezTo>
                <a:cubicBezTo>
                  <a:pt x="119" y="170"/>
                  <a:pt x="119" y="170"/>
                  <a:pt x="119" y="170"/>
                </a:cubicBezTo>
                <a:cubicBezTo>
                  <a:pt x="121" y="174"/>
                  <a:pt x="121" y="174"/>
                  <a:pt x="121" y="174"/>
                </a:cubicBezTo>
                <a:cubicBezTo>
                  <a:pt x="121" y="174"/>
                  <a:pt x="121" y="174"/>
                  <a:pt x="121" y="174"/>
                </a:cubicBezTo>
                <a:cubicBezTo>
                  <a:pt x="127" y="177"/>
                  <a:pt x="127" y="177"/>
                  <a:pt x="127" y="177"/>
                </a:cubicBezTo>
                <a:cubicBezTo>
                  <a:pt x="128" y="177"/>
                  <a:pt x="128" y="177"/>
                  <a:pt x="128" y="177"/>
                </a:cubicBezTo>
                <a:cubicBezTo>
                  <a:pt x="138" y="182"/>
                  <a:pt x="138" y="182"/>
                  <a:pt x="138" y="182"/>
                </a:cubicBezTo>
                <a:cubicBezTo>
                  <a:pt x="142" y="178"/>
                  <a:pt x="142" y="178"/>
                  <a:pt x="142" y="178"/>
                </a:cubicBezTo>
                <a:cubicBezTo>
                  <a:pt x="142" y="178"/>
                  <a:pt x="142" y="178"/>
                  <a:pt x="142" y="178"/>
                </a:cubicBezTo>
                <a:cubicBezTo>
                  <a:pt x="141" y="172"/>
                  <a:pt x="141" y="172"/>
                  <a:pt x="141" y="172"/>
                </a:cubicBezTo>
                <a:cubicBezTo>
                  <a:pt x="141" y="171"/>
                  <a:pt x="141" y="171"/>
                  <a:pt x="141" y="171"/>
                </a:cubicBezTo>
                <a:cubicBezTo>
                  <a:pt x="142" y="169"/>
                  <a:pt x="142" y="169"/>
                  <a:pt x="142" y="169"/>
                </a:cubicBezTo>
                <a:cubicBezTo>
                  <a:pt x="146" y="168"/>
                  <a:pt x="146" y="168"/>
                  <a:pt x="146" y="168"/>
                </a:cubicBezTo>
                <a:cubicBezTo>
                  <a:pt x="152" y="167"/>
                  <a:pt x="152" y="167"/>
                  <a:pt x="152" y="167"/>
                </a:cubicBezTo>
                <a:cubicBezTo>
                  <a:pt x="152" y="167"/>
                  <a:pt x="152" y="167"/>
                  <a:pt x="152" y="167"/>
                </a:cubicBezTo>
                <a:cubicBezTo>
                  <a:pt x="164" y="180"/>
                  <a:pt x="164" y="180"/>
                  <a:pt x="164" y="180"/>
                </a:cubicBezTo>
                <a:cubicBezTo>
                  <a:pt x="173" y="191"/>
                  <a:pt x="173" y="191"/>
                  <a:pt x="173" y="191"/>
                </a:cubicBezTo>
                <a:cubicBezTo>
                  <a:pt x="166" y="187"/>
                  <a:pt x="166" y="187"/>
                  <a:pt x="166" y="187"/>
                </a:cubicBezTo>
                <a:cubicBezTo>
                  <a:pt x="165" y="186"/>
                  <a:pt x="165" y="186"/>
                  <a:pt x="165" y="186"/>
                </a:cubicBezTo>
                <a:cubicBezTo>
                  <a:pt x="162" y="183"/>
                  <a:pt x="162" y="183"/>
                  <a:pt x="162" y="183"/>
                </a:cubicBezTo>
                <a:cubicBezTo>
                  <a:pt x="161" y="183"/>
                  <a:pt x="161" y="183"/>
                  <a:pt x="161" y="183"/>
                </a:cubicBezTo>
                <a:cubicBezTo>
                  <a:pt x="160" y="184"/>
                  <a:pt x="160" y="184"/>
                  <a:pt x="160" y="184"/>
                </a:cubicBezTo>
                <a:cubicBezTo>
                  <a:pt x="156" y="188"/>
                  <a:pt x="156" y="188"/>
                  <a:pt x="156" y="188"/>
                </a:cubicBezTo>
                <a:cubicBezTo>
                  <a:pt x="154" y="190"/>
                  <a:pt x="154" y="190"/>
                  <a:pt x="154" y="190"/>
                </a:cubicBezTo>
                <a:cubicBezTo>
                  <a:pt x="153" y="192"/>
                  <a:pt x="153" y="192"/>
                  <a:pt x="153" y="192"/>
                </a:cubicBezTo>
                <a:cubicBezTo>
                  <a:pt x="153" y="194"/>
                  <a:pt x="153" y="194"/>
                  <a:pt x="153" y="194"/>
                </a:cubicBezTo>
                <a:cubicBezTo>
                  <a:pt x="153" y="194"/>
                  <a:pt x="153" y="194"/>
                  <a:pt x="153" y="194"/>
                </a:cubicBezTo>
                <a:cubicBezTo>
                  <a:pt x="175" y="228"/>
                  <a:pt x="175" y="228"/>
                  <a:pt x="175" y="228"/>
                </a:cubicBezTo>
                <a:cubicBezTo>
                  <a:pt x="175" y="228"/>
                  <a:pt x="175" y="228"/>
                  <a:pt x="175" y="228"/>
                </a:cubicBezTo>
                <a:cubicBezTo>
                  <a:pt x="195" y="225"/>
                  <a:pt x="195" y="225"/>
                  <a:pt x="195" y="225"/>
                </a:cubicBezTo>
                <a:cubicBezTo>
                  <a:pt x="215" y="222"/>
                  <a:pt x="215" y="222"/>
                  <a:pt x="215" y="222"/>
                </a:cubicBezTo>
                <a:cubicBezTo>
                  <a:pt x="223" y="225"/>
                  <a:pt x="223" y="225"/>
                  <a:pt x="223" y="225"/>
                </a:cubicBezTo>
                <a:cubicBezTo>
                  <a:pt x="228" y="229"/>
                  <a:pt x="228" y="229"/>
                  <a:pt x="228" y="229"/>
                </a:cubicBezTo>
                <a:cubicBezTo>
                  <a:pt x="219" y="238"/>
                  <a:pt x="219" y="238"/>
                  <a:pt x="219" y="238"/>
                </a:cubicBezTo>
                <a:cubicBezTo>
                  <a:pt x="218" y="239"/>
                  <a:pt x="218" y="239"/>
                  <a:pt x="218" y="239"/>
                </a:cubicBezTo>
                <a:cubicBezTo>
                  <a:pt x="217" y="240"/>
                  <a:pt x="217" y="240"/>
                  <a:pt x="217" y="240"/>
                </a:cubicBezTo>
                <a:cubicBezTo>
                  <a:pt x="213" y="256"/>
                  <a:pt x="213" y="256"/>
                  <a:pt x="213" y="256"/>
                </a:cubicBezTo>
                <a:cubicBezTo>
                  <a:pt x="213" y="257"/>
                  <a:pt x="213" y="257"/>
                  <a:pt x="213" y="257"/>
                </a:cubicBezTo>
                <a:cubicBezTo>
                  <a:pt x="215" y="264"/>
                  <a:pt x="215" y="264"/>
                  <a:pt x="215" y="264"/>
                </a:cubicBezTo>
                <a:cubicBezTo>
                  <a:pt x="215" y="265"/>
                  <a:pt x="215" y="265"/>
                  <a:pt x="215" y="265"/>
                </a:cubicBezTo>
                <a:cubicBezTo>
                  <a:pt x="217" y="265"/>
                  <a:pt x="217" y="265"/>
                  <a:pt x="217" y="265"/>
                </a:cubicBezTo>
                <a:cubicBezTo>
                  <a:pt x="218" y="264"/>
                  <a:pt x="218" y="264"/>
                  <a:pt x="218" y="264"/>
                </a:cubicBezTo>
                <a:cubicBezTo>
                  <a:pt x="229" y="258"/>
                  <a:pt x="229" y="258"/>
                  <a:pt x="229" y="258"/>
                </a:cubicBezTo>
                <a:lnTo>
                  <a:pt x="246" y="239"/>
                </a:lnTo>
                <a:close/>
                <a:moveTo>
                  <a:pt x="44" y="170"/>
                </a:moveTo>
                <a:cubicBezTo>
                  <a:pt x="35" y="165"/>
                  <a:pt x="35" y="165"/>
                  <a:pt x="35" y="165"/>
                </a:cubicBezTo>
                <a:cubicBezTo>
                  <a:pt x="29" y="167"/>
                  <a:pt x="29" y="167"/>
                  <a:pt x="29" y="167"/>
                </a:cubicBezTo>
                <a:cubicBezTo>
                  <a:pt x="36" y="174"/>
                  <a:pt x="36" y="174"/>
                  <a:pt x="36" y="174"/>
                </a:cubicBezTo>
                <a:cubicBezTo>
                  <a:pt x="43" y="180"/>
                  <a:pt x="43" y="180"/>
                  <a:pt x="43" y="180"/>
                </a:cubicBezTo>
                <a:cubicBezTo>
                  <a:pt x="45" y="180"/>
                  <a:pt x="45" y="180"/>
                  <a:pt x="45" y="180"/>
                </a:cubicBezTo>
                <a:cubicBezTo>
                  <a:pt x="48" y="179"/>
                  <a:pt x="48" y="179"/>
                  <a:pt x="48" y="179"/>
                </a:cubicBezTo>
                <a:cubicBezTo>
                  <a:pt x="48" y="178"/>
                  <a:pt x="48" y="178"/>
                  <a:pt x="48" y="178"/>
                </a:cubicBezTo>
                <a:cubicBezTo>
                  <a:pt x="48" y="178"/>
                  <a:pt x="48" y="178"/>
                  <a:pt x="48" y="178"/>
                </a:cubicBezTo>
                <a:cubicBezTo>
                  <a:pt x="45" y="170"/>
                  <a:pt x="45" y="170"/>
                  <a:pt x="45" y="170"/>
                </a:cubicBezTo>
                <a:lnTo>
                  <a:pt x="44" y="170"/>
                </a:lnTo>
                <a:close/>
                <a:moveTo>
                  <a:pt x="26" y="146"/>
                </a:moveTo>
                <a:cubicBezTo>
                  <a:pt x="26" y="147"/>
                  <a:pt x="26" y="147"/>
                  <a:pt x="26" y="147"/>
                </a:cubicBezTo>
                <a:cubicBezTo>
                  <a:pt x="26" y="147"/>
                  <a:pt x="26" y="147"/>
                  <a:pt x="26" y="147"/>
                </a:cubicBezTo>
                <a:cubicBezTo>
                  <a:pt x="26" y="151"/>
                  <a:pt x="26" y="151"/>
                  <a:pt x="26" y="151"/>
                </a:cubicBezTo>
                <a:cubicBezTo>
                  <a:pt x="29" y="156"/>
                  <a:pt x="29" y="156"/>
                  <a:pt x="29" y="156"/>
                </a:cubicBezTo>
                <a:cubicBezTo>
                  <a:pt x="30" y="157"/>
                  <a:pt x="30" y="157"/>
                  <a:pt x="30" y="157"/>
                </a:cubicBezTo>
                <a:cubicBezTo>
                  <a:pt x="37" y="162"/>
                  <a:pt x="37" y="162"/>
                  <a:pt x="37" y="162"/>
                </a:cubicBezTo>
                <a:cubicBezTo>
                  <a:pt x="38" y="163"/>
                  <a:pt x="38" y="163"/>
                  <a:pt x="38" y="163"/>
                </a:cubicBezTo>
                <a:cubicBezTo>
                  <a:pt x="39" y="163"/>
                  <a:pt x="39" y="163"/>
                  <a:pt x="39" y="163"/>
                </a:cubicBezTo>
                <a:cubicBezTo>
                  <a:pt x="40" y="163"/>
                  <a:pt x="40" y="163"/>
                  <a:pt x="40" y="163"/>
                </a:cubicBezTo>
                <a:cubicBezTo>
                  <a:pt x="44" y="163"/>
                  <a:pt x="44" y="163"/>
                  <a:pt x="44" y="163"/>
                </a:cubicBezTo>
                <a:cubicBezTo>
                  <a:pt x="47" y="163"/>
                  <a:pt x="47" y="163"/>
                  <a:pt x="47" y="163"/>
                </a:cubicBezTo>
                <a:cubicBezTo>
                  <a:pt x="52" y="160"/>
                  <a:pt x="52" y="160"/>
                  <a:pt x="52" y="160"/>
                </a:cubicBezTo>
                <a:cubicBezTo>
                  <a:pt x="53" y="160"/>
                  <a:pt x="53" y="160"/>
                  <a:pt x="53" y="160"/>
                </a:cubicBezTo>
                <a:cubicBezTo>
                  <a:pt x="53" y="159"/>
                  <a:pt x="53" y="159"/>
                  <a:pt x="53" y="159"/>
                </a:cubicBezTo>
                <a:cubicBezTo>
                  <a:pt x="53" y="156"/>
                  <a:pt x="53" y="156"/>
                  <a:pt x="53" y="156"/>
                </a:cubicBezTo>
                <a:cubicBezTo>
                  <a:pt x="53" y="155"/>
                  <a:pt x="53" y="155"/>
                  <a:pt x="53" y="155"/>
                </a:cubicBezTo>
                <a:cubicBezTo>
                  <a:pt x="53" y="154"/>
                  <a:pt x="53" y="154"/>
                  <a:pt x="53" y="154"/>
                </a:cubicBezTo>
                <a:cubicBezTo>
                  <a:pt x="53" y="153"/>
                  <a:pt x="53" y="153"/>
                  <a:pt x="53" y="153"/>
                </a:cubicBezTo>
                <a:cubicBezTo>
                  <a:pt x="50" y="149"/>
                  <a:pt x="50" y="149"/>
                  <a:pt x="50" y="149"/>
                </a:cubicBezTo>
                <a:cubicBezTo>
                  <a:pt x="50" y="149"/>
                  <a:pt x="50" y="149"/>
                  <a:pt x="50" y="149"/>
                </a:cubicBezTo>
                <a:cubicBezTo>
                  <a:pt x="36" y="141"/>
                  <a:pt x="36" y="141"/>
                  <a:pt x="36" y="141"/>
                </a:cubicBezTo>
                <a:cubicBezTo>
                  <a:pt x="35" y="141"/>
                  <a:pt x="35" y="141"/>
                  <a:pt x="35" y="141"/>
                </a:cubicBezTo>
                <a:cubicBezTo>
                  <a:pt x="33" y="141"/>
                  <a:pt x="33" y="141"/>
                  <a:pt x="33" y="141"/>
                </a:cubicBezTo>
                <a:cubicBezTo>
                  <a:pt x="31" y="141"/>
                  <a:pt x="31" y="141"/>
                  <a:pt x="31" y="141"/>
                </a:cubicBezTo>
                <a:cubicBezTo>
                  <a:pt x="31" y="141"/>
                  <a:pt x="31" y="141"/>
                  <a:pt x="31" y="141"/>
                </a:cubicBezTo>
                <a:cubicBezTo>
                  <a:pt x="27" y="145"/>
                  <a:pt x="27" y="145"/>
                  <a:pt x="27" y="145"/>
                </a:cubicBezTo>
                <a:lnTo>
                  <a:pt x="26" y="146"/>
                </a:lnTo>
                <a:close/>
                <a:moveTo>
                  <a:pt x="114" y="63"/>
                </a:moveTo>
                <a:cubicBezTo>
                  <a:pt x="119" y="57"/>
                  <a:pt x="119" y="57"/>
                  <a:pt x="119" y="57"/>
                </a:cubicBezTo>
                <a:cubicBezTo>
                  <a:pt x="130" y="44"/>
                  <a:pt x="130" y="44"/>
                  <a:pt x="130" y="44"/>
                </a:cubicBezTo>
                <a:cubicBezTo>
                  <a:pt x="130" y="44"/>
                  <a:pt x="130" y="44"/>
                  <a:pt x="130" y="44"/>
                </a:cubicBezTo>
                <a:cubicBezTo>
                  <a:pt x="130" y="42"/>
                  <a:pt x="130" y="42"/>
                  <a:pt x="130" y="42"/>
                </a:cubicBezTo>
                <a:cubicBezTo>
                  <a:pt x="127" y="32"/>
                  <a:pt x="127" y="32"/>
                  <a:pt x="127" y="32"/>
                </a:cubicBezTo>
                <a:cubicBezTo>
                  <a:pt x="124" y="28"/>
                  <a:pt x="124" y="28"/>
                  <a:pt x="124" y="28"/>
                </a:cubicBezTo>
                <a:cubicBezTo>
                  <a:pt x="124" y="28"/>
                  <a:pt x="124" y="28"/>
                  <a:pt x="124" y="28"/>
                </a:cubicBezTo>
                <a:cubicBezTo>
                  <a:pt x="123" y="26"/>
                  <a:pt x="123" y="26"/>
                  <a:pt x="123" y="26"/>
                </a:cubicBezTo>
                <a:cubicBezTo>
                  <a:pt x="122" y="13"/>
                  <a:pt x="122" y="13"/>
                  <a:pt x="122" y="13"/>
                </a:cubicBezTo>
                <a:cubicBezTo>
                  <a:pt x="122" y="14"/>
                  <a:pt x="122" y="14"/>
                  <a:pt x="122" y="14"/>
                </a:cubicBezTo>
                <a:cubicBezTo>
                  <a:pt x="120" y="12"/>
                  <a:pt x="120" y="12"/>
                  <a:pt x="120" y="12"/>
                </a:cubicBezTo>
                <a:cubicBezTo>
                  <a:pt x="117" y="10"/>
                  <a:pt x="117" y="10"/>
                  <a:pt x="117" y="10"/>
                </a:cubicBezTo>
                <a:cubicBezTo>
                  <a:pt x="117" y="9"/>
                  <a:pt x="117" y="9"/>
                  <a:pt x="117" y="9"/>
                </a:cubicBezTo>
                <a:cubicBezTo>
                  <a:pt x="116" y="8"/>
                  <a:pt x="116" y="8"/>
                  <a:pt x="116" y="8"/>
                </a:cubicBezTo>
                <a:cubicBezTo>
                  <a:pt x="116" y="8"/>
                  <a:pt x="116" y="8"/>
                  <a:pt x="116" y="8"/>
                </a:cubicBezTo>
                <a:cubicBezTo>
                  <a:pt x="114" y="7"/>
                  <a:pt x="114" y="7"/>
                  <a:pt x="114" y="7"/>
                </a:cubicBezTo>
                <a:cubicBezTo>
                  <a:pt x="114" y="7"/>
                  <a:pt x="113" y="7"/>
                  <a:pt x="112" y="7"/>
                </a:cubicBezTo>
                <a:cubicBezTo>
                  <a:pt x="111" y="6"/>
                  <a:pt x="110" y="6"/>
                  <a:pt x="109" y="6"/>
                </a:cubicBezTo>
                <a:cubicBezTo>
                  <a:pt x="109" y="5"/>
                  <a:pt x="108" y="5"/>
                  <a:pt x="107" y="5"/>
                </a:cubicBezTo>
                <a:cubicBezTo>
                  <a:pt x="106" y="5"/>
                  <a:pt x="106" y="5"/>
                  <a:pt x="106" y="5"/>
                </a:cubicBezTo>
                <a:cubicBezTo>
                  <a:pt x="105" y="5"/>
                  <a:pt x="105" y="5"/>
                  <a:pt x="105" y="5"/>
                </a:cubicBezTo>
                <a:cubicBezTo>
                  <a:pt x="104" y="5"/>
                  <a:pt x="104" y="5"/>
                  <a:pt x="104" y="5"/>
                </a:cubicBezTo>
                <a:cubicBezTo>
                  <a:pt x="102" y="5"/>
                  <a:pt x="102" y="5"/>
                  <a:pt x="102" y="5"/>
                </a:cubicBezTo>
                <a:cubicBezTo>
                  <a:pt x="101" y="5"/>
                  <a:pt x="100" y="5"/>
                  <a:pt x="100" y="5"/>
                </a:cubicBezTo>
                <a:cubicBezTo>
                  <a:pt x="99" y="5"/>
                  <a:pt x="98" y="5"/>
                  <a:pt x="98" y="5"/>
                </a:cubicBezTo>
                <a:cubicBezTo>
                  <a:pt x="97" y="5"/>
                  <a:pt x="97" y="5"/>
                  <a:pt x="97" y="5"/>
                </a:cubicBezTo>
                <a:cubicBezTo>
                  <a:pt x="96" y="4"/>
                  <a:pt x="96" y="4"/>
                  <a:pt x="96" y="4"/>
                </a:cubicBezTo>
                <a:cubicBezTo>
                  <a:pt x="93" y="2"/>
                  <a:pt x="93" y="2"/>
                  <a:pt x="93" y="2"/>
                </a:cubicBezTo>
                <a:cubicBezTo>
                  <a:pt x="92" y="2"/>
                  <a:pt x="92" y="2"/>
                  <a:pt x="92" y="2"/>
                </a:cubicBezTo>
                <a:cubicBezTo>
                  <a:pt x="90" y="2"/>
                  <a:pt x="90" y="1"/>
                  <a:pt x="89" y="0"/>
                </a:cubicBezTo>
                <a:cubicBezTo>
                  <a:pt x="89" y="0"/>
                  <a:pt x="89" y="0"/>
                  <a:pt x="89" y="0"/>
                </a:cubicBezTo>
                <a:cubicBezTo>
                  <a:pt x="86" y="0"/>
                  <a:pt x="86" y="0"/>
                  <a:pt x="86" y="0"/>
                </a:cubicBezTo>
                <a:cubicBezTo>
                  <a:pt x="85" y="1"/>
                  <a:pt x="85" y="1"/>
                  <a:pt x="85" y="1"/>
                </a:cubicBezTo>
                <a:cubicBezTo>
                  <a:pt x="84" y="1"/>
                  <a:pt x="84" y="1"/>
                  <a:pt x="84" y="1"/>
                </a:cubicBezTo>
                <a:cubicBezTo>
                  <a:pt x="84" y="1"/>
                  <a:pt x="84" y="1"/>
                  <a:pt x="83" y="1"/>
                </a:cubicBezTo>
                <a:cubicBezTo>
                  <a:pt x="83" y="1"/>
                  <a:pt x="82" y="2"/>
                  <a:pt x="81" y="2"/>
                </a:cubicBezTo>
                <a:cubicBezTo>
                  <a:pt x="81" y="2"/>
                  <a:pt x="81" y="2"/>
                  <a:pt x="81" y="2"/>
                </a:cubicBezTo>
                <a:cubicBezTo>
                  <a:pt x="79" y="4"/>
                  <a:pt x="79" y="4"/>
                  <a:pt x="79" y="4"/>
                </a:cubicBezTo>
                <a:cubicBezTo>
                  <a:pt x="79" y="3"/>
                  <a:pt x="79" y="3"/>
                  <a:pt x="79" y="3"/>
                </a:cubicBezTo>
                <a:cubicBezTo>
                  <a:pt x="74" y="8"/>
                  <a:pt x="74" y="8"/>
                  <a:pt x="74" y="8"/>
                </a:cubicBezTo>
                <a:cubicBezTo>
                  <a:pt x="71" y="14"/>
                  <a:pt x="71" y="14"/>
                  <a:pt x="71" y="14"/>
                </a:cubicBezTo>
                <a:cubicBezTo>
                  <a:pt x="71" y="15"/>
                  <a:pt x="71" y="15"/>
                  <a:pt x="71" y="15"/>
                </a:cubicBezTo>
                <a:cubicBezTo>
                  <a:pt x="71" y="16"/>
                  <a:pt x="71" y="16"/>
                  <a:pt x="71" y="16"/>
                </a:cubicBezTo>
                <a:cubicBezTo>
                  <a:pt x="77" y="22"/>
                  <a:pt x="77" y="22"/>
                  <a:pt x="77" y="22"/>
                </a:cubicBezTo>
                <a:cubicBezTo>
                  <a:pt x="81" y="25"/>
                  <a:pt x="81" y="25"/>
                  <a:pt x="81" y="25"/>
                </a:cubicBezTo>
                <a:cubicBezTo>
                  <a:pt x="82" y="25"/>
                  <a:pt x="82" y="25"/>
                  <a:pt x="82" y="25"/>
                </a:cubicBezTo>
                <a:cubicBezTo>
                  <a:pt x="86" y="27"/>
                  <a:pt x="86" y="27"/>
                  <a:pt x="86" y="27"/>
                </a:cubicBezTo>
                <a:cubicBezTo>
                  <a:pt x="87" y="26"/>
                  <a:pt x="87" y="26"/>
                  <a:pt x="87" y="26"/>
                </a:cubicBezTo>
                <a:cubicBezTo>
                  <a:pt x="87" y="25"/>
                  <a:pt x="87" y="25"/>
                  <a:pt x="87" y="25"/>
                </a:cubicBezTo>
                <a:cubicBezTo>
                  <a:pt x="88" y="24"/>
                  <a:pt x="88" y="24"/>
                  <a:pt x="88" y="24"/>
                </a:cubicBezTo>
                <a:cubicBezTo>
                  <a:pt x="99" y="28"/>
                  <a:pt x="99" y="28"/>
                  <a:pt x="99" y="28"/>
                </a:cubicBezTo>
                <a:cubicBezTo>
                  <a:pt x="106" y="34"/>
                  <a:pt x="106" y="34"/>
                  <a:pt x="106" y="34"/>
                </a:cubicBezTo>
                <a:cubicBezTo>
                  <a:pt x="110" y="39"/>
                  <a:pt x="110" y="39"/>
                  <a:pt x="110" y="39"/>
                </a:cubicBezTo>
                <a:cubicBezTo>
                  <a:pt x="110" y="39"/>
                  <a:pt x="110" y="39"/>
                  <a:pt x="110" y="39"/>
                </a:cubicBezTo>
                <a:cubicBezTo>
                  <a:pt x="109" y="40"/>
                  <a:pt x="109" y="40"/>
                  <a:pt x="109" y="40"/>
                </a:cubicBezTo>
                <a:cubicBezTo>
                  <a:pt x="106" y="40"/>
                  <a:pt x="106" y="40"/>
                  <a:pt x="106" y="40"/>
                </a:cubicBezTo>
                <a:cubicBezTo>
                  <a:pt x="99" y="39"/>
                  <a:pt x="99" y="39"/>
                  <a:pt x="99" y="39"/>
                </a:cubicBezTo>
                <a:cubicBezTo>
                  <a:pt x="99" y="38"/>
                  <a:pt x="99" y="38"/>
                  <a:pt x="99" y="38"/>
                </a:cubicBezTo>
                <a:cubicBezTo>
                  <a:pt x="99" y="38"/>
                  <a:pt x="99" y="38"/>
                  <a:pt x="99" y="38"/>
                </a:cubicBezTo>
                <a:cubicBezTo>
                  <a:pt x="98" y="37"/>
                  <a:pt x="98" y="37"/>
                  <a:pt x="98" y="37"/>
                </a:cubicBezTo>
                <a:cubicBezTo>
                  <a:pt x="96" y="37"/>
                  <a:pt x="96" y="37"/>
                  <a:pt x="96" y="37"/>
                </a:cubicBezTo>
                <a:cubicBezTo>
                  <a:pt x="95" y="37"/>
                  <a:pt x="95" y="37"/>
                  <a:pt x="95" y="37"/>
                </a:cubicBezTo>
                <a:cubicBezTo>
                  <a:pt x="92" y="39"/>
                  <a:pt x="92" y="39"/>
                  <a:pt x="92" y="39"/>
                </a:cubicBezTo>
                <a:cubicBezTo>
                  <a:pt x="73" y="55"/>
                  <a:pt x="73" y="55"/>
                  <a:pt x="73" y="55"/>
                </a:cubicBezTo>
                <a:cubicBezTo>
                  <a:pt x="72" y="55"/>
                  <a:pt x="72" y="55"/>
                  <a:pt x="72" y="55"/>
                </a:cubicBezTo>
                <a:cubicBezTo>
                  <a:pt x="68" y="53"/>
                  <a:pt x="68" y="53"/>
                  <a:pt x="68" y="53"/>
                </a:cubicBezTo>
                <a:cubicBezTo>
                  <a:pt x="67" y="54"/>
                  <a:pt x="67" y="54"/>
                  <a:pt x="67" y="54"/>
                </a:cubicBezTo>
                <a:cubicBezTo>
                  <a:pt x="65" y="55"/>
                  <a:pt x="65" y="55"/>
                  <a:pt x="65" y="55"/>
                </a:cubicBezTo>
                <a:cubicBezTo>
                  <a:pt x="67" y="59"/>
                  <a:pt x="67" y="59"/>
                  <a:pt x="67" y="59"/>
                </a:cubicBezTo>
                <a:cubicBezTo>
                  <a:pt x="78" y="71"/>
                  <a:pt x="78" y="71"/>
                  <a:pt x="78" y="71"/>
                </a:cubicBezTo>
                <a:cubicBezTo>
                  <a:pt x="81" y="74"/>
                  <a:pt x="81" y="74"/>
                  <a:pt x="81" y="74"/>
                </a:cubicBezTo>
                <a:cubicBezTo>
                  <a:pt x="91" y="82"/>
                  <a:pt x="91" y="82"/>
                  <a:pt x="91" y="82"/>
                </a:cubicBezTo>
                <a:cubicBezTo>
                  <a:pt x="113" y="63"/>
                  <a:pt x="113" y="63"/>
                  <a:pt x="113" y="63"/>
                </a:cubicBezTo>
                <a:lnTo>
                  <a:pt x="114" y="63"/>
                </a:lnTo>
                <a:close/>
                <a:moveTo>
                  <a:pt x="566" y="207"/>
                </a:moveTo>
                <a:cubicBezTo>
                  <a:pt x="566" y="206"/>
                  <a:pt x="566" y="205"/>
                  <a:pt x="566" y="205"/>
                </a:cubicBezTo>
                <a:cubicBezTo>
                  <a:pt x="565" y="205"/>
                  <a:pt x="565" y="204"/>
                  <a:pt x="565" y="202"/>
                </a:cubicBezTo>
                <a:cubicBezTo>
                  <a:pt x="564" y="199"/>
                  <a:pt x="563" y="198"/>
                  <a:pt x="563" y="198"/>
                </a:cubicBezTo>
                <a:cubicBezTo>
                  <a:pt x="559" y="196"/>
                  <a:pt x="559" y="196"/>
                  <a:pt x="559" y="196"/>
                </a:cubicBezTo>
                <a:cubicBezTo>
                  <a:pt x="559" y="196"/>
                  <a:pt x="559" y="196"/>
                  <a:pt x="559" y="196"/>
                </a:cubicBezTo>
                <a:cubicBezTo>
                  <a:pt x="557" y="194"/>
                  <a:pt x="557" y="194"/>
                  <a:pt x="557" y="194"/>
                </a:cubicBezTo>
                <a:cubicBezTo>
                  <a:pt x="557" y="193"/>
                  <a:pt x="557" y="193"/>
                  <a:pt x="557" y="193"/>
                </a:cubicBezTo>
                <a:cubicBezTo>
                  <a:pt x="556" y="193"/>
                  <a:pt x="556" y="193"/>
                  <a:pt x="556" y="193"/>
                </a:cubicBezTo>
                <a:cubicBezTo>
                  <a:pt x="555" y="193"/>
                  <a:pt x="554" y="193"/>
                  <a:pt x="554" y="192"/>
                </a:cubicBezTo>
                <a:cubicBezTo>
                  <a:pt x="553" y="190"/>
                  <a:pt x="553" y="190"/>
                  <a:pt x="553" y="190"/>
                </a:cubicBezTo>
                <a:cubicBezTo>
                  <a:pt x="553" y="190"/>
                  <a:pt x="553" y="190"/>
                  <a:pt x="553" y="190"/>
                </a:cubicBezTo>
                <a:cubicBezTo>
                  <a:pt x="552" y="190"/>
                  <a:pt x="552" y="190"/>
                  <a:pt x="551" y="190"/>
                </a:cubicBezTo>
                <a:cubicBezTo>
                  <a:pt x="548" y="187"/>
                  <a:pt x="548" y="187"/>
                  <a:pt x="548" y="187"/>
                </a:cubicBezTo>
                <a:cubicBezTo>
                  <a:pt x="546" y="186"/>
                  <a:pt x="546" y="186"/>
                  <a:pt x="546" y="186"/>
                </a:cubicBezTo>
                <a:cubicBezTo>
                  <a:pt x="542" y="186"/>
                  <a:pt x="542" y="186"/>
                  <a:pt x="542" y="186"/>
                </a:cubicBezTo>
                <a:cubicBezTo>
                  <a:pt x="541" y="186"/>
                  <a:pt x="540" y="185"/>
                  <a:pt x="540" y="184"/>
                </a:cubicBezTo>
                <a:cubicBezTo>
                  <a:pt x="540" y="183"/>
                  <a:pt x="540" y="183"/>
                  <a:pt x="540" y="183"/>
                </a:cubicBezTo>
                <a:cubicBezTo>
                  <a:pt x="540" y="182"/>
                  <a:pt x="540" y="182"/>
                  <a:pt x="540" y="182"/>
                </a:cubicBezTo>
                <a:cubicBezTo>
                  <a:pt x="539" y="182"/>
                  <a:pt x="539" y="182"/>
                  <a:pt x="539" y="181"/>
                </a:cubicBezTo>
                <a:cubicBezTo>
                  <a:pt x="539" y="180"/>
                  <a:pt x="539" y="180"/>
                  <a:pt x="539" y="180"/>
                </a:cubicBezTo>
                <a:cubicBezTo>
                  <a:pt x="539" y="179"/>
                  <a:pt x="539" y="179"/>
                  <a:pt x="539" y="179"/>
                </a:cubicBezTo>
                <a:cubicBezTo>
                  <a:pt x="538" y="179"/>
                  <a:pt x="538" y="179"/>
                  <a:pt x="538" y="179"/>
                </a:cubicBezTo>
                <a:cubicBezTo>
                  <a:pt x="538" y="180"/>
                  <a:pt x="536" y="180"/>
                  <a:pt x="534" y="179"/>
                </a:cubicBezTo>
                <a:cubicBezTo>
                  <a:pt x="534" y="179"/>
                  <a:pt x="534" y="179"/>
                  <a:pt x="534" y="179"/>
                </a:cubicBezTo>
                <a:cubicBezTo>
                  <a:pt x="533" y="180"/>
                  <a:pt x="533" y="180"/>
                  <a:pt x="532" y="179"/>
                </a:cubicBezTo>
                <a:cubicBezTo>
                  <a:pt x="532" y="179"/>
                  <a:pt x="532" y="179"/>
                  <a:pt x="532" y="179"/>
                </a:cubicBezTo>
                <a:cubicBezTo>
                  <a:pt x="532" y="181"/>
                  <a:pt x="531" y="182"/>
                  <a:pt x="530" y="182"/>
                </a:cubicBezTo>
                <a:cubicBezTo>
                  <a:pt x="528" y="184"/>
                  <a:pt x="528" y="184"/>
                  <a:pt x="528" y="184"/>
                </a:cubicBezTo>
                <a:cubicBezTo>
                  <a:pt x="527" y="184"/>
                  <a:pt x="527" y="185"/>
                  <a:pt x="526" y="185"/>
                </a:cubicBezTo>
                <a:cubicBezTo>
                  <a:pt x="522" y="185"/>
                  <a:pt x="522" y="185"/>
                  <a:pt x="522" y="185"/>
                </a:cubicBezTo>
                <a:cubicBezTo>
                  <a:pt x="521" y="185"/>
                  <a:pt x="521" y="184"/>
                  <a:pt x="520" y="184"/>
                </a:cubicBezTo>
                <a:cubicBezTo>
                  <a:pt x="519" y="182"/>
                  <a:pt x="519" y="182"/>
                  <a:pt x="519" y="182"/>
                </a:cubicBezTo>
                <a:cubicBezTo>
                  <a:pt x="515" y="181"/>
                  <a:pt x="515" y="181"/>
                  <a:pt x="515" y="181"/>
                </a:cubicBezTo>
                <a:cubicBezTo>
                  <a:pt x="515" y="180"/>
                  <a:pt x="515" y="180"/>
                  <a:pt x="515" y="180"/>
                </a:cubicBezTo>
                <a:cubicBezTo>
                  <a:pt x="513" y="178"/>
                  <a:pt x="513" y="178"/>
                  <a:pt x="513" y="178"/>
                </a:cubicBezTo>
                <a:cubicBezTo>
                  <a:pt x="513" y="177"/>
                  <a:pt x="513" y="177"/>
                  <a:pt x="513" y="177"/>
                </a:cubicBezTo>
                <a:cubicBezTo>
                  <a:pt x="513" y="175"/>
                  <a:pt x="513" y="175"/>
                  <a:pt x="513" y="175"/>
                </a:cubicBezTo>
                <a:cubicBezTo>
                  <a:pt x="512" y="175"/>
                  <a:pt x="511" y="175"/>
                  <a:pt x="511" y="174"/>
                </a:cubicBezTo>
                <a:cubicBezTo>
                  <a:pt x="510" y="171"/>
                  <a:pt x="510" y="171"/>
                  <a:pt x="510" y="171"/>
                </a:cubicBezTo>
                <a:cubicBezTo>
                  <a:pt x="508" y="170"/>
                  <a:pt x="508" y="170"/>
                  <a:pt x="508" y="170"/>
                </a:cubicBezTo>
                <a:cubicBezTo>
                  <a:pt x="508" y="170"/>
                  <a:pt x="508" y="170"/>
                  <a:pt x="508" y="170"/>
                </a:cubicBezTo>
                <a:cubicBezTo>
                  <a:pt x="507" y="170"/>
                  <a:pt x="507" y="170"/>
                  <a:pt x="506" y="169"/>
                </a:cubicBezTo>
                <a:cubicBezTo>
                  <a:pt x="505" y="168"/>
                  <a:pt x="505" y="168"/>
                  <a:pt x="505" y="168"/>
                </a:cubicBezTo>
                <a:cubicBezTo>
                  <a:pt x="504" y="168"/>
                  <a:pt x="504" y="168"/>
                  <a:pt x="503" y="168"/>
                </a:cubicBezTo>
                <a:cubicBezTo>
                  <a:pt x="502" y="167"/>
                  <a:pt x="501" y="168"/>
                  <a:pt x="501" y="168"/>
                </a:cubicBezTo>
                <a:cubicBezTo>
                  <a:pt x="500" y="168"/>
                  <a:pt x="499" y="167"/>
                  <a:pt x="498" y="166"/>
                </a:cubicBezTo>
                <a:cubicBezTo>
                  <a:pt x="497" y="164"/>
                  <a:pt x="497" y="164"/>
                  <a:pt x="497" y="164"/>
                </a:cubicBezTo>
                <a:cubicBezTo>
                  <a:pt x="497" y="164"/>
                  <a:pt x="496" y="164"/>
                  <a:pt x="496" y="163"/>
                </a:cubicBezTo>
                <a:cubicBezTo>
                  <a:pt x="494" y="159"/>
                  <a:pt x="494" y="159"/>
                  <a:pt x="494" y="159"/>
                </a:cubicBezTo>
                <a:cubicBezTo>
                  <a:pt x="493" y="159"/>
                  <a:pt x="493" y="159"/>
                  <a:pt x="493" y="159"/>
                </a:cubicBezTo>
                <a:cubicBezTo>
                  <a:pt x="492" y="159"/>
                  <a:pt x="491" y="159"/>
                  <a:pt x="491" y="158"/>
                </a:cubicBezTo>
                <a:cubicBezTo>
                  <a:pt x="489" y="156"/>
                  <a:pt x="489" y="156"/>
                  <a:pt x="489" y="156"/>
                </a:cubicBezTo>
                <a:cubicBezTo>
                  <a:pt x="486" y="155"/>
                  <a:pt x="486" y="155"/>
                  <a:pt x="486" y="155"/>
                </a:cubicBezTo>
                <a:cubicBezTo>
                  <a:pt x="486" y="154"/>
                  <a:pt x="486" y="154"/>
                  <a:pt x="485" y="154"/>
                </a:cubicBezTo>
                <a:cubicBezTo>
                  <a:pt x="484" y="153"/>
                  <a:pt x="484" y="153"/>
                  <a:pt x="484" y="153"/>
                </a:cubicBezTo>
                <a:cubicBezTo>
                  <a:pt x="483" y="153"/>
                  <a:pt x="483" y="153"/>
                  <a:pt x="483" y="153"/>
                </a:cubicBezTo>
                <a:cubicBezTo>
                  <a:pt x="482" y="154"/>
                  <a:pt x="482" y="154"/>
                  <a:pt x="482" y="154"/>
                </a:cubicBezTo>
                <a:cubicBezTo>
                  <a:pt x="481" y="155"/>
                  <a:pt x="481" y="155"/>
                  <a:pt x="481" y="155"/>
                </a:cubicBezTo>
                <a:cubicBezTo>
                  <a:pt x="474" y="155"/>
                  <a:pt x="474" y="155"/>
                  <a:pt x="474" y="155"/>
                </a:cubicBezTo>
                <a:cubicBezTo>
                  <a:pt x="472" y="155"/>
                  <a:pt x="472" y="154"/>
                  <a:pt x="472" y="153"/>
                </a:cubicBezTo>
                <a:cubicBezTo>
                  <a:pt x="472" y="147"/>
                  <a:pt x="472" y="147"/>
                  <a:pt x="472" y="147"/>
                </a:cubicBezTo>
                <a:cubicBezTo>
                  <a:pt x="472" y="146"/>
                  <a:pt x="472" y="146"/>
                  <a:pt x="473" y="145"/>
                </a:cubicBezTo>
                <a:cubicBezTo>
                  <a:pt x="474" y="145"/>
                  <a:pt x="474" y="145"/>
                  <a:pt x="474" y="145"/>
                </a:cubicBezTo>
                <a:cubicBezTo>
                  <a:pt x="475" y="144"/>
                  <a:pt x="475" y="144"/>
                  <a:pt x="476" y="144"/>
                </a:cubicBezTo>
                <a:cubicBezTo>
                  <a:pt x="477" y="144"/>
                  <a:pt x="479" y="144"/>
                  <a:pt x="481" y="145"/>
                </a:cubicBezTo>
                <a:cubicBezTo>
                  <a:pt x="481" y="145"/>
                  <a:pt x="481" y="145"/>
                  <a:pt x="481" y="145"/>
                </a:cubicBezTo>
                <a:cubicBezTo>
                  <a:pt x="482" y="145"/>
                  <a:pt x="483" y="145"/>
                  <a:pt x="484" y="145"/>
                </a:cubicBezTo>
                <a:cubicBezTo>
                  <a:pt x="497" y="145"/>
                  <a:pt x="497" y="145"/>
                  <a:pt x="497" y="145"/>
                </a:cubicBezTo>
                <a:cubicBezTo>
                  <a:pt x="497" y="145"/>
                  <a:pt x="497" y="145"/>
                  <a:pt x="497" y="145"/>
                </a:cubicBezTo>
                <a:cubicBezTo>
                  <a:pt x="498" y="144"/>
                  <a:pt x="499" y="144"/>
                  <a:pt x="500" y="144"/>
                </a:cubicBezTo>
                <a:cubicBezTo>
                  <a:pt x="500" y="144"/>
                  <a:pt x="501" y="145"/>
                  <a:pt x="502" y="145"/>
                </a:cubicBezTo>
                <a:cubicBezTo>
                  <a:pt x="502" y="144"/>
                  <a:pt x="502" y="144"/>
                  <a:pt x="502" y="144"/>
                </a:cubicBezTo>
                <a:cubicBezTo>
                  <a:pt x="503" y="140"/>
                  <a:pt x="503" y="140"/>
                  <a:pt x="503" y="140"/>
                </a:cubicBezTo>
                <a:cubicBezTo>
                  <a:pt x="503" y="139"/>
                  <a:pt x="503" y="139"/>
                  <a:pt x="504" y="138"/>
                </a:cubicBezTo>
                <a:cubicBezTo>
                  <a:pt x="505" y="138"/>
                  <a:pt x="505" y="138"/>
                  <a:pt x="505" y="138"/>
                </a:cubicBezTo>
                <a:cubicBezTo>
                  <a:pt x="505" y="138"/>
                  <a:pt x="505" y="138"/>
                  <a:pt x="506" y="137"/>
                </a:cubicBezTo>
                <a:cubicBezTo>
                  <a:pt x="506" y="137"/>
                  <a:pt x="506" y="137"/>
                  <a:pt x="506" y="137"/>
                </a:cubicBezTo>
                <a:cubicBezTo>
                  <a:pt x="505" y="135"/>
                  <a:pt x="505" y="135"/>
                  <a:pt x="505" y="135"/>
                </a:cubicBezTo>
                <a:cubicBezTo>
                  <a:pt x="503" y="135"/>
                  <a:pt x="503" y="135"/>
                  <a:pt x="503" y="135"/>
                </a:cubicBezTo>
                <a:cubicBezTo>
                  <a:pt x="503" y="135"/>
                  <a:pt x="503" y="136"/>
                  <a:pt x="502" y="136"/>
                </a:cubicBezTo>
                <a:cubicBezTo>
                  <a:pt x="501" y="137"/>
                  <a:pt x="500" y="138"/>
                  <a:pt x="500" y="138"/>
                </a:cubicBezTo>
                <a:cubicBezTo>
                  <a:pt x="499" y="139"/>
                  <a:pt x="499" y="139"/>
                  <a:pt x="498" y="139"/>
                </a:cubicBezTo>
                <a:cubicBezTo>
                  <a:pt x="493" y="139"/>
                  <a:pt x="493" y="139"/>
                  <a:pt x="493" y="139"/>
                </a:cubicBezTo>
                <a:cubicBezTo>
                  <a:pt x="493" y="139"/>
                  <a:pt x="492" y="138"/>
                  <a:pt x="491" y="138"/>
                </a:cubicBezTo>
                <a:cubicBezTo>
                  <a:pt x="491" y="137"/>
                  <a:pt x="491" y="137"/>
                  <a:pt x="491" y="137"/>
                </a:cubicBezTo>
                <a:cubicBezTo>
                  <a:pt x="490" y="137"/>
                  <a:pt x="490" y="136"/>
                  <a:pt x="490" y="135"/>
                </a:cubicBezTo>
                <a:cubicBezTo>
                  <a:pt x="490" y="131"/>
                  <a:pt x="490" y="131"/>
                  <a:pt x="490" y="131"/>
                </a:cubicBezTo>
                <a:cubicBezTo>
                  <a:pt x="490" y="130"/>
                  <a:pt x="490" y="130"/>
                  <a:pt x="491" y="129"/>
                </a:cubicBezTo>
                <a:cubicBezTo>
                  <a:pt x="492" y="128"/>
                  <a:pt x="492" y="128"/>
                  <a:pt x="492" y="128"/>
                </a:cubicBezTo>
                <a:cubicBezTo>
                  <a:pt x="492" y="127"/>
                  <a:pt x="493" y="126"/>
                  <a:pt x="494" y="126"/>
                </a:cubicBezTo>
                <a:cubicBezTo>
                  <a:pt x="498" y="126"/>
                  <a:pt x="498" y="126"/>
                  <a:pt x="498" y="126"/>
                </a:cubicBezTo>
                <a:cubicBezTo>
                  <a:pt x="498" y="126"/>
                  <a:pt x="498" y="126"/>
                  <a:pt x="498" y="126"/>
                </a:cubicBezTo>
                <a:cubicBezTo>
                  <a:pt x="497" y="126"/>
                  <a:pt x="497" y="125"/>
                  <a:pt x="498" y="124"/>
                </a:cubicBezTo>
                <a:cubicBezTo>
                  <a:pt x="499" y="122"/>
                  <a:pt x="499" y="122"/>
                  <a:pt x="499" y="122"/>
                </a:cubicBezTo>
                <a:cubicBezTo>
                  <a:pt x="499" y="121"/>
                  <a:pt x="499" y="121"/>
                  <a:pt x="499" y="121"/>
                </a:cubicBezTo>
                <a:cubicBezTo>
                  <a:pt x="499" y="120"/>
                  <a:pt x="499" y="120"/>
                  <a:pt x="500" y="119"/>
                </a:cubicBezTo>
                <a:cubicBezTo>
                  <a:pt x="495" y="119"/>
                  <a:pt x="495" y="119"/>
                  <a:pt x="495" y="119"/>
                </a:cubicBezTo>
                <a:cubicBezTo>
                  <a:pt x="491" y="119"/>
                  <a:pt x="491" y="119"/>
                  <a:pt x="491" y="119"/>
                </a:cubicBezTo>
                <a:cubicBezTo>
                  <a:pt x="488" y="119"/>
                  <a:pt x="488" y="119"/>
                  <a:pt x="488" y="119"/>
                </a:cubicBezTo>
                <a:cubicBezTo>
                  <a:pt x="485" y="120"/>
                  <a:pt x="485" y="120"/>
                  <a:pt x="485" y="120"/>
                </a:cubicBezTo>
                <a:cubicBezTo>
                  <a:pt x="482" y="121"/>
                  <a:pt x="482" y="121"/>
                  <a:pt x="482" y="121"/>
                </a:cubicBezTo>
                <a:cubicBezTo>
                  <a:pt x="481" y="122"/>
                  <a:pt x="481" y="122"/>
                  <a:pt x="481" y="122"/>
                </a:cubicBezTo>
                <a:cubicBezTo>
                  <a:pt x="481" y="123"/>
                  <a:pt x="481" y="123"/>
                  <a:pt x="481" y="123"/>
                </a:cubicBezTo>
                <a:cubicBezTo>
                  <a:pt x="483" y="123"/>
                  <a:pt x="483" y="123"/>
                  <a:pt x="483" y="123"/>
                </a:cubicBezTo>
                <a:cubicBezTo>
                  <a:pt x="485" y="123"/>
                  <a:pt x="485" y="123"/>
                  <a:pt x="485" y="123"/>
                </a:cubicBezTo>
                <a:cubicBezTo>
                  <a:pt x="486" y="124"/>
                  <a:pt x="486" y="124"/>
                  <a:pt x="486" y="124"/>
                </a:cubicBezTo>
                <a:cubicBezTo>
                  <a:pt x="487" y="124"/>
                  <a:pt x="487" y="124"/>
                  <a:pt x="487" y="124"/>
                </a:cubicBezTo>
                <a:cubicBezTo>
                  <a:pt x="487" y="125"/>
                  <a:pt x="487" y="125"/>
                  <a:pt x="487" y="125"/>
                </a:cubicBezTo>
                <a:cubicBezTo>
                  <a:pt x="487" y="126"/>
                  <a:pt x="487" y="126"/>
                  <a:pt x="487" y="126"/>
                </a:cubicBezTo>
                <a:cubicBezTo>
                  <a:pt x="487" y="127"/>
                  <a:pt x="487" y="127"/>
                  <a:pt x="487" y="127"/>
                </a:cubicBezTo>
                <a:cubicBezTo>
                  <a:pt x="487" y="128"/>
                  <a:pt x="487" y="128"/>
                  <a:pt x="487" y="128"/>
                </a:cubicBezTo>
                <a:cubicBezTo>
                  <a:pt x="471" y="143"/>
                  <a:pt x="471" y="143"/>
                  <a:pt x="471" y="143"/>
                </a:cubicBezTo>
                <a:cubicBezTo>
                  <a:pt x="468" y="145"/>
                  <a:pt x="468" y="145"/>
                  <a:pt x="468" y="145"/>
                </a:cubicBezTo>
                <a:cubicBezTo>
                  <a:pt x="466" y="146"/>
                  <a:pt x="466" y="146"/>
                  <a:pt x="466" y="146"/>
                </a:cubicBezTo>
                <a:cubicBezTo>
                  <a:pt x="465" y="146"/>
                  <a:pt x="465" y="146"/>
                  <a:pt x="465" y="146"/>
                </a:cubicBezTo>
                <a:cubicBezTo>
                  <a:pt x="465" y="147"/>
                  <a:pt x="465" y="148"/>
                  <a:pt x="463" y="148"/>
                </a:cubicBezTo>
                <a:cubicBezTo>
                  <a:pt x="460" y="148"/>
                  <a:pt x="460" y="148"/>
                  <a:pt x="460" y="148"/>
                </a:cubicBezTo>
                <a:cubicBezTo>
                  <a:pt x="460" y="148"/>
                  <a:pt x="458" y="148"/>
                  <a:pt x="457" y="148"/>
                </a:cubicBezTo>
                <a:cubicBezTo>
                  <a:pt x="456" y="148"/>
                  <a:pt x="456" y="148"/>
                  <a:pt x="455" y="148"/>
                </a:cubicBezTo>
                <a:cubicBezTo>
                  <a:pt x="453" y="148"/>
                  <a:pt x="452" y="148"/>
                  <a:pt x="451" y="147"/>
                </a:cubicBezTo>
                <a:cubicBezTo>
                  <a:pt x="450" y="147"/>
                  <a:pt x="450" y="147"/>
                  <a:pt x="450" y="147"/>
                </a:cubicBezTo>
                <a:cubicBezTo>
                  <a:pt x="449" y="148"/>
                  <a:pt x="448" y="148"/>
                  <a:pt x="446" y="147"/>
                </a:cubicBezTo>
                <a:cubicBezTo>
                  <a:pt x="446" y="147"/>
                  <a:pt x="446" y="147"/>
                  <a:pt x="446" y="146"/>
                </a:cubicBezTo>
                <a:cubicBezTo>
                  <a:pt x="442" y="146"/>
                  <a:pt x="442" y="146"/>
                  <a:pt x="442" y="146"/>
                </a:cubicBezTo>
                <a:cubicBezTo>
                  <a:pt x="441" y="146"/>
                  <a:pt x="441" y="146"/>
                  <a:pt x="441" y="146"/>
                </a:cubicBezTo>
                <a:cubicBezTo>
                  <a:pt x="440" y="146"/>
                  <a:pt x="440" y="146"/>
                  <a:pt x="440" y="146"/>
                </a:cubicBezTo>
                <a:cubicBezTo>
                  <a:pt x="439" y="146"/>
                  <a:pt x="439" y="147"/>
                  <a:pt x="439" y="147"/>
                </a:cubicBezTo>
                <a:cubicBezTo>
                  <a:pt x="439" y="148"/>
                  <a:pt x="439" y="148"/>
                  <a:pt x="439" y="148"/>
                </a:cubicBezTo>
                <a:cubicBezTo>
                  <a:pt x="439" y="149"/>
                  <a:pt x="438" y="149"/>
                  <a:pt x="438" y="150"/>
                </a:cubicBezTo>
                <a:cubicBezTo>
                  <a:pt x="434" y="152"/>
                  <a:pt x="434" y="152"/>
                  <a:pt x="434" y="152"/>
                </a:cubicBezTo>
                <a:cubicBezTo>
                  <a:pt x="433" y="152"/>
                  <a:pt x="433" y="152"/>
                  <a:pt x="433" y="152"/>
                </a:cubicBezTo>
                <a:cubicBezTo>
                  <a:pt x="425" y="152"/>
                  <a:pt x="425" y="152"/>
                  <a:pt x="425" y="152"/>
                </a:cubicBezTo>
                <a:cubicBezTo>
                  <a:pt x="425" y="152"/>
                  <a:pt x="424" y="152"/>
                  <a:pt x="424" y="153"/>
                </a:cubicBezTo>
                <a:cubicBezTo>
                  <a:pt x="421" y="155"/>
                  <a:pt x="421" y="155"/>
                  <a:pt x="421" y="155"/>
                </a:cubicBezTo>
                <a:cubicBezTo>
                  <a:pt x="421" y="156"/>
                  <a:pt x="421" y="156"/>
                  <a:pt x="421" y="156"/>
                </a:cubicBezTo>
                <a:cubicBezTo>
                  <a:pt x="421" y="157"/>
                  <a:pt x="420" y="158"/>
                  <a:pt x="418" y="158"/>
                </a:cubicBezTo>
                <a:cubicBezTo>
                  <a:pt x="413" y="158"/>
                  <a:pt x="413" y="158"/>
                  <a:pt x="413" y="158"/>
                </a:cubicBezTo>
                <a:cubicBezTo>
                  <a:pt x="412" y="158"/>
                  <a:pt x="412" y="158"/>
                  <a:pt x="412" y="158"/>
                </a:cubicBezTo>
                <a:cubicBezTo>
                  <a:pt x="411" y="158"/>
                  <a:pt x="411" y="158"/>
                  <a:pt x="411" y="158"/>
                </a:cubicBezTo>
                <a:cubicBezTo>
                  <a:pt x="408" y="159"/>
                  <a:pt x="408" y="159"/>
                  <a:pt x="408" y="159"/>
                </a:cubicBezTo>
                <a:cubicBezTo>
                  <a:pt x="406" y="159"/>
                  <a:pt x="406" y="159"/>
                  <a:pt x="406" y="159"/>
                </a:cubicBezTo>
                <a:cubicBezTo>
                  <a:pt x="405" y="160"/>
                  <a:pt x="405" y="160"/>
                  <a:pt x="405" y="160"/>
                </a:cubicBezTo>
                <a:cubicBezTo>
                  <a:pt x="404" y="160"/>
                  <a:pt x="404" y="160"/>
                  <a:pt x="403" y="160"/>
                </a:cubicBezTo>
                <a:cubicBezTo>
                  <a:pt x="402" y="160"/>
                  <a:pt x="402" y="160"/>
                  <a:pt x="402" y="160"/>
                </a:cubicBezTo>
                <a:cubicBezTo>
                  <a:pt x="402" y="162"/>
                  <a:pt x="400" y="163"/>
                  <a:pt x="399" y="162"/>
                </a:cubicBezTo>
                <a:cubicBezTo>
                  <a:pt x="398" y="162"/>
                  <a:pt x="398" y="162"/>
                  <a:pt x="398" y="162"/>
                </a:cubicBezTo>
                <a:cubicBezTo>
                  <a:pt x="395" y="163"/>
                  <a:pt x="395" y="163"/>
                  <a:pt x="395" y="163"/>
                </a:cubicBezTo>
                <a:cubicBezTo>
                  <a:pt x="394" y="163"/>
                  <a:pt x="394" y="163"/>
                  <a:pt x="394" y="163"/>
                </a:cubicBezTo>
                <a:cubicBezTo>
                  <a:pt x="393" y="163"/>
                  <a:pt x="392" y="163"/>
                  <a:pt x="392" y="163"/>
                </a:cubicBezTo>
                <a:cubicBezTo>
                  <a:pt x="391" y="164"/>
                  <a:pt x="391" y="164"/>
                  <a:pt x="391" y="164"/>
                </a:cubicBezTo>
                <a:cubicBezTo>
                  <a:pt x="391" y="164"/>
                  <a:pt x="391" y="164"/>
                  <a:pt x="390" y="164"/>
                </a:cubicBezTo>
                <a:cubicBezTo>
                  <a:pt x="374" y="164"/>
                  <a:pt x="374" y="164"/>
                  <a:pt x="374" y="164"/>
                </a:cubicBezTo>
                <a:cubicBezTo>
                  <a:pt x="374" y="164"/>
                  <a:pt x="374" y="164"/>
                  <a:pt x="374" y="164"/>
                </a:cubicBezTo>
                <a:cubicBezTo>
                  <a:pt x="374" y="165"/>
                  <a:pt x="374" y="166"/>
                  <a:pt x="372" y="167"/>
                </a:cubicBezTo>
                <a:cubicBezTo>
                  <a:pt x="370" y="167"/>
                  <a:pt x="368" y="169"/>
                  <a:pt x="368" y="170"/>
                </a:cubicBezTo>
                <a:cubicBezTo>
                  <a:pt x="367" y="171"/>
                  <a:pt x="365" y="172"/>
                  <a:pt x="363" y="170"/>
                </a:cubicBezTo>
                <a:cubicBezTo>
                  <a:pt x="363" y="170"/>
                  <a:pt x="363" y="170"/>
                  <a:pt x="363" y="170"/>
                </a:cubicBezTo>
                <a:cubicBezTo>
                  <a:pt x="361" y="169"/>
                  <a:pt x="361" y="169"/>
                  <a:pt x="361" y="169"/>
                </a:cubicBezTo>
                <a:cubicBezTo>
                  <a:pt x="360" y="170"/>
                  <a:pt x="360" y="170"/>
                  <a:pt x="360" y="170"/>
                </a:cubicBezTo>
                <a:cubicBezTo>
                  <a:pt x="359" y="169"/>
                  <a:pt x="359" y="169"/>
                  <a:pt x="359" y="169"/>
                </a:cubicBezTo>
                <a:cubicBezTo>
                  <a:pt x="356" y="167"/>
                  <a:pt x="356" y="167"/>
                  <a:pt x="356" y="167"/>
                </a:cubicBezTo>
                <a:cubicBezTo>
                  <a:pt x="351" y="168"/>
                  <a:pt x="351" y="168"/>
                  <a:pt x="351" y="168"/>
                </a:cubicBezTo>
                <a:cubicBezTo>
                  <a:pt x="350" y="169"/>
                  <a:pt x="350" y="169"/>
                  <a:pt x="350" y="169"/>
                </a:cubicBezTo>
                <a:cubicBezTo>
                  <a:pt x="350" y="169"/>
                  <a:pt x="350" y="169"/>
                  <a:pt x="350" y="169"/>
                </a:cubicBezTo>
                <a:cubicBezTo>
                  <a:pt x="350" y="169"/>
                  <a:pt x="350" y="169"/>
                  <a:pt x="350" y="170"/>
                </a:cubicBezTo>
                <a:cubicBezTo>
                  <a:pt x="349" y="172"/>
                  <a:pt x="349" y="173"/>
                  <a:pt x="349" y="173"/>
                </a:cubicBezTo>
                <a:cubicBezTo>
                  <a:pt x="350" y="174"/>
                  <a:pt x="350" y="174"/>
                  <a:pt x="350" y="174"/>
                </a:cubicBezTo>
                <a:cubicBezTo>
                  <a:pt x="349" y="177"/>
                  <a:pt x="349" y="177"/>
                  <a:pt x="349" y="177"/>
                </a:cubicBezTo>
                <a:cubicBezTo>
                  <a:pt x="349" y="179"/>
                  <a:pt x="349" y="179"/>
                  <a:pt x="349" y="179"/>
                </a:cubicBezTo>
                <a:cubicBezTo>
                  <a:pt x="349" y="180"/>
                  <a:pt x="349" y="180"/>
                  <a:pt x="348" y="181"/>
                </a:cubicBezTo>
                <a:cubicBezTo>
                  <a:pt x="348" y="183"/>
                  <a:pt x="348" y="183"/>
                  <a:pt x="348" y="183"/>
                </a:cubicBezTo>
                <a:cubicBezTo>
                  <a:pt x="348" y="184"/>
                  <a:pt x="348" y="185"/>
                  <a:pt x="348" y="186"/>
                </a:cubicBezTo>
                <a:cubicBezTo>
                  <a:pt x="348" y="188"/>
                  <a:pt x="348" y="188"/>
                  <a:pt x="348" y="188"/>
                </a:cubicBezTo>
                <a:cubicBezTo>
                  <a:pt x="348" y="188"/>
                  <a:pt x="348" y="189"/>
                  <a:pt x="347" y="189"/>
                </a:cubicBezTo>
                <a:cubicBezTo>
                  <a:pt x="345" y="193"/>
                  <a:pt x="345" y="193"/>
                  <a:pt x="345" y="193"/>
                </a:cubicBezTo>
                <a:cubicBezTo>
                  <a:pt x="343" y="198"/>
                  <a:pt x="343" y="198"/>
                  <a:pt x="343" y="198"/>
                </a:cubicBezTo>
                <a:cubicBezTo>
                  <a:pt x="342" y="199"/>
                  <a:pt x="342" y="199"/>
                  <a:pt x="342" y="199"/>
                </a:cubicBezTo>
                <a:cubicBezTo>
                  <a:pt x="337" y="202"/>
                  <a:pt x="337" y="202"/>
                  <a:pt x="337" y="202"/>
                </a:cubicBezTo>
                <a:cubicBezTo>
                  <a:pt x="336" y="202"/>
                  <a:pt x="336" y="202"/>
                  <a:pt x="336" y="202"/>
                </a:cubicBezTo>
                <a:cubicBezTo>
                  <a:pt x="333" y="202"/>
                  <a:pt x="333" y="202"/>
                  <a:pt x="333" y="202"/>
                </a:cubicBezTo>
                <a:cubicBezTo>
                  <a:pt x="331" y="204"/>
                  <a:pt x="331" y="204"/>
                  <a:pt x="331" y="204"/>
                </a:cubicBezTo>
                <a:cubicBezTo>
                  <a:pt x="330" y="204"/>
                  <a:pt x="329" y="205"/>
                  <a:pt x="329" y="204"/>
                </a:cubicBezTo>
                <a:cubicBezTo>
                  <a:pt x="328" y="204"/>
                  <a:pt x="327" y="204"/>
                  <a:pt x="327" y="204"/>
                </a:cubicBezTo>
                <a:cubicBezTo>
                  <a:pt x="326" y="204"/>
                  <a:pt x="326" y="204"/>
                  <a:pt x="326" y="205"/>
                </a:cubicBezTo>
                <a:cubicBezTo>
                  <a:pt x="326" y="205"/>
                  <a:pt x="325" y="205"/>
                  <a:pt x="324" y="205"/>
                </a:cubicBezTo>
                <a:cubicBezTo>
                  <a:pt x="317" y="205"/>
                  <a:pt x="317" y="205"/>
                  <a:pt x="317" y="205"/>
                </a:cubicBezTo>
                <a:cubicBezTo>
                  <a:pt x="317" y="206"/>
                  <a:pt x="317" y="206"/>
                  <a:pt x="317" y="206"/>
                </a:cubicBezTo>
                <a:cubicBezTo>
                  <a:pt x="318" y="206"/>
                  <a:pt x="318" y="207"/>
                  <a:pt x="319" y="207"/>
                </a:cubicBezTo>
                <a:cubicBezTo>
                  <a:pt x="319" y="210"/>
                  <a:pt x="319" y="210"/>
                  <a:pt x="319" y="210"/>
                </a:cubicBezTo>
                <a:cubicBezTo>
                  <a:pt x="319" y="210"/>
                  <a:pt x="319" y="210"/>
                  <a:pt x="319" y="211"/>
                </a:cubicBezTo>
                <a:cubicBezTo>
                  <a:pt x="319" y="213"/>
                  <a:pt x="319" y="213"/>
                  <a:pt x="319" y="213"/>
                </a:cubicBezTo>
                <a:cubicBezTo>
                  <a:pt x="319" y="214"/>
                  <a:pt x="319" y="214"/>
                  <a:pt x="319" y="214"/>
                </a:cubicBezTo>
                <a:cubicBezTo>
                  <a:pt x="320" y="217"/>
                  <a:pt x="320" y="217"/>
                  <a:pt x="320" y="217"/>
                </a:cubicBezTo>
                <a:cubicBezTo>
                  <a:pt x="326" y="217"/>
                  <a:pt x="326" y="217"/>
                  <a:pt x="326" y="217"/>
                </a:cubicBezTo>
                <a:cubicBezTo>
                  <a:pt x="328" y="215"/>
                  <a:pt x="328" y="215"/>
                  <a:pt x="328" y="215"/>
                </a:cubicBezTo>
                <a:cubicBezTo>
                  <a:pt x="328" y="215"/>
                  <a:pt x="328" y="215"/>
                  <a:pt x="328" y="215"/>
                </a:cubicBezTo>
                <a:cubicBezTo>
                  <a:pt x="330" y="214"/>
                  <a:pt x="330" y="214"/>
                  <a:pt x="330" y="214"/>
                </a:cubicBezTo>
                <a:cubicBezTo>
                  <a:pt x="333" y="213"/>
                  <a:pt x="333" y="213"/>
                  <a:pt x="333" y="213"/>
                </a:cubicBezTo>
                <a:cubicBezTo>
                  <a:pt x="334" y="212"/>
                  <a:pt x="334" y="212"/>
                  <a:pt x="334" y="212"/>
                </a:cubicBezTo>
                <a:cubicBezTo>
                  <a:pt x="335" y="212"/>
                  <a:pt x="335" y="212"/>
                  <a:pt x="336" y="212"/>
                </a:cubicBezTo>
                <a:cubicBezTo>
                  <a:pt x="341" y="212"/>
                  <a:pt x="341" y="212"/>
                  <a:pt x="341" y="212"/>
                </a:cubicBezTo>
                <a:cubicBezTo>
                  <a:pt x="342" y="213"/>
                  <a:pt x="342" y="213"/>
                  <a:pt x="342" y="213"/>
                </a:cubicBezTo>
                <a:cubicBezTo>
                  <a:pt x="343" y="214"/>
                  <a:pt x="343" y="214"/>
                  <a:pt x="343" y="214"/>
                </a:cubicBezTo>
                <a:cubicBezTo>
                  <a:pt x="344" y="215"/>
                  <a:pt x="344" y="215"/>
                  <a:pt x="344" y="215"/>
                </a:cubicBezTo>
                <a:cubicBezTo>
                  <a:pt x="345" y="218"/>
                  <a:pt x="345" y="218"/>
                  <a:pt x="345" y="218"/>
                </a:cubicBezTo>
                <a:cubicBezTo>
                  <a:pt x="345" y="223"/>
                  <a:pt x="345" y="223"/>
                  <a:pt x="345" y="223"/>
                </a:cubicBezTo>
                <a:cubicBezTo>
                  <a:pt x="345" y="225"/>
                  <a:pt x="345" y="225"/>
                  <a:pt x="345" y="225"/>
                </a:cubicBezTo>
                <a:cubicBezTo>
                  <a:pt x="345" y="226"/>
                  <a:pt x="345" y="226"/>
                  <a:pt x="345" y="226"/>
                </a:cubicBezTo>
                <a:cubicBezTo>
                  <a:pt x="345" y="227"/>
                  <a:pt x="345" y="227"/>
                  <a:pt x="345" y="227"/>
                </a:cubicBezTo>
                <a:cubicBezTo>
                  <a:pt x="345" y="229"/>
                  <a:pt x="345" y="229"/>
                  <a:pt x="345" y="229"/>
                </a:cubicBezTo>
                <a:cubicBezTo>
                  <a:pt x="346" y="231"/>
                  <a:pt x="346" y="234"/>
                  <a:pt x="346" y="234"/>
                </a:cubicBezTo>
                <a:cubicBezTo>
                  <a:pt x="345" y="237"/>
                  <a:pt x="345" y="237"/>
                  <a:pt x="345" y="237"/>
                </a:cubicBezTo>
                <a:cubicBezTo>
                  <a:pt x="345" y="238"/>
                  <a:pt x="344" y="238"/>
                  <a:pt x="344" y="239"/>
                </a:cubicBezTo>
                <a:cubicBezTo>
                  <a:pt x="343" y="239"/>
                  <a:pt x="343" y="239"/>
                  <a:pt x="342" y="239"/>
                </a:cubicBezTo>
                <a:cubicBezTo>
                  <a:pt x="341" y="239"/>
                  <a:pt x="339" y="239"/>
                  <a:pt x="337" y="239"/>
                </a:cubicBezTo>
                <a:cubicBezTo>
                  <a:pt x="337" y="239"/>
                  <a:pt x="336" y="239"/>
                  <a:pt x="336" y="238"/>
                </a:cubicBezTo>
                <a:cubicBezTo>
                  <a:pt x="335" y="237"/>
                  <a:pt x="335" y="237"/>
                  <a:pt x="335" y="237"/>
                </a:cubicBezTo>
                <a:cubicBezTo>
                  <a:pt x="334" y="237"/>
                  <a:pt x="334" y="237"/>
                  <a:pt x="334" y="237"/>
                </a:cubicBezTo>
                <a:cubicBezTo>
                  <a:pt x="332" y="237"/>
                  <a:pt x="332" y="237"/>
                  <a:pt x="332" y="237"/>
                </a:cubicBezTo>
                <a:cubicBezTo>
                  <a:pt x="332" y="238"/>
                  <a:pt x="330" y="239"/>
                  <a:pt x="328" y="239"/>
                </a:cubicBezTo>
                <a:cubicBezTo>
                  <a:pt x="327" y="239"/>
                  <a:pt x="327" y="239"/>
                  <a:pt x="327" y="239"/>
                </a:cubicBezTo>
                <a:cubicBezTo>
                  <a:pt x="326" y="240"/>
                  <a:pt x="325" y="239"/>
                  <a:pt x="324" y="239"/>
                </a:cubicBezTo>
                <a:cubicBezTo>
                  <a:pt x="324" y="240"/>
                  <a:pt x="324" y="240"/>
                  <a:pt x="324" y="240"/>
                </a:cubicBezTo>
                <a:cubicBezTo>
                  <a:pt x="323" y="240"/>
                  <a:pt x="322" y="241"/>
                  <a:pt x="320" y="241"/>
                </a:cubicBezTo>
                <a:cubicBezTo>
                  <a:pt x="319" y="241"/>
                  <a:pt x="318" y="240"/>
                  <a:pt x="317" y="239"/>
                </a:cubicBezTo>
                <a:cubicBezTo>
                  <a:pt x="315" y="236"/>
                  <a:pt x="315" y="236"/>
                  <a:pt x="315" y="236"/>
                </a:cubicBezTo>
                <a:cubicBezTo>
                  <a:pt x="315" y="236"/>
                  <a:pt x="315" y="236"/>
                  <a:pt x="315" y="236"/>
                </a:cubicBezTo>
                <a:cubicBezTo>
                  <a:pt x="314" y="235"/>
                  <a:pt x="314" y="235"/>
                  <a:pt x="312" y="234"/>
                </a:cubicBezTo>
                <a:cubicBezTo>
                  <a:pt x="309" y="231"/>
                  <a:pt x="309" y="231"/>
                  <a:pt x="309" y="231"/>
                </a:cubicBezTo>
                <a:cubicBezTo>
                  <a:pt x="304" y="228"/>
                  <a:pt x="304" y="228"/>
                  <a:pt x="304" y="228"/>
                </a:cubicBezTo>
                <a:cubicBezTo>
                  <a:pt x="304" y="228"/>
                  <a:pt x="304" y="228"/>
                  <a:pt x="304" y="228"/>
                </a:cubicBezTo>
                <a:cubicBezTo>
                  <a:pt x="304" y="228"/>
                  <a:pt x="304" y="228"/>
                  <a:pt x="303" y="228"/>
                </a:cubicBezTo>
                <a:cubicBezTo>
                  <a:pt x="301" y="227"/>
                  <a:pt x="301" y="227"/>
                  <a:pt x="301" y="227"/>
                </a:cubicBezTo>
                <a:cubicBezTo>
                  <a:pt x="301" y="227"/>
                  <a:pt x="297" y="226"/>
                  <a:pt x="296" y="223"/>
                </a:cubicBezTo>
                <a:cubicBezTo>
                  <a:pt x="296" y="221"/>
                  <a:pt x="296" y="221"/>
                  <a:pt x="296" y="221"/>
                </a:cubicBezTo>
                <a:cubicBezTo>
                  <a:pt x="296" y="221"/>
                  <a:pt x="296" y="221"/>
                  <a:pt x="296" y="221"/>
                </a:cubicBezTo>
                <a:cubicBezTo>
                  <a:pt x="296" y="214"/>
                  <a:pt x="296" y="214"/>
                  <a:pt x="296" y="214"/>
                </a:cubicBezTo>
                <a:cubicBezTo>
                  <a:pt x="296" y="214"/>
                  <a:pt x="296" y="214"/>
                  <a:pt x="296" y="213"/>
                </a:cubicBezTo>
                <a:cubicBezTo>
                  <a:pt x="299" y="214"/>
                  <a:pt x="299" y="214"/>
                  <a:pt x="299" y="214"/>
                </a:cubicBezTo>
                <a:cubicBezTo>
                  <a:pt x="294" y="213"/>
                  <a:pt x="294" y="213"/>
                  <a:pt x="294" y="213"/>
                </a:cubicBezTo>
                <a:cubicBezTo>
                  <a:pt x="292" y="212"/>
                  <a:pt x="292" y="212"/>
                  <a:pt x="292" y="212"/>
                </a:cubicBezTo>
                <a:cubicBezTo>
                  <a:pt x="290" y="209"/>
                  <a:pt x="290" y="209"/>
                  <a:pt x="290" y="209"/>
                </a:cubicBezTo>
                <a:cubicBezTo>
                  <a:pt x="289" y="208"/>
                  <a:pt x="289" y="208"/>
                  <a:pt x="289" y="208"/>
                </a:cubicBezTo>
                <a:cubicBezTo>
                  <a:pt x="284" y="203"/>
                  <a:pt x="284" y="203"/>
                  <a:pt x="284" y="203"/>
                </a:cubicBezTo>
                <a:cubicBezTo>
                  <a:pt x="283" y="202"/>
                  <a:pt x="283" y="202"/>
                  <a:pt x="283" y="202"/>
                </a:cubicBezTo>
                <a:cubicBezTo>
                  <a:pt x="282" y="202"/>
                  <a:pt x="282" y="202"/>
                  <a:pt x="282" y="202"/>
                </a:cubicBezTo>
                <a:cubicBezTo>
                  <a:pt x="271" y="205"/>
                  <a:pt x="271" y="205"/>
                  <a:pt x="271" y="205"/>
                </a:cubicBezTo>
                <a:cubicBezTo>
                  <a:pt x="269" y="207"/>
                  <a:pt x="269" y="207"/>
                  <a:pt x="269" y="207"/>
                </a:cubicBezTo>
                <a:cubicBezTo>
                  <a:pt x="268" y="208"/>
                  <a:pt x="268" y="208"/>
                  <a:pt x="268" y="208"/>
                </a:cubicBezTo>
                <a:cubicBezTo>
                  <a:pt x="267" y="210"/>
                  <a:pt x="267" y="210"/>
                  <a:pt x="267" y="210"/>
                </a:cubicBezTo>
                <a:cubicBezTo>
                  <a:pt x="271" y="213"/>
                  <a:pt x="271" y="213"/>
                  <a:pt x="271" y="213"/>
                </a:cubicBezTo>
                <a:cubicBezTo>
                  <a:pt x="271" y="214"/>
                  <a:pt x="271" y="214"/>
                  <a:pt x="271" y="214"/>
                </a:cubicBezTo>
                <a:cubicBezTo>
                  <a:pt x="269" y="219"/>
                  <a:pt x="269" y="219"/>
                  <a:pt x="269" y="219"/>
                </a:cubicBezTo>
                <a:cubicBezTo>
                  <a:pt x="269" y="219"/>
                  <a:pt x="269" y="219"/>
                  <a:pt x="269" y="219"/>
                </a:cubicBezTo>
                <a:cubicBezTo>
                  <a:pt x="269" y="220"/>
                  <a:pt x="269" y="220"/>
                  <a:pt x="269" y="220"/>
                </a:cubicBezTo>
                <a:cubicBezTo>
                  <a:pt x="265" y="222"/>
                  <a:pt x="265" y="222"/>
                  <a:pt x="265" y="222"/>
                </a:cubicBezTo>
                <a:cubicBezTo>
                  <a:pt x="263" y="224"/>
                  <a:pt x="263" y="224"/>
                  <a:pt x="263" y="224"/>
                </a:cubicBezTo>
                <a:cubicBezTo>
                  <a:pt x="262" y="228"/>
                  <a:pt x="262" y="228"/>
                  <a:pt x="262" y="228"/>
                </a:cubicBezTo>
                <a:cubicBezTo>
                  <a:pt x="262" y="230"/>
                  <a:pt x="262" y="230"/>
                  <a:pt x="262" y="230"/>
                </a:cubicBezTo>
                <a:cubicBezTo>
                  <a:pt x="262" y="231"/>
                  <a:pt x="262" y="231"/>
                  <a:pt x="262" y="231"/>
                </a:cubicBezTo>
                <a:cubicBezTo>
                  <a:pt x="263" y="231"/>
                  <a:pt x="263" y="231"/>
                  <a:pt x="263" y="231"/>
                </a:cubicBezTo>
                <a:cubicBezTo>
                  <a:pt x="266" y="233"/>
                  <a:pt x="266" y="233"/>
                  <a:pt x="266" y="233"/>
                </a:cubicBezTo>
                <a:cubicBezTo>
                  <a:pt x="267" y="234"/>
                  <a:pt x="267" y="234"/>
                  <a:pt x="267" y="234"/>
                </a:cubicBezTo>
                <a:cubicBezTo>
                  <a:pt x="269" y="234"/>
                  <a:pt x="269" y="234"/>
                  <a:pt x="269" y="234"/>
                </a:cubicBezTo>
                <a:cubicBezTo>
                  <a:pt x="280" y="237"/>
                  <a:pt x="280" y="237"/>
                  <a:pt x="280" y="237"/>
                </a:cubicBezTo>
                <a:cubicBezTo>
                  <a:pt x="294" y="243"/>
                  <a:pt x="294" y="243"/>
                  <a:pt x="294" y="243"/>
                </a:cubicBezTo>
                <a:cubicBezTo>
                  <a:pt x="291" y="245"/>
                  <a:pt x="291" y="245"/>
                  <a:pt x="291" y="245"/>
                </a:cubicBezTo>
                <a:cubicBezTo>
                  <a:pt x="284" y="247"/>
                  <a:pt x="284" y="247"/>
                  <a:pt x="284" y="247"/>
                </a:cubicBezTo>
                <a:cubicBezTo>
                  <a:pt x="281" y="246"/>
                  <a:pt x="281" y="246"/>
                  <a:pt x="281" y="246"/>
                </a:cubicBezTo>
                <a:cubicBezTo>
                  <a:pt x="277" y="244"/>
                  <a:pt x="277" y="244"/>
                  <a:pt x="277" y="244"/>
                </a:cubicBezTo>
                <a:cubicBezTo>
                  <a:pt x="276" y="243"/>
                  <a:pt x="276" y="243"/>
                  <a:pt x="276" y="243"/>
                </a:cubicBezTo>
                <a:cubicBezTo>
                  <a:pt x="276" y="242"/>
                  <a:pt x="276" y="242"/>
                  <a:pt x="276" y="242"/>
                </a:cubicBezTo>
                <a:cubicBezTo>
                  <a:pt x="275" y="241"/>
                  <a:pt x="275" y="241"/>
                  <a:pt x="275" y="241"/>
                </a:cubicBezTo>
                <a:cubicBezTo>
                  <a:pt x="273" y="239"/>
                  <a:pt x="273" y="239"/>
                  <a:pt x="273" y="239"/>
                </a:cubicBezTo>
                <a:cubicBezTo>
                  <a:pt x="268" y="237"/>
                  <a:pt x="268" y="237"/>
                  <a:pt x="268" y="237"/>
                </a:cubicBezTo>
                <a:cubicBezTo>
                  <a:pt x="259" y="239"/>
                  <a:pt x="259" y="239"/>
                  <a:pt x="259" y="239"/>
                </a:cubicBezTo>
                <a:cubicBezTo>
                  <a:pt x="258" y="239"/>
                  <a:pt x="258" y="239"/>
                  <a:pt x="258" y="239"/>
                </a:cubicBezTo>
                <a:cubicBezTo>
                  <a:pt x="257" y="239"/>
                  <a:pt x="257" y="239"/>
                  <a:pt x="257" y="239"/>
                </a:cubicBezTo>
                <a:cubicBezTo>
                  <a:pt x="250" y="248"/>
                  <a:pt x="250" y="248"/>
                  <a:pt x="250" y="248"/>
                </a:cubicBezTo>
                <a:cubicBezTo>
                  <a:pt x="249" y="250"/>
                  <a:pt x="249" y="250"/>
                  <a:pt x="249" y="250"/>
                </a:cubicBezTo>
                <a:cubicBezTo>
                  <a:pt x="247" y="253"/>
                  <a:pt x="247" y="253"/>
                  <a:pt x="247" y="253"/>
                </a:cubicBezTo>
                <a:cubicBezTo>
                  <a:pt x="247" y="254"/>
                  <a:pt x="247" y="254"/>
                  <a:pt x="247" y="254"/>
                </a:cubicBezTo>
                <a:cubicBezTo>
                  <a:pt x="248" y="255"/>
                  <a:pt x="248" y="255"/>
                  <a:pt x="248" y="255"/>
                </a:cubicBezTo>
                <a:cubicBezTo>
                  <a:pt x="249" y="257"/>
                  <a:pt x="249" y="257"/>
                  <a:pt x="249" y="257"/>
                </a:cubicBezTo>
                <a:cubicBezTo>
                  <a:pt x="266" y="270"/>
                  <a:pt x="266" y="270"/>
                  <a:pt x="266" y="270"/>
                </a:cubicBezTo>
                <a:cubicBezTo>
                  <a:pt x="267" y="271"/>
                  <a:pt x="267" y="271"/>
                  <a:pt x="267" y="271"/>
                </a:cubicBezTo>
                <a:cubicBezTo>
                  <a:pt x="270" y="272"/>
                  <a:pt x="270" y="272"/>
                  <a:pt x="270" y="272"/>
                </a:cubicBezTo>
                <a:cubicBezTo>
                  <a:pt x="271" y="273"/>
                  <a:pt x="271" y="273"/>
                  <a:pt x="271" y="273"/>
                </a:cubicBezTo>
                <a:cubicBezTo>
                  <a:pt x="278" y="271"/>
                  <a:pt x="278" y="271"/>
                  <a:pt x="278" y="271"/>
                </a:cubicBezTo>
                <a:cubicBezTo>
                  <a:pt x="283" y="268"/>
                  <a:pt x="283" y="268"/>
                  <a:pt x="283" y="268"/>
                </a:cubicBezTo>
                <a:cubicBezTo>
                  <a:pt x="284" y="268"/>
                  <a:pt x="284" y="268"/>
                  <a:pt x="284" y="268"/>
                </a:cubicBezTo>
                <a:cubicBezTo>
                  <a:pt x="284" y="269"/>
                  <a:pt x="284" y="269"/>
                  <a:pt x="284" y="269"/>
                </a:cubicBezTo>
                <a:cubicBezTo>
                  <a:pt x="284" y="270"/>
                  <a:pt x="284" y="270"/>
                  <a:pt x="284" y="270"/>
                </a:cubicBezTo>
                <a:cubicBezTo>
                  <a:pt x="284" y="270"/>
                  <a:pt x="284" y="270"/>
                  <a:pt x="284" y="270"/>
                </a:cubicBezTo>
                <a:cubicBezTo>
                  <a:pt x="281" y="271"/>
                  <a:pt x="281" y="271"/>
                  <a:pt x="281" y="271"/>
                </a:cubicBezTo>
                <a:cubicBezTo>
                  <a:pt x="275" y="273"/>
                  <a:pt x="275" y="273"/>
                  <a:pt x="275" y="273"/>
                </a:cubicBezTo>
                <a:cubicBezTo>
                  <a:pt x="269" y="275"/>
                  <a:pt x="269" y="275"/>
                  <a:pt x="269" y="275"/>
                </a:cubicBezTo>
                <a:cubicBezTo>
                  <a:pt x="255" y="265"/>
                  <a:pt x="255" y="265"/>
                  <a:pt x="255" y="265"/>
                </a:cubicBezTo>
                <a:cubicBezTo>
                  <a:pt x="254" y="265"/>
                  <a:pt x="254" y="265"/>
                  <a:pt x="254" y="265"/>
                </a:cubicBezTo>
                <a:cubicBezTo>
                  <a:pt x="245" y="266"/>
                  <a:pt x="245" y="266"/>
                  <a:pt x="245" y="266"/>
                </a:cubicBezTo>
                <a:cubicBezTo>
                  <a:pt x="243" y="267"/>
                  <a:pt x="243" y="267"/>
                  <a:pt x="243" y="267"/>
                </a:cubicBezTo>
                <a:cubicBezTo>
                  <a:pt x="242" y="268"/>
                  <a:pt x="242" y="268"/>
                  <a:pt x="242" y="268"/>
                </a:cubicBezTo>
                <a:cubicBezTo>
                  <a:pt x="241" y="269"/>
                  <a:pt x="241" y="269"/>
                  <a:pt x="241" y="269"/>
                </a:cubicBezTo>
                <a:cubicBezTo>
                  <a:pt x="228" y="296"/>
                  <a:pt x="228" y="296"/>
                  <a:pt x="228" y="296"/>
                </a:cubicBezTo>
                <a:cubicBezTo>
                  <a:pt x="228" y="297"/>
                  <a:pt x="228" y="297"/>
                  <a:pt x="228" y="297"/>
                </a:cubicBezTo>
                <a:cubicBezTo>
                  <a:pt x="228" y="298"/>
                  <a:pt x="228" y="298"/>
                  <a:pt x="228" y="298"/>
                </a:cubicBezTo>
                <a:cubicBezTo>
                  <a:pt x="228" y="298"/>
                  <a:pt x="228" y="298"/>
                  <a:pt x="228" y="298"/>
                </a:cubicBezTo>
                <a:cubicBezTo>
                  <a:pt x="233" y="300"/>
                  <a:pt x="233" y="300"/>
                  <a:pt x="233" y="300"/>
                </a:cubicBezTo>
                <a:cubicBezTo>
                  <a:pt x="240" y="299"/>
                  <a:pt x="240" y="299"/>
                  <a:pt x="240" y="299"/>
                </a:cubicBezTo>
                <a:cubicBezTo>
                  <a:pt x="243" y="298"/>
                  <a:pt x="243" y="298"/>
                  <a:pt x="243" y="298"/>
                </a:cubicBezTo>
                <a:cubicBezTo>
                  <a:pt x="250" y="297"/>
                  <a:pt x="250" y="297"/>
                  <a:pt x="250" y="297"/>
                </a:cubicBezTo>
                <a:cubicBezTo>
                  <a:pt x="251" y="297"/>
                  <a:pt x="251" y="297"/>
                  <a:pt x="251" y="297"/>
                </a:cubicBezTo>
                <a:cubicBezTo>
                  <a:pt x="255" y="298"/>
                  <a:pt x="255" y="298"/>
                  <a:pt x="255" y="298"/>
                </a:cubicBezTo>
                <a:cubicBezTo>
                  <a:pt x="264" y="300"/>
                  <a:pt x="264" y="300"/>
                  <a:pt x="264" y="300"/>
                </a:cubicBezTo>
                <a:cubicBezTo>
                  <a:pt x="264" y="300"/>
                  <a:pt x="264" y="300"/>
                  <a:pt x="264" y="300"/>
                </a:cubicBezTo>
                <a:cubicBezTo>
                  <a:pt x="264" y="301"/>
                  <a:pt x="264" y="301"/>
                  <a:pt x="264" y="301"/>
                </a:cubicBezTo>
                <a:cubicBezTo>
                  <a:pt x="263" y="303"/>
                  <a:pt x="263" y="303"/>
                  <a:pt x="263" y="303"/>
                </a:cubicBezTo>
                <a:cubicBezTo>
                  <a:pt x="257" y="309"/>
                  <a:pt x="257" y="309"/>
                  <a:pt x="257" y="309"/>
                </a:cubicBezTo>
                <a:cubicBezTo>
                  <a:pt x="256" y="309"/>
                  <a:pt x="256" y="309"/>
                  <a:pt x="256" y="309"/>
                </a:cubicBezTo>
                <a:cubicBezTo>
                  <a:pt x="251" y="307"/>
                  <a:pt x="251" y="307"/>
                  <a:pt x="251" y="307"/>
                </a:cubicBezTo>
                <a:cubicBezTo>
                  <a:pt x="249" y="308"/>
                  <a:pt x="249" y="308"/>
                  <a:pt x="249" y="308"/>
                </a:cubicBezTo>
                <a:cubicBezTo>
                  <a:pt x="244" y="310"/>
                  <a:pt x="244" y="310"/>
                  <a:pt x="244" y="310"/>
                </a:cubicBezTo>
                <a:cubicBezTo>
                  <a:pt x="243" y="311"/>
                  <a:pt x="243" y="311"/>
                  <a:pt x="243" y="311"/>
                </a:cubicBezTo>
                <a:cubicBezTo>
                  <a:pt x="240" y="311"/>
                  <a:pt x="240" y="311"/>
                  <a:pt x="240" y="311"/>
                </a:cubicBezTo>
                <a:cubicBezTo>
                  <a:pt x="239" y="311"/>
                  <a:pt x="239" y="311"/>
                  <a:pt x="239" y="311"/>
                </a:cubicBezTo>
                <a:cubicBezTo>
                  <a:pt x="238" y="312"/>
                  <a:pt x="238" y="312"/>
                  <a:pt x="238" y="312"/>
                </a:cubicBezTo>
                <a:cubicBezTo>
                  <a:pt x="237" y="312"/>
                  <a:pt x="237" y="312"/>
                  <a:pt x="237" y="312"/>
                </a:cubicBezTo>
                <a:cubicBezTo>
                  <a:pt x="237" y="315"/>
                  <a:pt x="237" y="315"/>
                  <a:pt x="237" y="315"/>
                </a:cubicBezTo>
                <a:cubicBezTo>
                  <a:pt x="237" y="316"/>
                  <a:pt x="237" y="316"/>
                  <a:pt x="237" y="316"/>
                </a:cubicBezTo>
                <a:cubicBezTo>
                  <a:pt x="242" y="319"/>
                  <a:pt x="242" y="319"/>
                  <a:pt x="242" y="319"/>
                </a:cubicBezTo>
                <a:cubicBezTo>
                  <a:pt x="249" y="322"/>
                  <a:pt x="249" y="322"/>
                  <a:pt x="249" y="322"/>
                </a:cubicBezTo>
                <a:cubicBezTo>
                  <a:pt x="249" y="322"/>
                  <a:pt x="249" y="322"/>
                  <a:pt x="249" y="322"/>
                </a:cubicBezTo>
                <a:cubicBezTo>
                  <a:pt x="249" y="324"/>
                  <a:pt x="249" y="324"/>
                  <a:pt x="249" y="324"/>
                </a:cubicBezTo>
                <a:cubicBezTo>
                  <a:pt x="248" y="324"/>
                  <a:pt x="248" y="324"/>
                  <a:pt x="248" y="324"/>
                </a:cubicBezTo>
                <a:cubicBezTo>
                  <a:pt x="247" y="324"/>
                  <a:pt x="247" y="324"/>
                  <a:pt x="247" y="324"/>
                </a:cubicBezTo>
                <a:cubicBezTo>
                  <a:pt x="248" y="326"/>
                  <a:pt x="248" y="326"/>
                  <a:pt x="248" y="326"/>
                </a:cubicBezTo>
                <a:cubicBezTo>
                  <a:pt x="250" y="327"/>
                  <a:pt x="250" y="327"/>
                  <a:pt x="250" y="327"/>
                </a:cubicBezTo>
                <a:cubicBezTo>
                  <a:pt x="256" y="327"/>
                  <a:pt x="256" y="327"/>
                  <a:pt x="256" y="327"/>
                </a:cubicBezTo>
                <a:cubicBezTo>
                  <a:pt x="257" y="326"/>
                  <a:pt x="257" y="326"/>
                  <a:pt x="258" y="325"/>
                </a:cubicBezTo>
                <a:cubicBezTo>
                  <a:pt x="260" y="325"/>
                  <a:pt x="260" y="324"/>
                  <a:pt x="261" y="323"/>
                </a:cubicBezTo>
                <a:cubicBezTo>
                  <a:pt x="261" y="323"/>
                  <a:pt x="262" y="322"/>
                  <a:pt x="264" y="321"/>
                </a:cubicBezTo>
                <a:cubicBezTo>
                  <a:pt x="265" y="321"/>
                  <a:pt x="267" y="320"/>
                  <a:pt x="268" y="320"/>
                </a:cubicBezTo>
                <a:cubicBezTo>
                  <a:pt x="268" y="319"/>
                  <a:pt x="270" y="316"/>
                  <a:pt x="273" y="316"/>
                </a:cubicBezTo>
                <a:cubicBezTo>
                  <a:pt x="273" y="316"/>
                  <a:pt x="273" y="316"/>
                  <a:pt x="274" y="316"/>
                </a:cubicBezTo>
                <a:cubicBezTo>
                  <a:pt x="275" y="316"/>
                  <a:pt x="276" y="315"/>
                  <a:pt x="276" y="315"/>
                </a:cubicBezTo>
                <a:cubicBezTo>
                  <a:pt x="277" y="315"/>
                  <a:pt x="277" y="315"/>
                  <a:pt x="277" y="314"/>
                </a:cubicBezTo>
                <a:cubicBezTo>
                  <a:pt x="278" y="312"/>
                  <a:pt x="279" y="311"/>
                  <a:pt x="280" y="311"/>
                </a:cubicBezTo>
                <a:cubicBezTo>
                  <a:pt x="280" y="310"/>
                  <a:pt x="280" y="310"/>
                  <a:pt x="280" y="310"/>
                </a:cubicBezTo>
                <a:cubicBezTo>
                  <a:pt x="280" y="310"/>
                  <a:pt x="281" y="310"/>
                  <a:pt x="281" y="309"/>
                </a:cubicBezTo>
                <a:cubicBezTo>
                  <a:pt x="284" y="305"/>
                  <a:pt x="284" y="305"/>
                  <a:pt x="284" y="305"/>
                </a:cubicBezTo>
                <a:cubicBezTo>
                  <a:pt x="284" y="305"/>
                  <a:pt x="285" y="304"/>
                  <a:pt x="286" y="305"/>
                </a:cubicBezTo>
                <a:cubicBezTo>
                  <a:pt x="286" y="305"/>
                  <a:pt x="286" y="305"/>
                  <a:pt x="286" y="305"/>
                </a:cubicBezTo>
                <a:cubicBezTo>
                  <a:pt x="286" y="305"/>
                  <a:pt x="286" y="305"/>
                  <a:pt x="286" y="305"/>
                </a:cubicBezTo>
                <a:cubicBezTo>
                  <a:pt x="288" y="304"/>
                  <a:pt x="289" y="303"/>
                  <a:pt x="290" y="302"/>
                </a:cubicBezTo>
                <a:cubicBezTo>
                  <a:pt x="291" y="302"/>
                  <a:pt x="292" y="301"/>
                  <a:pt x="292" y="301"/>
                </a:cubicBezTo>
                <a:cubicBezTo>
                  <a:pt x="293" y="300"/>
                  <a:pt x="293" y="300"/>
                  <a:pt x="294" y="300"/>
                </a:cubicBezTo>
                <a:cubicBezTo>
                  <a:pt x="294" y="300"/>
                  <a:pt x="294" y="300"/>
                  <a:pt x="294" y="300"/>
                </a:cubicBezTo>
                <a:cubicBezTo>
                  <a:pt x="294" y="299"/>
                  <a:pt x="294" y="299"/>
                  <a:pt x="294" y="299"/>
                </a:cubicBezTo>
                <a:cubicBezTo>
                  <a:pt x="295" y="298"/>
                  <a:pt x="295" y="298"/>
                  <a:pt x="296" y="297"/>
                </a:cubicBezTo>
                <a:cubicBezTo>
                  <a:pt x="297" y="296"/>
                  <a:pt x="298" y="296"/>
                  <a:pt x="299" y="295"/>
                </a:cubicBezTo>
                <a:cubicBezTo>
                  <a:pt x="299" y="295"/>
                  <a:pt x="299" y="295"/>
                  <a:pt x="300" y="295"/>
                </a:cubicBezTo>
                <a:cubicBezTo>
                  <a:pt x="301" y="293"/>
                  <a:pt x="304" y="294"/>
                  <a:pt x="305" y="295"/>
                </a:cubicBezTo>
                <a:cubicBezTo>
                  <a:pt x="306" y="293"/>
                  <a:pt x="306" y="293"/>
                  <a:pt x="306" y="293"/>
                </a:cubicBezTo>
                <a:cubicBezTo>
                  <a:pt x="306" y="293"/>
                  <a:pt x="307" y="292"/>
                  <a:pt x="308" y="292"/>
                </a:cubicBezTo>
                <a:cubicBezTo>
                  <a:pt x="314" y="292"/>
                  <a:pt x="314" y="292"/>
                  <a:pt x="314" y="292"/>
                </a:cubicBezTo>
                <a:cubicBezTo>
                  <a:pt x="314" y="292"/>
                  <a:pt x="316" y="292"/>
                  <a:pt x="318" y="293"/>
                </a:cubicBezTo>
                <a:cubicBezTo>
                  <a:pt x="319" y="293"/>
                  <a:pt x="320" y="293"/>
                  <a:pt x="320" y="292"/>
                </a:cubicBezTo>
                <a:cubicBezTo>
                  <a:pt x="320" y="292"/>
                  <a:pt x="320" y="292"/>
                  <a:pt x="321" y="292"/>
                </a:cubicBezTo>
                <a:cubicBezTo>
                  <a:pt x="328" y="292"/>
                  <a:pt x="328" y="292"/>
                  <a:pt x="328" y="292"/>
                </a:cubicBezTo>
                <a:cubicBezTo>
                  <a:pt x="329" y="292"/>
                  <a:pt x="330" y="293"/>
                  <a:pt x="330" y="293"/>
                </a:cubicBezTo>
                <a:cubicBezTo>
                  <a:pt x="330" y="293"/>
                  <a:pt x="330" y="293"/>
                  <a:pt x="330" y="293"/>
                </a:cubicBezTo>
                <a:cubicBezTo>
                  <a:pt x="331" y="292"/>
                  <a:pt x="332" y="292"/>
                  <a:pt x="333" y="292"/>
                </a:cubicBezTo>
                <a:cubicBezTo>
                  <a:pt x="335" y="293"/>
                  <a:pt x="337" y="293"/>
                  <a:pt x="338" y="292"/>
                </a:cubicBezTo>
                <a:cubicBezTo>
                  <a:pt x="339" y="292"/>
                  <a:pt x="339" y="292"/>
                  <a:pt x="339" y="292"/>
                </a:cubicBezTo>
                <a:cubicBezTo>
                  <a:pt x="343" y="292"/>
                  <a:pt x="343" y="292"/>
                  <a:pt x="343" y="292"/>
                </a:cubicBezTo>
                <a:cubicBezTo>
                  <a:pt x="343" y="292"/>
                  <a:pt x="344" y="292"/>
                  <a:pt x="344" y="293"/>
                </a:cubicBezTo>
                <a:cubicBezTo>
                  <a:pt x="344" y="293"/>
                  <a:pt x="346" y="295"/>
                  <a:pt x="345" y="297"/>
                </a:cubicBezTo>
                <a:cubicBezTo>
                  <a:pt x="345" y="297"/>
                  <a:pt x="345" y="298"/>
                  <a:pt x="344" y="299"/>
                </a:cubicBezTo>
                <a:cubicBezTo>
                  <a:pt x="345" y="299"/>
                  <a:pt x="346" y="299"/>
                  <a:pt x="346" y="299"/>
                </a:cubicBezTo>
                <a:cubicBezTo>
                  <a:pt x="350" y="299"/>
                  <a:pt x="350" y="299"/>
                  <a:pt x="350" y="299"/>
                </a:cubicBezTo>
                <a:cubicBezTo>
                  <a:pt x="351" y="299"/>
                  <a:pt x="352" y="300"/>
                  <a:pt x="352" y="301"/>
                </a:cubicBezTo>
                <a:cubicBezTo>
                  <a:pt x="352" y="304"/>
                  <a:pt x="352" y="304"/>
                  <a:pt x="352" y="304"/>
                </a:cubicBezTo>
                <a:cubicBezTo>
                  <a:pt x="352" y="304"/>
                  <a:pt x="352" y="305"/>
                  <a:pt x="351" y="305"/>
                </a:cubicBezTo>
                <a:cubicBezTo>
                  <a:pt x="350" y="308"/>
                  <a:pt x="350" y="308"/>
                  <a:pt x="350" y="308"/>
                </a:cubicBezTo>
                <a:cubicBezTo>
                  <a:pt x="350" y="308"/>
                  <a:pt x="350" y="308"/>
                  <a:pt x="349" y="308"/>
                </a:cubicBezTo>
                <a:cubicBezTo>
                  <a:pt x="348" y="309"/>
                  <a:pt x="348" y="309"/>
                  <a:pt x="348" y="309"/>
                </a:cubicBezTo>
                <a:cubicBezTo>
                  <a:pt x="348" y="310"/>
                  <a:pt x="348" y="311"/>
                  <a:pt x="348" y="312"/>
                </a:cubicBezTo>
                <a:cubicBezTo>
                  <a:pt x="347" y="313"/>
                  <a:pt x="347" y="313"/>
                  <a:pt x="347" y="314"/>
                </a:cubicBezTo>
                <a:cubicBezTo>
                  <a:pt x="347" y="315"/>
                  <a:pt x="347" y="316"/>
                  <a:pt x="347" y="317"/>
                </a:cubicBezTo>
                <a:cubicBezTo>
                  <a:pt x="346" y="318"/>
                  <a:pt x="346" y="318"/>
                  <a:pt x="346" y="318"/>
                </a:cubicBezTo>
                <a:cubicBezTo>
                  <a:pt x="345" y="319"/>
                  <a:pt x="345" y="319"/>
                  <a:pt x="344" y="319"/>
                </a:cubicBezTo>
                <a:cubicBezTo>
                  <a:pt x="339" y="319"/>
                  <a:pt x="339" y="319"/>
                  <a:pt x="339" y="319"/>
                </a:cubicBezTo>
                <a:cubicBezTo>
                  <a:pt x="339" y="319"/>
                  <a:pt x="339" y="319"/>
                  <a:pt x="339" y="319"/>
                </a:cubicBezTo>
                <a:cubicBezTo>
                  <a:pt x="323" y="344"/>
                  <a:pt x="323" y="344"/>
                  <a:pt x="323" y="344"/>
                </a:cubicBezTo>
                <a:cubicBezTo>
                  <a:pt x="321" y="347"/>
                  <a:pt x="321" y="347"/>
                  <a:pt x="321" y="347"/>
                </a:cubicBezTo>
                <a:cubicBezTo>
                  <a:pt x="323" y="347"/>
                  <a:pt x="323" y="347"/>
                  <a:pt x="323" y="347"/>
                </a:cubicBezTo>
                <a:cubicBezTo>
                  <a:pt x="323" y="347"/>
                  <a:pt x="323" y="347"/>
                  <a:pt x="323" y="346"/>
                </a:cubicBezTo>
                <a:cubicBezTo>
                  <a:pt x="326" y="345"/>
                  <a:pt x="328" y="346"/>
                  <a:pt x="329" y="347"/>
                </a:cubicBezTo>
                <a:cubicBezTo>
                  <a:pt x="329" y="347"/>
                  <a:pt x="331" y="349"/>
                  <a:pt x="333" y="350"/>
                </a:cubicBezTo>
                <a:cubicBezTo>
                  <a:pt x="333" y="351"/>
                  <a:pt x="333" y="351"/>
                  <a:pt x="333" y="351"/>
                </a:cubicBezTo>
                <a:cubicBezTo>
                  <a:pt x="334" y="351"/>
                  <a:pt x="334" y="351"/>
                  <a:pt x="334" y="351"/>
                </a:cubicBezTo>
                <a:cubicBezTo>
                  <a:pt x="335" y="351"/>
                  <a:pt x="336" y="351"/>
                  <a:pt x="337" y="351"/>
                </a:cubicBezTo>
                <a:cubicBezTo>
                  <a:pt x="338" y="351"/>
                  <a:pt x="339" y="351"/>
                  <a:pt x="339" y="351"/>
                </a:cubicBezTo>
                <a:cubicBezTo>
                  <a:pt x="343" y="349"/>
                  <a:pt x="343" y="349"/>
                  <a:pt x="343" y="349"/>
                </a:cubicBezTo>
                <a:cubicBezTo>
                  <a:pt x="343" y="349"/>
                  <a:pt x="343" y="349"/>
                  <a:pt x="344" y="349"/>
                </a:cubicBezTo>
                <a:cubicBezTo>
                  <a:pt x="345" y="350"/>
                  <a:pt x="345" y="350"/>
                  <a:pt x="345" y="350"/>
                </a:cubicBezTo>
                <a:cubicBezTo>
                  <a:pt x="351" y="346"/>
                  <a:pt x="351" y="346"/>
                  <a:pt x="351" y="346"/>
                </a:cubicBezTo>
                <a:cubicBezTo>
                  <a:pt x="352" y="346"/>
                  <a:pt x="352" y="346"/>
                  <a:pt x="352" y="346"/>
                </a:cubicBezTo>
                <a:cubicBezTo>
                  <a:pt x="361" y="346"/>
                  <a:pt x="361" y="346"/>
                  <a:pt x="361" y="346"/>
                </a:cubicBezTo>
                <a:cubicBezTo>
                  <a:pt x="362" y="346"/>
                  <a:pt x="362" y="346"/>
                  <a:pt x="362" y="346"/>
                </a:cubicBezTo>
                <a:cubicBezTo>
                  <a:pt x="364" y="347"/>
                  <a:pt x="364" y="347"/>
                  <a:pt x="364" y="347"/>
                </a:cubicBezTo>
                <a:cubicBezTo>
                  <a:pt x="365" y="348"/>
                  <a:pt x="366" y="348"/>
                  <a:pt x="366" y="348"/>
                </a:cubicBezTo>
                <a:cubicBezTo>
                  <a:pt x="366" y="348"/>
                  <a:pt x="366" y="348"/>
                  <a:pt x="367" y="349"/>
                </a:cubicBezTo>
                <a:cubicBezTo>
                  <a:pt x="368" y="350"/>
                  <a:pt x="368" y="350"/>
                  <a:pt x="368" y="350"/>
                </a:cubicBezTo>
                <a:cubicBezTo>
                  <a:pt x="369" y="350"/>
                  <a:pt x="369" y="351"/>
                  <a:pt x="369" y="351"/>
                </a:cubicBezTo>
                <a:cubicBezTo>
                  <a:pt x="370" y="351"/>
                  <a:pt x="370" y="351"/>
                  <a:pt x="370" y="351"/>
                </a:cubicBezTo>
                <a:cubicBezTo>
                  <a:pt x="372" y="351"/>
                  <a:pt x="372" y="351"/>
                  <a:pt x="372" y="351"/>
                </a:cubicBezTo>
                <a:cubicBezTo>
                  <a:pt x="375" y="350"/>
                  <a:pt x="375" y="350"/>
                  <a:pt x="375" y="350"/>
                </a:cubicBezTo>
                <a:cubicBezTo>
                  <a:pt x="383" y="350"/>
                  <a:pt x="383" y="350"/>
                  <a:pt x="383" y="350"/>
                </a:cubicBezTo>
                <a:cubicBezTo>
                  <a:pt x="385" y="350"/>
                  <a:pt x="385" y="350"/>
                  <a:pt x="385" y="350"/>
                </a:cubicBezTo>
                <a:cubicBezTo>
                  <a:pt x="386" y="350"/>
                  <a:pt x="387" y="350"/>
                  <a:pt x="387" y="349"/>
                </a:cubicBezTo>
                <a:cubicBezTo>
                  <a:pt x="388" y="347"/>
                  <a:pt x="389" y="347"/>
                  <a:pt x="391" y="347"/>
                </a:cubicBezTo>
                <a:cubicBezTo>
                  <a:pt x="391" y="347"/>
                  <a:pt x="391" y="348"/>
                  <a:pt x="392" y="348"/>
                </a:cubicBezTo>
                <a:cubicBezTo>
                  <a:pt x="393" y="348"/>
                  <a:pt x="393" y="348"/>
                  <a:pt x="393" y="348"/>
                </a:cubicBezTo>
                <a:cubicBezTo>
                  <a:pt x="394" y="348"/>
                  <a:pt x="394" y="348"/>
                  <a:pt x="394" y="348"/>
                </a:cubicBezTo>
                <a:cubicBezTo>
                  <a:pt x="395" y="348"/>
                  <a:pt x="396" y="349"/>
                  <a:pt x="397" y="348"/>
                </a:cubicBezTo>
                <a:cubicBezTo>
                  <a:pt x="399" y="348"/>
                  <a:pt x="401" y="348"/>
                  <a:pt x="402" y="348"/>
                </a:cubicBezTo>
                <a:cubicBezTo>
                  <a:pt x="407" y="348"/>
                  <a:pt x="407" y="348"/>
                  <a:pt x="407" y="348"/>
                </a:cubicBezTo>
                <a:cubicBezTo>
                  <a:pt x="408" y="348"/>
                  <a:pt x="410" y="348"/>
                  <a:pt x="412" y="349"/>
                </a:cubicBezTo>
                <a:cubicBezTo>
                  <a:pt x="412" y="349"/>
                  <a:pt x="412" y="349"/>
                  <a:pt x="413" y="349"/>
                </a:cubicBezTo>
                <a:cubicBezTo>
                  <a:pt x="413" y="349"/>
                  <a:pt x="413" y="349"/>
                  <a:pt x="413" y="349"/>
                </a:cubicBezTo>
                <a:cubicBezTo>
                  <a:pt x="412" y="348"/>
                  <a:pt x="413" y="346"/>
                  <a:pt x="413" y="345"/>
                </a:cubicBezTo>
                <a:cubicBezTo>
                  <a:pt x="413" y="345"/>
                  <a:pt x="413" y="344"/>
                  <a:pt x="414" y="344"/>
                </a:cubicBezTo>
                <a:cubicBezTo>
                  <a:pt x="414" y="344"/>
                  <a:pt x="414" y="344"/>
                  <a:pt x="414" y="343"/>
                </a:cubicBezTo>
                <a:cubicBezTo>
                  <a:pt x="414" y="342"/>
                  <a:pt x="414" y="341"/>
                  <a:pt x="414" y="341"/>
                </a:cubicBezTo>
                <a:cubicBezTo>
                  <a:pt x="414" y="340"/>
                  <a:pt x="413" y="339"/>
                  <a:pt x="414" y="338"/>
                </a:cubicBezTo>
                <a:cubicBezTo>
                  <a:pt x="414" y="337"/>
                  <a:pt x="414" y="337"/>
                  <a:pt x="414" y="337"/>
                </a:cubicBezTo>
                <a:cubicBezTo>
                  <a:pt x="413" y="337"/>
                  <a:pt x="413" y="336"/>
                  <a:pt x="413" y="334"/>
                </a:cubicBezTo>
                <a:cubicBezTo>
                  <a:pt x="414" y="334"/>
                  <a:pt x="414" y="333"/>
                  <a:pt x="416" y="333"/>
                </a:cubicBezTo>
                <a:cubicBezTo>
                  <a:pt x="416" y="333"/>
                  <a:pt x="418" y="333"/>
                  <a:pt x="419" y="333"/>
                </a:cubicBezTo>
                <a:cubicBezTo>
                  <a:pt x="419" y="333"/>
                  <a:pt x="419" y="333"/>
                  <a:pt x="419" y="333"/>
                </a:cubicBezTo>
                <a:cubicBezTo>
                  <a:pt x="420" y="331"/>
                  <a:pt x="420" y="331"/>
                  <a:pt x="420" y="331"/>
                </a:cubicBezTo>
                <a:cubicBezTo>
                  <a:pt x="419" y="330"/>
                  <a:pt x="419" y="329"/>
                  <a:pt x="419" y="328"/>
                </a:cubicBezTo>
                <a:cubicBezTo>
                  <a:pt x="420" y="327"/>
                  <a:pt x="420" y="326"/>
                  <a:pt x="421" y="326"/>
                </a:cubicBezTo>
                <a:cubicBezTo>
                  <a:pt x="424" y="324"/>
                  <a:pt x="428" y="325"/>
                  <a:pt x="429" y="325"/>
                </a:cubicBezTo>
                <a:cubicBezTo>
                  <a:pt x="430" y="325"/>
                  <a:pt x="430" y="325"/>
                  <a:pt x="430" y="325"/>
                </a:cubicBezTo>
                <a:cubicBezTo>
                  <a:pt x="431" y="325"/>
                  <a:pt x="432" y="326"/>
                  <a:pt x="432" y="327"/>
                </a:cubicBezTo>
                <a:cubicBezTo>
                  <a:pt x="433" y="327"/>
                  <a:pt x="433" y="327"/>
                  <a:pt x="433" y="327"/>
                </a:cubicBezTo>
                <a:cubicBezTo>
                  <a:pt x="434" y="326"/>
                  <a:pt x="435" y="327"/>
                  <a:pt x="436" y="328"/>
                </a:cubicBezTo>
                <a:cubicBezTo>
                  <a:pt x="437" y="329"/>
                  <a:pt x="437" y="329"/>
                  <a:pt x="437" y="329"/>
                </a:cubicBezTo>
                <a:cubicBezTo>
                  <a:pt x="438" y="329"/>
                  <a:pt x="439" y="330"/>
                  <a:pt x="439" y="330"/>
                </a:cubicBezTo>
                <a:cubicBezTo>
                  <a:pt x="440" y="330"/>
                  <a:pt x="440" y="330"/>
                  <a:pt x="441" y="331"/>
                </a:cubicBezTo>
                <a:cubicBezTo>
                  <a:pt x="441" y="330"/>
                  <a:pt x="441" y="330"/>
                  <a:pt x="441" y="330"/>
                </a:cubicBezTo>
                <a:cubicBezTo>
                  <a:pt x="441" y="330"/>
                  <a:pt x="441" y="330"/>
                  <a:pt x="441" y="330"/>
                </a:cubicBezTo>
                <a:cubicBezTo>
                  <a:pt x="442" y="327"/>
                  <a:pt x="442" y="327"/>
                  <a:pt x="442" y="327"/>
                </a:cubicBezTo>
                <a:cubicBezTo>
                  <a:pt x="442" y="326"/>
                  <a:pt x="442" y="325"/>
                  <a:pt x="442" y="324"/>
                </a:cubicBezTo>
                <a:cubicBezTo>
                  <a:pt x="440" y="320"/>
                  <a:pt x="440" y="320"/>
                  <a:pt x="440" y="320"/>
                </a:cubicBezTo>
                <a:cubicBezTo>
                  <a:pt x="440" y="319"/>
                  <a:pt x="440" y="319"/>
                  <a:pt x="440" y="319"/>
                </a:cubicBezTo>
                <a:cubicBezTo>
                  <a:pt x="440" y="317"/>
                  <a:pt x="440" y="317"/>
                  <a:pt x="440" y="317"/>
                </a:cubicBezTo>
                <a:cubicBezTo>
                  <a:pt x="440" y="316"/>
                  <a:pt x="440" y="316"/>
                  <a:pt x="440" y="316"/>
                </a:cubicBezTo>
                <a:cubicBezTo>
                  <a:pt x="441" y="316"/>
                  <a:pt x="441" y="314"/>
                  <a:pt x="444" y="312"/>
                </a:cubicBezTo>
                <a:cubicBezTo>
                  <a:pt x="444" y="311"/>
                  <a:pt x="444" y="311"/>
                  <a:pt x="444" y="311"/>
                </a:cubicBezTo>
                <a:cubicBezTo>
                  <a:pt x="444" y="310"/>
                  <a:pt x="445" y="310"/>
                  <a:pt x="445" y="309"/>
                </a:cubicBezTo>
                <a:cubicBezTo>
                  <a:pt x="446" y="309"/>
                  <a:pt x="446" y="309"/>
                  <a:pt x="446" y="309"/>
                </a:cubicBezTo>
                <a:cubicBezTo>
                  <a:pt x="446" y="308"/>
                  <a:pt x="446" y="307"/>
                  <a:pt x="446" y="307"/>
                </a:cubicBezTo>
                <a:cubicBezTo>
                  <a:pt x="446" y="306"/>
                  <a:pt x="446" y="306"/>
                  <a:pt x="446" y="306"/>
                </a:cubicBezTo>
                <a:cubicBezTo>
                  <a:pt x="446" y="306"/>
                  <a:pt x="448" y="303"/>
                  <a:pt x="449" y="302"/>
                </a:cubicBezTo>
                <a:cubicBezTo>
                  <a:pt x="450" y="300"/>
                  <a:pt x="451" y="299"/>
                  <a:pt x="452" y="299"/>
                </a:cubicBezTo>
                <a:cubicBezTo>
                  <a:pt x="452" y="299"/>
                  <a:pt x="452" y="299"/>
                  <a:pt x="453" y="299"/>
                </a:cubicBezTo>
                <a:cubicBezTo>
                  <a:pt x="455" y="299"/>
                  <a:pt x="455" y="299"/>
                  <a:pt x="455" y="299"/>
                </a:cubicBezTo>
                <a:cubicBezTo>
                  <a:pt x="456" y="299"/>
                  <a:pt x="457" y="298"/>
                  <a:pt x="460" y="297"/>
                </a:cubicBezTo>
                <a:cubicBezTo>
                  <a:pt x="460" y="297"/>
                  <a:pt x="460" y="297"/>
                  <a:pt x="460" y="297"/>
                </a:cubicBezTo>
                <a:cubicBezTo>
                  <a:pt x="460" y="297"/>
                  <a:pt x="461" y="297"/>
                  <a:pt x="461" y="296"/>
                </a:cubicBezTo>
                <a:cubicBezTo>
                  <a:pt x="461" y="295"/>
                  <a:pt x="461" y="295"/>
                  <a:pt x="462" y="293"/>
                </a:cubicBezTo>
                <a:cubicBezTo>
                  <a:pt x="463" y="285"/>
                  <a:pt x="463" y="285"/>
                  <a:pt x="463" y="285"/>
                </a:cubicBezTo>
                <a:cubicBezTo>
                  <a:pt x="464" y="284"/>
                  <a:pt x="464" y="284"/>
                  <a:pt x="464" y="284"/>
                </a:cubicBezTo>
                <a:cubicBezTo>
                  <a:pt x="464" y="284"/>
                  <a:pt x="464" y="284"/>
                  <a:pt x="464" y="284"/>
                </a:cubicBezTo>
                <a:cubicBezTo>
                  <a:pt x="465" y="284"/>
                  <a:pt x="465" y="284"/>
                  <a:pt x="465" y="284"/>
                </a:cubicBezTo>
                <a:cubicBezTo>
                  <a:pt x="465" y="284"/>
                  <a:pt x="465" y="284"/>
                  <a:pt x="465" y="284"/>
                </a:cubicBezTo>
                <a:cubicBezTo>
                  <a:pt x="467" y="284"/>
                  <a:pt x="467" y="284"/>
                  <a:pt x="467" y="284"/>
                </a:cubicBezTo>
                <a:cubicBezTo>
                  <a:pt x="469" y="284"/>
                  <a:pt x="470" y="285"/>
                  <a:pt x="470" y="286"/>
                </a:cubicBezTo>
                <a:cubicBezTo>
                  <a:pt x="479" y="286"/>
                  <a:pt x="479" y="286"/>
                  <a:pt x="479" y="286"/>
                </a:cubicBezTo>
                <a:cubicBezTo>
                  <a:pt x="480" y="286"/>
                  <a:pt x="480" y="286"/>
                  <a:pt x="480" y="286"/>
                </a:cubicBezTo>
                <a:cubicBezTo>
                  <a:pt x="482" y="284"/>
                  <a:pt x="485" y="284"/>
                  <a:pt x="486" y="285"/>
                </a:cubicBezTo>
                <a:cubicBezTo>
                  <a:pt x="487" y="285"/>
                  <a:pt x="487" y="285"/>
                  <a:pt x="487" y="285"/>
                </a:cubicBezTo>
                <a:cubicBezTo>
                  <a:pt x="488" y="285"/>
                  <a:pt x="488" y="285"/>
                  <a:pt x="488" y="285"/>
                </a:cubicBezTo>
                <a:cubicBezTo>
                  <a:pt x="489" y="284"/>
                  <a:pt x="490" y="284"/>
                  <a:pt x="491" y="284"/>
                </a:cubicBezTo>
                <a:cubicBezTo>
                  <a:pt x="491" y="284"/>
                  <a:pt x="492" y="284"/>
                  <a:pt x="492" y="285"/>
                </a:cubicBezTo>
                <a:cubicBezTo>
                  <a:pt x="493" y="285"/>
                  <a:pt x="493" y="285"/>
                  <a:pt x="493" y="285"/>
                </a:cubicBezTo>
                <a:cubicBezTo>
                  <a:pt x="493" y="284"/>
                  <a:pt x="493" y="284"/>
                  <a:pt x="493" y="284"/>
                </a:cubicBezTo>
                <a:cubicBezTo>
                  <a:pt x="493" y="279"/>
                  <a:pt x="493" y="279"/>
                  <a:pt x="493" y="279"/>
                </a:cubicBezTo>
                <a:cubicBezTo>
                  <a:pt x="493" y="278"/>
                  <a:pt x="494" y="277"/>
                  <a:pt x="495" y="277"/>
                </a:cubicBezTo>
                <a:cubicBezTo>
                  <a:pt x="496" y="276"/>
                  <a:pt x="498" y="276"/>
                  <a:pt x="499" y="277"/>
                </a:cubicBezTo>
                <a:cubicBezTo>
                  <a:pt x="501" y="277"/>
                  <a:pt x="501" y="277"/>
                  <a:pt x="501" y="277"/>
                </a:cubicBezTo>
                <a:cubicBezTo>
                  <a:pt x="502" y="278"/>
                  <a:pt x="503" y="278"/>
                  <a:pt x="503" y="279"/>
                </a:cubicBezTo>
                <a:cubicBezTo>
                  <a:pt x="503" y="279"/>
                  <a:pt x="503" y="279"/>
                  <a:pt x="503" y="279"/>
                </a:cubicBezTo>
                <a:cubicBezTo>
                  <a:pt x="504" y="279"/>
                  <a:pt x="504" y="279"/>
                  <a:pt x="504" y="279"/>
                </a:cubicBezTo>
                <a:cubicBezTo>
                  <a:pt x="504" y="279"/>
                  <a:pt x="504" y="279"/>
                  <a:pt x="504" y="279"/>
                </a:cubicBezTo>
                <a:cubicBezTo>
                  <a:pt x="504" y="275"/>
                  <a:pt x="504" y="275"/>
                  <a:pt x="504" y="275"/>
                </a:cubicBezTo>
                <a:cubicBezTo>
                  <a:pt x="504" y="274"/>
                  <a:pt x="505" y="273"/>
                  <a:pt x="506" y="273"/>
                </a:cubicBezTo>
                <a:cubicBezTo>
                  <a:pt x="509" y="273"/>
                  <a:pt x="509" y="273"/>
                  <a:pt x="509" y="273"/>
                </a:cubicBezTo>
                <a:cubicBezTo>
                  <a:pt x="509" y="272"/>
                  <a:pt x="510" y="271"/>
                  <a:pt x="510" y="270"/>
                </a:cubicBezTo>
                <a:cubicBezTo>
                  <a:pt x="511" y="269"/>
                  <a:pt x="511" y="269"/>
                  <a:pt x="511" y="269"/>
                </a:cubicBezTo>
                <a:cubicBezTo>
                  <a:pt x="514" y="265"/>
                  <a:pt x="514" y="265"/>
                  <a:pt x="514" y="265"/>
                </a:cubicBezTo>
                <a:cubicBezTo>
                  <a:pt x="516" y="264"/>
                  <a:pt x="516" y="264"/>
                  <a:pt x="516" y="264"/>
                </a:cubicBezTo>
                <a:cubicBezTo>
                  <a:pt x="516" y="263"/>
                  <a:pt x="517" y="262"/>
                  <a:pt x="517" y="262"/>
                </a:cubicBezTo>
                <a:cubicBezTo>
                  <a:pt x="517" y="261"/>
                  <a:pt x="517" y="261"/>
                  <a:pt x="517" y="261"/>
                </a:cubicBezTo>
                <a:cubicBezTo>
                  <a:pt x="517" y="261"/>
                  <a:pt x="517" y="261"/>
                  <a:pt x="517" y="261"/>
                </a:cubicBezTo>
                <a:cubicBezTo>
                  <a:pt x="518" y="257"/>
                  <a:pt x="518" y="257"/>
                  <a:pt x="518" y="257"/>
                </a:cubicBezTo>
                <a:cubicBezTo>
                  <a:pt x="518" y="254"/>
                  <a:pt x="518" y="254"/>
                  <a:pt x="518" y="254"/>
                </a:cubicBezTo>
                <a:cubicBezTo>
                  <a:pt x="517" y="254"/>
                  <a:pt x="517" y="253"/>
                  <a:pt x="517" y="251"/>
                </a:cubicBezTo>
                <a:cubicBezTo>
                  <a:pt x="517" y="240"/>
                  <a:pt x="517" y="240"/>
                  <a:pt x="517" y="240"/>
                </a:cubicBezTo>
                <a:cubicBezTo>
                  <a:pt x="517" y="240"/>
                  <a:pt x="517" y="240"/>
                  <a:pt x="517" y="240"/>
                </a:cubicBezTo>
                <a:cubicBezTo>
                  <a:pt x="517" y="240"/>
                  <a:pt x="518" y="238"/>
                  <a:pt x="519" y="237"/>
                </a:cubicBezTo>
                <a:cubicBezTo>
                  <a:pt x="520" y="236"/>
                  <a:pt x="520" y="236"/>
                  <a:pt x="520" y="236"/>
                </a:cubicBezTo>
                <a:cubicBezTo>
                  <a:pt x="520" y="235"/>
                  <a:pt x="520" y="235"/>
                  <a:pt x="520" y="235"/>
                </a:cubicBezTo>
                <a:cubicBezTo>
                  <a:pt x="521" y="231"/>
                  <a:pt x="523" y="226"/>
                  <a:pt x="523" y="226"/>
                </a:cubicBezTo>
                <a:cubicBezTo>
                  <a:pt x="523" y="226"/>
                  <a:pt x="523" y="226"/>
                  <a:pt x="523" y="226"/>
                </a:cubicBezTo>
                <a:cubicBezTo>
                  <a:pt x="523" y="225"/>
                  <a:pt x="524" y="224"/>
                  <a:pt x="525" y="225"/>
                </a:cubicBezTo>
                <a:cubicBezTo>
                  <a:pt x="526" y="225"/>
                  <a:pt x="526" y="225"/>
                  <a:pt x="526" y="225"/>
                </a:cubicBezTo>
                <a:cubicBezTo>
                  <a:pt x="526" y="225"/>
                  <a:pt x="526" y="225"/>
                  <a:pt x="526" y="225"/>
                </a:cubicBezTo>
                <a:cubicBezTo>
                  <a:pt x="528" y="224"/>
                  <a:pt x="530" y="224"/>
                  <a:pt x="531" y="224"/>
                </a:cubicBezTo>
                <a:cubicBezTo>
                  <a:pt x="532" y="224"/>
                  <a:pt x="532" y="224"/>
                  <a:pt x="532" y="224"/>
                </a:cubicBezTo>
                <a:cubicBezTo>
                  <a:pt x="534" y="224"/>
                  <a:pt x="535" y="224"/>
                  <a:pt x="535" y="223"/>
                </a:cubicBezTo>
                <a:cubicBezTo>
                  <a:pt x="535" y="223"/>
                  <a:pt x="535" y="223"/>
                  <a:pt x="536" y="223"/>
                </a:cubicBezTo>
                <a:cubicBezTo>
                  <a:pt x="538" y="223"/>
                  <a:pt x="543" y="223"/>
                  <a:pt x="543" y="223"/>
                </a:cubicBezTo>
                <a:cubicBezTo>
                  <a:pt x="545" y="223"/>
                  <a:pt x="545" y="223"/>
                  <a:pt x="545" y="223"/>
                </a:cubicBezTo>
                <a:cubicBezTo>
                  <a:pt x="546" y="222"/>
                  <a:pt x="548" y="221"/>
                  <a:pt x="548" y="220"/>
                </a:cubicBezTo>
                <a:cubicBezTo>
                  <a:pt x="548" y="220"/>
                  <a:pt x="548" y="220"/>
                  <a:pt x="549" y="220"/>
                </a:cubicBezTo>
                <a:cubicBezTo>
                  <a:pt x="551" y="218"/>
                  <a:pt x="551" y="218"/>
                  <a:pt x="551" y="218"/>
                </a:cubicBezTo>
                <a:cubicBezTo>
                  <a:pt x="551" y="218"/>
                  <a:pt x="552" y="218"/>
                  <a:pt x="553" y="218"/>
                </a:cubicBezTo>
                <a:cubicBezTo>
                  <a:pt x="554" y="217"/>
                  <a:pt x="555" y="217"/>
                  <a:pt x="556" y="218"/>
                </a:cubicBezTo>
                <a:cubicBezTo>
                  <a:pt x="557" y="217"/>
                  <a:pt x="558" y="216"/>
                  <a:pt x="559" y="216"/>
                </a:cubicBezTo>
                <a:cubicBezTo>
                  <a:pt x="559" y="215"/>
                  <a:pt x="559" y="215"/>
                  <a:pt x="559" y="215"/>
                </a:cubicBezTo>
                <a:cubicBezTo>
                  <a:pt x="560" y="215"/>
                  <a:pt x="561" y="215"/>
                  <a:pt x="562" y="214"/>
                </a:cubicBezTo>
                <a:cubicBezTo>
                  <a:pt x="563" y="214"/>
                  <a:pt x="565" y="212"/>
                  <a:pt x="567" y="211"/>
                </a:cubicBezTo>
                <a:cubicBezTo>
                  <a:pt x="567" y="211"/>
                  <a:pt x="567" y="211"/>
                  <a:pt x="567" y="210"/>
                </a:cubicBezTo>
                <a:cubicBezTo>
                  <a:pt x="567" y="209"/>
                  <a:pt x="567" y="209"/>
                  <a:pt x="567" y="209"/>
                </a:cubicBezTo>
                <a:cubicBezTo>
                  <a:pt x="567" y="208"/>
                  <a:pt x="567" y="208"/>
                  <a:pt x="566" y="20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Freeform 81">
            <a:extLst>
              <a:ext uri="{FF2B5EF4-FFF2-40B4-BE49-F238E27FC236}">
                <a16:creationId xmlns:a16="http://schemas.microsoft.com/office/drawing/2014/main" id="{63D6890D-0758-439C-AEE0-A007B9E1FC3B}"/>
              </a:ext>
            </a:extLst>
          </p:cNvPr>
          <p:cNvSpPr>
            <a:spLocks/>
          </p:cNvSpPr>
          <p:nvPr/>
        </p:nvSpPr>
        <p:spPr bwMode="auto">
          <a:xfrm>
            <a:off x="5119304" y="2647482"/>
            <a:ext cx="228733" cy="138113"/>
          </a:xfrm>
          <a:custGeom>
            <a:avLst/>
            <a:gdLst>
              <a:gd name="T0" fmla="*/ 87 w 95"/>
              <a:gd name="T1" fmla="*/ 28 h 62"/>
              <a:gd name="T2" fmla="*/ 75 w 95"/>
              <a:gd name="T3" fmla="*/ 19 h 62"/>
              <a:gd name="T4" fmla="*/ 47 w 95"/>
              <a:gd name="T5" fmla="*/ 2 h 62"/>
              <a:gd name="T6" fmla="*/ 42 w 95"/>
              <a:gd name="T7" fmla="*/ 0 h 62"/>
              <a:gd name="T8" fmla="*/ 33 w 95"/>
              <a:gd name="T9" fmla="*/ 0 h 62"/>
              <a:gd name="T10" fmla="*/ 22 w 95"/>
              <a:gd name="T11" fmla="*/ 0 h 62"/>
              <a:gd name="T12" fmla="*/ 19 w 95"/>
              <a:gd name="T13" fmla="*/ 4 h 62"/>
              <a:gd name="T14" fmla="*/ 13 w 95"/>
              <a:gd name="T15" fmla="*/ 14 h 62"/>
              <a:gd name="T16" fmla="*/ 9 w 95"/>
              <a:gd name="T17" fmla="*/ 23 h 62"/>
              <a:gd name="T18" fmla="*/ 0 w 95"/>
              <a:gd name="T19" fmla="*/ 28 h 62"/>
              <a:gd name="T20" fmla="*/ 1 w 95"/>
              <a:gd name="T21" fmla="*/ 34 h 62"/>
              <a:gd name="T22" fmla="*/ 3 w 95"/>
              <a:gd name="T23" fmla="*/ 34 h 62"/>
              <a:gd name="T24" fmla="*/ 6 w 95"/>
              <a:gd name="T25" fmla="*/ 38 h 62"/>
              <a:gd name="T26" fmla="*/ 9 w 95"/>
              <a:gd name="T27" fmla="*/ 43 h 62"/>
              <a:gd name="T28" fmla="*/ 11 w 95"/>
              <a:gd name="T29" fmla="*/ 48 h 62"/>
              <a:gd name="T30" fmla="*/ 10 w 95"/>
              <a:gd name="T31" fmla="*/ 53 h 62"/>
              <a:gd name="T32" fmla="*/ 13 w 95"/>
              <a:gd name="T33" fmla="*/ 54 h 62"/>
              <a:gd name="T34" fmla="*/ 17 w 95"/>
              <a:gd name="T35" fmla="*/ 61 h 62"/>
              <a:gd name="T36" fmla="*/ 24 w 95"/>
              <a:gd name="T37" fmla="*/ 59 h 62"/>
              <a:gd name="T38" fmla="*/ 30 w 95"/>
              <a:gd name="T39" fmla="*/ 56 h 62"/>
              <a:gd name="T40" fmla="*/ 38 w 95"/>
              <a:gd name="T41" fmla="*/ 56 h 62"/>
              <a:gd name="T42" fmla="*/ 43 w 95"/>
              <a:gd name="T43" fmla="*/ 55 h 62"/>
              <a:gd name="T44" fmla="*/ 52 w 95"/>
              <a:gd name="T45" fmla="*/ 56 h 62"/>
              <a:gd name="T46" fmla="*/ 62 w 95"/>
              <a:gd name="T47" fmla="*/ 57 h 62"/>
              <a:gd name="T48" fmla="*/ 66 w 95"/>
              <a:gd name="T49" fmla="*/ 54 h 62"/>
              <a:gd name="T50" fmla="*/ 71 w 95"/>
              <a:gd name="T51" fmla="*/ 51 h 62"/>
              <a:gd name="T52" fmla="*/ 76 w 95"/>
              <a:gd name="T53" fmla="*/ 49 h 62"/>
              <a:gd name="T54" fmla="*/ 83 w 95"/>
              <a:gd name="T55" fmla="*/ 48 h 62"/>
              <a:gd name="T56" fmla="*/ 87 w 95"/>
              <a:gd name="T57" fmla="*/ 50 h 62"/>
              <a:gd name="T58" fmla="*/ 84 w 95"/>
              <a:gd name="T59" fmla="*/ 42 h 62"/>
              <a:gd name="T60" fmla="*/ 87 w 95"/>
              <a:gd name="T61" fmla="*/ 39 h 62"/>
              <a:gd name="T62" fmla="*/ 91 w 95"/>
              <a:gd name="T63" fmla="*/ 35 h 62"/>
              <a:gd name="T64" fmla="*/ 92 w 95"/>
              <a:gd name="T65" fmla="*/ 34 h 62"/>
              <a:gd name="T66" fmla="*/ 93 w 95"/>
              <a:gd name="T67" fmla="*/ 31 h 62"/>
              <a:gd name="T68" fmla="*/ 92 w 95"/>
              <a:gd name="T69" fmla="*/ 31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95" h="62">
                <a:moveTo>
                  <a:pt x="92" y="31"/>
                </a:moveTo>
                <a:cubicBezTo>
                  <a:pt x="87" y="28"/>
                  <a:pt x="87" y="28"/>
                  <a:pt x="87" y="28"/>
                </a:cubicBezTo>
                <a:cubicBezTo>
                  <a:pt x="85" y="26"/>
                  <a:pt x="85" y="26"/>
                  <a:pt x="85" y="26"/>
                </a:cubicBezTo>
                <a:cubicBezTo>
                  <a:pt x="75" y="19"/>
                  <a:pt x="75" y="19"/>
                  <a:pt x="75" y="19"/>
                </a:cubicBezTo>
                <a:cubicBezTo>
                  <a:pt x="49" y="3"/>
                  <a:pt x="49" y="3"/>
                  <a:pt x="49" y="3"/>
                </a:cubicBezTo>
                <a:cubicBezTo>
                  <a:pt x="47" y="2"/>
                  <a:pt x="47" y="2"/>
                  <a:pt x="47" y="2"/>
                </a:cubicBezTo>
                <a:cubicBezTo>
                  <a:pt x="45" y="1"/>
                  <a:pt x="45" y="1"/>
                  <a:pt x="45" y="1"/>
                </a:cubicBezTo>
                <a:cubicBezTo>
                  <a:pt x="42" y="0"/>
                  <a:pt x="42" y="0"/>
                  <a:pt x="42" y="0"/>
                </a:cubicBezTo>
                <a:cubicBezTo>
                  <a:pt x="34" y="0"/>
                  <a:pt x="34" y="0"/>
                  <a:pt x="34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22" y="1"/>
                  <a:pt x="22" y="1"/>
                  <a:pt x="22" y="1"/>
                </a:cubicBezTo>
                <a:cubicBezTo>
                  <a:pt x="19" y="4"/>
                  <a:pt x="19" y="4"/>
                  <a:pt x="19" y="4"/>
                </a:cubicBezTo>
                <a:cubicBezTo>
                  <a:pt x="14" y="8"/>
                  <a:pt x="14" y="8"/>
                  <a:pt x="14" y="8"/>
                </a:cubicBezTo>
                <a:cubicBezTo>
                  <a:pt x="13" y="14"/>
                  <a:pt x="13" y="14"/>
                  <a:pt x="13" y="14"/>
                </a:cubicBezTo>
                <a:cubicBezTo>
                  <a:pt x="11" y="20"/>
                  <a:pt x="11" y="20"/>
                  <a:pt x="11" y="20"/>
                </a:cubicBezTo>
                <a:cubicBezTo>
                  <a:pt x="9" y="23"/>
                  <a:pt x="9" y="23"/>
                  <a:pt x="9" y="23"/>
                </a:cubicBezTo>
                <a:cubicBezTo>
                  <a:pt x="9" y="24"/>
                  <a:pt x="9" y="24"/>
                  <a:pt x="9" y="24"/>
                </a:cubicBezTo>
                <a:cubicBezTo>
                  <a:pt x="0" y="28"/>
                  <a:pt x="0" y="28"/>
                  <a:pt x="0" y="28"/>
                </a:cubicBezTo>
                <a:cubicBezTo>
                  <a:pt x="1" y="30"/>
                  <a:pt x="1" y="30"/>
                  <a:pt x="1" y="30"/>
                </a:cubicBezTo>
                <a:cubicBezTo>
                  <a:pt x="1" y="34"/>
                  <a:pt x="1" y="34"/>
                  <a:pt x="1" y="34"/>
                </a:cubicBezTo>
                <a:cubicBezTo>
                  <a:pt x="2" y="34"/>
                  <a:pt x="2" y="34"/>
                  <a:pt x="2" y="34"/>
                </a:cubicBezTo>
                <a:cubicBezTo>
                  <a:pt x="3" y="34"/>
                  <a:pt x="3" y="34"/>
                  <a:pt x="3" y="34"/>
                </a:cubicBezTo>
                <a:cubicBezTo>
                  <a:pt x="3" y="34"/>
                  <a:pt x="5" y="35"/>
                  <a:pt x="6" y="37"/>
                </a:cubicBezTo>
                <a:cubicBezTo>
                  <a:pt x="6" y="38"/>
                  <a:pt x="6" y="38"/>
                  <a:pt x="6" y="38"/>
                </a:cubicBezTo>
                <a:cubicBezTo>
                  <a:pt x="8" y="42"/>
                  <a:pt x="8" y="42"/>
                  <a:pt x="8" y="42"/>
                </a:cubicBezTo>
                <a:cubicBezTo>
                  <a:pt x="9" y="42"/>
                  <a:pt x="9" y="43"/>
                  <a:pt x="9" y="43"/>
                </a:cubicBezTo>
                <a:cubicBezTo>
                  <a:pt x="9" y="45"/>
                  <a:pt x="9" y="45"/>
                  <a:pt x="9" y="45"/>
                </a:cubicBezTo>
                <a:cubicBezTo>
                  <a:pt x="11" y="48"/>
                  <a:pt x="11" y="48"/>
                  <a:pt x="11" y="48"/>
                </a:cubicBezTo>
                <a:cubicBezTo>
                  <a:pt x="12" y="49"/>
                  <a:pt x="12" y="50"/>
                  <a:pt x="11" y="51"/>
                </a:cubicBezTo>
                <a:cubicBezTo>
                  <a:pt x="10" y="53"/>
                  <a:pt x="10" y="53"/>
                  <a:pt x="10" y="53"/>
                </a:cubicBezTo>
                <a:cubicBezTo>
                  <a:pt x="9" y="54"/>
                  <a:pt x="9" y="54"/>
                  <a:pt x="9" y="54"/>
                </a:cubicBezTo>
                <a:cubicBezTo>
                  <a:pt x="13" y="54"/>
                  <a:pt x="13" y="54"/>
                  <a:pt x="13" y="54"/>
                </a:cubicBezTo>
                <a:cubicBezTo>
                  <a:pt x="16" y="55"/>
                  <a:pt x="17" y="59"/>
                  <a:pt x="17" y="61"/>
                </a:cubicBezTo>
                <a:cubicBezTo>
                  <a:pt x="17" y="61"/>
                  <a:pt x="17" y="61"/>
                  <a:pt x="17" y="61"/>
                </a:cubicBezTo>
                <a:cubicBezTo>
                  <a:pt x="17" y="62"/>
                  <a:pt x="17" y="62"/>
                  <a:pt x="17" y="62"/>
                </a:cubicBezTo>
                <a:cubicBezTo>
                  <a:pt x="20" y="60"/>
                  <a:pt x="23" y="59"/>
                  <a:pt x="24" y="59"/>
                </a:cubicBezTo>
                <a:cubicBezTo>
                  <a:pt x="26" y="58"/>
                  <a:pt x="26" y="58"/>
                  <a:pt x="26" y="58"/>
                </a:cubicBezTo>
                <a:cubicBezTo>
                  <a:pt x="26" y="57"/>
                  <a:pt x="28" y="56"/>
                  <a:pt x="30" y="56"/>
                </a:cubicBezTo>
                <a:cubicBezTo>
                  <a:pt x="36" y="56"/>
                  <a:pt x="36" y="56"/>
                  <a:pt x="36" y="56"/>
                </a:cubicBezTo>
                <a:cubicBezTo>
                  <a:pt x="37" y="56"/>
                  <a:pt x="38" y="56"/>
                  <a:pt x="38" y="56"/>
                </a:cubicBezTo>
                <a:cubicBezTo>
                  <a:pt x="39" y="56"/>
                  <a:pt x="39" y="56"/>
                  <a:pt x="40" y="56"/>
                </a:cubicBezTo>
                <a:cubicBezTo>
                  <a:pt x="42" y="56"/>
                  <a:pt x="42" y="55"/>
                  <a:pt x="43" y="55"/>
                </a:cubicBezTo>
                <a:cubicBezTo>
                  <a:pt x="44" y="55"/>
                  <a:pt x="44" y="55"/>
                  <a:pt x="45" y="55"/>
                </a:cubicBezTo>
                <a:cubicBezTo>
                  <a:pt x="47" y="55"/>
                  <a:pt x="52" y="55"/>
                  <a:pt x="52" y="56"/>
                </a:cubicBezTo>
                <a:cubicBezTo>
                  <a:pt x="54" y="56"/>
                  <a:pt x="54" y="56"/>
                  <a:pt x="54" y="56"/>
                </a:cubicBezTo>
                <a:cubicBezTo>
                  <a:pt x="62" y="57"/>
                  <a:pt x="62" y="57"/>
                  <a:pt x="62" y="57"/>
                </a:cubicBezTo>
                <a:cubicBezTo>
                  <a:pt x="62" y="57"/>
                  <a:pt x="62" y="57"/>
                  <a:pt x="62" y="57"/>
                </a:cubicBezTo>
                <a:cubicBezTo>
                  <a:pt x="62" y="55"/>
                  <a:pt x="64" y="55"/>
                  <a:pt x="66" y="54"/>
                </a:cubicBezTo>
                <a:cubicBezTo>
                  <a:pt x="67" y="54"/>
                  <a:pt x="68" y="54"/>
                  <a:pt x="69" y="54"/>
                </a:cubicBezTo>
                <a:cubicBezTo>
                  <a:pt x="70" y="52"/>
                  <a:pt x="71" y="51"/>
                  <a:pt x="71" y="51"/>
                </a:cubicBezTo>
                <a:cubicBezTo>
                  <a:pt x="71" y="51"/>
                  <a:pt x="71" y="51"/>
                  <a:pt x="71" y="50"/>
                </a:cubicBezTo>
                <a:cubicBezTo>
                  <a:pt x="72" y="50"/>
                  <a:pt x="74" y="49"/>
                  <a:pt x="76" y="49"/>
                </a:cubicBezTo>
                <a:cubicBezTo>
                  <a:pt x="76" y="49"/>
                  <a:pt x="79" y="48"/>
                  <a:pt x="81" y="48"/>
                </a:cubicBezTo>
                <a:cubicBezTo>
                  <a:pt x="82" y="47"/>
                  <a:pt x="83" y="47"/>
                  <a:pt x="83" y="48"/>
                </a:cubicBezTo>
                <a:cubicBezTo>
                  <a:pt x="85" y="50"/>
                  <a:pt x="85" y="50"/>
                  <a:pt x="85" y="50"/>
                </a:cubicBezTo>
                <a:cubicBezTo>
                  <a:pt x="87" y="50"/>
                  <a:pt x="87" y="50"/>
                  <a:pt x="87" y="50"/>
                </a:cubicBezTo>
                <a:cubicBezTo>
                  <a:pt x="87" y="49"/>
                  <a:pt x="87" y="48"/>
                  <a:pt x="87" y="48"/>
                </a:cubicBezTo>
                <a:cubicBezTo>
                  <a:pt x="83" y="44"/>
                  <a:pt x="84" y="43"/>
                  <a:pt x="84" y="42"/>
                </a:cubicBezTo>
                <a:cubicBezTo>
                  <a:pt x="85" y="40"/>
                  <a:pt x="85" y="40"/>
                  <a:pt x="85" y="40"/>
                </a:cubicBezTo>
                <a:cubicBezTo>
                  <a:pt x="86" y="39"/>
                  <a:pt x="87" y="39"/>
                  <a:pt x="87" y="39"/>
                </a:cubicBezTo>
                <a:cubicBezTo>
                  <a:pt x="88" y="39"/>
                  <a:pt x="88" y="39"/>
                  <a:pt x="88" y="39"/>
                </a:cubicBezTo>
                <a:cubicBezTo>
                  <a:pt x="91" y="35"/>
                  <a:pt x="91" y="35"/>
                  <a:pt x="91" y="35"/>
                </a:cubicBezTo>
                <a:cubicBezTo>
                  <a:pt x="92" y="35"/>
                  <a:pt x="92" y="35"/>
                  <a:pt x="92" y="35"/>
                </a:cubicBezTo>
                <a:cubicBezTo>
                  <a:pt x="92" y="34"/>
                  <a:pt x="92" y="34"/>
                  <a:pt x="92" y="34"/>
                </a:cubicBezTo>
                <a:cubicBezTo>
                  <a:pt x="93" y="31"/>
                  <a:pt x="93" y="31"/>
                  <a:pt x="93" y="31"/>
                </a:cubicBezTo>
                <a:cubicBezTo>
                  <a:pt x="93" y="31"/>
                  <a:pt x="93" y="31"/>
                  <a:pt x="93" y="31"/>
                </a:cubicBezTo>
                <a:cubicBezTo>
                  <a:pt x="95" y="32"/>
                  <a:pt x="95" y="32"/>
                  <a:pt x="95" y="32"/>
                </a:cubicBezTo>
                <a:lnTo>
                  <a:pt x="92" y="3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1" name="Freeform 82">
            <a:extLst>
              <a:ext uri="{FF2B5EF4-FFF2-40B4-BE49-F238E27FC236}">
                <a16:creationId xmlns:a16="http://schemas.microsoft.com/office/drawing/2014/main" id="{C9216C73-7312-4216-B4D1-5EF06DC31DAF}"/>
              </a:ext>
            </a:extLst>
          </p:cNvPr>
          <p:cNvSpPr>
            <a:spLocks/>
          </p:cNvSpPr>
          <p:nvPr/>
        </p:nvSpPr>
        <p:spPr bwMode="auto">
          <a:xfrm>
            <a:off x="6140860" y="4479454"/>
            <a:ext cx="319881" cy="388938"/>
          </a:xfrm>
          <a:custGeom>
            <a:avLst/>
            <a:gdLst>
              <a:gd name="T0" fmla="*/ 121 w 132"/>
              <a:gd name="T1" fmla="*/ 118 h 175"/>
              <a:gd name="T2" fmla="*/ 110 w 132"/>
              <a:gd name="T3" fmla="*/ 121 h 175"/>
              <a:gd name="T4" fmla="*/ 107 w 132"/>
              <a:gd name="T5" fmla="*/ 110 h 175"/>
              <a:gd name="T6" fmla="*/ 109 w 132"/>
              <a:gd name="T7" fmla="*/ 101 h 175"/>
              <a:gd name="T8" fmla="*/ 119 w 132"/>
              <a:gd name="T9" fmla="*/ 107 h 175"/>
              <a:gd name="T10" fmla="*/ 129 w 132"/>
              <a:gd name="T11" fmla="*/ 107 h 175"/>
              <a:gd name="T12" fmla="*/ 128 w 132"/>
              <a:gd name="T13" fmla="*/ 103 h 175"/>
              <a:gd name="T14" fmla="*/ 122 w 132"/>
              <a:gd name="T15" fmla="*/ 99 h 175"/>
              <a:gd name="T16" fmla="*/ 118 w 132"/>
              <a:gd name="T17" fmla="*/ 93 h 175"/>
              <a:gd name="T18" fmla="*/ 109 w 132"/>
              <a:gd name="T19" fmla="*/ 80 h 175"/>
              <a:gd name="T20" fmla="*/ 117 w 132"/>
              <a:gd name="T21" fmla="*/ 68 h 175"/>
              <a:gd name="T22" fmla="*/ 125 w 132"/>
              <a:gd name="T23" fmla="*/ 65 h 175"/>
              <a:gd name="T24" fmla="*/ 123 w 132"/>
              <a:gd name="T25" fmla="*/ 58 h 175"/>
              <a:gd name="T26" fmla="*/ 108 w 132"/>
              <a:gd name="T27" fmla="*/ 53 h 175"/>
              <a:gd name="T28" fmla="*/ 96 w 132"/>
              <a:gd name="T29" fmla="*/ 48 h 175"/>
              <a:gd name="T30" fmla="*/ 93 w 132"/>
              <a:gd name="T31" fmla="*/ 34 h 175"/>
              <a:gd name="T32" fmla="*/ 94 w 132"/>
              <a:gd name="T33" fmla="*/ 27 h 175"/>
              <a:gd name="T34" fmla="*/ 91 w 132"/>
              <a:gd name="T35" fmla="*/ 19 h 175"/>
              <a:gd name="T36" fmla="*/ 86 w 132"/>
              <a:gd name="T37" fmla="*/ 11 h 175"/>
              <a:gd name="T38" fmla="*/ 88 w 132"/>
              <a:gd name="T39" fmla="*/ 0 h 175"/>
              <a:gd name="T40" fmla="*/ 77 w 132"/>
              <a:gd name="T41" fmla="*/ 4 h 175"/>
              <a:gd name="T42" fmla="*/ 71 w 132"/>
              <a:gd name="T43" fmla="*/ 6 h 175"/>
              <a:gd name="T44" fmla="*/ 67 w 132"/>
              <a:gd name="T45" fmla="*/ 18 h 175"/>
              <a:gd name="T46" fmla="*/ 64 w 132"/>
              <a:gd name="T47" fmla="*/ 22 h 175"/>
              <a:gd name="T48" fmla="*/ 53 w 132"/>
              <a:gd name="T49" fmla="*/ 25 h 175"/>
              <a:gd name="T50" fmla="*/ 30 w 132"/>
              <a:gd name="T51" fmla="*/ 43 h 175"/>
              <a:gd name="T52" fmla="*/ 19 w 132"/>
              <a:gd name="T53" fmla="*/ 45 h 175"/>
              <a:gd name="T54" fmla="*/ 13 w 132"/>
              <a:gd name="T55" fmla="*/ 44 h 175"/>
              <a:gd name="T56" fmla="*/ 20 w 132"/>
              <a:gd name="T57" fmla="*/ 59 h 175"/>
              <a:gd name="T58" fmla="*/ 16 w 132"/>
              <a:gd name="T59" fmla="*/ 70 h 175"/>
              <a:gd name="T60" fmla="*/ 10 w 132"/>
              <a:gd name="T61" fmla="*/ 82 h 175"/>
              <a:gd name="T62" fmla="*/ 0 w 132"/>
              <a:gd name="T63" fmla="*/ 97 h 175"/>
              <a:gd name="T64" fmla="*/ 8 w 132"/>
              <a:gd name="T65" fmla="*/ 98 h 175"/>
              <a:gd name="T66" fmla="*/ 11 w 132"/>
              <a:gd name="T67" fmla="*/ 101 h 175"/>
              <a:gd name="T68" fmla="*/ 12 w 132"/>
              <a:gd name="T69" fmla="*/ 110 h 175"/>
              <a:gd name="T70" fmla="*/ 19 w 132"/>
              <a:gd name="T71" fmla="*/ 120 h 175"/>
              <a:gd name="T72" fmla="*/ 32 w 132"/>
              <a:gd name="T73" fmla="*/ 123 h 175"/>
              <a:gd name="T74" fmla="*/ 38 w 132"/>
              <a:gd name="T75" fmla="*/ 127 h 175"/>
              <a:gd name="T76" fmla="*/ 45 w 132"/>
              <a:gd name="T77" fmla="*/ 137 h 175"/>
              <a:gd name="T78" fmla="*/ 55 w 132"/>
              <a:gd name="T79" fmla="*/ 144 h 175"/>
              <a:gd name="T80" fmla="*/ 59 w 132"/>
              <a:gd name="T81" fmla="*/ 148 h 175"/>
              <a:gd name="T82" fmla="*/ 60 w 132"/>
              <a:gd name="T83" fmla="*/ 161 h 175"/>
              <a:gd name="T84" fmla="*/ 63 w 132"/>
              <a:gd name="T85" fmla="*/ 175 h 175"/>
              <a:gd name="T86" fmla="*/ 90 w 132"/>
              <a:gd name="T87" fmla="*/ 172 h 175"/>
              <a:gd name="T88" fmla="*/ 88 w 132"/>
              <a:gd name="T89" fmla="*/ 163 h 175"/>
              <a:gd name="T90" fmla="*/ 104 w 132"/>
              <a:gd name="T91" fmla="*/ 157 h 175"/>
              <a:gd name="T92" fmla="*/ 113 w 132"/>
              <a:gd name="T93" fmla="*/ 151 h 175"/>
              <a:gd name="T94" fmla="*/ 118 w 132"/>
              <a:gd name="T95" fmla="*/ 137 h 175"/>
              <a:gd name="T96" fmla="*/ 127 w 132"/>
              <a:gd name="T97" fmla="*/ 135 h 175"/>
              <a:gd name="T98" fmla="*/ 130 w 132"/>
              <a:gd name="T99" fmla="*/ 118 h 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32" h="175">
                <a:moveTo>
                  <a:pt x="130" y="118"/>
                </a:moveTo>
                <a:cubicBezTo>
                  <a:pt x="128" y="118"/>
                  <a:pt x="128" y="118"/>
                  <a:pt x="128" y="118"/>
                </a:cubicBezTo>
                <a:cubicBezTo>
                  <a:pt x="127" y="118"/>
                  <a:pt x="126" y="118"/>
                  <a:pt x="124" y="118"/>
                </a:cubicBezTo>
                <a:cubicBezTo>
                  <a:pt x="122" y="118"/>
                  <a:pt x="121" y="118"/>
                  <a:pt x="121" y="118"/>
                </a:cubicBezTo>
                <a:cubicBezTo>
                  <a:pt x="120" y="118"/>
                  <a:pt x="119" y="119"/>
                  <a:pt x="118" y="120"/>
                </a:cubicBezTo>
                <a:cubicBezTo>
                  <a:pt x="117" y="120"/>
                  <a:pt x="117" y="120"/>
                  <a:pt x="117" y="120"/>
                </a:cubicBezTo>
                <a:cubicBezTo>
                  <a:pt x="112" y="121"/>
                  <a:pt x="112" y="121"/>
                  <a:pt x="112" y="121"/>
                </a:cubicBezTo>
                <a:cubicBezTo>
                  <a:pt x="111" y="121"/>
                  <a:pt x="111" y="121"/>
                  <a:pt x="110" y="121"/>
                </a:cubicBezTo>
                <a:cubicBezTo>
                  <a:pt x="110" y="120"/>
                  <a:pt x="109" y="120"/>
                  <a:pt x="109" y="119"/>
                </a:cubicBezTo>
                <a:cubicBezTo>
                  <a:pt x="107" y="117"/>
                  <a:pt x="107" y="117"/>
                  <a:pt x="107" y="117"/>
                </a:cubicBezTo>
                <a:cubicBezTo>
                  <a:pt x="107" y="116"/>
                  <a:pt x="107" y="116"/>
                  <a:pt x="107" y="116"/>
                </a:cubicBezTo>
                <a:cubicBezTo>
                  <a:pt x="107" y="110"/>
                  <a:pt x="107" y="110"/>
                  <a:pt x="107" y="110"/>
                </a:cubicBezTo>
                <a:cubicBezTo>
                  <a:pt x="107" y="110"/>
                  <a:pt x="106" y="107"/>
                  <a:pt x="107" y="105"/>
                </a:cubicBezTo>
                <a:cubicBezTo>
                  <a:pt x="107" y="104"/>
                  <a:pt x="107" y="104"/>
                  <a:pt x="107" y="104"/>
                </a:cubicBezTo>
                <a:cubicBezTo>
                  <a:pt x="107" y="103"/>
                  <a:pt x="107" y="103"/>
                  <a:pt x="107" y="103"/>
                </a:cubicBezTo>
                <a:cubicBezTo>
                  <a:pt x="108" y="102"/>
                  <a:pt x="108" y="101"/>
                  <a:pt x="109" y="101"/>
                </a:cubicBezTo>
                <a:cubicBezTo>
                  <a:pt x="111" y="101"/>
                  <a:pt x="114" y="101"/>
                  <a:pt x="114" y="101"/>
                </a:cubicBezTo>
                <a:cubicBezTo>
                  <a:pt x="115" y="101"/>
                  <a:pt x="115" y="102"/>
                  <a:pt x="116" y="102"/>
                </a:cubicBezTo>
                <a:cubicBezTo>
                  <a:pt x="118" y="106"/>
                  <a:pt x="118" y="106"/>
                  <a:pt x="118" y="106"/>
                </a:cubicBezTo>
                <a:cubicBezTo>
                  <a:pt x="119" y="107"/>
                  <a:pt x="119" y="107"/>
                  <a:pt x="119" y="107"/>
                </a:cubicBezTo>
                <a:cubicBezTo>
                  <a:pt x="121" y="109"/>
                  <a:pt x="121" y="109"/>
                  <a:pt x="121" y="109"/>
                </a:cubicBezTo>
                <a:cubicBezTo>
                  <a:pt x="123" y="110"/>
                  <a:pt x="123" y="110"/>
                  <a:pt x="123" y="110"/>
                </a:cubicBezTo>
                <a:cubicBezTo>
                  <a:pt x="125" y="110"/>
                  <a:pt x="125" y="110"/>
                  <a:pt x="125" y="110"/>
                </a:cubicBezTo>
                <a:cubicBezTo>
                  <a:pt x="129" y="107"/>
                  <a:pt x="129" y="107"/>
                  <a:pt x="129" y="107"/>
                </a:cubicBezTo>
                <a:cubicBezTo>
                  <a:pt x="131" y="107"/>
                  <a:pt x="131" y="107"/>
                  <a:pt x="131" y="107"/>
                </a:cubicBezTo>
                <a:cubicBezTo>
                  <a:pt x="131" y="106"/>
                  <a:pt x="131" y="106"/>
                  <a:pt x="131" y="106"/>
                </a:cubicBezTo>
                <a:cubicBezTo>
                  <a:pt x="131" y="106"/>
                  <a:pt x="130" y="105"/>
                  <a:pt x="129" y="104"/>
                </a:cubicBezTo>
                <a:cubicBezTo>
                  <a:pt x="128" y="103"/>
                  <a:pt x="128" y="103"/>
                  <a:pt x="128" y="103"/>
                </a:cubicBezTo>
                <a:cubicBezTo>
                  <a:pt x="127" y="102"/>
                  <a:pt x="127" y="102"/>
                  <a:pt x="127" y="102"/>
                </a:cubicBezTo>
                <a:cubicBezTo>
                  <a:pt x="126" y="102"/>
                  <a:pt x="126" y="103"/>
                  <a:pt x="125" y="103"/>
                </a:cubicBezTo>
                <a:cubicBezTo>
                  <a:pt x="124" y="103"/>
                  <a:pt x="123" y="101"/>
                  <a:pt x="122" y="100"/>
                </a:cubicBezTo>
                <a:cubicBezTo>
                  <a:pt x="122" y="99"/>
                  <a:pt x="122" y="99"/>
                  <a:pt x="122" y="99"/>
                </a:cubicBezTo>
                <a:cubicBezTo>
                  <a:pt x="122" y="98"/>
                  <a:pt x="121" y="98"/>
                  <a:pt x="121" y="98"/>
                </a:cubicBezTo>
                <a:cubicBezTo>
                  <a:pt x="119" y="96"/>
                  <a:pt x="119" y="96"/>
                  <a:pt x="119" y="96"/>
                </a:cubicBezTo>
                <a:cubicBezTo>
                  <a:pt x="119" y="96"/>
                  <a:pt x="118" y="95"/>
                  <a:pt x="118" y="94"/>
                </a:cubicBezTo>
                <a:cubicBezTo>
                  <a:pt x="118" y="93"/>
                  <a:pt x="118" y="93"/>
                  <a:pt x="118" y="93"/>
                </a:cubicBezTo>
                <a:cubicBezTo>
                  <a:pt x="117" y="93"/>
                  <a:pt x="116" y="93"/>
                  <a:pt x="116" y="92"/>
                </a:cubicBezTo>
                <a:cubicBezTo>
                  <a:pt x="114" y="84"/>
                  <a:pt x="114" y="84"/>
                  <a:pt x="114" y="84"/>
                </a:cubicBezTo>
                <a:cubicBezTo>
                  <a:pt x="110" y="82"/>
                  <a:pt x="110" y="82"/>
                  <a:pt x="110" y="82"/>
                </a:cubicBezTo>
                <a:cubicBezTo>
                  <a:pt x="110" y="82"/>
                  <a:pt x="109" y="81"/>
                  <a:pt x="109" y="80"/>
                </a:cubicBezTo>
                <a:cubicBezTo>
                  <a:pt x="109" y="76"/>
                  <a:pt x="109" y="76"/>
                  <a:pt x="109" y="76"/>
                </a:cubicBezTo>
                <a:cubicBezTo>
                  <a:pt x="110" y="75"/>
                  <a:pt x="110" y="75"/>
                  <a:pt x="110" y="75"/>
                </a:cubicBezTo>
                <a:cubicBezTo>
                  <a:pt x="115" y="71"/>
                  <a:pt x="115" y="71"/>
                  <a:pt x="115" y="71"/>
                </a:cubicBezTo>
                <a:cubicBezTo>
                  <a:pt x="117" y="68"/>
                  <a:pt x="117" y="68"/>
                  <a:pt x="117" y="68"/>
                </a:cubicBezTo>
                <a:cubicBezTo>
                  <a:pt x="118" y="67"/>
                  <a:pt x="118" y="67"/>
                  <a:pt x="119" y="67"/>
                </a:cubicBezTo>
                <a:cubicBezTo>
                  <a:pt x="120" y="67"/>
                  <a:pt x="120" y="67"/>
                  <a:pt x="120" y="67"/>
                </a:cubicBezTo>
                <a:cubicBezTo>
                  <a:pt x="123" y="65"/>
                  <a:pt x="123" y="65"/>
                  <a:pt x="123" y="65"/>
                </a:cubicBezTo>
                <a:cubicBezTo>
                  <a:pt x="124" y="65"/>
                  <a:pt x="124" y="65"/>
                  <a:pt x="125" y="65"/>
                </a:cubicBezTo>
                <a:cubicBezTo>
                  <a:pt x="125" y="65"/>
                  <a:pt x="126" y="66"/>
                  <a:pt x="126" y="65"/>
                </a:cubicBezTo>
                <a:cubicBezTo>
                  <a:pt x="127" y="64"/>
                  <a:pt x="128" y="64"/>
                  <a:pt x="129" y="63"/>
                </a:cubicBezTo>
                <a:cubicBezTo>
                  <a:pt x="129" y="61"/>
                  <a:pt x="129" y="61"/>
                  <a:pt x="129" y="61"/>
                </a:cubicBezTo>
                <a:cubicBezTo>
                  <a:pt x="123" y="58"/>
                  <a:pt x="123" y="58"/>
                  <a:pt x="123" y="58"/>
                </a:cubicBezTo>
                <a:cubicBezTo>
                  <a:pt x="118" y="55"/>
                  <a:pt x="118" y="55"/>
                  <a:pt x="118" y="55"/>
                </a:cubicBezTo>
                <a:cubicBezTo>
                  <a:pt x="115" y="54"/>
                  <a:pt x="115" y="54"/>
                  <a:pt x="115" y="54"/>
                </a:cubicBezTo>
                <a:cubicBezTo>
                  <a:pt x="109" y="54"/>
                  <a:pt x="109" y="54"/>
                  <a:pt x="109" y="54"/>
                </a:cubicBezTo>
                <a:cubicBezTo>
                  <a:pt x="109" y="54"/>
                  <a:pt x="109" y="54"/>
                  <a:pt x="108" y="53"/>
                </a:cubicBezTo>
                <a:cubicBezTo>
                  <a:pt x="105" y="51"/>
                  <a:pt x="105" y="51"/>
                  <a:pt x="105" y="51"/>
                </a:cubicBezTo>
                <a:cubicBezTo>
                  <a:pt x="103" y="51"/>
                  <a:pt x="103" y="51"/>
                  <a:pt x="103" y="51"/>
                </a:cubicBezTo>
                <a:cubicBezTo>
                  <a:pt x="103" y="51"/>
                  <a:pt x="101" y="50"/>
                  <a:pt x="97" y="49"/>
                </a:cubicBezTo>
                <a:cubicBezTo>
                  <a:pt x="97" y="49"/>
                  <a:pt x="96" y="49"/>
                  <a:pt x="96" y="48"/>
                </a:cubicBezTo>
                <a:cubicBezTo>
                  <a:pt x="94" y="45"/>
                  <a:pt x="94" y="45"/>
                  <a:pt x="94" y="45"/>
                </a:cubicBezTo>
                <a:cubicBezTo>
                  <a:pt x="94" y="45"/>
                  <a:pt x="94" y="45"/>
                  <a:pt x="94" y="44"/>
                </a:cubicBezTo>
                <a:cubicBezTo>
                  <a:pt x="94" y="44"/>
                  <a:pt x="94" y="42"/>
                  <a:pt x="96" y="40"/>
                </a:cubicBezTo>
                <a:cubicBezTo>
                  <a:pt x="95" y="39"/>
                  <a:pt x="93" y="37"/>
                  <a:pt x="93" y="34"/>
                </a:cubicBezTo>
                <a:cubicBezTo>
                  <a:pt x="93" y="33"/>
                  <a:pt x="93" y="33"/>
                  <a:pt x="93" y="33"/>
                </a:cubicBezTo>
                <a:cubicBezTo>
                  <a:pt x="93" y="33"/>
                  <a:pt x="93" y="32"/>
                  <a:pt x="93" y="31"/>
                </a:cubicBezTo>
                <a:cubicBezTo>
                  <a:pt x="94" y="29"/>
                  <a:pt x="94" y="29"/>
                  <a:pt x="95" y="28"/>
                </a:cubicBezTo>
                <a:cubicBezTo>
                  <a:pt x="95" y="28"/>
                  <a:pt x="95" y="28"/>
                  <a:pt x="94" y="27"/>
                </a:cubicBezTo>
                <a:cubicBezTo>
                  <a:pt x="92" y="26"/>
                  <a:pt x="92" y="26"/>
                  <a:pt x="92" y="26"/>
                </a:cubicBezTo>
                <a:cubicBezTo>
                  <a:pt x="92" y="25"/>
                  <a:pt x="92" y="25"/>
                  <a:pt x="92" y="25"/>
                </a:cubicBezTo>
                <a:cubicBezTo>
                  <a:pt x="91" y="20"/>
                  <a:pt x="91" y="20"/>
                  <a:pt x="91" y="20"/>
                </a:cubicBezTo>
                <a:cubicBezTo>
                  <a:pt x="91" y="20"/>
                  <a:pt x="91" y="20"/>
                  <a:pt x="91" y="19"/>
                </a:cubicBezTo>
                <a:cubicBezTo>
                  <a:pt x="92" y="18"/>
                  <a:pt x="92" y="16"/>
                  <a:pt x="91" y="16"/>
                </a:cubicBezTo>
                <a:cubicBezTo>
                  <a:pt x="91" y="15"/>
                  <a:pt x="91" y="15"/>
                  <a:pt x="90" y="14"/>
                </a:cubicBezTo>
                <a:cubicBezTo>
                  <a:pt x="87" y="12"/>
                  <a:pt x="87" y="12"/>
                  <a:pt x="87" y="12"/>
                </a:cubicBezTo>
                <a:cubicBezTo>
                  <a:pt x="86" y="11"/>
                  <a:pt x="86" y="11"/>
                  <a:pt x="86" y="11"/>
                </a:cubicBezTo>
                <a:cubicBezTo>
                  <a:pt x="86" y="5"/>
                  <a:pt x="86" y="5"/>
                  <a:pt x="86" y="5"/>
                </a:cubicBezTo>
                <a:cubicBezTo>
                  <a:pt x="86" y="5"/>
                  <a:pt x="86" y="5"/>
                  <a:pt x="86" y="4"/>
                </a:cubicBezTo>
                <a:cubicBezTo>
                  <a:pt x="88" y="2"/>
                  <a:pt x="88" y="2"/>
                  <a:pt x="88" y="2"/>
                </a:cubicBezTo>
                <a:cubicBezTo>
                  <a:pt x="88" y="0"/>
                  <a:pt x="88" y="0"/>
                  <a:pt x="88" y="0"/>
                </a:cubicBezTo>
                <a:cubicBezTo>
                  <a:pt x="87" y="0"/>
                  <a:pt x="87" y="0"/>
                  <a:pt x="86" y="0"/>
                </a:cubicBezTo>
                <a:cubicBezTo>
                  <a:pt x="86" y="0"/>
                  <a:pt x="86" y="0"/>
                  <a:pt x="86" y="1"/>
                </a:cubicBezTo>
                <a:cubicBezTo>
                  <a:pt x="85" y="1"/>
                  <a:pt x="84" y="2"/>
                  <a:pt x="83" y="3"/>
                </a:cubicBezTo>
                <a:cubicBezTo>
                  <a:pt x="81" y="3"/>
                  <a:pt x="80" y="4"/>
                  <a:pt x="77" y="4"/>
                </a:cubicBezTo>
                <a:cubicBezTo>
                  <a:pt x="76" y="4"/>
                  <a:pt x="75" y="4"/>
                  <a:pt x="74" y="3"/>
                </a:cubicBezTo>
                <a:cubicBezTo>
                  <a:pt x="71" y="4"/>
                  <a:pt x="71" y="4"/>
                  <a:pt x="71" y="4"/>
                </a:cubicBezTo>
                <a:cubicBezTo>
                  <a:pt x="72" y="4"/>
                  <a:pt x="72" y="4"/>
                  <a:pt x="72" y="4"/>
                </a:cubicBezTo>
                <a:cubicBezTo>
                  <a:pt x="72" y="5"/>
                  <a:pt x="72" y="6"/>
                  <a:pt x="71" y="6"/>
                </a:cubicBezTo>
                <a:cubicBezTo>
                  <a:pt x="71" y="7"/>
                  <a:pt x="71" y="7"/>
                  <a:pt x="71" y="7"/>
                </a:cubicBezTo>
                <a:cubicBezTo>
                  <a:pt x="71" y="8"/>
                  <a:pt x="72" y="9"/>
                  <a:pt x="72" y="10"/>
                </a:cubicBezTo>
                <a:cubicBezTo>
                  <a:pt x="72" y="12"/>
                  <a:pt x="70" y="16"/>
                  <a:pt x="69" y="16"/>
                </a:cubicBezTo>
                <a:cubicBezTo>
                  <a:pt x="67" y="18"/>
                  <a:pt x="67" y="18"/>
                  <a:pt x="67" y="18"/>
                </a:cubicBezTo>
                <a:cubicBezTo>
                  <a:pt x="66" y="19"/>
                  <a:pt x="65" y="19"/>
                  <a:pt x="64" y="19"/>
                </a:cubicBezTo>
                <a:cubicBezTo>
                  <a:pt x="64" y="19"/>
                  <a:pt x="64" y="19"/>
                  <a:pt x="63" y="19"/>
                </a:cubicBezTo>
                <a:cubicBezTo>
                  <a:pt x="64" y="20"/>
                  <a:pt x="64" y="20"/>
                  <a:pt x="64" y="20"/>
                </a:cubicBezTo>
                <a:cubicBezTo>
                  <a:pt x="64" y="22"/>
                  <a:pt x="64" y="22"/>
                  <a:pt x="64" y="22"/>
                </a:cubicBezTo>
                <a:cubicBezTo>
                  <a:pt x="64" y="24"/>
                  <a:pt x="62" y="27"/>
                  <a:pt x="59" y="28"/>
                </a:cubicBezTo>
                <a:cubicBezTo>
                  <a:pt x="59" y="28"/>
                  <a:pt x="59" y="28"/>
                  <a:pt x="58" y="28"/>
                </a:cubicBezTo>
                <a:cubicBezTo>
                  <a:pt x="54" y="26"/>
                  <a:pt x="54" y="26"/>
                  <a:pt x="54" y="26"/>
                </a:cubicBezTo>
                <a:cubicBezTo>
                  <a:pt x="54" y="26"/>
                  <a:pt x="54" y="26"/>
                  <a:pt x="53" y="25"/>
                </a:cubicBezTo>
                <a:cubicBezTo>
                  <a:pt x="53" y="27"/>
                  <a:pt x="52" y="28"/>
                  <a:pt x="51" y="30"/>
                </a:cubicBezTo>
                <a:cubicBezTo>
                  <a:pt x="43" y="40"/>
                  <a:pt x="43" y="40"/>
                  <a:pt x="43" y="40"/>
                </a:cubicBezTo>
                <a:cubicBezTo>
                  <a:pt x="37" y="43"/>
                  <a:pt x="37" y="43"/>
                  <a:pt x="37" y="43"/>
                </a:cubicBezTo>
                <a:cubicBezTo>
                  <a:pt x="30" y="43"/>
                  <a:pt x="30" y="43"/>
                  <a:pt x="30" y="43"/>
                </a:cubicBezTo>
                <a:cubicBezTo>
                  <a:pt x="26" y="43"/>
                  <a:pt x="26" y="43"/>
                  <a:pt x="26" y="43"/>
                </a:cubicBezTo>
                <a:cubicBezTo>
                  <a:pt x="24" y="43"/>
                  <a:pt x="23" y="44"/>
                  <a:pt x="23" y="44"/>
                </a:cubicBezTo>
                <a:cubicBezTo>
                  <a:pt x="23" y="45"/>
                  <a:pt x="22" y="45"/>
                  <a:pt x="21" y="45"/>
                </a:cubicBezTo>
                <a:cubicBezTo>
                  <a:pt x="19" y="45"/>
                  <a:pt x="19" y="45"/>
                  <a:pt x="19" y="45"/>
                </a:cubicBezTo>
                <a:cubicBezTo>
                  <a:pt x="19" y="45"/>
                  <a:pt x="19" y="45"/>
                  <a:pt x="18" y="45"/>
                </a:cubicBezTo>
                <a:cubicBezTo>
                  <a:pt x="15" y="43"/>
                  <a:pt x="15" y="43"/>
                  <a:pt x="15" y="43"/>
                </a:cubicBezTo>
                <a:cubicBezTo>
                  <a:pt x="14" y="44"/>
                  <a:pt x="14" y="44"/>
                  <a:pt x="14" y="44"/>
                </a:cubicBezTo>
                <a:cubicBezTo>
                  <a:pt x="13" y="44"/>
                  <a:pt x="13" y="44"/>
                  <a:pt x="13" y="44"/>
                </a:cubicBezTo>
                <a:cubicBezTo>
                  <a:pt x="11" y="43"/>
                  <a:pt x="10" y="43"/>
                  <a:pt x="9" y="43"/>
                </a:cubicBezTo>
                <a:cubicBezTo>
                  <a:pt x="9" y="43"/>
                  <a:pt x="9" y="45"/>
                  <a:pt x="10" y="46"/>
                </a:cubicBezTo>
                <a:cubicBezTo>
                  <a:pt x="14" y="55"/>
                  <a:pt x="14" y="55"/>
                  <a:pt x="14" y="55"/>
                </a:cubicBezTo>
                <a:cubicBezTo>
                  <a:pt x="20" y="59"/>
                  <a:pt x="20" y="59"/>
                  <a:pt x="20" y="59"/>
                </a:cubicBezTo>
                <a:cubicBezTo>
                  <a:pt x="21" y="60"/>
                  <a:pt x="22" y="61"/>
                  <a:pt x="21" y="62"/>
                </a:cubicBezTo>
                <a:cubicBezTo>
                  <a:pt x="19" y="65"/>
                  <a:pt x="19" y="65"/>
                  <a:pt x="19" y="65"/>
                </a:cubicBezTo>
                <a:cubicBezTo>
                  <a:pt x="17" y="69"/>
                  <a:pt x="17" y="69"/>
                  <a:pt x="17" y="69"/>
                </a:cubicBezTo>
                <a:cubicBezTo>
                  <a:pt x="17" y="70"/>
                  <a:pt x="17" y="70"/>
                  <a:pt x="16" y="70"/>
                </a:cubicBezTo>
                <a:cubicBezTo>
                  <a:pt x="14" y="71"/>
                  <a:pt x="14" y="71"/>
                  <a:pt x="14" y="71"/>
                </a:cubicBezTo>
                <a:cubicBezTo>
                  <a:pt x="12" y="72"/>
                  <a:pt x="11" y="73"/>
                  <a:pt x="10" y="74"/>
                </a:cubicBezTo>
                <a:cubicBezTo>
                  <a:pt x="10" y="81"/>
                  <a:pt x="10" y="81"/>
                  <a:pt x="10" y="81"/>
                </a:cubicBezTo>
                <a:cubicBezTo>
                  <a:pt x="10" y="82"/>
                  <a:pt x="10" y="82"/>
                  <a:pt x="10" y="82"/>
                </a:cubicBezTo>
                <a:cubicBezTo>
                  <a:pt x="9" y="83"/>
                  <a:pt x="7" y="90"/>
                  <a:pt x="5" y="92"/>
                </a:cubicBezTo>
                <a:cubicBezTo>
                  <a:pt x="3" y="94"/>
                  <a:pt x="1" y="93"/>
                  <a:pt x="0" y="93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0" y="96"/>
                  <a:pt x="0" y="97"/>
                </a:cubicBezTo>
                <a:cubicBezTo>
                  <a:pt x="1" y="97"/>
                  <a:pt x="2" y="97"/>
                  <a:pt x="3" y="98"/>
                </a:cubicBezTo>
                <a:cubicBezTo>
                  <a:pt x="4" y="99"/>
                  <a:pt x="4" y="99"/>
                  <a:pt x="4" y="99"/>
                </a:cubicBezTo>
                <a:cubicBezTo>
                  <a:pt x="4" y="98"/>
                  <a:pt x="4" y="97"/>
                  <a:pt x="5" y="97"/>
                </a:cubicBezTo>
                <a:cubicBezTo>
                  <a:pt x="8" y="98"/>
                  <a:pt x="8" y="98"/>
                  <a:pt x="8" y="98"/>
                </a:cubicBezTo>
                <a:cubicBezTo>
                  <a:pt x="9" y="98"/>
                  <a:pt x="9" y="98"/>
                  <a:pt x="10" y="98"/>
                </a:cubicBezTo>
                <a:cubicBezTo>
                  <a:pt x="10" y="98"/>
                  <a:pt x="10" y="98"/>
                  <a:pt x="11" y="98"/>
                </a:cubicBezTo>
                <a:cubicBezTo>
                  <a:pt x="12" y="98"/>
                  <a:pt x="12" y="99"/>
                  <a:pt x="12" y="100"/>
                </a:cubicBezTo>
                <a:cubicBezTo>
                  <a:pt x="12" y="101"/>
                  <a:pt x="12" y="101"/>
                  <a:pt x="11" y="101"/>
                </a:cubicBezTo>
                <a:cubicBezTo>
                  <a:pt x="10" y="103"/>
                  <a:pt x="10" y="103"/>
                  <a:pt x="10" y="103"/>
                </a:cubicBezTo>
                <a:cubicBezTo>
                  <a:pt x="10" y="104"/>
                  <a:pt x="10" y="106"/>
                  <a:pt x="10" y="107"/>
                </a:cubicBezTo>
                <a:cubicBezTo>
                  <a:pt x="10" y="108"/>
                  <a:pt x="10" y="109"/>
                  <a:pt x="9" y="110"/>
                </a:cubicBezTo>
                <a:cubicBezTo>
                  <a:pt x="12" y="110"/>
                  <a:pt x="12" y="110"/>
                  <a:pt x="12" y="110"/>
                </a:cubicBezTo>
                <a:cubicBezTo>
                  <a:pt x="16" y="111"/>
                  <a:pt x="16" y="111"/>
                  <a:pt x="16" y="111"/>
                </a:cubicBezTo>
                <a:cubicBezTo>
                  <a:pt x="18" y="111"/>
                  <a:pt x="18" y="113"/>
                  <a:pt x="18" y="114"/>
                </a:cubicBezTo>
                <a:cubicBezTo>
                  <a:pt x="19" y="115"/>
                  <a:pt x="18" y="116"/>
                  <a:pt x="17" y="117"/>
                </a:cubicBezTo>
                <a:cubicBezTo>
                  <a:pt x="17" y="118"/>
                  <a:pt x="18" y="119"/>
                  <a:pt x="19" y="120"/>
                </a:cubicBezTo>
                <a:cubicBezTo>
                  <a:pt x="20" y="121"/>
                  <a:pt x="20" y="121"/>
                  <a:pt x="21" y="122"/>
                </a:cubicBezTo>
                <a:cubicBezTo>
                  <a:pt x="22" y="121"/>
                  <a:pt x="24" y="119"/>
                  <a:pt x="27" y="120"/>
                </a:cubicBezTo>
                <a:cubicBezTo>
                  <a:pt x="29" y="120"/>
                  <a:pt x="31" y="120"/>
                  <a:pt x="31" y="122"/>
                </a:cubicBezTo>
                <a:cubicBezTo>
                  <a:pt x="31" y="122"/>
                  <a:pt x="31" y="122"/>
                  <a:pt x="32" y="123"/>
                </a:cubicBezTo>
                <a:cubicBezTo>
                  <a:pt x="33" y="124"/>
                  <a:pt x="33" y="124"/>
                  <a:pt x="34" y="125"/>
                </a:cubicBezTo>
                <a:cubicBezTo>
                  <a:pt x="35" y="125"/>
                  <a:pt x="35" y="125"/>
                  <a:pt x="35" y="125"/>
                </a:cubicBezTo>
                <a:cubicBezTo>
                  <a:pt x="35" y="126"/>
                  <a:pt x="36" y="126"/>
                  <a:pt x="36" y="126"/>
                </a:cubicBezTo>
                <a:cubicBezTo>
                  <a:pt x="38" y="127"/>
                  <a:pt x="38" y="127"/>
                  <a:pt x="38" y="127"/>
                </a:cubicBezTo>
                <a:cubicBezTo>
                  <a:pt x="39" y="128"/>
                  <a:pt x="40" y="128"/>
                  <a:pt x="40" y="129"/>
                </a:cubicBezTo>
                <a:cubicBezTo>
                  <a:pt x="40" y="129"/>
                  <a:pt x="40" y="129"/>
                  <a:pt x="40" y="130"/>
                </a:cubicBezTo>
                <a:cubicBezTo>
                  <a:pt x="42" y="132"/>
                  <a:pt x="42" y="132"/>
                  <a:pt x="43" y="134"/>
                </a:cubicBezTo>
                <a:cubicBezTo>
                  <a:pt x="45" y="137"/>
                  <a:pt x="45" y="137"/>
                  <a:pt x="45" y="137"/>
                </a:cubicBezTo>
                <a:cubicBezTo>
                  <a:pt x="49" y="143"/>
                  <a:pt x="49" y="143"/>
                  <a:pt x="49" y="143"/>
                </a:cubicBezTo>
                <a:cubicBezTo>
                  <a:pt x="53" y="144"/>
                  <a:pt x="53" y="144"/>
                  <a:pt x="53" y="144"/>
                </a:cubicBezTo>
                <a:cubicBezTo>
                  <a:pt x="53" y="144"/>
                  <a:pt x="54" y="144"/>
                  <a:pt x="54" y="144"/>
                </a:cubicBezTo>
                <a:cubicBezTo>
                  <a:pt x="54" y="144"/>
                  <a:pt x="54" y="144"/>
                  <a:pt x="55" y="144"/>
                </a:cubicBezTo>
                <a:cubicBezTo>
                  <a:pt x="60" y="145"/>
                  <a:pt x="60" y="145"/>
                  <a:pt x="60" y="145"/>
                </a:cubicBezTo>
                <a:cubicBezTo>
                  <a:pt x="60" y="145"/>
                  <a:pt x="60" y="145"/>
                  <a:pt x="60" y="145"/>
                </a:cubicBezTo>
                <a:cubicBezTo>
                  <a:pt x="60" y="146"/>
                  <a:pt x="59" y="147"/>
                  <a:pt x="58" y="147"/>
                </a:cubicBezTo>
                <a:cubicBezTo>
                  <a:pt x="58" y="148"/>
                  <a:pt x="59" y="148"/>
                  <a:pt x="59" y="148"/>
                </a:cubicBezTo>
                <a:cubicBezTo>
                  <a:pt x="59" y="149"/>
                  <a:pt x="60" y="149"/>
                  <a:pt x="60" y="149"/>
                </a:cubicBezTo>
                <a:cubicBezTo>
                  <a:pt x="62" y="155"/>
                  <a:pt x="62" y="155"/>
                  <a:pt x="62" y="155"/>
                </a:cubicBezTo>
                <a:cubicBezTo>
                  <a:pt x="62" y="156"/>
                  <a:pt x="62" y="156"/>
                  <a:pt x="62" y="157"/>
                </a:cubicBezTo>
                <a:cubicBezTo>
                  <a:pt x="61" y="159"/>
                  <a:pt x="60" y="160"/>
                  <a:pt x="60" y="161"/>
                </a:cubicBezTo>
                <a:cubicBezTo>
                  <a:pt x="60" y="162"/>
                  <a:pt x="60" y="162"/>
                  <a:pt x="59" y="163"/>
                </a:cubicBezTo>
                <a:cubicBezTo>
                  <a:pt x="58" y="164"/>
                  <a:pt x="57" y="166"/>
                  <a:pt x="56" y="167"/>
                </a:cubicBezTo>
                <a:cubicBezTo>
                  <a:pt x="57" y="168"/>
                  <a:pt x="59" y="170"/>
                  <a:pt x="59" y="170"/>
                </a:cubicBezTo>
                <a:cubicBezTo>
                  <a:pt x="61" y="172"/>
                  <a:pt x="62" y="174"/>
                  <a:pt x="63" y="175"/>
                </a:cubicBezTo>
                <a:cubicBezTo>
                  <a:pt x="66" y="174"/>
                  <a:pt x="70" y="172"/>
                  <a:pt x="71" y="171"/>
                </a:cubicBezTo>
                <a:cubicBezTo>
                  <a:pt x="73" y="170"/>
                  <a:pt x="77" y="169"/>
                  <a:pt x="81" y="169"/>
                </a:cubicBezTo>
                <a:cubicBezTo>
                  <a:pt x="84" y="170"/>
                  <a:pt x="86" y="171"/>
                  <a:pt x="87" y="172"/>
                </a:cubicBezTo>
                <a:cubicBezTo>
                  <a:pt x="90" y="172"/>
                  <a:pt x="90" y="172"/>
                  <a:pt x="90" y="172"/>
                </a:cubicBezTo>
                <a:cubicBezTo>
                  <a:pt x="90" y="172"/>
                  <a:pt x="89" y="172"/>
                  <a:pt x="89" y="171"/>
                </a:cubicBezTo>
                <a:cubicBezTo>
                  <a:pt x="89" y="170"/>
                  <a:pt x="89" y="170"/>
                  <a:pt x="89" y="170"/>
                </a:cubicBezTo>
                <a:cubicBezTo>
                  <a:pt x="89" y="169"/>
                  <a:pt x="88" y="169"/>
                  <a:pt x="88" y="167"/>
                </a:cubicBezTo>
                <a:cubicBezTo>
                  <a:pt x="88" y="163"/>
                  <a:pt x="88" y="163"/>
                  <a:pt x="88" y="163"/>
                </a:cubicBezTo>
                <a:cubicBezTo>
                  <a:pt x="88" y="162"/>
                  <a:pt x="88" y="162"/>
                  <a:pt x="88" y="162"/>
                </a:cubicBezTo>
                <a:cubicBezTo>
                  <a:pt x="89" y="159"/>
                  <a:pt x="92" y="158"/>
                  <a:pt x="93" y="158"/>
                </a:cubicBezTo>
                <a:cubicBezTo>
                  <a:pt x="103" y="158"/>
                  <a:pt x="103" y="158"/>
                  <a:pt x="103" y="158"/>
                </a:cubicBezTo>
                <a:cubicBezTo>
                  <a:pt x="103" y="158"/>
                  <a:pt x="104" y="158"/>
                  <a:pt x="104" y="157"/>
                </a:cubicBezTo>
                <a:cubicBezTo>
                  <a:pt x="106" y="156"/>
                  <a:pt x="108" y="155"/>
                  <a:pt x="108" y="155"/>
                </a:cubicBezTo>
                <a:cubicBezTo>
                  <a:pt x="108" y="154"/>
                  <a:pt x="108" y="154"/>
                  <a:pt x="109" y="154"/>
                </a:cubicBezTo>
                <a:cubicBezTo>
                  <a:pt x="110" y="154"/>
                  <a:pt x="110" y="154"/>
                  <a:pt x="110" y="154"/>
                </a:cubicBezTo>
                <a:cubicBezTo>
                  <a:pt x="111" y="153"/>
                  <a:pt x="112" y="151"/>
                  <a:pt x="113" y="151"/>
                </a:cubicBezTo>
                <a:cubicBezTo>
                  <a:pt x="114" y="149"/>
                  <a:pt x="115" y="147"/>
                  <a:pt x="115" y="146"/>
                </a:cubicBezTo>
                <a:cubicBezTo>
                  <a:pt x="115" y="146"/>
                  <a:pt x="116" y="145"/>
                  <a:pt x="116" y="144"/>
                </a:cubicBezTo>
                <a:cubicBezTo>
                  <a:pt x="116" y="142"/>
                  <a:pt x="117" y="138"/>
                  <a:pt x="117" y="138"/>
                </a:cubicBezTo>
                <a:cubicBezTo>
                  <a:pt x="118" y="137"/>
                  <a:pt x="118" y="137"/>
                  <a:pt x="118" y="137"/>
                </a:cubicBezTo>
                <a:cubicBezTo>
                  <a:pt x="120" y="135"/>
                  <a:pt x="120" y="135"/>
                  <a:pt x="120" y="135"/>
                </a:cubicBezTo>
                <a:cubicBezTo>
                  <a:pt x="121" y="135"/>
                  <a:pt x="121" y="135"/>
                  <a:pt x="121" y="135"/>
                </a:cubicBezTo>
                <a:cubicBezTo>
                  <a:pt x="126" y="135"/>
                  <a:pt x="126" y="135"/>
                  <a:pt x="126" y="135"/>
                </a:cubicBezTo>
                <a:cubicBezTo>
                  <a:pt x="126" y="135"/>
                  <a:pt x="126" y="135"/>
                  <a:pt x="127" y="135"/>
                </a:cubicBezTo>
                <a:cubicBezTo>
                  <a:pt x="131" y="133"/>
                  <a:pt x="131" y="133"/>
                  <a:pt x="131" y="133"/>
                </a:cubicBezTo>
                <a:cubicBezTo>
                  <a:pt x="132" y="129"/>
                  <a:pt x="132" y="129"/>
                  <a:pt x="132" y="129"/>
                </a:cubicBezTo>
                <a:cubicBezTo>
                  <a:pt x="132" y="122"/>
                  <a:pt x="132" y="122"/>
                  <a:pt x="132" y="122"/>
                </a:cubicBezTo>
                <a:cubicBezTo>
                  <a:pt x="132" y="121"/>
                  <a:pt x="131" y="120"/>
                  <a:pt x="130" y="11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2" name="Freeform 83">
            <a:extLst>
              <a:ext uri="{FF2B5EF4-FFF2-40B4-BE49-F238E27FC236}">
                <a16:creationId xmlns:a16="http://schemas.microsoft.com/office/drawing/2014/main" id="{4353D06D-507F-4C81-A722-E867AF858E70}"/>
              </a:ext>
            </a:extLst>
          </p:cNvPr>
          <p:cNvSpPr>
            <a:spLocks/>
          </p:cNvSpPr>
          <p:nvPr/>
        </p:nvSpPr>
        <p:spPr bwMode="auto">
          <a:xfrm>
            <a:off x="5399631" y="3342804"/>
            <a:ext cx="436827" cy="217488"/>
          </a:xfrm>
          <a:custGeom>
            <a:avLst/>
            <a:gdLst>
              <a:gd name="T0" fmla="*/ 162 w 181"/>
              <a:gd name="T1" fmla="*/ 38 h 97"/>
              <a:gd name="T2" fmla="*/ 138 w 181"/>
              <a:gd name="T3" fmla="*/ 25 h 97"/>
              <a:gd name="T4" fmla="*/ 136 w 181"/>
              <a:gd name="T5" fmla="*/ 27 h 97"/>
              <a:gd name="T6" fmla="*/ 122 w 181"/>
              <a:gd name="T7" fmla="*/ 19 h 97"/>
              <a:gd name="T8" fmla="*/ 109 w 181"/>
              <a:gd name="T9" fmla="*/ 14 h 97"/>
              <a:gd name="T10" fmla="*/ 67 w 181"/>
              <a:gd name="T11" fmla="*/ 7 h 97"/>
              <a:gd name="T12" fmla="*/ 53 w 181"/>
              <a:gd name="T13" fmla="*/ 4 h 97"/>
              <a:gd name="T14" fmla="*/ 42 w 181"/>
              <a:gd name="T15" fmla="*/ 1 h 97"/>
              <a:gd name="T16" fmla="*/ 31 w 181"/>
              <a:gd name="T17" fmla="*/ 7 h 97"/>
              <a:gd name="T18" fmla="*/ 22 w 181"/>
              <a:gd name="T19" fmla="*/ 13 h 97"/>
              <a:gd name="T20" fmla="*/ 14 w 181"/>
              <a:gd name="T21" fmla="*/ 20 h 97"/>
              <a:gd name="T22" fmla="*/ 9 w 181"/>
              <a:gd name="T23" fmla="*/ 21 h 97"/>
              <a:gd name="T24" fmla="*/ 6 w 181"/>
              <a:gd name="T25" fmla="*/ 30 h 97"/>
              <a:gd name="T26" fmla="*/ 1 w 181"/>
              <a:gd name="T27" fmla="*/ 34 h 97"/>
              <a:gd name="T28" fmla="*/ 0 w 181"/>
              <a:gd name="T29" fmla="*/ 40 h 97"/>
              <a:gd name="T30" fmla="*/ 2 w 181"/>
              <a:gd name="T31" fmla="*/ 42 h 97"/>
              <a:gd name="T32" fmla="*/ 8 w 181"/>
              <a:gd name="T33" fmla="*/ 46 h 97"/>
              <a:gd name="T34" fmla="*/ 14 w 181"/>
              <a:gd name="T35" fmla="*/ 48 h 97"/>
              <a:gd name="T36" fmla="*/ 27 w 181"/>
              <a:gd name="T37" fmla="*/ 51 h 97"/>
              <a:gd name="T38" fmla="*/ 36 w 181"/>
              <a:gd name="T39" fmla="*/ 56 h 97"/>
              <a:gd name="T40" fmla="*/ 41 w 181"/>
              <a:gd name="T41" fmla="*/ 57 h 97"/>
              <a:gd name="T42" fmla="*/ 46 w 181"/>
              <a:gd name="T43" fmla="*/ 60 h 97"/>
              <a:gd name="T44" fmla="*/ 53 w 181"/>
              <a:gd name="T45" fmla="*/ 67 h 97"/>
              <a:gd name="T46" fmla="*/ 56 w 181"/>
              <a:gd name="T47" fmla="*/ 75 h 97"/>
              <a:gd name="T48" fmla="*/ 59 w 181"/>
              <a:gd name="T49" fmla="*/ 76 h 97"/>
              <a:gd name="T50" fmla="*/ 64 w 181"/>
              <a:gd name="T51" fmla="*/ 79 h 97"/>
              <a:gd name="T52" fmla="*/ 69 w 181"/>
              <a:gd name="T53" fmla="*/ 80 h 97"/>
              <a:gd name="T54" fmla="*/ 78 w 181"/>
              <a:gd name="T55" fmla="*/ 82 h 97"/>
              <a:gd name="T56" fmla="*/ 85 w 181"/>
              <a:gd name="T57" fmla="*/ 76 h 97"/>
              <a:gd name="T58" fmla="*/ 101 w 181"/>
              <a:gd name="T59" fmla="*/ 78 h 97"/>
              <a:gd name="T60" fmla="*/ 109 w 181"/>
              <a:gd name="T61" fmla="*/ 80 h 97"/>
              <a:gd name="T62" fmla="*/ 115 w 181"/>
              <a:gd name="T63" fmla="*/ 84 h 97"/>
              <a:gd name="T64" fmla="*/ 120 w 181"/>
              <a:gd name="T65" fmla="*/ 91 h 97"/>
              <a:gd name="T66" fmla="*/ 127 w 181"/>
              <a:gd name="T67" fmla="*/ 94 h 97"/>
              <a:gd name="T68" fmla="*/ 135 w 181"/>
              <a:gd name="T69" fmla="*/ 96 h 97"/>
              <a:gd name="T70" fmla="*/ 136 w 181"/>
              <a:gd name="T71" fmla="*/ 91 h 97"/>
              <a:gd name="T72" fmla="*/ 141 w 181"/>
              <a:gd name="T73" fmla="*/ 90 h 97"/>
              <a:gd name="T74" fmla="*/ 145 w 181"/>
              <a:gd name="T75" fmla="*/ 91 h 97"/>
              <a:gd name="T76" fmla="*/ 153 w 181"/>
              <a:gd name="T77" fmla="*/ 87 h 97"/>
              <a:gd name="T78" fmla="*/ 155 w 181"/>
              <a:gd name="T79" fmla="*/ 79 h 97"/>
              <a:gd name="T80" fmla="*/ 161 w 181"/>
              <a:gd name="T81" fmla="*/ 74 h 97"/>
              <a:gd name="T82" fmla="*/ 167 w 181"/>
              <a:gd name="T83" fmla="*/ 70 h 97"/>
              <a:gd name="T84" fmla="*/ 176 w 181"/>
              <a:gd name="T85" fmla="*/ 67 h 97"/>
              <a:gd name="T86" fmla="*/ 178 w 181"/>
              <a:gd name="T87" fmla="*/ 67 h 97"/>
              <a:gd name="T88" fmla="*/ 178 w 181"/>
              <a:gd name="T89" fmla="*/ 65 h 97"/>
              <a:gd name="T90" fmla="*/ 181 w 181"/>
              <a:gd name="T91" fmla="*/ 52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1" h="97">
                <a:moveTo>
                  <a:pt x="180" y="47"/>
                </a:moveTo>
                <a:cubicBezTo>
                  <a:pt x="180" y="46"/>
                  <a:pt x="180" y="46"/>
                  <a:pt x="180" y="46"/>
                </a:cubicBezTo>
                <a:cubicBezTo>
                  <a:pt x="162" y="38"/>
                  <a:pt x="162" y="38"/>
                  <a:pt x="162" y="38"/>
                </a:cubicBezTo>
                <a:cubicBezTo>
                  <a:pt x="143" y="16"/>
                  <a:pt x="143" y="16"/>
                  <a:pt x="143" y="16"/>
                </a:cubicBezTo>
                <a:cubicBezTo>
                  <a:pt x="142" y="15"/>
                  <a:pt x="141" y="13"/>
                  <a:pt x="140" y="12"/>
                </a:cubicBezTo>
                <a:cubicBezTo>
                  <a:pt x="139" y="17"/>
                  <a:pt x="138" y="25"/>
                  <a:pt x="138" y="25"/>
                </a:cubicBezTo>
                <a:cubicBezTo>
                  <a:pt x="138" y="26"/>
                  <a:pt x="138" y="26"/>
                  <a:pt x="137" y="27"/>
                </a:cubicBezTo>
                <a:cubicBezTo>
                  <a:pt x="137" y="27"/>
                  <a:pt x="136" y="27"/>
                  <a:pt x="136" y="27"/>
                </a:cubicBezTo>
                <a:cubicBezTo>
                  <a:pt x="136" y="27"/>
                  <a:pt x="136" y="27"/>
                  <a:pt x="136" y="27"/>
                </a:cubicBezTo>
                <a:cubicBezTo>
                  <a:pt x="124" y="25"/>
                  <a:pt x="124" y="25"/>
                  <a:pt x="124" y="25"/>
                </a:cubicBezTo>
                <a:cubicBezTo>
                  <a:pt x="123" y="25"/>
                  <a:pt x="122" y="24"/>
                  <a:pt x="122" y="23"/>
                </a:cubicBezTo>
                <a:cubicBezTo>
                  <a:pt x="122" y="19"/>
                  <a:pt x="122" y="19"/>
                  <a:pt x="122" y="19"/>
                </a:cubicBezTo>
                <a:cubicBezTo>
                  <a:pt x="119" y="14"/>
                  <a:pt x="119" y="14"/>
                  <a:pt x="119" y="14"/>
                </a:cubicBezTo>
                <a:cubicBezTo>
                  <a:pt x="110" y="14"/>
                  <a:pt x="110" y="14"/>
                  <a:pt x="110" y="14"/>
                </a:cubicBezTo>
                <a:cubicBezTo>
                  <a:pt x="109" y="14"/>
                  <a:pt x="109" y="14"/>
                  <a:pt x="109" y="14"/>
                </a:cubicBezTo>
                <a:cubicBezTo>
                  <a:pt x="98" y="7"/>
                  <a:pt x="98" y="7"/>
                  <a:pt x="98" y="7"/>
                </a:cubicBezTo>
                <a:cubicBezTo>
                  <a:pt x="68" y="7"/>
                  <a:pt x="68" y="7"/>
                  <a:pt x="68" y="7"/>
                </a:cubicBezTo>
                <a:cubicBezTo>
                  <a:pt x="68" y="7"/>
                  <a:pt x="68" y="7"/>
                  <a:pt x="67" y="7"/>
                </a:cubicBezTo>
                <a:cubicBezTo>
                  <a:pt x="67" y="7"/>
                  <a:pt x="67" y="8"/>
                  <a:pt x="66" y="8"/>
                </a:cubicBezTo>
                <a:cubicBezTo>
                  <a:pt x="64" y="9"/>
                  <a:pt x="61" y="7"/>
                  <a:pt x="60" y="7"/>
                </a:cubicBezTo>
                <a:cubicBezTo>
                  <a:pt x="53" y="4"/>
                  <a:pt x="53" y="4"/>
                  <a:pt x="53" y="4"/>
                </a:cubicBezTo>
                <a:cubicBezTo>
                  <a:pt x="49" y="2"/>
                  <a:pt x="49" y="2"/>
                  <a:pt x="49" y="2"/>
                </a:cubicBezTo>
                <a:cubicBezTo>
                  <a:pt x="44" y="0"/>
                  <a:pt x="44" y="0"/>
                  <a:pt x="44" y="0"/>
                </a:cubicBezTo>
                <a:cubicBezTo>
                  <a:pt x="42" y="1"/>
                  <a:pt x="42" y="1"/>
                  <a:pt x="42" y="1"/>
                </a:cubicBezTo>
                <a:cubicBezTo>
                  <a:pt x="40" y="5"/>
                  <a:pt x="40" y="5"/>
                  <a:pt x="40" y="5"/>
                </a:cubicBezTo>
                <a:cubicBezTo>
                  <a:pt x="40" y="6"/>
                  <a:pt x="39" y="7"/>
                  <a:pt x="39" y="7"/>
                </a:cubicBezTo>
                <a:cubicBezTo>
                  <a:pt x="31" y="7"/>
                  <a:pt x="31" y="7"/>
                  <a:pt x="31" y="7"/>
                </a:cubicBezTo>
                <a:cubicBezTo>
                  <a:pt x="30" y="7"/>
                  <a:pt x="29" y="8"/>
                  <a:pt x="26" y="10"/>
                </a:cubicBezTo>
                <a:cubicBezTo>
                  <a:pt x="25" y="12"/>
                  <a:pt x="24" y="13"/>
                  <a:pt x="23" y="12"/>
                </a:cubicBezTo>
                <a:cubicBezTo>
                  <a:pt x="23" y="13"/>
                  <a:pt x="23" y="13"/>
                  <a:pt x="22" y="13"/>
                </a:cubicBezTo>
                <a:cubicBezTo>
                  <a:pt x="21" y="13"/>
                  <a:pt x="21" y="13"/>
                  <a:pt x="19" y="16"/>
                </a:cubicBezTo>
                <a:cubicBezTo>
                  <a:pt x="19" y="17"/>
                  <a:pt x="17" y="19"/>
                  <a:pt x="15" y="18"/>
                </a:cubicBezTo>
                <a:cubicBezTo>
                  <a:pt x="14" y="19"/>
                  <a:pt x="14" y="19"/>
                  <a:pt x="14" y="20"/>
                </a:cubicBezTo>
                <a:cubicBezTo>
                  <a:pt x="13" y="21"/>
                  <a:pt x="13" y="21"/>
                  <a:pt x="12" y="22"/>
                </a:cubicBezTo>
                <a:cubicBezTo>
                  <a:pt x="11" y="22"/>
                  <a:pt x="11" y="22"/>
                  <a:pt x="11" y="22"/>
                </a:cubicBezTo>
                <a:cubicBezTo>
                  <a:pt x="10" y="22"/>
                  <a:pt x="9" y="21"/>
                  <a:pt x="9" y="21"/>
                </a:cubicBezTo>
                <a:cubicBezTo>
                  <a:pt x="8" y="21"/>
                  <a:pt x="8" y="21"/>
                  <a:pt x="8" y="21"/>
                </a:cubicBezTo>
                <a:cubicBezTo>
                  <a:pt x="8" y="28"/>
                  <a:pt x="8" y="28"/>
                  <a:pt x="8" y="28"/>
                </a:cubicBezTo>
                <a:cubicBezTo>
                  <a:pt x="8" y="29"/>
                  <a:pt x="7" y="30"/>
                  <a:pt x="6" y="30"/>
                </a:cubicBezTo>
                <a:cubicBezTo>
                  <a:pt x="3" y="31"/>
                  <a:pt x="3" y="31"/>
                  <a:pt x="3" y="31"/>
                </a:cubicBezTo>
                <a:cubicBezTo>
                  <a:pt x="3" y="32"/>
                  <a:pt x="2" y="32"/>
                  <a:pt x="2" y="32"/>
                </a:cubicBezTo>
                <a:cubicBezTo>
                  <a:pt x="2" y="32"/>
                  <a:pt x="2" y="33"/>
                  <a:pt x="1" y="34"/>
                </a:cubicBezTo>
                <a:cubicBezTo>
                  <a:pt x="1" y="35"/>
                  <a:pt x="1" y="35"/>
                  <a:pt x="1" y="35"/>
                </a:cubicBezTo>
                <a:cubicBezTo>
                  <a:pt x="1" y="39"/>
                  <a:pt x="1" y="39"/>
                  <a:pt x="1" y="39"/>
                </a:cubicBezTo>
                <a:cubicBezTo>
                  <a:pt x="0" y="40"/>
                  <a:pt x="0" y="40"/>
                  <a:pt x="0" y="40"/>
                </a:cubicBezTo>
                <a:cubicBezTo>
                  <a:pt x="1" y="40"/>
                  <a:pt x="1" y="41"/>
                  <a:pt x="1" y="41"/>
                </a:cubicBezTo>
                <a:cubicBezTo>
                  <a:pt x="1" y="41"/>
                  <a:pt x="1" y="41"/>
                  <a:pt x="1" y="42"/>
                </a:cubicBezTo>
                <a:cubicBezTo>
                  <a:pt x="2" y="42"/>
                  <a:pt x="2" y="42"/>
                  <a:pt x="2" y="42"/>
                </a:cubicBezTo>
                <a:cubicBezTo>
                  <a:pt x="3" y="43"/>
                  <a:pt x="4" y="44"/>
                  <a:pt x="5" y="44"/>
                </a:cubicBezTo>
                <a:cubicBezTo>
                  <a:pt x="6" y="44"/>
                  <a:pt x="6" y="45"/>
                  <a:pt x="6" y="45"/>
                </a:cubicBezTo>
                <a:cubicBezTo>
                  <a:pt x="8" y="46"/>
                  <a:pt x="8" y="46"/>
                  <a:pt x="8" y="46"/>
                </a:cubicBezTo>
                <a:cubicBezTo>
                  <a:pt x="9" y="46"/>
                  <a:pt x="9" y="46"/>
                  <a:pt x="9" y="46"/>
                </a:cubicBezTo>
                <a:cubicBezTo>
                  <a:pt x="11" y="46"/>
                  <a:pt x="12" y="47"/>
                  <a:pt x="13" y="48"/>
                </a:cubicBezTo>
                <a:cubicBezTo>
                  <a:pt x="13" y="48"/>
                  <a:pt x="13" y="48"/>
                  <a:pt x="14" y="48"/>
                </a:cubicBezTo>
                <a:cubicBezTo>
                  <a:pt x="14" y="49"/>
                  <a:pt x="15" y="50"/>
                  <a:pt x="15" y="51"/>
                </a:cubicBezTo>
                <a:cubicBezTo>
                  <a:pt x="26" y="51"/>
                  <a:pt x="26" y="51"/>
                  <a:pt x="26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9" y="52"/>
                  <a:pt x="30" y="52"/>
                  <a:pt x="31" y="52"/>
                </a:cubicBezTo>
                <a:cubicBezTo>
                  <a:pt x="31" y="52"/>
                  <a:pt x="32" y="52"/>
                  <a:pt x="35" y="54"/>
                </a:cubicBezTo>
                <a:cubicBezTo>
                  <a:pt x="36" y="54"/>
                  <a:pt x="36" y="55"/>
                  <a:pt x="36" y="56"/>
                </a:cubicBezTo>
                <a:cubicBezTo>
                  <a:pt x="36" y="57"/>
                  <a:pt x="36" y="57"/>
                  <a:pt x="36" y="57"/>
                </a:cubicBezTo>
                <a:cubicBezTo>
                  <a:pt x="37" y="57"/>
                  <a:pt x="37" y="57"/>
                  <a:pt x="38" y="57"/>
                </a:cubicBezTo>
                <a:cubicBezTo>
                  <a:pt x="38" y="57"/>
                  <a:pt x="39" y="57"/>
                  <a:pt x="41" y="57"/>
                </a:cubicBezTo>
                <a:cubicBezTo>
                  <a:pt x="43" y="57"/>
                  <a:pt x="43" y="57"/>
                  <a:pt x="43" y="57"/>
                </a:cubicBezTo>
                <a:cubicBezTo>
                  <a:pt x="44" y="57"/>
                  <a:pt x="44" y="58"/>
                  <a:pt x="45" y="58"/>
                </a:cubicBezTo>
                <a:cubicBezTo>
                  <a:pt x="46" y="60"/>
                  <a:pt x="46" y="60"/>
                  <a:pt x="46" y="60"/>
                </a:cubicBezTo>
                <a:cubicBezTo>
                  <a:pt x="46" y="61"/>
                  <a:pt x="47" y="61"/>
                  <a:pt x="47" y="61"/>
                </a:cubicBezTo>
                <a:cubicBezTo>
                  <a:pt x="48" y="61"/>
                  <a:pt x="49" y="61"/>
                  <a:pt x="49" y="62"/>
                </a:cubicBezTo>
                <a:cubicBezTo>
                  <a:pt x="53" y="67"/>
                  <a:pt x="53" y="67"/>
                  <a:pt x="53" y="67"/>
                </a:cubicBezTo>
                <a:cubicBezTo>
                  <a:pt x="56" y="70"/>
                  <a:pt x="56" y="70"/>
                  <a:pt x="56" y="70"/>
                </a:cubicBezTo>
                <a:cubicBezTo>
                  <a:pt x="56" y="71"/>
                  <a:pt x="56" y="71"/>
                  <a:pt x="56" y="72"/>
                </a:cubicBezTo>
                <a:cubicBezTo>
                  <a:pt x="56" y="75"/>
                  <a:pt x="56" y="75"/>
                  <a:pt x="56" y="75"/>
                </a:cubicBezTo>
                <a:cubicBezTo>
                  <a:pt x="57" y="75"/>
                  <a:pt x="57" y="75"/>
                  <a:pt x="57" y="75"/>
                </a:cubicBezTo>
                <a:cubicBezTo>
                  <a:pt x="58" y="75"/>
                  <a:pt x="58" y="75"/>
                  <a:pt x="58" y="75"/>
                </a:cubicBezTo>
                <a:cubicBezTo>
                  <a:pt x="58" y="75"/>
                  <a:pt x="59" y="75"/>
                  <a:pt x="59" y="76"/>
                </a:cubicBezTo>
                <a:cubicBezTo>
                  <a:pt x="61" y="78"/>
                  <a:pt x="61" y="78"/>
                  <a:pt x="61" y="78"/>
                </a:cubicBezTo>
                <a:cubicBezTo>
                  <a:pt x="63" y="78"/>
                  <a:pt x="63" y="78"/>
                  <a:pt x="63" y="78"/>
                </a:cubicBezTo>
                <a:cubicBezTo>
                  <a:pt x="64" y="78"/>
                  <a:pt x="64" y="79"/>
                  <a:pt x="64" y="79"/>
                </a:cubicBezTo>
                <a:cubicBezTo>
                  <a:pt x="67" y="80"/>
                  <a:pt x="67" y="80"/>
                  <a:pt x="67" y="80"/>
                </a:cubicBezTo>
                <a:cubicBezTo>
                  <a:pt x="68" y="80"/>
                  <a:pt x="68" y="80"/>
                  <a:pt x="68" y="80"/>
                </a:cubicBezTo>
                <a:cubicBezTo>
                  <a:pt x="69" y="80"/>
                  <a:pt x="69" y="80"/>
                  <a:pt x="69" y="80"/>
                </a:cubicBezTo>
                <a:cubicBezTo>
                  <a:pt x="70" y="80"/>
                  <a:pt x="71" y="80"/>
                  <a:pt x="72" y="81"/>
                </a:cubicBezTo>
                <a:cubicBezTo>
                  <a:pt x="73" y="81"/>
                  <a:pt x="76" y="82"/>
                  <a:pt x="77" y="82"/>
                </a:cubicBezTo>
                <a:cubicBezTo>
                  <a:pt x="78" y="82"/>
                  <a:pt x="78" y="82"/>
                  <a:pt x="78" y="82"/>
                </a:cubicBezTo>
                <a:cubicBezTo>
                  <a:pt x="80" y="81"/>
                  <a:pt x="80" y="81"/>
                  <a:pt x="80" y="81"/>
                </a:cubicBezTo>
                <a:cubicBezTo>
                  <a:pt x="81" y="79"/>
                  <a:pt x="83" y="77"/>
                  <a:pt x="84" y="77"/>
                </a:cubicBezTo>
                <a:cubicBezTo>
                  <a:pt x="84" y="76"/>
                  <a:pt x="85" y="76"/>
                  <a:pt x="85" y="76"/>
                </a:cubicBezTo>
                <a:cubicBezTo>
                  <a:pt x="93" y="77"/>
                  <a:pt x="93" y="77"/>
                  <a:pt x="93" y="77"/>
                </a:cubicBezTo>
                <a:cubicBezTo>
                  <a:pt x="99" y="77"/>
                  <a:pt x="99" y="77"/>
                  <a:pt x="99" y="77"/>
                </a:cubicBezTo>
                <a:cubicBezTo>
                  <a:pt x="100" y="77"/>
                  <a:pt x="101" y="78"/>
                  <a:pt x="101" y="78"/>
                </a:cubicBezTo>
                <a:cubicBezTo>
                  <a:pt x="101" y="79"/>
                  <a:pt x="101" y="79"/>
                  <a:pt x="101" y="80"/>
                </a:cubicBezTo>
                <a:cubicBezTo>
                  <a:pt x="102" y="80"/>
                  <a:pt x="102" y="80"/>
                  <a:pt x="102" y="80"/>
                </a:cubicBezTo>
                <a:cubicBezTo>
                  <a:pt x="105" y="80"/>
                  <a:pt x="109" y="80"/>
                  <a:pt x="109" y="80"/>
                </a:cubicBezTo>
                <a:cubicBezTo>
                  <a:pt x="109" y="80"/>
                  <a:pt x="109" y="80"/>
                  <a:pt x="110" y="81"/>
                </a:cubicBezTo>
                <a:cubicBezTo>
                  <a:pt x="113" y="82"/>
                  <a:pt x="113" y="82"/>
                  <a:pt x="113" y="82"/>
                </a:cubicBezTo>
                <a:cubicBezTo>
                  <a:pt x="114" y="82"/>
                  <a:pt x="114" y="83"/>
                  <a:pt x="115" y="84"/>
                </a:cubicBezTo>
                <a:cubicBezTo>
                  <a:pt x="115" y="84"/>
                  <a:pt x="115" y="84"/>
                  <a:pt x="116" y="84"/>
                </a:cubicBezTo>
                <a:cubicBezTo>
                  <a:pt x="117" y="86"/>
                  <a:pt x="117" y="86"/>
                  <a:pt x="117" y="86"/>
                </a:cubicBezTo>
                <a:cubicBezTo>
                  <a:pt x="120" y="91"/>
                  <a:pt x="120" y="91"/>
                  <a:pt x="120" y="91"/>
                </a:cubicBezTo>
                <a:cubicBezTo>
                  <a:pt x="124" y="93"/>
                  <a:pt x="124" y="93"/>
                  <a:pt x="124" y="93"/>
                </a:cubicBezTo>
                <a:cubicBezTo>
                  <a:pt x="124" y="93"/>
                  <a:pt x="125" y="93"/>
                  <a:pt x="126" y="93"/>
                </a:cubicBezTo>
                <a:cubicBezTo>
                  <a:pt x="126" y="93"/>
                  <a:pt x="126" y="93"/>
                  <a:pt x="127" y="94"/>
                </a:cubicBezTo>
                <a:cubicBezTo>
                  <a:pt x="131" y="94"/>
                  <a:pt x="131" y="94"/>
                  <a:pt x="131" y="94"/>
                </a:cubicBezTo>
                <a:cubicBezTo>
                  <a:pt x="132" y="94"/>
                  <a:pt x="132" y="94"/>
                  <a:pt x="132" y="94"/>
                </a:cubicBezTo>
                <a:cubicBezTo>
                  <a:pt x="135" y="96"/>
                  <a:pt x="135" y="96"/>
                  <a:pt x="135" y="96"/>
                </a:cubicBezTo>
                <a:cubicBezTo>
                  <a:pt x="135" y="97"/>
                  <a:pt x="135" y="97"/>
                  <a:pt x="135" y="97"/>
                </a:cubicBezTo>
                <a:cubicBezTo>
                  <a:pt x="136" y="97"/>
                  <a:pt x="136" y="97"/>
                  <a:pt x="136" y="97"/>
                </a:cubicBezTo>
                <a:cubicBezTo>
                  <a:pt x="136" y="91"/>
                  <a:pt x="136" y="91"/>
                  <a:pt x="136" y="91"/>
                </a:cubicBezTo>
                <a:cubicBezTo>
                  <a:pt x="136" y="91"/>
                  <a:pt x="136" y="90"/>
                  <a:pt x="137" y="90"/>
                </a:cubicBezTo>
                <a:cubicBezTo>
                  <a:pt x="137" y="89"/>
                  <a:pt x="138" y="89"/>
                  <a:pt x="139" y="90"/>
                </a:cubicBezTo>
                <a:cubicBezTo>
                  <a:pt x="141" y="90"/>
                  <a:pt x="141" y="90"/>
                  <a:pt x="141" y="90"/>
                </a:cubicBezTo>
                <a:cubicBezTo>
                  <a:pt x="141" y="90"/>
                  <a:pt x="142" y="90"/>
                  <a:pt x="142" y="91"/>
                </a:cubicBezTo>
                <a:cubicBezTo>
                  <a:pt x="143" y="92"/>
                  <a:pt x="143" y="92"/>
                  <a:pt x="143" y="92"/>
                </a:cubicBezTo>
                <a:cubicBezTo>
                  <a:pt x="144" y="92"/>
                  <a:pt x="144" y="92"/>
                  <a:pt x="145" y="91"/>
                </a:cubicBezTo>
                <a:cubicBezTo>
                  <a:pt x="147" y="91"/>
                  <a:pt x="148" y="90"/>
                  <a:pt x="149" y="89"/>
                </a:cubicBezTo>
                <a:cubicBezTo>
                  <a:pt x="149" y="88"/>
                  <a:pt x="150" y="87"/>
                  <a:pt x="152" y="87"/>
                </a:cubicBezTo>
                <a:cubicBezTo>
                  <a:pt x="153" y="87"/>
                  <a:pt x="153" y="87"/>
                  <a:pt x="153" y="87"/>
                </a:cubicBezTo>
                <a:cubicBezTo>
                  <a:pt x="153" y="85"/>
                  <a:pt x="153" y="85"/>
                  <a:pt x="153" y="85"/>
                </a:cubicBezTo>
                <a:cubicBezTo>
                  <a:pt x="152" y="84"/>
                  <a:pt x="152" y="83"/>
                  <a:pt x="152" y="82"/>
                </a:cubicBezTo>
                <a:cubicBezTo>
                  <a:pt x="152" y="80"/>
                  <a:pt x="154" y="80"/>
                  <a:pt x="155" y="79"/>
                </a:cubicBezTo>
                <a:cubicBezTo>
                  <a:pt x="158" y="78"/>
                  <a:pt x="158" y="78"/>
                  <a:pt x="158" y="78"/>
                </a:cubicBezTo>
                <a:cubicBezTo>
                  <a:pt x="159" y="77"/>
                  <a:pt x="160" y="76"/>
                  <a:pt x="160" y="75"/>
                </a:cubicBezTo>
                <a:cubicBezTo>
                  <a:pt x="161" y="74"/>
                  <a:pt x="161" y="74"/>
                  <a:pt x="161" y="74"/>
                </a:cubicBezTo>
                <a:cubicBezTo>
                  <a:pt x="161" y="73"/>
                  <a:pt x="161" y="73"/>
                  <a:pt x="161" y="72"/>
                </a:cubicBezTo>
                <a:cubicBezTo>
                  <a:pt x="161" y="71"/>
                  <a:pt x="162" y="70"/>
                  <a:pt x="165" y="70"/>
                </a:cubicBezTo>
                <a:cubicBezTo>
                  <a:pt x="167" y="70"/>
                  <a:pt x="167" y="70"/>
                  <a:pt x="167" y="70"/>
                </a:cubicBezTo>
                <a:cubicBezTo>
                  <a:pt x="169" y="67"/>
                  <a:pt x="169" y="67"/>
                  <a:pt x="169" y="67"/>
                </a:cubicBezTo>
                <a:cubicBezTo>
                  <a:pt x="169" y="67"/>
                  <a:pt x="170" y="67"/>
                  <a:pt x="171" y="67"/>
                </a:cubicBezTo>
                <a:cubicBezTo>
                  <a:pt x="176" y="67"/>
                  <a:pt x="176" y="67"/>
                  <a:pt x="176" y="67"/>
                </a:cubicBezTo>
                <a:cubicBezTo>
                  <a:pt x="177" y="67"/>
                  <a:pt x="177" y="67"/>
                  <a:pt x="177" y="67"/>
                </a:cubicBezTo>
                <a:cubicBezTo>
                  <a:pt x="177" y="68"/>
                  <a:pt x="178" y="68"/>
                  <a:pt x="178" y="68"/>
                </a:cubicBezTo>
                <a:cubicBezTo>
                  <a:pt x="178" y="67"/>
                  <a:pt x="178" y="67"/>
                  <a:pt x="178" y="67"/>
                </a:cubicBezTo>
                <a:cubicBezTo>
                  <a:pt x="179" y="67"/>
                  <a:pt x="179" y="67"/>
                  <a:pt x="179" y="67"/>
                </a:cubicBezTo>
                <a:cubicBezTo>
                  <a:pt x="179" y="65"/>
                  <a:pt x="179" y="65"/>
                  <a:pt x="179" y="65"/>
                </a:cubicBezTo>
                <a:cubicBezTo>
                  <a:pt x="178" y="65"/>
                  <a:pt x="178" y="65"/>
                  <a:pt x="178" y="65"/>
                </a:cubicBezTo>
                <a:cubicBezTo>
                  <a:pt x="178" y="64"/>
                  <a:pt x="177" y="63"/>
                  <a:pt x="177" y="61"/>
                </a:cubicBezTo>
                <a:cubicBezTo>
                  <a:pt x="178" y="59"/>
                  <a:pt x="180" y="57"/>
                  <a:pt x="181" y="56"/>
                </a:cubicBezTo>
                <a:cubicBezTo>
                  <a:pt x="181" y="54"/>
                  <a:pt x="181" y="53"/>
                  <a:pt x="181" y="52"/>
                </a:cubicBezTo>
                <a:cubicBezTo>
                  <a:pt x="181" y="52"/>
                  <a:pt x="181" y="51"/>
                  <a:pt x="181" y="50"/>
                </a:cubicBezTo>
                <a:cubicBezTo>
                  <a:pt x="180" y="47"/>
                  <a:pt x="180" y="47"/>
                  <a:pt x="180" y="4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3" name="Freeform 84">
            <a:extLst>
              <a:ext uri="{FF2B5EF4-FFF2-40B4-BE49-F238E27FC236}">
                <a16:creationId xmlns:a16="http://schemas.microsoft.com/office/drawing/2014/main" id="{F3CD232E-B055-4519-94A9-722F6A110B59}"/>
              </a:ext>
            </a:extLst>
          </p:cNvPr>
          <p:cNvSpPr>
            <a:spLocks/>
          </p:cNvSpPr>
          <p:nvPr/>
        </p:nvSpPr>
        <p:spPr bwMode="auto">
          <a:xfrm>
            <a:off x="5563011" y="3280891"/>
            <a:ext cx="170259" cy="114300"/>
          </a:xfrm>
          <a:custGeom>
            <a:avLst/>
            <a:gdLst>
              <a:gd name="T0" fmla="*/ 32 w 70"/>
              <a:gd name="T1" fmla="*/ 31 h 51"/>
              <a:gd name="T2" fmla="*/ 42 w 70"/>
              <a:gd name="T3" fmla="*/ 38 h 51"/>
              <a:gd name="T4" fmla="*/ 52 w 70"/>
              <a:gd name="T5" fmla="*/ 38 h 51"/>
              <a:gd name="T6" fmla="*/ 54 w 70"/>
              <a:gd name="T7" fmla="*/ 39 h 51"/>
              <a:gd name="T8" fmla="*/ 58 w 70"/>
              <a:gd name="T9" fmla="*/ 45 h 51"/>
              <a:gd name="T10" fmla="*/ 58 w 70"/>
              <a:gd name="T11" fmla="*/ 46 h 51"/>
              <a:gd name="T12" fmla="*/ 58 w 70"/>
              <a:gd name="T13" fmla="*/ 50 h 51"/>
              <a:gd name="T14" fmla="*/ 66 w 70"/>
              <a:gd name="T15" fmla="*/ 51 h 51"/>
              <a:gd name="T16" fmla="*/ 69 w 70"/>
              <a:gd name="T17" fmla="*/ 37 h 51"/>
              <a:gd name="T18" fmla="*/ 70 w 70"/>
              <a:gd name="T19" fmla="*/ 36 h 51"/>
              <a:gd name="T20" fmla="*/ 68 w 70"/>
              <a:gd name="T21" fmla="*/ 34 h 51"/>
              <a:gd name="T22" fmla="*/ 67 w 70"/>
              <a:gd name="T23" fmla="*/ 32 h 51"/>
              <a:gd name="T24" fmla="*/ 67 w 70"/>
              <a:gd name="T25" fmla="*/ 31 h 51"/>
              <a:gd name="T26" fmla="*/ 58 w 70"/>
              <a:gd name="T27" fmla="*/ 3 h 51"/>
              <a:gd name="T28" fmla="*/ 57 w 70"/>
              <a:gd name="T29" fmla="*/ 0 h 51"/>
              <a:gd name="T30" fmla="*/ 55 w 70"/>
              <a:gd name="T31" fmla="*/ 0 h 51"/>
              <a:gd name="T32" fmla="*/ 54 w 70"/>
              <a:gd name="T33" fmla="*/ 1 h 51"/>
              <a:gd name="T34" fmla="*/ 54 w 70"/>
              <a:gd name="T35" fmla="*/ 2 h 51"/>
              <a:gd name="T36" fmla="*/ 53 w 70"/>
              <a:gd name="T37" fmla="*/ 4 h 51"/>
              <a:gd name="T38" fmla="*/ 51 w 70"/>
              <a:gd name="T39" fmla="*/ 5 h 51"/>
              <a:gd name="T40" fmla="*/ 49 w 70"/>
              <a:gd name="T41" fmla="*/ 5 h 51"/>
              <a:gd name="T42" fmla="*/ 46 w 70"/>
              <a:gd name="T43" fmla="*/ 4 h 51"/>
              <a:gd name="T44" fmla="*/ 41 w 70"/>
              <a:gd name="T45" fmla="*/ 5 h 51"/>
              <a:gd name="T46" fmla="*/ 35 w 70"/>
              <a:gd name="T47" fmla="*/ 5 h 51"/>
              <a:gd name="T48" fmla="*/ 30 w 70"/>
              <a:gd name="T49" fmla="*/ 5 h 51"/>
              <a:gd name="T50" fmla="*/ 29 w 70"/>
              <a:gd name="T51" fmla="*/ 5 h 51"/>
              <a:gd name="T52" fmla="*/ 25 w 70"/>
              <a:gd name="T53" fmla="*/ 4 h 51"/>
              <a:gd name="T54" fmla="*/ 22 w 70"/>
              <a:gd name="T55" fmla="*/ 3 h 51"/>
              <a:gd name="T56" fmla="*/ 20 w 70"/>
              <a:gd name="T57" fmla="*/ 1 h 51"/>
              <a:gd name="T58" fmla="*/ 19 w 70"/>
              <a:gd name="T59" fmla="*/ 1 h 51"/>
              <a:gd name="T60" fmla="*/ 16 w 70"/>
              <a:gd name="T61" fmla="*/ 1 h 51"/>
              <a:gd name="T62" fmla="*/ 13 w 70"/>
              <a:gd name="T63" fmla="*/ 1 h 51"/>
              <a:gd name="T64" fmla="*/ 10 w 70"/>
              <a:gd name="T65" fmla="*/ 1 h 51"/>
              <a:gd name="T66" fmla="*/ 8 w 70"/>
              <a:gd name="T67" fmla="*/ 3 h 51"/>
              <a:gd name="T68" fmla="*/ 8 w 70"/>
              <a:gd name="T69" fmla="*/ 5 h 51"/>
              <a:gd name="T70" fmla="*/ 8 w 70"/>
              <a:gd name="T71" fmla="*/ 6 h 51"/>
              <a:gd name="T72" fmla="*/ 8 w 70"/>
              <a:gd name="T73" fmla="*/ 9 h 51"/>
              <a:gd name="T74" fmla="*/ 6 w 70"/>
              <a:gd name="T75" fmla="*/ 13 h 51"/>
              <a:gd name="T76" fmla="*/ 4 w 70"/>
              <a:gd name="T77" fmla="*/ 14 h 51"/>
              <a:gd name="T78" fmla="*/ 5 w 70"/>
              <a:gd name="T79" fmla="*/ 15 h 51"/>
              <a:gd name="T80" fmla="*/ 7 w 70"/>
              <a:gd name="T81" fmla="*/ 19 h 51"/>
              <a:gd name="T82" fmla="*/ 6 w 70"/>
              <a:gd name="T83" fmla="*/ 22 h 51"/>
              <a:gd name="T84" fmla="*/ 3 w 70"/>
              <a:gd name="T85" fmla="*/ 24 h 51"/>
              <a:gd name="T86" fmla="*/ 0 w 70"/>
              <a:gd name="T87" fmla="*/ 31 h 51"/>
              <a:gd name="T88" fmla="*/ 31 w 70"/>
              <a:gd name="T89" fmla="*/ 31 h 51"/>
              <a:gd name="T90" fmla="*/ 32 w 70"/>
              <a:gd name="T91" fmla="*/ 3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0" h="51">
                <a:moveTo>
                  <a:pt x="32" y="31"/>
                </a:moveTo>
                <a:cubicBezTo>
                  <a:pt x="42" y="38"/>
                  <a:pt x="42" y="38"/>
                  <a:pt x="42" y="38"/>
                </a:cubicBezTo>
                <a:cubicBezTo>
                  <a:pt x="52" y="38"/>
                  <a:pt x="52" y="38"/>
                  <a:pt x="52" y="38"/>
                </a:cubicBezTo>
                <a:cubicBezTo>
                  <a:pt x="53" y="38"/>
                  <a:pt x="53" y="39"/>
                  <a:pt x="54" y="39"/>
                </a:cubicBezTo>
                <a:cubicBezTo>
                  <a:pt x="58" y="45"/>
                  <a:pt x="58" y="45"/>
                  <a:pt x="58" y="45"/>
                </a:cubicBezTo>
                <a:cubicBezTo>
                  <a:pt x="58" y="45"/>
                  <a:pt x="58" y="46"/>
                  <a:pt x="58" y="46"/>
                </a:cubicBezTo>
                <a:cubicBezTo>
                  <a:pt x="58" y="50"/>
                  <a:pt x="58" y="50"/>
                  <a:pt x="58" y="50"/>
                </a:cubicBezTo>
                <a:cubicBezTo>
                  <a:pt x="66" y="51"/>
                  <a:pt x="66" y="51"/>
                  <a:pt x="66" y="51"/>
                </a:cubicBezTo>
                <a:cubicBezTo>
                  <a:pt x="67" y="48"/>
                  <a:pt x="68" y="41"/>
                  <a:pt x="69" y="37"/>
                </a:cubicBezTo>
                <a:cubicBezTo>
                  <a:pt x="69" y="37"/>
                  <a:pt x="69" y="37"/>
                  <a:pt x="70" y="36"/>
                </a:cubicBezTo>
                <a:cubicBezTo>
                  <a:pt x="68" y="34"/>
                  <a:pt x="68" y="34"/>
                  <a:pt x="68" y="34"/>
                </a:cubicBezTo>
                <a:cubicBezTo>
                  <a:pt x="67" y="32"/>
                  <a:pt x="67" y="32"/>
                  <a:pt x="67" y="32"/>
                </a:cubicBezTo>
                <a:cubicBezTo>
                  <a:pt x="67" y="31"/>
                  <a:pt x="67" y="31"/>
                  <a:pt x="67" y="31"/>
                </a:cubicBezTo>
                <a:cubicBezTo>
                  <a:pt x="58" y="3"/>
                  <a:pt x="58" y="3"/>
                  <a:pt x="58" y="3"/>
                </a:cubicBezTo>
                <a:cubicBezTo>
                  <a:pt x="57" y="0"/>
                  <a:pt x="57" y="0"/>
                  <a:pt x="57" y="0"/>
                </a:cubicBezTo>
                <a:cubicBezTo>
                  <a:pt x="55" y="0"/>
                  <a:pt x="55" y="0"/>
                  <a:pt x="55" y="0"/>
                </a:cubicBezTo>
                <a:cubicBezTo>
                  <a:pt x="54" y="1"/>
                  <a:pt x="54" y="1"/>
                  <a:pt x="54" y="1"/>
                </a:cubicBezTo>
                <a:cubicBezTo>
                  <a:pt x="54" y="2"/>
                  <a:pt x="54" y="2"/>
                  <a:pt x="54" y="2"/>
                </a:cubicBezTo>
                <a:cubicBezTo>
                  <a:pt x="54" y="3"/>
                  <a:pt x="53" y="3"/>
                  <a:pt x="53" y="4"/>
                </a:cubicBezTo>
                <a:cubicBezTo>
                  <a:pt x="51" y="5"/>
                  <a:pt x="51" y="5"/>
                  <a:pt x="51" y="5"/>
                </a:cubicBezTo>
                <a:cubicBezTo>
                  <a:pt x="50" y="5"/>
                  <a:pt x="49" y="5"/>
                  <a:pt x="49" y="5"/>
                </a:cubicBezTo>
                <a:cubicBezTo>
                  <a:pt x="46" y="4"/>
                  <a:pt x="46" y="4"/>
                  <a:pt x="46" y="4"/>
                </a:cubicBezTo>
                <a:cubicBezTo>
                  <a:pt x="45" y="4"/>
                  <a:pt x="43" y="4"/>
                  <a:pt x="41" y="5"/>
                </a:cubicBezTo>
                <a:cubicBezTo>
                  <a:pt x="39" y="6"/>
                  <a:pt x="36" y="7"/>
                  <a:pt x="35" y="5"/>
                </a:cubicBezTo>
                <a:cubicBezTo>
                  <a:pt x="30" y="5"/>
                  <a:pt x="30" y="5"/>
                  <a:pt x="30" y="5"/>
                </a:cubicBezTo>
                <a:cubicBezTo>
                  <a:pt x="29" y="5"/>
                  <a:pt x="29" y="5"/>
                  <a:pt x="29" y="5"/>
                </a:cubicBezTo>
                <a:cubicBezTo>
                  <a:pt x="25" y="4"/>
                  <a:pt x="25" y="4"/>
                  <a:pt x="25" y="4"/>
                </a:cubicBezTo>
                <a:cubicBezTo>
                  <a:pt x="22" y="3"/>
                  <a:pt x="22" y="3"/>
                  <a:pt x="22" y="3"/>
                </a:cubicBezTo>
                <a:cubicBezTo>
                  <a:pt x="20" y="3"/>
                  <a:pt x="20" y="2"/>
                  <a:pt x="20" y="1"/>
                </a:cubicBezTo>
                <a:cubicBezTo>
                  <a:pt x="19" y="1"/>
                  <a:pt x="19" y="1"/>
                  <a:pt x="19" y="1"/>
                </a:cubicBezTo>
                <a:cubicBezTo>
                  <a:pt x="18" y="1"/>
                  <a:pt x="17" y="1"/>
                  <a:pt x="16" y="1"/>
                </a:cubicBezTo>
                <a:cubicBezTo>
                  <a:pt x="15" y="2"/>
                  <a:pt x="14" y="2"/>
                  <a:pt x="13" y="1"/>
                </a:cubicBezTo>
                <a:cubicBezTo>
                  <a:pt x="10" y="1"/>
                  <a:pt x="10" y="1"/>
                  <a:pt x="10" y="1"/>
                </a:cubicBezTo>
                <a:cubicBezTo>
                  <a:pt x="8" y="3"/>
                  <a:pt x="8" y="3"/>
                  <a:pt x="8" y="3"/>
                </a:cubicBezTo>
                <a:cubicBezTo>
                  <a:pt x="8" y="3"/>
                  <a:pt x="8" y="4"/>
                  <a:pt x="8" y="5"/>
                </a:cubicBezTo>
                <a:cubicBezTo>
                  <a:pt x="8" y="6"/>
                  <a:pt x="8" y="6"/>
                  <a:pt x="8" y="6"/>
                </a:cubicBezTo>
                <a:cubicBezTo>
                  <a:pt x="8" y="7"/>
                  <a:pt x="8" y="7"/>
                  <a:pt x="8" y="9"/>
                </a:cubicBezTo>
                <a:cubicBezTo>
                  <a:pt x="8" y="11"/>
                  <a:pt x="8" y="12"/>
                  <a:pt x="6" y="13"/>
                </a:cubicBezTo>
                <a:cubicBezTo>
                  <a:pt x="6" y="13"/>
                  <a:pt x="5" y="14"/>
                  <a:pt x="4" y="14"/>
                </a:cubicBezTo>
                <a:cubicBezTo>
                  <a:pt x="5" y="15"/>
                  <a:pt x="5" y="15"/>
                  <a:pt x="5" y="15"/>
                </a:cubicBezTo>
                <a:cubicBezTo>
                  <a:pt x="6" y="17"/>
                  <a:pt x="7" y="17"/>
                  <a:pt x="7" y="19"/>
                </a:cubicBezTo>
                <a:cubicBezTo>
                  <a:pt x="7" y="20"/>
                  <a:pt x="7" y="21"/>
                  <a:pt x="6" y="22"/>
                </a:cubicBezTo>
                <a:cubicBezTo>
                  <a:pt x="6" y="23"/>
                  <a:pt x="4" y="24"/>
                  <a:pt x="3" y="24"/>
                </a:cubicBezTo>
                <a:cubicBezTo>
                  <a:pt x="2" y="26"/>
                  <a:pt x="0" y="29"/>
                  <a:pt x="0" y="31"/>
                </a:cubicBezTo>
                <a:cubicBezTo>
                  <a:pt x="31" y="31"/>
                  <a:pt x="31" y="31"/>
                  <a:pt x="31" y="31"/>
                </a:cubicBezTo>
                <a:cubicBezTo>
                  <a:pt x="31" y="31"/>
                  <a:pt x="31" y="31"/>
                  <a:pt x="32" y="3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Freeform 85">
            <a:extLst>
              <a:ext uri="{FF2B5EF4-FFF2-40B4-BE49-F238E27FC236}">
                <a16:creationId xmlns:a16="http://schemas.microsoft.com/office/drawing/2014/main" id="{5936437B-A1EF-4DAC-8026-1E11DE5883DC}"/>
              </a:ext>
            </a:extLst>
          </p:cNvPr>
          <p:cNvSpPr>
            <a:spLocks/>
          </p:cNvSpPr>
          <p:nvPr/>
        </p:nvSpPr>
        <p:spPr bwMode="auto">
          <a:xfrm>
            <a:off x="4906050" y="3177704"/>
            <a:ext cx="562372" cy="587375"/>
          </a:xfrm>
          <a:custGeom>
            <a:avLst/>
            <a:gdLst>
              <a:gd name="T0" fmla="*/ 229 w 233"/>
              <a:gd name="T1" fmla="*/ 158 h 263"/>
              <a:gd name="T2" fmla="*/ 218 w 233"/>
              <a:gd name="T3" fmla="*/ 147 h 263"/>
              <a:gd name="T4" fmla="*/ 211 w 233"/>
              <a:gd name="T5" fmla="*/ 129 h 263"/>
              <a:gd name="T6" fmla="*/ 213 w 233"/>
              <a:gd name="T7" fmla="*/ 124 h 263"/>
              <a:gd name="T8" fmla="*/ 205 w 233"/>
              <a:gd name="T9" fmla="*/ 121 h 263"/>
              <a:gd name="T10" fmla="*/ 201 w 233"/>
              <a:gd name="T11" fmla="*/ 108 h 263"/>
              <a:gd name="T12" fmla="*/ 208 w 233"/>
              <a:gd name="T13" fmla="*/ 101 h 263"/>
              <a:gd name="T14" fmla="*/ 203 w 233"/>
              <a:gd name="T15" fmla="*/ 88 h 263"/>
              <a:gd name="T16" fmla="*/ 193 w 233"/>
              <a:gd name="T17" fmla="*/ 80 h 263"/>
              <a:gd name="T18" fmla="*/ 184 w 233"/>
              <a:gd name="T19" fmla="*/ 88 h 263"/>
              <a:gd name="T20" fmla="*/ 173 w 233"/>
              <a:gd name="T21" fmla="*/ 89 h 263"/>
              <a:gd name="T22" fmla="*/ 163 w 233"/>
              <a:gd name="T23" fmla="*/ 77 h 263"/>
              <a:gd name="T24" fmla="*/ 165 w 233"/>
              <a:gd name="T25" fmla="*/ 66 h 263"/>
              <a:gd name="T26" fmla="*/ 163 w 233"/>
              <a:gd name="T27" fmla="*/ 50 h 263"/>
              <a:gd name="T28" fmla="*/ 165 w 233"/>
              <a:gd name="T29" fmla="*/ 40 h 263"/>
              <a:gd name="T30" fmla="*/ 169 w 233"/>
              <a:gd name="T31" fmla="*/ 32 h 263"/>
              <a:gd name="T32" fmla="*/ 179 w 233"/>
              <a:gd name="T33" fmla="*/ 27 h 263"/>
              <a:gd name="T34" fmla="*/ 168 w 233"/>
              <a:gd name="T35" fmla="*/ 21 h 263"/>
              <a:gd name="T36" fmla="*/ 162 w 233"/>
              <a:gd name="T37" fmla="*/ 15 h 263"/>
              <a:gd name="T38" fmla="*/ 156 w 233"/>
              <a:gd name="T39" fmla="*/ 8 h 263"/>
              <a:gd name="T40" fmla="*/ 150 w 233"/>
              <a:gd name="T41" fmla="*/ 2 h 263"/>
              <a:gd name="T42" fmla="*/ 138 w 233"/>
              <a:gd name="T43" fmla="*/ 3 h 263"/>
              <a:gd name="T44" fmla="*/ 131 w 233"/>
              <a:gd name="T45" fmla="*/ 11 h 263"/>
              <a:gd name="T46" fmla="*/ 119 w 233"/>
              <a:gd name="T47" fmla="*/ 20 h 263"/>
              <a:gd name="T48" fmla="*/ 110 w 233"/>
              <a:gd name="T49" fmla="*/ 29 h 263"/>
              <a:gd name="T50" fmla="*/ 96 w 233"/>
              <a:gd name="T51" fmla="*/ 36 h 263"/>
              <a:gd name="T52" fmla="*/ 88 w 233"/>
              <a:gd name="T53" fmla="*/ 42 h 263"/>
              <a:gd name="T54" fmla="*/ 71 w 233"/>
              <a:gd name="T55" fmla="*/ 50 h 263"/>
              <a:gd name="T56" fmla="*/ 58 w 233"/>
              <a:gd name="T57" fmla="*/ 45 h 263"/>
              <a:gd name="T58" fmla="*/ 9 w 233"/>
              <a:gd name="T59" fmla="*/ 123 h 263"/>
              <a:gd name="T60" fmla="*/ 14 w 233"/>
              <a:gd name="T61" fmla="*/ 175 h 263"/>
              <a:gd name="T62" fmla="*/ 34 w 233"/>
              <a:gd name="T63" fmla="*/ 211 h 263"/>
              <a:gd name="T64" fmla="*/ 43 w 233"/>
              <a:gd name="T65" fmla="*/ 226 h 263"/>
              <a:gd name="T66" fmla="*/ 59 w 233"/>
              <a:gd name="T67" fmla="*/ 236 h 263"/>
              <a:gd name="T68" fmla="*/ 62 w 233"/>
              <a:gd name="T69" fmla="*/ 220 h 263"/>
              <a:gd name="T70" fmla="*/ 66 w 233"/>
              <a:gd name="T71" fmla="*/ 227 h 263"/>
              <a:gd name="T72" fmla="*/ 62 w 233"/>
              <a:gd name="T73" fmla="*/ 245 h 263"/>
              <a:gd name="T74" fmla="*/ 63 w 233"/>
              <a:gd name="T75" fmla="*/ 260 h 263"/>
              <a:gd name="T76" fmla="*/ 84 w 233"/>
              <a:gd name="T77" fmla="*/ 252 h 263"/>
              <a:gd name="T78" fmla="*/ 118 w 233"/>
              <a:gd name="T79" fmla="*/ 231 h 263"/>
              <a:gd name="T80" fmla="*/ 129 w 233"/>
              <a:gd name="T81" fmla="*/ 242 h 263"/>
              <a:gd name="T82" fmla="*/ 145 w 233"/>
              <a:gd name="T83" fmla="*/ 240 h 263"/>
              <a:gd name="T84" fmla="*/ 158 w 233"/>
              <a:gd name="T85" fmla="*/ 238 h 263"/>
              <a:gd name="T86" fmla="*/ 171 w 233"/>
              <a:gd name="T87" fmla="*/ 236 h 263"/>
              <a:gd name="T88" fmla="*/ 187 w 233"/>
              <a:gd name="T89" fmla="*/ 226 h 263"/>
              <a:gd name="T90" fmla="*/ 179 w 233"/>
              <a:gd name="T91" fmla="*/ 220 h 263"/>
              <a:gd name="T92" fmla="*/ 174 w 233"/>
              <a:gd name="T93" fmla="*/ 209 h 263"/>
              <a:gd name="T94" fmla="*/ 173 w 233"/>
              <a:gd name="T95" fmla="*/ 197 h 263"/>
              <a:gd name="T96" fmla="*/ 177 w 233"/>
              <a:gd name="T97" fmla="*/ 191 h 263"/>
              <a:gd name="T98" fmla="*/ 193 w 233"/>
              <a:gd name="T99" fmla="*/ 192 h 263"/>
              <a:gd name="T100" fmla="*/ 203 w 233"/>
              <a:gd name="T101" fmla="*/ 195 h 263"/>
              <a:gd name="T102" fmla="*/ 214 w 233"/>
              <a:gd name="T103" fmla="*/ 193 h 263"/>
              <a:gd name="T104" fmla="*/ 214 w 233"/>
              <a:gd name="T105" fmla="*/ 181 h 263"/>
              <a:gd name="T106" fmla="*/ 231 w 233"/>
              <a:gd name="T107" fmla="*/ 174 h 2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3" h="263">
                <a:moveTo>
                  <a:pt x="232" y="165"/>
                </a:moveTo>
                <a:cubicBezTo>
                  <a:pt x="232" y="163"/>
                  <a:pt x="231" y="161"/>
                  <a:pt x="231" y="161"/>
                </a:cubicBezTo>
                <a:cubicBezTo>
                  <a:pt x="230" y="160"/>
                  <a:pt x="230" y="160"/>
                  <a:pt x="230" y="160"/>
                </a:cubicBezTo>
                <a:cubicBezTo>
                  <a:pt x="230" y="159"/>
                  <a:pt x="230" y="159"/>
                  <a:pt x="230" y="158"/>
                </a:cubicBezTo>
                <a:cubicBezTo>
                  <a:pt x="229" y="158"/>
                  <a:pt x="229" y="158"/>
                  <a:pt x="229" y="158"/>
                </a:cubicBezTo>
                <a:cubicBezTo>
                  <a:pt x="228" y="157"/>
                  <a:pt x="228" y="157"/>
                  <a:pt x="227" y="156"/>
                </a:cubicBezTo>
                <a:cubicBezTo>
                  <a:pt x="226" y="155"/>
                  <a:pt x="225" y="155"/>
                  <a:pt x="224" y="153"/>
                </a:cubicBezTo>
                <a:cubicBezTo>
                  <a:pt x="224" y="152"/>
                  <a:pt x="223" y="152"/>
                  <a:pt x="222" y="150"/>
                </a:cubicBezTo>
                <a:cubicBezTo>
                  <a:pt x="221" y="149"/>
                  <a:pt x="221" y="149"/>
                  <a:pt x="221" y="149"/>
                </a:cubicBezTo>
                <a:cubicBezTo>
                  <a:pt x="220" y="149"/>
                  <a:pt x="219" y="148"/>
                  <a:pt x="218" y="147"/>
                </a:cubicBezTo>
                <a:cubicBezTo>
                  <a:pt x="217" y="145"/>
                  <a:pt x="216" y="144"/>
                  <a:pt x="215" y="143"/>
                </a:cubicBezTo>
                <a:cubicBezTo>
                  <a:pt x="214" y="143"/>
                  <a:pt x="213" y="142"/>
                  <a:pt x="212" y="141"/>
                </a:cubicBezTo>
                <a:cubicBezTo>
                  <a:pt x="211" y="137"/>
                  <a:pt x="209" y="134"/>
                  <a:pt x="209" y="134"/>
                </a:cubicBezTo>
                <a:cubicBezTo>
                  <a:pt x="209" y="133"/>
                  <a:pt x="209" y="133"/>
                  <a:pt x="209" y="133"/>
                </a:cubicBezTo>
                <a:cubicBezTo>
                  <a:pt x="209" y="132"/>
                  <a:pt x="209" y="130"/>
                  <a:pt x="211" y="129"/>
                </a:cubicBezTo>
                <a:cubicBezTo>
                  <a:pt x="211" y="129"/>
                  <a:pt x="211" y="129"/>
                  <a:pt x="212" y="129"/>
                </a:cubicBezTo>
                <a:cubicBezTo>
                  <a:pt x="212" y="128"/>
                  <a:pt x="212" y="128"/>
                  <a:pt x="212" y="128"/>
                </a:cubicBezTo>
                <a:cubicBezTo>
                  <a:pt x="213" y="127"/>
                  <a:pt x="213" y="127"/>
                  <a:pt x="214" y="127"/>
                </a:cubicBezTo>
                <a:cubicBezTo>
                  <a:pt x="214" y="126"/>
                  <a:pt x="214" y="125"/>
                  <a:pt x="214" y="125"/>
                </a:cubicBezTo>
                <a:cubicBezTo>
                  <a:pt x="213" y="124"/>
                  <a:pt x="213" y="124"/>
                  <a:pt x="213" y="124"/>
                </a:cubicBezTo>
                <a:cubicBezTo>
                  <a:pt x="212" y="124"/>
                  <a:pt x="212" y="124"/>
                  <a:pt x="212" y="124"/>
                </a:cubicBezTo>
                <a:cubicBezTo>
                  <a:pt x="211" y="124"/>
                  <a:pt x="211" y="124"/>
                  <a:pt x="210" y="124"/>
                </a:cubicBezTo>
                <a:cubicBezTo>
                  <a:pt x="209" y="122"/>
                  <a:pt x="209" y="122"/>
                  <a:pt x="209" y="122"/>
                </a:cubicBezTo>
                <a:cubicBezTo>
                  <a:pt x="207" y="122"/>
                  <a:pt x="207" y="122"/>
                  <a:pt x="207" y="122"/>
                </a:cubicBezTo>
                <a:cubicBezTo>
                  <a:pt x="206" y="122"/>
                  <a:pt x="205" y="122"/>
                  <a:pt x="205" y="121"/>
                </a:cubicBezTo>
                <a:cubicBezTo>
                  <a:pt x="205" y="120"/>
                  <a:pt x="205" y="120"/>
                  <a:pt x="205" y="120"/>
                </a:cubicBezTo>
                <a:cubicBezTo>
                  <a:pt x="204" y="120"/>
                  <a:pt x="204" y="120"/>
                  <a:pt x="204" y="120"/>
                </a:cubicBezTo>
                <a:cubicBezTo>
                  <a:pt x="201" y="112"/>
                  <a:pt x="201" y="112"/>
                  <a:pt x="201" y="112"/>
                </a:cubicBezTo>
                <a:cubicBezTo>
                  <a:pt x="201" y="109"/>
                  <a:pt x="201" y="109"/>
                  <a:pt x="201" y="109"/>
                </a:cubicBezTo>
                <a:cubicBezTo>
                  <a:pt x="201" y="108"/>
                  <a:pt x="201" y="108"/>
                  <a:pt x="201" y="108"/>
                </a:cubicBezTo>
                <a:cubicBezTo>
                  <a:pt x="202" y="106"/>
                  <a:pt x="202" y="106"/>
                  <a:pt x="202" y="106"/>
                </a:cubicBezTo>
                <a:cubicBezTo>
                  <a:pt x="202" y="105"/>
                  <a:pt x="203" y="104"/>
                  <a:pt x="203" y="104"/>
                </a:cubicBezTo>
                <a:cubicBezTo>
                  <a:pt x="204" y="102"/>
                  <a:pt x="204" y="102"/>
                  <a:pt x="204" y="102"/>
                </a:cubicBezTo>
                <a:cubicBezTo>
                  <a:pt x="204" y="101"/>
                  <a:pt x="205" y="101"/>
                  <a:pt x="206" y="101"/>
                </a:cubicBezTo>
                <a:cubicBezTo>
                  <a:pt x="208" y="101"/>
                  <a:pt x="208" y="101"/>
                  <a:pt x="208" y="101"/>
                </a:cubicBezTo>
                <a:cubicBezTo>
                  <a:pt x="208" y="95"/>
                  <a:pt x="208" y="95"/>
                  <a:pt x="208" y="95"/>
                </a:cubicBezTo>
                <a:cubicBezTo>
                  <a:pt x="207" y="95"/>
                  <a:pt x="207" y="95"/>
                  <a:pt x="207" y="95"/>
                </a:cubicBezTo>
                <a:cubicBezTo>
                  <a:pt x="206" y="95"/>
                  <a:pt x="205" y="94"/>
                  <a:pt x="205" y="93"/>
                </a:cubicBezTo>
                <a:cubicBezTo>
                  <a:pt x="205" y="91"/>
                  <a:pt x="205" y="91"/>
                  <a:pt x="205" y="91"/>
                </a:cubicBezTo>
                <a:cubicBezTo>
                  <a:pt x="203" y="88"/>
                  <a:pt x="203" y="88"/>
                  <a:pt x="203" y="88"/>
                </a:cubicBezTo>
                <a:cubicBezTo>
                  <a:pt x="200" y="85"/>
                  <a:pt x="200" y="85"/>
                  <a:pt x="200" y="85"/>
                </a:cubicBezTo>
                <a:cubicBezTo>
                  <a:pt x="196" y="84"/>
                  <a:pt x="196" y="84"/>
                  <a:pt x="196" y="84"/>
                </a:cubicBezTo>
                <a:cubicBezTo>
                  <a:pt x="195" y="84"/>
                  <a:pt x="194" y="83"/>
                  <a:pt x="194" y="82"/>
                </a:cubicBezTo>
                <a:cubicBezTo>
                  <a:pt x="194" y="81"/>
                  <a:pt x="194" y="81"/>
                  <a:pt x="194" y="81"/>
                </a:cubicBezTo>
                <a:cubicBezTo>
                  <a:pt x="194" y="81"/>
                  <a:pt x="194" y="80"/>
                  <a:pt x="193" y="80"/>
                </a:cubicBezTo>
                <a:cubicBezTo>
                  <a:pt x="193" y="80"/>
                  <a:pt x="191" y="82"/>
                  <a:pt x="189" y="83"/>
                </a:cubicBezTo>
                <a:cubicBezTo>
                  <a:pt x="188" y="84"/>
                  <a:pt x="187" y="85"/>
                  <a:pt x="186" y="85"/>
                </a:cubicBezTo>
                <a:cubicBezTo>
                  <a:pt x="186" y="85"/>
                  <a:pt x="186" y="85"/>
                  <a:pt x="185" y="85"/>
                </a:cubicBezTo>
                <a:cubicBezTo>
                  <a:pt x="185" y="85"/>
                  <a:pt x="185" y="85"/>
                  <a:pt x="184" y="86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4" y="90"/>
                  <a:pt x="183" y="91"/>
                  <a:pt x="182" y="91"/>
                </a:cubicBezTo>
                <a:cubicBezTo>
                  <a:pt x="181" y="91"/>
                  <a:pt x="180" y="91"/>
                  <a:pt x="180" y="90"/>
                </a:cubicBezTo>
                <a:cubicBezTo>
                  <a:pt x="178" y="90"/>
                  <a:pt x="177" y="90"/>
                  <a:pt x="176" y="89"/>
                </a:cubicBezTo>
                <a:cubicBezTo>
                  <a:pt x="175" y="89"/>
                  <a:pt x="175" y="89"/>
                  <a:pt x="175" y="89"/>
                </a:cubicBezTo>
                <a:cubicBezTo>
                  <a:pt x="174" y="90"/>
                  <a:pt x="173" y="90"/>
                  <a:pt x="173" y="89"/>
                </a:cubicBezTo>
                <a:cubicBezTo>
                  <a:pt x="171" y="87"/>
                  <a:pt x="171" y="87"/>
                  <a:pt x="171" y="87"/>
                </a:cubicBezTo>
                <a:cubicBezTo>
                  <a:pt x="167" y="87"/>
                  <a:pt x="167" y="87"/>
                  <a:pt x="167" y="87"/>
                </a:cubicBezTo>
                <a:cubicBezTo>
                  <a:pt x="166" y="87"/>
                  <a:pt x="165" y="86"/>
                  <a:pt x="165" y="85"/>
                </a:cubicBezTo>
                <a:cubicBezTo>
                  <a:pt x="164" y="83"/>
                  <a:pt x="164" y="83"/>
                  <a:pt x="164" y="83"/>
                </a:cubicBezTo>
                <a:cubicBezTo>
                  <a:pt x="164" y="82"/>
                  <a:pt x="163" y="79"/>
                  <a:pt x="163" y="77"/>
                </a:cubicBezTo>
                <a:cubicBezTo>
                  <a:pt x="163" y="76"/>
                  <a:pt x="164" y="75"/>
                  <a:pt x="164" y="74"/>
                </a:cubicBezTo>
                <a:cubicBezTo>
                  <a:pt x="164" y="72"/>
                  <a:pt x="164" y="72"/>
                  <a:pt x="164" y="72"/>
                </a:cubicBezTo>
                <a:cubicBezTo>
                  <a:pt x="166" y="69"/>
                  <a:pt x="166" y="69"/>
                  <a:pt x="166" y="69"/>
                </a:cubicBezTo>
                <a:cubicBezTo>
                  <a:pt x="166" y="68"/>
                  <a:pt x="166" y="68"/>
                  <a:pt x="167" y="67"/>
                </a:cubicBezTo>
                <a:cubicBezTo>
                  <a:pt x="166" y="67"/>
                  <a:pt x="165" y="67"/>
                  <a:pt x="165" y="66"/>
                </a:cubicBezTo>
                <a:cubicBezTo>
                  <a:pt x="164" y="62"/>
                  <a:pt x="164" y="62"/>
                  <a:pt x="164" y="62"/>
                </a:cubicBezTo>
                <a:cubicBezTo>
                  <a:pt x="165" y="54"/>
                  <a:pt x="165" y="54"/>
                  <a:pt x="165" y="54"/>
                </a:cubicBezTo>
                <a:cubicBezTo>
                  <a:pt x="165" y="53"/>
                  <a:pt x="165" y="53"/>
                  <a:pt x="165" y="53"/>
                </a:cubicBezTo>
                <a:cubicBezTo>
                  <a:pt x="165" y="50"/>
                  <a:pt x="165" y="50"/>
                  <a:pt x="165" y="50"/>
                </a:cubicBezTo>
                <a:cubicBezTo>
                  <a:pt x="163" y="50"/>
                  <a:pt x="163" y="50"/>
                  <a:pt x="163" y="50"/>
                </a:cubicBezTo>
                <a:cubicBezTo>
                  <a:pt x="162" y="49"/>
                  <a:pt x="162" y="49"/>
                  <a:pt x="162" y="49"/>
                </a:cubicBezTo>
                <a:cubicBezTo>
                  <a:pt x="160" y="46"/>
                  <a:pt x="160" y="46"/>
                  <a:pt x="160" y="46"/>
                </a:cubicBezTo>
                <a:cubicBezTo>
                  <a:pt x="160" y="45"/>
                  <a:pt x="160" y="44"/>
                  <a:pt x="161" y="44"/>
                </a:cubicBezTo>
                <a:cubicBezTo>
                  <a:pt x="161" y="43"/>
                  <a:pt x="163" y="42"/>
                  <a:pt x="164" y="42"/>
                </a:cubicBezTo>
                <a:cubicBezTo>
                  <a:pt x="164" y="42"/>
                  <a:pt x="165" y="41"/>
                  <a:pt x="165" y="40"/>
                </a:cubicBezTo>
                <a:cubicBezTo>
                  <a:pt x="166" y="39"/>
                  <a:pt x="166" y="39"/>
                  <a:pt x="166" y="39"/>
                </a:cubicBezTo>
                <a:cubicBezTo>
                  <a:pt x="166" y="39"/>
                  <a:pt x="165" y="38"/>
                  <a:pt x="165" y="37"/>
                </a:cubicBezTo>
                <a:cubicBezTo>
                  <a:pt x="166" y="34"/>
                  <a:pt x="166" y="34"/>
                  <a:pt x="166" y="34"/>
                </a:cubicBezTo>
                <a:cubicBezTo>
                  <a:pt x="166" y="33"/>
                  <a:pt x="167" y="32"/>
                  <a:pt x="168" y="32"/>
                </a:cubicBezTo>
                <a:cubicBezTo>
                  <a:pt x="169" y="32"/>
                  <a:pt x="169" y="32"/>
                  <a:pt x="169" y="32"/>
                </a:cubicBezTo>
                <a:cubicBezTo>
                  <a:pt x="169" y="32"/>
                  <a:pt x="170" y="32"/>
                  <a:pt x="170" y="31"/>
                </a:cubicBezTo>
                <a:cubicBezTo>
                  <a:pt x="171" y="30"/>
                  <a:pt x="171" y="30"/>
                  <a:pt x="171" y="30"/>
                </a:cubicBezTo>
                <a:cubicBezTo>
                  <a:pt x="173" y="30"/>
                  <a:pt x="173" y="30"/>
                  <a:pt x="173" y="30"/>
                </a:cubicBezTo>
                <a:cubicBezTo>
                  <a:pt x="174" y="29"/>
                  <a:pt x="174" y="28"/>
                  <a:pt x="176" y="28"/>
                </a:cubicBezTo>
                <a:cubicBezTo>
                  <a:pt x="176" y="28"/>
                  <a:pt x="178" y="27"/>
                  <a:pt x="179" y="27"/>
                </a:cubicBezTo>
                <a:cubicBezTo>
                  <a:pt x="179" y="26"/>
                  <a:pt x="179" y="26"/>
                  <a:pt x="179" y="26"/>
                </a:cubicBezTo>
                <a:cubicBezTo>
                  <a:pt x="178" y="25"/>
                  <a:pt x="178" y="25"/>
                  <a:pt x="178" y="25"/>
                </a:cubicBezTo>
                <a:cubicBezTo>
                  <a:pt x="177" y="24"/>
                  <a:pt x="177" y="23"/>
                  <a:pt x="177" y="23"/>
                </a:cubicBezTo>
                <a:cubicBezTo>
                  <a:pt x="176" y="22"/>
                  <a:pt x="176" y="22"/>
                  <a:pt x="176" y="21"/>
                </a:cubicBezTo>
                <a:cubicBezTo>
                  <a:pt x="168" y="21"/>
                  <a:pt x="168" y="21"/>
                  <a:pt x="168" y="21"/>
                </a:cubicBezTo>
                <a:cubicBezTo>
                  <a:pt x="168" y="21"/>
                  <a:pt x="167" y="21"/>
                  <a:pt x="167" y="20"/>
                </a:cubicBezTo>
                <a:cubicBezTo>
                  <a:pt x="164" y="18"/>
                  <a:pt x="164" y="18"/>
                  <a:pt x="164" y="18"/>
                </a:cubicBezTo>
                <a:cubicBezTo>
                  <a:pt x="163" y="17"/>
                  <a:pt x="163" y="17"/>
                  <a:pt x="163" y="16"/>
                </a:cubicBezTo>
                <a:cubicBezTo>
                  <a:pt x="163" y="15"/>
                  <a:pt x="163" y="15"/>
                  <a:pt x="163" y="15"/>
                </a:cubicBezTo>
                <a:cubicBezTo>
                  <a:pt x="162" y="15"/>
                  <a:pt x="162" y="15"/>
                  <a:pt x="162" y="15"/>
                </a:cubicBezTo>
                <a:cubicBezTo>
                  <a:pt x="161" y="15"/>
                  <a:pt x="160" y="14"/>
                  <a:pt x="160" y="13"/>
                </a:cubicBezTo>
                <a:cubicBezTo>
                  <a:pt x="160" y="12"/>
                  <a:pt x="160" y="12"/>
                  <a:pt x="160" y="12"/>
                </a:cubicBezTo>
                <a:cubicBezTo>
                  <a:pt x="159" y="9"/>
                  <a:pt x="159" y="9"/>
                  <a:pt x="159" y="9"/>
                </a:cubicBezTo>
                <a:cubicBezTo>
                  <a:pt x="158" y="8"/>
                  <a:pt x="158" y="8"/>
                  <a:pt x="158" y="8"/>
                </a:cubicBezTo>
                <a:cubicBezTo>
                  <a:pt x="156" y="8"/>
                  <a:pt x="156" y="8"/>
                  <a:pt x="156" y="8"/>
                </a:cubicBezTo>
                <a:cubicBezTo>
                  <a:pt x="155" y="8"/>
                  <a:pt x="154" y="7"/>
                  <a:pt x="154" y="6"/>
                </a:cubicBezTo>
                <a:cubicBezTo>
                  <a:pt x="154" y="4"/>
                  <a:pt x="154" y="4"/>
                  <a:pt x="154" y="4"/>
                </a:cubicBezTo>
                <a:cubicBezTo>
                  <a:pt x="153" y="3"/>
                  <a:pt x="153" y="3"/>
                  <a:pt x="153" y="3"/>
                </a:cubicBezTo>
                <a:cubicBezTo>
                  <a:pt x="151" y="3"/>
                  <a:pt x="151" y="3"/>
                  <a:pt x="151" y="3"/>
                </a:cubicBezTo>
                <a:cubicBezTo>
                  <a:pt x="151" y="3"/>
                  <a:pt x="151" y="3"/>
                  <a:pt x="150" y="2"/>
                </a:cubicBezTo>
                <a:cubicBezTo>
                  <a:pt x="149" y="1"/>
                  <a:pt x="149" y="1"/>
                  <a:pt x="149" y="1"/>
                </a:cubicBezTo>
                <a:cubicBezTo>
                  <a:pt x="148" y="1"/>
                  <a:pt x="148" y="0"/>
                  <a:pt x="148" y="0"/>
                </a:cubicBezTo>
                <a:cubicBezTo>
                  <a:pt x="146" y="0"/>
                  <a:pt x="146" y="0"/>
                  <a:pt x="146" y="0"/>
                </a:cubicBezTo>
                <a:cubicBezTo>
                  <a:pt x="146" y="0"/>
                  <a:pt x="144" y="1"/>
                  <a:pt x="139" y="3"/>
                </a:cubicBezTo>
                <a:cubicBezTo>
                  <a:pt x="139" y="3"/>
                  <a:pt x="139" y="3"/>
                  <a:pt x="138" y="3"/>
                </a:cubicBezTo>
                <a:cubicBezTo>
                  <a:pt x="138" y="4"/>
                  <a:pt x="138" y="4"/>
                  <a:pt x="138" y="4"/>
                </a:cubicBezTo>
                <a:cubicBezTo>
                  <a:pt x="137" y="7"/>
                  <a:pt x="137" y="7"/>
                  <a:pt x="137" y="7"/>
                </a:cubicBezTo>
                <a:cubicBezTo>
                  <a:pt x="136" y="8"/>
                  <a:pt x="135" y="9"/>
                  <a:pt x="134" y="9"/>
                </a:cubicBezTo>
                <a:cubicBezTo>
                  <a:pt x="134" y="10"/>
                  <a:pt x="134" y="10"/>
                  <a:pt x="134" y="10"/>
                </a:cubicBezTo>
                <a:cubicBezTo>
                  <a:pt x="133" y="11"/>
                  <a:pt x="132" y="11"/>
                  <a:pt x="131" y="11"/>
                </a:cubicBezTo>
                <a:cubicBezTo>
                  <a:pt x="131" y="11"/>
                  <a:pt x="131" y="11"/>
                  <a:pt x="130" y="11"/>
                </a:cubicBezTo>
                <a:cubicBezTo>
                  <a:pt x="129" y="11"/>
                  <a:pt x="127" y="13"/>
                  <a:pt x="125" y="13"/>
                </a:cubicBezTo>
                <a:cubicBezTo>
                  <a:pt x="125" y="14"/>
                  <a:pt x="124" y="14"/>
                  <a:pt x="124" y="14"/>
                </a:cubicBezTo>
                <a:cubicBezTo>
                  <a:pt x="124" y="15"/>
                  <a:pt x="123" y="16"/>
                  <a:pt x="122" y="17"/>
                </a:cubicBezTo>
                <a:cubicBezTo>
                  <a:pt x="121" y="19"/>
                  <a:pt x="120" y="20"/>
                  <a:pt x="119" y="20"/>
                </a:cubicBezTo>
                <a:cubicBezTo>
                  <a:pt x="117" y="21"/>
                  <a:pt x="117" y="21"/>
                  <a:pt x="117" y="21"/>
                </a:cubicBezTo>
                <a:cubicBezTo>
                  <a:pt x="115" y="23"/>
                  <a:pt x="115" y="23"/>
                  <a:pt x="115" y="23"/>
                </a:cubicBezTo>
                <a:cubicBezTo>
                  <a:pt x="115" y="24"/>
                  <a:pt x="114" y="25"/>
                  <a:pt x="113" y="25"/>
                </a:cubicBezTo>
                <a:cubicBezTo>
                  <a:pt x="113" y="25"/>
                  <a:pt x="113" y="25"/>
                  <a:pt x="112" y="26"/>
                </a:cubicBezTo>
                <a:cubicBezTo>
                  <a:pt x="112" y="28"/>
                  <a:pt x="111" y="28"/>
                  <a:pt x="110" y="29"/>
                </a:cubicBezTo>
                <a:cubicBezTo>
                  <a:pt x="109" y="29"/>
                  <a:pt x="108" y="28"/>
                  <a:pt x="107" y="28"/>
                </a:cubicBezTo>
                <a:cubicBezTo>
                  <a:pt x="100" y="28"/>
                  <a:pt x="100" y="28"/>
                  <a:pt x="100" y="28"/>
                </a:cubicBezTo>
                <a:cubicBezTo>
                  <a:pt x="99" y="28"/>
                  <a:pt x="97" y="29"/>
                  <a:pt x="96" y="29"/>
                </a:cubicBezTo>
                <a:cubicBezTo>
                  <a:pt x="96" y="33"/>
                  <a:pt x="96" y="33"/>
                  <a:pt x="96" y="33"/>
                </a:cubicBezTo>
                <a:cubicBezTo>
                  <a:pt x="96" y="34"/>
                  <a:pt x="97" y="35"/>
                  <a:pt x="96" y="36"/>
                </a:cubicBezTo>
                <a:cubicBezTo>
                  <a:pt x="96" y="38"/>
                  <a:pt x="95" y="39"/>
                  <a:pt x="94" y="39"/>
                </a:cubicBezTo>
                <a:cubicBezTo>
                  <a:pt x="94" y="40"/>
                  <a:pt x="94" y="40"/>
                  <a:pt x="94" y="40"/>
                </a:cubicBezTo>
                <a:cubicBezTo>
                  <a:pt x="94" y="40"/>
                  <a:pt x="94" y="41"/>
                  <a:pt x="93" y="41"/>
                </a:cubicBezTo>
                <a:cubicBezTo>
                  <a:pt x="93" y="42"/>
                  <a:pt x="93" y="42"/>
                  <a:pt x="92" y="42"/>
                </a:cubicBezTo>
                <a:cubicBezTo>
                  <a:pt x="88" y="42"/>
                  <a:pt x="88" y="42"/>
                  <a:pt x="88" y="42"/>
                </a:cubicBezTo>
                <a:cubicBezTo>
                  <a:pt x="88" y="40"/>
                  <a:pt x="88" y="40"/>
                  <a:pt x="88" y="40"/>
                </a:cubicBezTo>
                <a:cubicBezTo>
                  <a:pt x="87" y="46"/>
                  <a:pt x="87" y="46"/>
                  <a:pt x="87" y="46"/>
                </a:cubicBezTo>
                <a:cubicBezTo>
                  <a:pt x="86" y="46"/>
                  <a:pt x="86" y="46"/>
                  <a:pt x="86" y="46"/>
                </a:cubicBezTo>
                <a:cubicBezTo>
                  <a:pt x="76" y="51"/>
                  <a:pt x="76" y="51"/>
                  <a:pt x="76" y="51"/>
                </a:cubicBezTo>
                <a:cubicBezTo>
                  <a:pt x="71" y="50"/>
                  <a:pt x="71" y="50"/>
                  <a:pt x="71" y="50"/>
                </a:cubicBezTo>
                <a:cubicBezTo>
                  <a:pt x="68" y="48"/>
                  <a:pt x="68" y="48"/>
                  <a:pt x="68" y="48"/>
                </a:cubicBezTo>
                <a:cubicBezTo>
                  <a:pt x="63" y="45"/>
                  <a:pt x="63" y="45"/>
                  <a:pt x="63" y="45"/>
                </a:cubicBezTo>
                <a:cubicBezTo>
                  <a:pt x="62" y="45"/>
                  <a:pt x="62" y="45"/>
                  <a:pt x="62" y="45"/>
                </a:cubicBezTo>
                <a:cubicBezTo>
                  <a:pt x="60" y="45"/>
                  <a:pt x="60" y="45"/>
                  <a:pt x="60" y="45"/>
                </a:cubicBezTo>
                <a:cubicBezTo>
                  <a:pt x="58" y="45"/>
                  <a:pt x="58" y="45"/>
                  <a:pt x="58" y="45"/>
                </a:cubicBezTo>
                <a:cubicBezTo>
                  <a:pt x="54" y="48"/>
                  <a:pt x="54" y="48"/>
                  <a:pt x="54" y="48"/>
                </a:cubicBezTo>
                <a:cubicBezTo>
                  <a:pt x="49" y="51"/>
                  <a:pt x="49" y="51"/>
                  <a:pt x="49" y="51"/>
                </a:cubicBezTo>
                <a:cubicBezTo>
                  <a:pt x="35" y="67"/>
                  <a:pt x="35" y="67"/>
                  <a:pt x="35" y="67"/>
                </a:cubicBezTo>
                <a:cubicBezTo>
                  <a:pt x="28" y="81"/>
                  <a:pt x="28" y="81"/>
                  <a:pt x="28" y="81"/>
                </a:cubicBezTo>
                <a:cubicBezTo>
                  <a:pt x="9" y="123"/>
                  <a:pt x="9" y="123"/>
                  <a:pt x="9" y="123"/>
                </a:cubicBezTo>
                <a:cubicBezTo>
                  <a:pt x="7" y="141"/>
                  <a:pt x="7" y="141"/>
                  <a:pt x="7" y="141"/>
                </a:cubicBezTo>
                <a:cubicBezTo>
                  <a:pt x="0" y="156"/>
                  <a:pt x="0" y="156"/>
                  <a:pt x="0" y="156"/>
                </a:cubicBezTo>
                <a:cubicBezTo>
                  <a:pt x="1" y="158"/>
                  <a:pt x="1" y="158"/>
                  <a:pt x="1" y="158"/>
                </a:cubicBezTo>
                <a:cubicBezTo>
                  <a:pt x="4" y="163"/>
                  <a:pt x="4" y="163"/>
                  <a:pt x="4" y="163"/>
                </a:cubicBezTo>
                <a:cubicBezTo>
                  <a:pt x="14" y="175"/>
                  <a:pt x="14" y="175"/>
                  <a:pt x="14" y="175"/>
                </a:cubicBezTo>
                <a:cubicBezTo>
                  <a:pt x="17" y="178"/>
                  <a:pt x="17" y="178"/>
                  <a:pt x="17" y="178"/>
                </a:cubicBezTo>
                <a:cubicBezTo>
                  <a:pt x="21" y="183"/>
                  <a:pt x="21" y="183"/>
                  <a:pt x="21" y="183"/>
                </a:cubicBezTo>
                <a:cubicBezTo>
                  <a:pt x="31" y="198"/>
                  <a:pt x="31" y="198"/>
                  <a:pt x="31" y="198"/>
                </a:cubicBezTo>
                <a:cubicBezTo>
                  <a:pt x="34" y="209"/>
                  <a:pt x="34" y="209"/>
                  <a:pt x="34" y="209"/>
                </a:cubicBezTo>
                <a:cubicBezTo>
                  <a:pt x="34" y="211"/>
                  <a:pt x="34" y="211"/>
                  <a:pt x="34" y="211"/>
                </a:cubicBezTo>
                <a:cubicBezTo>
                  <a:pt x="34" y="213"/>
                  <a:pt x="34" y="213"/>
                  <a:pt x="34" y="213"/>
                </a:cubicBezTo>
                <a:cubicBezTo>
                  <a:pt x="35" y="215"/>
                  <a:pt x="35" y="215"/>
                  <a:pt x="35" y="215"/>
                </a:cubicBezTo>
                <a:cubicBezTo>
                  <a:pt x="39" y="223"/>
                  <a:pt x="39" y="223"/>
                  <a:pt x="39" y="223"/>
                </a:cubicBezTo>
                <a:cubicBezTo>
                  <a:pt x="41" y="224"/>
                  <a:pt x="41" y="224"/>
                  <a:pt x="41" y="224"/>
                </a:cubicBezTo>
                <a:cubicBezTo>
                  <a:pt x="43" y="226"/>
                  <a:pt x="43" y="226"/>
                  <a:pt x="43" y="226"/>
                </a:cubicBezTo>
                <a:cubicBezTo>
                  <a:pt x="47" y="234"/>
                  <a:pt x="47" y="234"/>
                  <a:pt x="47" y="234"/>
                </a:cubicBezTo>
                <a:cubicBezTo>
                  <a:pt x="49" y="236"/>
                  <a:pt x="49" y="236"/>
                  <a:pt x="49" y="236"/>
                </a:cubicBezTo>
                <a:cubicBezTo>
                  <a:pt x="50" y="237"/>
                  <a:pt x="50" y="237"/>
                  <a:pt x="50" y="237"/>
                </a:cubicBezTo>
                <a:cubicBezTo>
                  <a:pt x="52" y="237"/>
                  <a:pt x="52" y="237"/>
                  <a:pt x="52" y="237"/>
                </a:cubicBezTo>
                <a:cubicBezTo>
                  <a:pt x="59" y="236"/>
                  <a:pt x="59" y="236"/>
                  <a:pt x="59" y="236"/>
                </a:cubicBezTo>
                <a:cubicBezTo>
                  <a:pt x="61" y="233"/>
                  <a:pt x="61" y="233"/>
                  <a:pt x="61" y="233"/>
                </a:cubicBezTo>
                <a:cubicBezTo>
                  <a:pt x="61" y="226"/>
                  <a:pt x="61" y="226"/>
                  <a:pt x="61" y="226"/>
                </a:cubicBezTo>
                <a:cubicBezTo>
                  <a:pt x="61" y="224"/>
                  <a:pt x="61" y="224"/>
                  <a:pt x="61" y="224"/>
                </a:cubicBezTo>
                <a:cubicBezTo>
                  <a:pt x="61" y="222"/>
                  <a:pt x="61" y="222"/>
                  <a:pt x="61" y="222"/>
                </a:cubicBezTo>
                <a:cubicBezTo>
                  <a:pt x="62" y="220"/>
                  <a:pt x="62" y="220"/>
                  <a:pt x="62" y="220"/>
                </a:cubicBezTo>
                <a:cubicBezTo>
                  <a:pt x="63" y="218"/>
                  <a:pt x="63" y="218"/>
                  <a:pt x="63" y="218"/>
                </a:cubicBezTo>
                <a:cubicBezTo>
                  <a:pt x="63" y="218"/>
                  <a:pt x="63" y="218"/>
                  <a:pt x="63" y="218"/>
                </a:cubicBezTo>
                <a:cubicBezTo>
                  <a:pt x="63" y="218"/>
                  <a:pt x="64" y="218"/>
                  <a:pt x="64" y="218"/>
                </a:cubicBezTo>
                <a:cubicBezTo>
                  <a:pt x="64" y="219"/>
                  <a:pt x="64" y="219"/>
                  <a:pt x="64" y="219"/>
                </a:cubicBezTo>
                <a:cubicBezTo>
                  <a:pt x="66" y="227"/>
                  <a:pt x="66" y="227"/>
                  <a:pt x="66" y="227"/>
                </a:cubicBezTo>
                <a:cubicBezTo>
                  <a:pt x="66" y="228"/>
                  <a:pt x="66" y="228"/>
                  <a:pt x="66" y="228"/>
                </a:cubicBezTo>
                <a:cubicBezTo>
                  <a:pt x="64" y="239"/>
                  <a:pt x="64" y="239"/>
                  <a:pt x="64" y="239"/>
                </a:cubicBezTo>
                <a:cubicBezTo>
                  <a:pt x="64" y="240"/>
                  <a:pt x="64" y="240"/>
                  <a:pt x="64" y="240"/>
                </a:cubicBezTo>
                <a:cubicBezTo>
                  <a:pt x="63" y="241"/>
                  <a:pt x="63" y="241"/>
                  <a:pt x="63" y="241"/>
                </a:cubicBezTo>
                <a:cubicBezTo>
                  <a:pt x="62" y="245"/>
                  <a:pt x="62" y="245"/>
                  <a:pt x="62" y="245"/>
                </a:cubicBezTo>
                <a:cubicBezTo>
                  <a:pt x="61" y="250"/>
                  <a:pt x="61" y="250"/>
                  <a:pt x="61" y="250"/>
                </a:cubicBezTo>
                <a:cubicBezTo>
                  <a:pt x="60" y="251"/>
                  <a:pt x="60" y="251"/>
                  <a:pt x="60" y="251"/>
                </a:cubicBezTo>
                <a:cubicBezTo>
                  <a:pt x="61" y="257"/>
                  <a:pt x="61" y="257"/>
                  <a:pt x="61" y="257"/>
                </a:cubicBezTo>
                <a:cubicBezTo>
                  <a:pt x="61" y="258"/>
                  <a:pt x="61" y="258"/>
                  <a:pt x="61" y="258"/>
                </a:cubicBezTo>
                <a:cubicBezTo>
                  <a:pt x="63" y="260"/>
                  <a:pt x="63" y="260"/>
                  <a:pt x="63" y="260"/>
                </a:cubicBezTo>
                <a:cubicBezTo>
                  <a:pt x="70" y="262"/>
                  <a:pt x="70" y="262"/>
                  <a:pt x="70" y="262"/>
                </a:cubicBezTo>
                <a:cubicBezTo>
                  <a:pt x="73" y="263"/>
                  <a:pt x="73" y="263"/>
                  <a:pt x="73" y="263"/>
                </a:cubicBezTo>
                <a:cubicBezTo>
                  <a:pt x="83" y="255"/>
                  <a:pt x="83" y="255"/>
                  <a:pt x="83" y="255"/>
                </a:cubicBezTo>
                <a:cubicBezTo>
                  <a:pt x="83" y="254"/>
                  <a:pt x="83" y="254"/>
                  <a:pt x="83" y="254"/>
                </a:cubicBezTo>
                <a:cubicBezTo>
                  <a:pt x="84" y="252"/>
                  <a:pt x="84" y="252"/>
                  <a:pt x="84" y="252"/>
                </a:cubicBezTo>
                <a:cubicBezTo>
                  <a:pt x="85" y="249"/>
                  <a:pt x="85" y="249"/>
                  <a:pt x="85" y="249"/>
                </a:cubicBezTo>
                <a:cubicBezTo>
                  <a:pt x="113" y="234"/>
                  <a:pt x="113" y="234"/>
                  <a:pt x="113" y="234"/>
                </a:cubicBezTo>
                <a:cubicBezTo>
                  <a:pt x="114" y="234"/>
                  <a:pt x="114" y="234"/>
                  <a:pt x="114" y="234"/>
                </a:cubicBezTo>
                <a:cubicBezTo>
                  <a:pt x="119" y="232"/>
                  <a:pt x="119" y="232"/>
                  <a:pt x="119" y="232"/>
                </a:cubicBezTo>
                <a:cubicBezTo>
                  <a:pt x="118" y="231"/>
                  <a:pt x="118" y="231"/>
                  <a:pt x="118" y="231"/>
                </a:cubicBezTo>
                <a:cubicBezTo>
                  <a:pt x="120" y="231"/>
                  <a:pt x="122" y="230"/>
                  <a:pt x="123" y="231"/>
                </a:cubicBezTo>
                <a:cubicBezTo>
                  <a:pt x="123" y="232"/>
                  <a:pt x="123" y="233"/>
                  <a:pt x="122" y="234"/>
                </a:cubicBezTo>
                <a:cubicBezTo>
                  <a:pt x="124" y="242"/>
                  <a:pt x="124" y="242"/>
                  <a:pt x="124" y="242"/>
                </a:cubicBezTo>
                <a:cubicBezTo>
                  <a:pt x="128" y="242"/>
                  <a:pt x="128" y="242"/>
                  <a:pt x="128" y="242"/>
                </a:cubicBezTo>
                <a:cubicBezTo>
                  <a:pt x="129" y="242"/>
                  <a:pt x="129" y="242"/>
                  <a:pt x="129" y="242"/>
                </a:cubicBezTo>
                <a:cubicBezTo>
                  <a:pt x="130" y="242"/>
                  <a:pt x="130" y="242"/>
                  <a:pt x="130" y="242"/>
                </a:cubicBezTo>
                <a:cubicBezTo>
                  <a:pt x="130" y="241"/>
                  <a:pt x="131" y="239"/>
                  <a:pt x="131" y="239"/>
                </a:cubicBezTo>
                <a:cubicBezTo>
                  <a:pt x="132" y="239"/>
                  <a:pt x="132" y="238"/>
                  <a:pt x="133" y="238"/>
                </a:cubicBezTo>
                <a:cubicBezTo>
                  <a:pt x="143" y="238"/>
                  <a:pt x="143" y="238"/>
                  <a:pt x="143" y="238"/>
                </a:cubicBezTo>
                <a:cubicBezTo>
                  <a:pt x="144" y="238"/>
                  <a:pt x="145" y="239"/>
                  <a:pt x="145" y="240"/>
                </a:cubicBezTo>
                <a:cubicBezTo>
                  <a:pt x="145" y="240"/>
                  <a:pt x="145" y="240"/>
                  <a:pt x="146" y="240"/>
                </a:cubicBezTo>
                <a:cubicBezTo>
                  <a:pt x="149" y="240"/>
                  <a:pt x="149" y="240"/>
                  <a:pt x="149" y="240"/>
                </a:cubicBezTo>
                <a:cubicBezTo>
                  <a:pt x="156" y="240"/>
                  <a:pt x="156" y="240"/>
                  <a:pt x="156" y="240"/>
                </a:cubicBezTo>
                <a:cubicBezTo>
                  <a:pt x="156" y="239"/>
                  <a:pt x="156" y="239"/>
                  <a:pt x="156" y="239"/>
                </a:cubicBezTo>
                <a:cubicBezTo>
                  <a:pt x="157" y="239"/>
                  <a:pt x="158" y="238"/>
                  <a:pt x="158" y="238"/>
                </a:cubicBezTo>
                <a:cubicBezTo>
                  <a:pt x="163" y="238"/>
                  <a:pt x="163" y="238"/>
                  <a:pt x="163" y="238"/>
                </a:cubicBezTo>
                <a:cubicBezTo>
                  <a:pt x="166" y="238"/>
                  <a:pt x="166" y="238"/>
                  <a:pt x="166" y="238"/>
                </a:cubicBezTo>
                <a:cubicBezTo>
                  <a:pt x="167" y="238"/>
                  <a:pt x="167" y="238"/>
                  <a:pt x="167" y="238"/>
                </a:cubicBezTo>
                <a:cubicBezTo>
                  <a:pt x="168" y="238"/>
                  <a:pt x="169" y="237"/>
                  <a:pt x="171" y="237"/>
                </a:cubicBezTo>
                <a:cubicBezTo>
                  <a:pt x="171" y="236"/>
                  <a:pt x="171" y="236"/>
                  <a:pt x="171" y="236"/>
                </a:cubicBezTo>
                <a:cubicBezTo>
                  <a:pt x="171" y="236"/>
                  <a:pt x="171" y="235"/>
                  <a:pt x="172" y="235"/>
                </a:cubicBezTo>
                <a:cubicBezTo>
                  <a:pt x="177" y="232"/>
                  <a:pt x="177" y="232"/>
                  <a:pt x="177" y="232"/>
                </a:cubicBezTo>
                <a:cubicBezTo>
                  <a:pt x="180" y="229"/>
                  <a:pt x="185" y="228"/>
                  <a:pt x="185" y="228"/>
                </a:cubicBezTo>
                <a:cubicBezTo>
                  <a:pt x="186" y="228"/>
                  <a:pt x="186" y="228"/>
                  <a:pt x="186" y="228"/>
                </a:cubicBezTo>
                <a:cubicBezTo>
                  <a:pt x="186" y="227"/>
                  <a:pt x="187" y="227"/>
                  <a:pt x="187" y="226"/>
                </a:cubicBezTo>
                <a:cubicBezTo>
                  <a:pt x="186" y="225"/>
                  <a:pt x="186" y="225"/>
                  <a:pt x="186" y="225"/>
                </a:cubicBezTo>
                <a:cubicBezTo>
                  <a:pt x="185" y="225"/>
                  <a:pt x="185" y="225"/>
                  <a:pt x="184" y="224"/>
                </a:cubicBezTo>
                <a:cubicBezTo>
                  <a:pt x="183" y="224"/>
                  <a:pt x="183" y="224"/>
                  <a:pt x="182" y="223"/>
                </a:cubicBezTo>
                <a:cubicBezTo>
                  <a:pt x="181" y="223"/>
                  <a:pt x="181" y="223"/>
                  <a:pt x="181" y="223"/>
                </a:cubicBezTo>
                <a:cubicBezTo>
                  <a:pt x="180" y="223"/>
                  <a:pt x="180" y="222"/>
                  <a:pt x="179" y="220"/>
                </a:cubicBezTo>
                <a:cubicBezTo>
                  <a:pt x="177" y="217"/>
                  <a:pt x="177" y="217"/>
                  <a:pt x="177" y="217"/>
                </a:cubicBezTo>
                <a:cubicBezTo>
                  <a:pt x="177" y="216"/>
                  <a:pt x="177" y="216"/>
                  <a:pt x="177" y="216"/>
                </a:cubicBezTo>
                <a:cubicBezTo>
                  <a:pt x="177" y="216"/>
                  <a:pt x="177" y="215"/>
                  <a:pt x="176" y="214"/>
                </a:cubicBezTo>
                <a:cubicBezTo>
                  <a:pt x="174" y="212"/>
                  <a:pt x="174" y="212"/>
                  <a:pt x="174" y="212"/>
                </a:cubicBezTo>
                <a:cubicBezTo>
                  <a:pt x="173" y="211"/>
                  <a:pt x="173" y="210"/>
                  <a:pt x="174" y="209"/>
                </a:cubicBezTo>
                <a:cubicBezTo>
                  <a:pt x="174" y="209"/>
                  <a:pt x="174" y="209"/>
                  <a:pt x="174" y="208"/>
                </a:cubicBezTo>
                <a:cubicBezTo>
                  <a:pt x="173" y="207"/>
                  <a:pt x="173" y="205"/>
                  <a:pt x="174" y="205"/>
                </a:cubicBezTo>
                <a:cubicBezTo>
                  <a:pt x="174" y="204"/>
                  <a:pt x="174" y="204"/>
                  <a:pt x="174" y="204"/>
                </a:cubicBezTo>
                <a:cubicBezTo>
                  <a:pt x="173" y="203"/>
                  <a:pt x="173" y="202"/>
                  <a:pt x="173" y="201"/>
                </a:cubicBezTo>
                <a:cubicBezTo>
                  <a:pt x="173" y="197"/>
                  <a:pt x="173" y="197"/>
                  <a:pt x="173" y="197"/>
                </a:cubicBezTo>
                <a:cubicBezTo>
                  <a:pt x="173" y="197"/>
                  <a:pt x="173" y="197"/>
                  <a:pt x="173" y="196"/>
                </a:cubicBezTo>
                <a:cubicBezTo>
                  <a:pt x="173" y="194"/>
                  <a:pt x="173" y="192"/>
                  <a:pt x="173" y="192"/>
                </a:cubicBezTo>
                <a:cubicBezTo>
                  <a:pt x="174" y="191"/>
                  <a:pt x="174" y="191"/>
                  <a:pt x="174" y="191"/>
                </a:cubicBezTo>
                <a:cubicBezTo>
                  <a:pt x="175" y="190"/>
                  <a:pt x="176" y="190"/>
                  <a:pt x="176" y="191"/>
                </a:cubicBezTo>
                <a:cubicBezTo>
                  <a:pt x="177" y="191"/>
                  <a:pt x="177" y="191"/>
                  <a:pt x="177" y="191"/>
                </a:cubicBezTo>
                <a:cubicBezTo>
                  <a:pt x="179" y="190"/>
                  <a:pt x="179" y="190"/>
                  <a:pt x="179" y="190"/>
                </a:cubicBezTo>
                <a:cubicBezTo>
                  <a:pt x="187" y="190"/>
                  <a:pt x="187" y="190"/>
                  <a:pt x="187" y="190"/>
                </a:cubicBezTo>
                <a:cubicBezTo>
                  <a:pt x="188" y="190"/>
                  <a:pt x="188" y="190"/>
                  <a:pt x="188" y="190"/>
                </a:cubicBezTo>
                <a:cubicBezTo>
                  <a:pt x="191" y="191"/>
                  <a:pt x="191" y="191"/>
                  <a:pt x="191" y="191"/>
                </a:cubicBezTo>
                <a:cubicBezTo>
                  <a:pt x="191" y="191"/>
                  <a:pt x="192" y="192"/>
                  <a:pt x="193" y="192"/>
                </a:cubicBezTo>
                <a:cubicBezTo>
                  <a:pt x="194" y="192"/>
                  <a:pt x="195" y="193"/>
                  <a:pt x="195" y="193"/>
                </a:cubicBezTo>
                <a:cubicBezTo>
                  <a:pt x="195" y="193"/>
                  <a:pt x="195" y="193"/>
                  <a:pt x="196" y="193"/>
                </a:cubicBezTo>
                <a:cubicBezTo>
                  <a:pt x="198" y="194"/>
                  <a:pt x="200" y="194"/>
                  <a:pt x="200" y="195"/>
                </a:cubicBezTo>
                <a:cubicBezTo>
                  <a:pt x="202" y="195"/>
                  <a:pt x="202" y="195"/>
                  <a:pt x="202" y="195"/>
                </a:cubicBezTo>
                <a:cubicBezTo>
                  <a:pt x="203" y="195"/>
                  <a:pt x="203" y="195"/>
                  <a:pt x="203" y="195"/>
                </a:cubicBezTo>
                <a:cubicBezTo>
                  <a:pt x="206" y="197"/>
                  <a:pt x="206" y="197"/>
                  <a:pt x="206" y="197"/>
                </a:cubicBezTo>
                <a:cubicBezTo>
                  <a:pt x="207" y="197"/>
                  <a:pt x="207" y="197"/>
                  <a:pt x="207" y="197"/>
                </a:cubicBezTo>
                <a:cubicBezTo>
                  <a:pt x="209" y="196"/>
                  <a:pt x="209" y="196"/>
                  <a:pt x="209" y="196"/>
                </a:cubicBezTo>
                <a:cubicBezTo>
                  <a:pt x="209" y="195"/>
                  <a:pt x="209" y="195"/>
                  <a:pt x="209" y="195"/>
                </a:cubicBezTo>
                <a:cubicBezTo>
                  <a:pt x="214" y="193"/>
                  <a:pt x="214" y="193"/>
                  <a:pt x="214" y="193"/>
                </a:cubicBezTo>
                <a:cubicBezTo>
                  <a:pt x="213" y="192"/>
                  <a:pt x="213" y="191"/>
                  <a:pt x="213" y="190"/>
                </a:cubicBezTo>
                <a:cubicBezTo>
                  <a:pt x="213" y="185"/>
                  <a:pt x="213" y="185"/>
                  <a:pt x="213" y="185"/>
                </a:cubicBezTo>
                <a:cubicBezTo>
                  <a:pt x="212" y="184"/>
                  <a:pt x="213" y="183"/>
                  <a:pt x="213" y="182"/>
                </a:cubicBezTo>
                <a:cubicBezTo>
                  <a:pt x="213" y="182"/>
                  <a:pt x="213" y="182"/>
                  <a:pt x="214" y="182"/>
                </a:cubicBezTo>
                <a:cubicBezTo>
                  <a:pt x="214" y="181"/>
                  <a:pt x="214" y="181"/>
                  <a:pt x="214" y="181"/>
                </a:cubicBezTo>
                <a:cubicBezTo>
                  <a:pt x="215" y="181"/>
                  <a:pt x="215" y="180"/>
                  <a:pt x="216" y="180"/>
                </a:cubicBezTo>
                <a:cubicBezTo>
                  <a:pt x="221" y="176"/>
                  <a:pt x="225" y="175"/>
                  <a:pt x="225" y="175"/>
                </a:cubicBezTo>
                <a:cubicBezTo>
                  <a:pt x="226" y="175"/>
                  <a:pt x="226" y="175"/>
                  <a:pt x="226" y="175"/>
                </a:cubicBezTo>
                <a:cubicBezTo>
                  <a:pt x="227" y="175"/>
                  <a:pt x="229" y="175"/>
                  <a:pt x="229" y="175"/>
                </a:cubicBezTo>
                <a:cubicBezTo>
                  <a:pt x="230" y="175"/>
                  <a:pt x="230" y="175"/>
                  <a:pt x="231" y="174"/>
                </a:cubicBezTo>
                <a:cubicBezTo>
                  <a:pt x="231" y="173"/>
                  <a:pt x="231" y="172"/>
                  <a:pt x="232" y="171"/>
                </a:cubicBezTo>
                <a:cubicBezTo>
                  <a:pt x="232" y="169"/>
                  <a:pt x="233" y="168"/>
                  <a:pt x="233" y="167"/>
                </a:cubicBezTo>
                <a:cubicBezTo>
                  <a:pt x="232" y="166"/>
                  <a:pt x="232" y="166"/>
                  <a:pt x="232" y="16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5" name="Freeform 86">
            <a:extLst>
              <a:ext uri="{FF2B5EF4-FFF2-40B4-BE49-F238E27FC236}">
                <a16:creationId xmlns:a16="http://schemas.microsoft.com/office/drawing/2014/main" id="{7DEDD274-D9F3-42F8-9388-0FF56E756CEB}"/>
              </a:ext>
            </a:extLst>
          </p:cNvPr>
          <p:cNvSpPr>
            <a:spLocks/>
          </p:cNvSpPr>
          <p:nvPr/>
        </p:nvSpPr>
        <p:spPr bwMode="auto">
          <a:xfrm>
            <a:off x="5633521" y="3985741"/>
            <a:ext cx="304404" cy="215900"/>
          </a:xfrm>
          <a:custGeom>
            <a:avLst/>
            <a:gdLst>
              <a:gd name="T0" fmla="*/ 112 w 126"/>
              <a:gd name="T1" fmla="*/ 2 h 97"/>
              <a:gd name="T2" fmla="*/ 90 w 126"/>
              <a:gd name="T3" fmla="*/ 14 h 97"/>
              <a:gd name="T4" fmla="*/ 79 w 126"/>
              <a:gd name="T5" fmla="*/ 29 h 97"/>
              <a:gd name="T6" fmla="*/ 67 w 126"/>
              <a:gd name="T7" fmla="*/ 28 h 97"/>
              <a:gd name="T8" fmla="*/ 42 w 126"/>
              <a:gd name="T9" fmla="*/ 26 h 97"/>
              <a:gd name="T10" fmla="*/ 29 w 126"/>
              <a:gd name="T11" fmla="*/ 35 h 97"/>
              <a:gd name="T12" fmla="*/ 28 w 126"/>
              <a:gd name="T13" fmla="*/ 37 h 97"/>
              <a:gd name="T14" fmla="*/ 19 w 126"/>
              <a:gd name="T15" fmla="*/ 40 h 97"/>
              <a:gd name="T16" fmla="*/ 0 w 126"/>
              <a:gd name="T17" fmla="*/ 49 h 97"/>
              <a:gd name="T18" fmla="*/ 0 w 126"/>
              <a:gd name="T19" fmla="*/ 55 h 97"/>
              <a:gd name="T20" fmla="*/ 6 w 126"/>
              <a:gd name="T21" fmla="*/ 59 h 97"/>
              <a:gd name="T22" fmla="*/ 8 w 126"/>
              <a:gd name="T23" fmla="*/ 68 h 97"/>
              <a:gd name="T24" fmla="*/ 14 w 126"/>
              <a:gd name="T25" fmla="*/ 68 h 97"/>
              <a:gd name="T26" fmla="*/ 17 w 126"/>
              <a:gd name="T27" fmla="*/ 71 h 97"/>
              <a:gd name="T28" fmla="*/ 21 w 126"/>
              <a:gd name="T29" fmla="*/ 74 h 97"/>
              <a:gd name="T30" fmla="*/ 24 w 126"/>
              <a:gd name="T31" fmla="*/ 81 h 97"/>
              <a:gd name="T32" fmla="*/ 30 w 126"/>
              <a:gd name="T33" fmla="*/ 86 h 97"/>
              <a:gd name="T34" fmla="*/ 36 w 126"/>
              <a:gd name="T35" fmla="*/ 86 h 97"/>
              <a:gd name="T36" fmla="*/ 40 w 126"/>
              <a:gd name="T37" fmla="*/ 87 h 97"/>
              <a:gd name="T38" fmla="*/ 44 w 126"/>
              <a:gd name="T39" fmla="*/ 87 h 97"/>
              <a:gd name="T40" fmla="*/ 47 w 126"/>
              <a:gd name="T41" fmla="*/ 86 h 97"/>
              <a:gd name="T42" fmla="*/ 50 w 126"/>
              <a:gd name="T43" fmla="*/ 84 h 97"/>
              <a:gd name="T44" fmla="*/ 61 w 126"/>
              <a:gd name="T45" fmla="*/ 82 h 97"/>
              <a:gd name="T46" fmla="*/ 63 w 126"/>
              <a:gd name="T47" fmla="*/ 81 h 97"/>
              <a:gd name="T48" fmla="*/ 75 w 126"/>
              <a:gd name="T49" fmla="*/ 81 h 97"/>
              <a:gd name="T50" fmla="*/ 81 w 126"/>
              <a:gd name="T51" fmla="*/ 89 h 97"/>
              <a:gd name="T52" fmla="*/ 83 w 126"/>
              <a:gd name="T53" fmla="*/ 94 h 97"/>
              <a:gd name="T54" fmla="*/ 91 w 126"/>
              <a:gd name="T55" fmla="*/ 97 h 97"/>
              <a:gd name="T56" fmla="*/ 97 w 126"/>
              <a:gd name="T57" fmla="*/ 94 h 97"/>
              <a:gd name="T58" fmla="*/ 97 w 126"/>
              <a:gd name="T59" fmla="*/ 88 h 97"/>
              <a:gd name="T60" fmla="*/ 99 w 126"/>
              <a:gd name="T61" fmla="*/ 85 h 97"/>
              <a:gd name="T62" fmla="*/ 102 w 126"/>
              <a:gd name="T63" fmla="*/ 81 h 97"/>
              <a:gd name="T64" fmla="*/ 102 w 126"/>
              <a:gd name="T65" fmla="*/ 74 h 97"/>
              <a:gd name="T66" fmla="*/ 104 w 126"/>
              <a:gd name="T67" fmla="*/ 69 h 97"/>
              <a:gd name="T68" fmla="*/ 107 w 126"/>
              <a:gd name="T69" fmla="*/ 67 h 97"/>
              <a:gd name="T70" fmla="*/ 110 w 126"/>
              <a:gd name="T71" fmla="*/ 61 h 97"/>
              <a:gd name="T72" fmla="*/ 107 w 126"/>
              <a:gd name="T73" fmla="*/ 49 h 97"/>
              <a:gd name="T74" fmla="*/ 109 w 126"/>
              <a:gd name="T75" fmla="*/ 43 h 97"/>
              <a:gd name="T76" fmla="*/ 112 w 126"/>
              <a:gd name="T77" fmla="*/ 42 h 97"/>
              <a:gd name="T78" fmla="*/ 111 w 126"/>
              <a:gd name="T79" fmla="*/ 37 h 97"/>
              <a:gd name="T80" fmla="*/ 112 w 126"/>
              <a:gd name="T81" fmla="*/ 34 h 97"/>
              <a:gd name="T82" fmla="*/ 118 w 126"/>
              <a:gd name="T83" fmla="*/ 31 h 97"/>
              <a:gd name="T84" fmla="*/ 118 w 126"/>
              <a:gd name="T85" fmla="*/ 29 h 97"/>
              <a:gd name="T86" fmla="*/ 115 w 126"/>
              <a:gd name="T87" fmla="*/ 25 h 97"/>
              <a:gd name="T88" fmla="*/ 117 w 126"/>
              <a:gd name="T89" fmla="*/ 17 h 97"/>
              <a:gd name="T90" fmla="*/ 118 w 126"/>
              <a:gd name="T91" fmla="*/ 10 h 97"/>
              <a:gd name="T92" fmla="*/ 120 w 126"/>
              <a:gd name="T93" fmla="*/ 7 h 97"/>
              <a:gd name="T94" fmla="*/ 122 w 126"/>
              <a:gd name="T95" fmla="*/ 5 h 97"/>
              <a:gd name="T96" fmla="*/ 123 w 126"/>
              <a:gd name="T97" fmla="*/ 3 h 97"/>
              <a:gd name="T98" fmla="*/ 126 w 126"/>
              <a:gd name="T99" fmla="*/ 1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26" h="97">
                <a:moveTo>
                  <a:pt x="119" y="0"/>
                </a:moveTo>
                <a:cubicBezTo>
                  <a:pt x="112" y="2"/>
                  <a:pt x="112" y="2"/>
                  <a:pt x="112" y="2"/>
                </a:cubicBezTo>
                <a:cubicBezTo>
                  <a:pt x="102" y="5"/>
                  <a:pt x="102" y="5"/>
                  <a:pt x="102" y="5"/>
                </a:cubicBezTo>
                <a:cubicBezTo>
                  <a:pt x="90" y="14"/>
                  <a:pt x="90" y="14"/>
                  <a:pt x="90" y="14"/>
                </a:cubicBezTo>
                <a:cubicBezTo>
                  <a:pt x="86" y="18"/>
                  <a:pt x="86" y="18"/>
                  <a:pt x="86" y="18"/>
                </a:cubicBezTo>
                <a:cubicBezTo>
                  <a:pt x="79" y="29"/>
                  <a:pt x="79" y="29"/>
                  <a:pt x="79" y="29"/>
                </a:cubicBezTo>
                <a:cubicBezTo>
                  <a:pt x="78" y="30"/>
                  <a:pt x="77" y="30"/>
                  <a:pt x="77" y="30"/>
                </a:cubicBezTo>
                <a:cubicBezTo>
                  <a:pt x="67" y="28"/>
                  <a:pt x="67" y="28"/>
                  <a:pt x="67" y="28"/>
                </a:cubicBezTo>
                <a:cubicBezTo>
                  <a:pt x="56" y="27"/>
                  <a:pt x="56" y="27"/>
                  <a:pt x="56" y="27"/>
                </a:cubicBezTo>
                <a:cubicBezTo>
                  <a:pt x="42" y="26"/>
                  <a:pt x="42" y="26"/>
                  <a:pt x="42" y="26"/>
                </a:cubicBezTo>
                <a:cubicBezTo>
                  <a:pt x="28" y="26"/>
                  <a:pt x="28" y="26"/>
                  <a:pt x="28" y="26"/>
                </a:cubicBezTo>
                <a:cubicBezTo>
                  <a:pt x="29" y="35"/>
                  <a:pt x="29" y="35"/>
                  <a:pt x="29" y="35"/>
                </a:cubicBezTo>
                <a:cubicBezTo>
                  <a:pt x="29" y="36"/>
                  <a:pt x="29" y="36"/>
                  <a:pt x="29" y="37"/>
                </a:cubicBezTo>
                <a:cubicBezTo>
                  <a:pt x="28" y="37"/>
                  <a:pt x="28" y="37"/>
                  <a:pt x="28" y="37"/>
                </a:cubicBezTo>
                <a:cubicBezTo>
                  <a:pt x="26" y="38"/>
                  <a:pt x="24" y="38"/>
                  <a:pt x="21" y="39"/>
                </a:cubicBezTo>
                <a:cubicBezTo>
                  <a:pt x="19" y="40"/>
                  <a:pt x="19" y="40"/>
                  <a:pt x="19" y="40"/>
                </a:cubicBezTo>
                <a:cubicBezTo>
                  <a:pt x="18" y="40"/>
                  <a:pt x="17" y="41"/>
                  <a:pt x="16" y="41"/>
                </a:cubicBezTo>
                <a:cubicBezTo>
                  <a:pt x="15" y="42"/>
                  <a:pt x="6" y="46"/>
                  <a:pt x="0" y="49"/>
                </a:cubicBezTo>
                <a:cubicBezTo>
                  <a:pt x="1" y="50"/>
                  <a:pt x="0" y="52"/>
                  <a:pt x="0" y="53"/>
                </a:cubicBezTo>
                <a:cubicBezTo>
                  <a:pt x="0" y="53"/>
                  <a:pt x="0" y="54"/>
                  <a:pt x="0" y="55"/>
                </a:cubicBezTo>
                <a:cubicBezTo>
                  <a:pt x="1" y="55"/>
                  <a:pt x="3" y="57"/>
                  <a:pt x="5" y="59"/>
                </a:cubicBezTo>
                <a:cubicBezTo>
                  <a:pt x="6" y="59"/>
                  <a:pt x="6" y="59"/>
                  <a:pt x="6" y="59"/>
                </a:cubicBezTo>
                <a:cubicBezTo>
                  <a:pt x="7" y="59"/>
                  <a:pt x="8" y="60"/>
                  <a:pt x="8" y="61"/>
                </a:cubicBezTo>
                <a:cubicBezTo>
                  <a:pt x="8" y="68"/>
                  <a:pt x="8" y="68"/>
                  <a:pt x="8" y="68"/>
                </a:cubicBezTo>
                <a:cubicBezTo>
                  <a:pt x="9" y="67"/>
                  <a:pt x="10" y="67"/>
                  <a:pt x="12" y="67"/>
                </a:cubicBezTo>
                <a:cubicBezTo>
                  <a:pt x="12" y="66"/>
                  <a:pt x="14" y="67"/>
                  <a:pt x="14" y="68"/>
                </a:cubicBezTo>
                <a:cubicBezTo>
                  <a:pt x="15" y="70"/>
                  <a:pt x="15" y="70"/>
                  <a:pt x="15" y="70"/>
                </a:cubicBezTo>
                <a:cubicBezTo>
                  <a:pt x="16" y="71"/>
                  <a:pt x="17" y="71"/>
                  <a:pt x="17" y="71"/>
                </a:cubicBezTo>
                <a:cubicBezTo>
                  <a:pt x="17" y="71"/>
                  <a:pt x="18" y="71"/>
                  <a:pt x="18" y="72"/>
                </a:cubicBezTo>
                <a:cubicBezTo>
                  <a:pt x="18" y="72"/>
                  <a:pt x="20" y="73"/>
                  <a:pt x="21" y="74"/>
                </a:cubicBezTo>
                <a:cubicBezTo>
                  <a:pt x="24" y="76"/>
                  <a:pt x="24" y="79"/>
                  <a:pt x="24" y="79"/>
                </a:cubicBezTo>
                <a:cubicBezTo>
                  <a:pt x="24" y="81"/>
                  <a:pt x="24" y="81"/>
                  <a:pt x="24" y="81"/>
                </a:cubicBezTo>
                <a:cubicBezTo>
                  <a:pt x="27" y="84"/>
                  <a:pt x="27" y="84"/>
                  <a:pt x="27" y="84"/>
                </a:cubicBezTo>
                <a:cubicBezTo>
                  <a:pt x="28" y="85"/>
                  <a:pt x="29" y="85"/>
                  <a:pt x="30" y="86"/>
                </a:cubicBezTo>
                <a:cubicBezTo>
                  <a:pt x="35" y="86"/>
                  <a:pt x="35" y="86"/>
                  <a:pt x="35" y="86"/>
                </a:cubicBezTo>
                <a:cubicBezTo>
                  <a:pt x="35" y="86"/>
                  <a:pt x="35" y="86"/>
                  <a:pt x="36" y="86"/>
                </a:cubicBezTo>
                <a:cubicBezTo>
                  <a:pt x="37" y="87"/>
                  <a:pt x="37" y="87"/>
                  <a:pt x="37" y="87"/>
                </a:cubicBezTo>
                <a:cubicBezTo>
                  <a:pt x="40" y="87"/>
                  <a:pt x="40" y="87"/>
                  <a:pt x="40" y="87"/>
                </a:cubicBezTo>
                <a:cubicBezTo>
                  <a:pt x="42" y="87"/>
                  <a:pt x="42" y="87"/>
                  <a:pt x="42" y="87"/>
                </a:cubicBezTo>
                <a:cubicBezTo>
                  <a:pt x="43" y="87"/>
                  <a:pt x="43" y="87"/>
                  <a:pt x="44" y="87"/>
                </a:cubicBezTo>
                <a:cubicBezTo>
                  <a:pt x="45" y="87"/>
                  <a:pt x="45" y="87"/>
                  <a:pt x="46" y="87"/>
                </a:cubicBezTo>
                <a:cubicBezTo>
                  <a:pt x="47" y="86"/>
                  <a:pt x="47" y="86"/>
                  <a:pt x="47" y="86"/>
                </a:cubicBezTo>
                <a:cubicBezTo>
                  <a:pt x="49" y="84"/>
                  <a:pt x="49" y="84"/>
                  <a:pt x="49" y="84"/>
                </a:cubicBezTo>
                <a:cubicBezTo>
                  <a:pt x="50" y="84"/>
                  <a:pt x="50" y="84"/>
                  <a:pt x="50" y="84"/>
                </a:cubicBezTo>
                <a:cubicBezTo>
                  <a:pt x="58" y="83"/>
                  <a:pt x="58" y="83"/>
                  <a:pt x="58" y="83"/>
                </a:cubicBezTo>
                <a:cubicBezTo>
                  <a:pt x="61" y="82"/>
                  <a:pt x="61" y="82"/>
                  <a:pt x="61" y="82"/>
                </a:cubicBezTo>
                <a:cubicBezTo>
                  <a:pt x="61" y="81"/>
                  <a:pt x="61" y="81"/>
                  <a:pt x="61" y="81"/>
                </a:cubicBezTo>
                <a:cubicBezTo>
                  <a:pt x="62" y="81"/>
                  <a:pt x="62" y="81"/>
                  <a:pt x="63" y="81"/>
                </a:cubicBezTo>
                <a:cubicBezTo>
                  <a:pt x="73" y="81"/>
                  <a:pt x="73" y="81"/>
                  <a:pt x="73" y="81"/>
                </a:cubicBezTo>
                <a:cubicBezTo>
                  <a:pt x="74" y="81"/>
                  <a:pt x="74" y="81"/>
                  <a:pt x="75" y="81"/>
                </a:cubicBezTo>
                <a:cubicBezTo>
                  <a:pt x="78" y="85"/>
                  <a:pt x="78" y="85"/>
                  <a:pt x="78" y="85"/>
                </a:cubicBezTo>
                <a:cubicBezTo>
                  <a:pt x="81" y="89"/>
                  <a:pt x="81" y="89"/>
                  <a:pt x="81" y="89"/>
                </a:cubicBezTo>
                <a:cubicBezTo>
                  <a:pt x="82" y="90"/>
                  <a:pt x="82" y="90"/>
                  <a:pt x="82" y="90"/>
                </a:cubicBezTo>
                <a:cubicBezTo>
                  <a:pt x="83" y="94"/>
                  <a:pt x="83" y="94"/>
                  <a:pt x="83" y="94"/>
                </a:cubicBezTo>
                <a:cubicBezTo>
                  <a:pt x="84" y="95"/>
                  <a:pt x="84" y="95"/>
                  <a:pt x="84" y="95"/>
                </a:cubicBezTo>
                <a:cubicBezTo>
                  <a:pt x="85" y="95"/>
                  <a:pt x="88" y="96"/>
                  <a:pt x="91" y="97"/>
                </a:cubicBezTo>
                <a:cubicBezTo>
                  <a:pt x="93" y="95"/>
                  <a:pt x="93" y="95"/>
                  <a:pt x="93" y="95"/>
                </a:cubicBezTo>
                <a:cubicBezTo>
                  <a:pt x="94" y="95"/>
                  <a:pt x="96" y="94"/>
                  <a:pt x="97" y="94"/>
                </a:cubicBezTo>
                <a:cubicBezTo>
                  <a:pt x="97" y="93"/>
                  <a:pt x="97" y="93"/>
                  <a:pt x="97" y="93"/>
                </a:cubicBezTo>
                <a:cubicBezTo>
                  <a:pt x="96" y="92"/>
                  <a:pt x="95" y="90"/>
                  <a:pt x="97" y="88"/>
                </a:cubicBezTo>
                <a:cubicBezTo>
                  <a:pt x="97" y="87"/>
                  <a:pt x="98" y="87"/>
                  <a:pt x="98" y="87"/>
                </a:cubicBezTo>
                <a:cubicBezTo>
                  <a:pt x="98" y="87"/>
                  <a:pt x="98" y="86"/>
                  <a:pt x="99" y="85"/>
                </a:cubicBezTo>
                <a:cubicBezTo>
                  <a:pt x="101" y="83"/>
                  <a:pt x="101" y="83"/>
                  <a:pt x="101" y="83"/>
                </a:cubicBezTo>
                <a:cubicBezTo>
                  <a:pt x="101" y="82"/>
                  <a:pt x="101" y="82"/>
                  <a:pt x="102" y="81"/>
                </a:cubicBezTo>
                <a:cubicBezTo>
                  <a:pt x="102" y="80"/>
                  <a:pt x="103" y="80"/>
                  <a:pt x="102" y="80"/>
                </a:cubicBezTo>
                <a:cubicBezTo>
                  <a:pt x="102" y="77"/>
                  <a:pt x="102" y="74"/>
                  <a:pt x="102" y="74"/>
                </a:cubicBezTo>
                <a:cubicBezTo>
                  <a:pt x="102" y="71"/>
                  <a:pt x="102" y="71"/>
                  <a:pt x="102" y="71"/>
                </a:cubicBezTo>
                <a:cubicBezTo>
                  <a:pt x="102" y="70"/>
                  <a:pt x="103" y="69"/>
                  <a:pt x="104" y="69"/>
                </a:cubicBezTo>
                <a:cubicBezTo>
                  <a:pt x="107" y="69"/>
                  <a:pt x="107" y="69"/>
                  <a:pt x="107" y="69"/>
                </a:cubicBezTo>
                <a:cubicBezTo>
                  <a:pt x="107" y="68"/>
                  <a:pt x="107" y="67"/>
                  <a:pt x="107" y="67"/>
                </a:cubicBezTo>
                <a:cubicBezTo>
                  <a:pt x="107" y="66"/>
                  <a:pt x="107" y="66"/>
                  <a:pt x="107" y="65"/>
                </a:cubicBezTo>
                <a:cubicBezTo>
                  <a:pt x="110" y="61"/>
                  <a:pt x="110" y="61"/>
                  <a:pt x="110" y="61"/>
                </a:cubicBezTo>
                <a:cubicBezTo>
                  <a:pt x="110" y="53"/>
                  <a:pt x="110" y="53"/>
                  <a:pt x="110" y="53"/>
                </a:cubicBezTo>
                <a:cubicBezTo>
                  <a:pt x="107" y="49"/>
                  <a:pt x="107" y="49"/>
                  <a:pt x="107" y="49"/>
                </a:cubicBezTo>
                <a:cubicBezTo>
                  <a:pt x="106" y="48"/>
                  <a:pt x="106" y="47"/>
                  <a:pt x="107" y="47"/>
                </a:cubicBezTo>
                <a:cubicBezTo>
                  <a:pt x="109" y="43"/>
                  <a:pt x="109" y="43"/>
                  <a:pt x="109" y="43"/>
                </a:cubicBezTo>
                <a:cubicBezTo>
                  <a:pt x="110" y="42"/>
                  <a:pt x="110" y="42"/>
                  <a:pt x="110" y="42"/>
                </a:cubicBezTo>
                <a:cubicBezTo>
                  <a:pt x="112" y="42"/>
                  <a:pt x="112" y="42"/>
                  <a:pt x="112" y="42"/>
                </a:cubicBezTo>
                <a:cubicBezTo>
                  <a:pt x="112" y="42"/>
                  <a:pt x="112" y="41"/>
                  <a:pt x="113" y="41"/>
                </a:cubicBezTo>
                <a:cubicBezTo>
                  <a:pt x="111" y="37"/>
                  <a:pt x="111" y="37"/>
                  <a:pt x="111" y="37"/>
                </a:cubicBezTo>
                <a:cubicBezTo>
                  <a:pt x="110" y="36"/>
                  <a:pt x="110" y="35"/>
                  <a:pt x="111" y="35"/>
                </a:cubicBezTo>
                <a:cubicBezTo>
                  <a:pt x="111" y="34"/>
                  <a:pt x="112" y="34"/>
                  <a:pt x="112" y="34"/>
                </a:cubicBezTo>
                <a:cubicBezTo>
                  <a:pt x="115" y="34"/>
                  <a:pt x="115" y="34"/>
                  <a:pt x="115" y="34"/>
                </a:cubicBezTo>
                <a:cubicBezTo>
                  <a:pt x="118" y="31"/>
                  <a:pt x="118" y="31"/>
                  <a:pt x="118" y="31"/>
                </a:cubicBezTo>
                <a:cubicBezTo>
                  <a:pt x="118" y="31"/>
                  <a:pt x="118" y="31"/>
                  <a:pt x="119" y="31"/>
                </a:cubicBezTo>
                <a:cubicBezTo>
                  <a:pt x="118" y="29"/>
                  <a:pt x="118" y="29"/>
                  <a:pt x="118" y="29"/>
                </a:cubicBezTo>
                <a:cubicBezTo>
                  <a:pt x="116" y="26"/>
                  <a:pt x="116" y="26"/>
                  <a:pt x="116" y="26"/>
                </a:cubicBezTo>
                <a:cubicBezTo>
                  <a:pt x="115" y="25"/>
                  <a:pt x="115" y="25"/>
                  <a:pt x="115" y="25"/>
                </a:cubicBezTo>
                <a:cubicBezTo>
                  <a:pt x="115" y="20"/>
                  <a:pt x="115" y="20"/>
                  <a:pt x="115" y="20"/>
                </a:cubicBezTo>
                <a:cubicBezTo>
                  <a:pt x="115" y="18"/>
                  <a:pt x="116" y="18"/>
                  <a:pt x="117" y="17"/>
                </a:cubicBezTo>
                <a:cubicBezTo>
                  <a:pt x="117" y="12"/>
                  <a:pt x="117" y="12"/>
                  <a:pt x="117" y="12"/>
                </a:cubicBezTo>
                <a:cubicBezTo>
                  <a:pt x="117" y="11"/>
                  <a:pt x="117" y="10"/>
                  <a:pt x="118" y="10"/>
                </a:cubicBezTo>
                <a:cubicBezTo>
                  <a:pt x="120" y="8"/>
                  <a:pt x="120" y="8"/>
                  <a:pt x="120" y="8"/>
                </a:cubicBezTo>
                <a:cubicBezTo>
                  <a:pt x="120" y="7"/>
                  <a:pt x="120" y="7"/>
                  <a:pt x="120" y="7"/>
                </a:cubicBezTo>
                <a:cubicBezTo>
                  <a:pt x="120" y="6"/>
                  <a:pt x="120" y="6"/>
                  <a:pt x="121" y="5"/>
                </a:cubicBezTo>
                <a:cubicBezTo>
                  <a:pt x="122" y="5"/>
                  <a:pt x="122" y="5"/>
                  <a:pt x="122" y="5"/>
                </a:cubicBezTo>
                <a:cubicBezTo>
                  <a:pt x="122" y="5"/>
                  <a:pt x="122" y="5"/>
                  <a:pt x="122" y="4"/>
                </a:cubicBezTo>
                <a:cubicBezTo>
                  <a:pt x="122" y="4"/>
                  <a:pt x="122" y="3"/>
                  <a:pt x="123" y="3"/>
                </a:cubicBezTo>
                <a:cubicBezTo>
                  <a:pt x="123" y="3"/>
                  <a:pt x="124" y="2"/>
                  <a:pt x="125" y="2"/>
                </a:cubicBezTo>
                <a:cubicBezTo>
                  <a:pt x="126" y="1"/>
                  <a:pt x="126" y="1"/>
                  <a:pt x="126" y="1"/>
                </a:cubicBezTo>
                <a:lnTo>
                  <a:pt x="119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6" name="Freeform 87">
            <a:extLst>
              <a:ext uri="{FF2B5EF4-FFF2-40B4-BE49-F238E27FC236}">
                <a16:creationId xmlns:a16="http://schemas.microsoft.com/office/drawing/2014/main" id="{42C5D9AB-0164-445D-9787-F02B91290320}"/>
              </a:ext>
            </a:extLst>
          </p:cNvPr>
          <p:cNvSpPr>
            <a:spLocks/>
          </p:cNvSpPr>
          <p:nvPr/>
        </p:nvSpPr>
        <p:spPr bwMode="auto">
          <a:xfrm>
            <a:off x="5915567" y="3671416"/>
            <a:ext cx="374916" cy="331788"/>
          </a:xfrm>
          <a:custGeom>
            <a:avLst/>
            <a:gdLst>
              <a:gd name="T0" fmla="*/ 152 w 155"/>
              <a:gd name="T1" fmla="*/ 134 h 149"/>
              <a:gd name="T2" fmla="*/ 150 w 155"/>
              <a:gd name="T3" fmla="*/ 128 h 149"/>
              <a:gd name="T4" fmla="*/ 130 w 155"/>
              <a:gd name="T5" fmla="*/ 102 h 149"/>
              <a:gd name="T6" fmla="*/ 120 w 155"/>
              <a:gd name="T7" fmla="*/ 90 h 149"/>
              <a:gd name="T8" fmla="*/ 108 w 155"/>
              <a:gd name="T9" fmla="*/ 76 h 149"/>
              <a:gd name="T10" fmla="*/ 100 w 155"/>
              <a:gd name="T11" fmla="*/ 62 h 149"/>
              <a:gd name="T12" fmla="*/ 92 w 155"/>
              <a:gd name="T13" fmla="*/ 37 h 149"/>
              <a:gd name="T14" fmla="*/ 93 w 155"/>
              <a:gd name="T15" fmla="*/ 30 h 149"/>
              <a:gd name="T16" fmla="*/ 97 w 155"/>
              <a:gd name="T17" fmla="*/ 21 h 149"/>
              <a:gd name="T18" fmla="*/ 102 w 155"/>
              <a:gd name="T19" fmla="*/ 18 h 149"/>
              <a:gd name="T20" fmla="*/ 111 w 155"/>
              <a:gd name="T21" fmla="*/ 14 h 149"/>
              <a:gd name="T22" fmla="*/ 111 w 155"/>
              <a:gd name="T23" fmla="*/ 12 h 149"/>
              <a:gd name="T24" fmla="*/ 100 w 155"/>
              <a:gd name="T25" fmla="*/ 7 h 149"/>
              <a:gd name="T26" fmla="*/ 87 w 155"/>
              <a:gd name="T27" fmla="*/ 2 h 149"/>
              <a:gd name="T28" fmla="*/ 83 w 155"/>
              <a:gd name="T29" fmla="*/ 1 h 149"/>
              <a:gd name="T30" fmla="*/ 66 w 155"/>
              <a:gd name="T31" fmla="*/ 0 h 149"/>
              <a:gd name="T32" fmla="*/ 63 w 155"/>
              <a:gd name="T33" fmla="*/ 7 h 149"/>
              <a:gd name="T34" fmla="*/ 57 w 155"/>
              <a:gd name="T35" fmla="*/ 21 h 149"/>
              <a:gd name="T36" fmla="*/ 52 w 155"/>
              <a:gd name="T37" fmla="*/ 26 h 149"/>
              <a:gd name="T38" fmla="*/ 46 w 155"/>
              <a:gd name="T39" fmla="*/ 27 h 149"/>
              <a:gd name="T40" fmla="*/ 28 w 155"/>
              <a:gd name="T41" fmla="*/ 45 h 149"/>
              <a:gd name="T42" fmla="*/ 0 w 155"/>
              <a:gd name="T43" fmla="*/ 51 h 149"/>
              <a:gd name="T44" fmla="*/ 4 w 155"/>
              <a:gd name="T45" fmla="*/ 72 h 149"/>
              <a:gd name="T46" fmla="*/ 4 w 155"/>
              <a:gd name="T47" fmla="*/ 75 h 149"/>
              <a:gd name="T48" fmla="*/ 15 w 155"/>
              <a:gd name="T49" fmla="*/ 118 h 149"/>
              <a:gd name="T50" fmla="*/ 19 w 155"/>
              <a:gd name="T51" fmla="*/ 120 h 149"/>
              <a:gd name="T52" fmla="*/ 4 w 155"/>
              <a:gd name="T53" fmla="*/ 138 h 149"/>
              <a:gd name="T54" fmla="*/ 15 w 155"/>
              <a:gd name="T55" fmla="*/ 141 h 149"/>
              <a:gd name="T56" fmla="*/ 19 w 155"/>
              <a:gd name="T57" fmla="*/ 141 h 149"/>
              <a:gd name="T58" fmla="*/ 23 w 155"/>
              <a:gd name="T59" fmla="*/ 138 h 149"/>
              <a:gd name="T60" fmla="*/ 24 w 155"/>
              <a:gd name="T61" fmla="*/ 128 h 149"/>
              <a:gd name="T62" fmla="*/ 22 w 155"/>
              <a:gd name="T63" fmla="*/ 125 h 149"/>
              <a:gd name="T64" fmla="*/ 22 w 155"/>
              <a:gd name="T65" fmla="*/ 123 h 149"/>
              <a:gd name="T66" fmla="*/ 36 w 155"/>
              <a:gd name="T67" fmla="*/ 116 h 149"/>
              <a:gd name="T68" fmla="*/ 41 w 155"/>
              <a:gd name="T69" fmla="*/ 117 h 149"/>
              <a:gd name="T70" fmla="*/ 45 w 155"/>
              <a:gd name="T71" fmla="*/ 120 h 149"/>
              <a:gd name="T72" fmla="*/ 47 w 155"/>
              <a:gd name="T73" fmla="*/ 121 h 149"/>
              <a:gd name="T74" fmla="*/ 66 w 155"/>
              <a:gd name="T75" fmla="*/ 118 h 149"/>
              <a:gd name="T76" fmla="*/ 80 w 155"/>
              <a:gd name="T77" fmla="*/ 112 h 149"/>
              <a:gd name="T78" fmla="*/ 86 w 155"/>
              <a:gd name="T79" fmla="*/ 111 h 149"/>
              <a:gd name="T80" fmla="*/ 92 w 155"/>
              <a:gd name="T81" fmla="*/ 113 h 149"/>
              <a:gd name="T82" fmla="*/ 93 w 155"/>
              <a:gd name="T83" fmla="*/ 114 h 149"/>
              <a:gd name="T84" fmla="*/ 97 w 155"/>
              <a:gd name="T85" fmla="*/ 119 h 149"/>
              <a:gd name="T86" fmla="*/ 107 w 155"/>
              <a:gd name="T87" fmla="*/ 128 h 149"/>
              <a:gd name="T88" fmla="*/ 118 w 155"/>
              <a:gd name="T89" fmla="*/ 136 h 149"/>
              <a:gd name="T90" fmla="*/ 124 w 155"/>
              <a:gd name="T91" fmla="*/ 136 h 149"/>
              <a:gd name="T92" fmla="*/ 133 w 155"/>
              <a:gd name="T93" fmla="*/ 131 h 149"/>
              <a:gd name="T94" fmla="*/ 138 w 155"/>
              <a:gd name="T95" fmla="*/ 131 h 149"/>
              <a:gd name="T96" fmla="*/ 147 w 155"/>
              <a:gd name="T97" fmla="*/ 135 h 149"/>
              <a:gd name="T98" fmla="*/ 152 w 155"/>
              <a:gd name="T99" fmla="*/ 140 h 149"/>
              <a:gd name="T100" fmla="*/ 150 w 155"/>
              <a:gd name="T101" fmla="*/ 147 h 149"/>
              <a:gd name="T102" fmla="*/ 149 w 155"/>
              <a:gd name="T103" fmla="*/ 149 h 149"/>
              <a:gd name="T104" fmla="*/ 151 w 155"/>
              <a:gd name="T105" fmla="*/ 148 h 149"/>
              <a:gd name="T106" fmla="*/ 154 w 155"/>
              <a:gd name="T107" fmla="*/ 143 h 149"/>
              <a:gd name="T108" fmla="*/ 155 w 155"/>
              <a:gd name="T109" fmla="*/ 139 h 149"/>
              <a:gd name="T110" fmla="*/ 153 w 155"/>
              <a:gd name="T111" fmla="*/ 136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55" h="149">
                <a:moveTo>
                  <a:pt x="153" y="136"/>
                </a:moveTo>
                <a:cubicBezTo>
                  <a:pt x="152" y="134"/>
                  <a:pt x="152" y="134"/>
                  <a:pt x="152" y="134"/>
                </a:cubicBezTo>
                <a:cubicBezTo>
                  <a:pt x="151" y="130"/>
                  <a:pt x="151" y="130"/>
                  <a:pt x="151" y="130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9" y="115"/>
                  <a:pt x="139" y="115"/>
                  <a:pt x="139" y="115"/>
                </a:cubicBezTo>
                <a:cubicBezTo>
                  <a:pt x="130" y="102"/>
                  <a:pt x="130" y="102"/>
                  <a:pt x="130" y="102"/>
                </a:cubicBezTo>
                <a:cubicBezTo>
                  <a:pt x="128" y="100"/>
                  <a:pt x="128" y="100"/>
                  <a:pt x="128" y="100"/>
                </a:cubicBezTo>
                <a:cubicBezTo>
                  <a:pt x="120" y="90"/>
                  <a:pt x="120" y="90"/>
                  <a:pt x="120" y="90"/>
                </a:cubicBezTo>
                <a:cubicBezTo>
                  <a:pt x="112" y="81"/>
                  <a:pt x="112" y="81"/>
                  <a:pt x="112" y="81"/>
                </a:cubicBezTo>
                <a:cubicBezTo>
                  <a:pt x="108" y="76"/>
                  <a:pt x="108" y="76"/>
                  <a:pt x="108" y="76"/>
                </a:cubicBezTo>
                <a:cubicBezTo>
                  <a:pt x="101" y="63"/>
                  <a:pt x="101" y="63"/>
                  <a:pt x="101" y="63"/>
                </a:cubicBezTo>
                <a:cubicBezTo>
                  <a:pt x="100" y="62"/>
                  <a:pt x="100" y="62"/>
                  <a:pt x="100" y="62"/>
                </a:cubicBezTo>
                <a:cubicBezTo>
                  <a:pt x="93" y="40"/>
                  <a:pt x="93" y="40"/>
                  <a:pt x="93" y="40"/>
                </a:cubicBezTo>
                <a:cubicBezTo>
                  <a:pt x="92" y="37"/>
                  <a:pt x="92" y="37"/>
                  <a:pt x="92" y="37"/>
                </a:cubicBezTo>
                <a:cubicBezTo>
                  <a:pt x="92" y="36"/>
                  <a:pt x="92" y="36"/>
                  <a:pt x="92" y="36"/>
                </a:cubicBezTo>
                <a:cubicBezTo>
                  <a:pt x="93" y="30"/>
                  <a:pt x="93" y="30"/>
                  <a:pt x="93" y="30"/>
                </a:cubicBezTo>
                <a:cubicBezTo>
                  <a:pt x="93" y="28"/>
                  <a:pt x="93" y="28"/>
                  <a:pt x="93" y="28"/>
                </a:cubicBezTo>
                <a:cubicBezTo>
                  <a:pt x="97" y="21"/>
                  <a:pt x="97" y="21"/>
                  <a:pt x="97" y="21"/>
                </a:cubicBezTo>
                <a:cubicBezTo>
                  <a:pt x="99" y="19"/>
                  <a:pt x="99" y="19"/>
                  <a:pt x="99" y="19"/>
                </a:cubicBezTo>
                <a:cubicBezTo>
                  <a:pt x="102" y="18"/>
                  <a:pt x="102" y="18"/>
                  <a:pt x="102" y="18"/>
                </a:cubicBezTo>
                <a:cubicBezTo>
                  <a:pt x="106" y="17"/>
                  <a:pt x="106" y="17"/>
                  <a:pt x="106" y="17"/>
                </a:cubicBezTo>
                <a:cubicBezTo>
                  <a:pt x="111" y="14"/>
                  <a:pt x="111" y="14"/>
                  <a:pt x="111" y="14"/>
                </a:cubicBezTo>
                <a:cubicBezTo>
                  <a:pt x="111" y="13"/>
                  <a:pt x="111" y="13"/>
                  <a:pt x="111" y="13"/>
                </a:cubicBezTo>
                <a:cubicBezTo>
                  <a:pt x="111" y="12"/>
                  <a:pt x="111" y="12"/>
                  <a:pt x="111" y="12"/>
                </a:cubicBezTo>
                <a:cubicBezTo>
                  <a:pt x="105" y="8"/>
                  <a:pt x="105" y="8"/>
                  <a:pt x="105" y="8"/>
                </a:cubicBezTo>
                <a:cubicBezTo>
                  <a:pt x="100" y="7"/>
                  <a:pt x="100" y="7"/>
                  <a:pt x="100" y="7"/>
                </a:cubicBezTo>
                <a:cubicBezTo>
                  <a:pt x="88" y="3"/>
                  <a:pt x="88" y="3"/>
                  <a:pt x="88" y="3"/>
                </a:cubicBezTo>
                <a:cubicBezTo>
                  <a:pt x="88" y="3"/>
                  <a:pt x="88" y="3"/>
                  <a:pt x="87" y="2"/>
                </a:cubicBezTo>
                <a:cubicBezTo>
                  <a:pt x="87" y="3"/>
                  <a:pt x="86" y="3"/>
                  <a:pt x="85" y="3"/>
                </a:cubicBezTo>
                <a:cubicBezTo>
                  <a:pt x="83" y="1"/>
                  <a:pt x="83" y="1"/>
                  <a:pt x="83" y="1"/>
                </a:cubicBezTo>
                <a:cubicBezTo>
                  <a:pt x="81" y="2"/>
                  <a:pt x="76" y="2"/>
                  <a:pt x="74" y="2"/>
                </a:cubicBezTo>
                <a:cubicBezTo>
                  <a:pt x="72" y="2"/>
                  <a:pt x="68" y="0"/>
                  <a:pt x="66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63" y="7"/>
                  <a:pt x="63" y="7"/>
                  <a:pt x="63" y="7"/>
                </a:cubicBezTo>
                <a:cubicBezTo>
                  <a:pt x="63" y="7"/>
                  <a:pt x="63" y="8"/>
                  <a:pt x="63" y="8"/>
                </a:cubicBezTo>
                <a:cubicBezTo>
                  <a:pt x="57" y="21"/>
                  <a:pt x="57" y="21"/>
                  <a:pt x="57" y="21"/>
                </a:cubicBezTo>
                <a:cubicBezTo>
                  <a:pt x="57" y="21"/>
                  <a:pt x="57" y="21"/>
                  <a:pt x="57" y="21"/>
                </a:cubicBezTo>
                <a:cubicBezTo>
                  <a:pt x="57" y="21"/>
                  <a:pt x="53" y="25"/>
                  <a:pt x="52" y="26"/>
                </a:cubicBezTo>
                <a:cubicBezTo>
                  <a:pt x="51" y="27"/>
                  <a:pt x="49" y="27"/>
                  <a:pt x="46" y="27"/>
                </a:cubicBezTo>
                <a:cubicBezTo>
                  <a:pt x="46" y="27"/>
                  <a:pt x="46" y="27"/>
                  <a:pt x="46" y="27"/>
                </a:cubicBezTo>
                <a:cubicBezTo>
                  <a:pt x="38" y="32"/>
                  <a:pt x="38" y="32"/>
                  <a:pt x="38" y="32"/>
                </a:cubicBezTo>
                <a:cubicBezTo>
                  <a:pt x="28" y="45"/>
                  <a:pt x="28" y="45"/>
                  <a:pt x="28" y="45"/>
                </a:cubicBezTo>
                <a:cubicBezTo>
                  <a:pt x="28" y="45"/>
                  <a:pt x="28" y="46"/>
                  <a:pt x="27" y="46"/>
                </a:cubicBezTo>
                <a:cubicBezTo>
                  <a:pt x="0" y="51"/>
                  <a:pt x="0" y="51"/>
                  <a:pt x="0" y="51"/>
                </a:cubicBezTo>
                <a:cubicBezTo>
                  <a:pt x="0" y="58"/>
                  <a:pt x="0" y="58"/>
                  <a:pt x="0" y="58"/>
                </a:cubicBezTo>
                <a:cubicBezTo>
                  <a:pt x="4" y="72"/>
                  <a:pt x="4" y="72"/>
                  <a:pt x="4" y="72"/>
                </a:cubicBezTo>
                <a:cubicBezTo>
                  <a:pt x="4" y="72"/>
                  <a:pt x="4" y="72"/>
                  <a:pt x="4" y="73"/>
                </a:cubicBezTo>
                <a:cubicBezTo>
                  <a:pt x="4" y="75"/>
                  <a:pt x="4" y="75"/>
                  <a:pt x="4" y="75"/>
                </a:cubicBezTo>
                <a:cubicBezTo>
                  <a:pt x="12" y="109"/>
                  <a:pt x="12" y="109"/>
                  <a:pt x="12" y="109"/>
                </a:cubicBezTo>
                <a:cubicBezTo>
                  <a:pt x="15" y="118"/>
                  <a:pt x="15" y="118"/>
                  <a:pt x="15" y="118"/>
                </a:cubicBezTo>
                <a:cubicBezTo>
                  <a:pt x="18" y="119"/>
                  <a:pt x="18" y="119"/>
                  <a:pt x="18" y="119"/>
                </a:cubicBezTo>
                <a:cubicBezTo>
                  <a:pt x="19" y="119"/>
                  <a:pt x="19" y="120"/>
                  <a:pt x="19" y="120"/>
                </a:cubicBezTo>
                <a:cubicBezTo>
                  <a:pt x="19" y="121"/>
                  <a:pt x="19" y="122"/>
                  <a:pt x="19" y="122"/>
                </a:cubicBezTo>
                <a:cubicBezTo>
                  <a:pt x="4" y="138"/>
                  <a:pt x="4" y="138"/>
                  <a:pt x="4" y="138"/>
                </a:cubicBezTo>
                <a:cubicBezTo>
                  <a:pt x="13" y="139"/>
                  <a:pt x="13" y="139"/>
                  <a:pt x="13" y="139"/>
                </a:cubicBezTo>
                <a:cubicBezTo>
                  <a:pt x="14" y="139"/>
                  <a:pt x="15" y="140"/>
                  <a:pt x="15" y="141"/>
                </a:cubicBezTo>
                <a:cubicBezTo>
                  <a:pt x="16" y="141"/>
                  <a:pt x="16" y="141"/>
                  <a:pt x="16" y="141"/>
                </a:cubicBezTo>
                <a:cubicBezTo>
                  <a:pt x="17" y="140"/>
                  <a:pt x="18" y="141"/>
                  <a:pt x="19" y="141"/>
                </a:cubicBezTo>
                <a:cubicBezTo>
                  <a:pt x="20" y="140"/>
                  <a:pt x="20" y="140"/>
                  <a:pt x="20" y="139"/>
                </a:cubicBezTo>
                <a:cubicBezTo>
                  <a:pt x="23" y="138"/>
                  <a:pt x="23" y="138"/>
                  <a:pt x="23" y="138"/>
                </a:cubicBezTo>
                <a:cubicBezTo>
                  <a:pt x="24" y="136"/>
                  <a:pt x="24" y="136"/>
                  <a:pt x="24" y="136"/>
                </a:cubicBezTo>
                <a:cubicBezTo>
                  <a:pt x="24" y="128"/>
                  <a:pt x="24" y="128"/>
                  <a:pt x="24" y="128"/>
                </a:cubicBezTo>
                <a:cubicBezTo>
                  <a:pt x="24" y="127"/>
                  <a:pt x="24" y="127"/>
                  <a:pt x="25" y="127"/>
                </a:cubicBezTo>
                <a:cubicBezTo>
                  <a:pt x="22" y="125"/>
                  <a:pt x="22" y="125"/>
                  <a:pt x="22" y="125"/>
                </a:cubicBezTo>
                <a:cubicBezTo>
                  <a:pt x="22" y="124"/>
                  <a:pt x="22" y="124"/>
                  <a:pt x="22" y="124"/>
                </a:cubicBezTo>
                <a:cubicBezTo>
                  <a:pt x="22" y="123"/>
                  <a:pt x="22" y="123"/>
                  <a:pt x="22" y="123"/>
                </a:cubicBezTo>
                <a:cubicBezTo>
                  <a:pt x="32" y="117"/>
                  <a:pt x="32" y="117"/>
                  <a:pt x="32" y="117"/>
                </a:cubicBezTo>
                <a:cubicBezTo>
                  <a:pt x="36" y="116"/>
                  <a:pt x="36" y="116"/>
                  <a:pt x="36" y="116"/>
                </a:cubicBezTo>
                <a:cubicBezTo>
                  <a:pt x="38" y="117"/>
                  <a:pt x="38" y="117"/>
                  <a:pt x="38" y="117"/>
                </a:cubicBezTo>
                <a:cubicBezTo>
                  <a:pt x="41" y="117"/>
                  <a:pt x="41" y="117"/>
                  <a:pt x="41" y="117"/>
                </a:cubicBezTo>
                <a:cubicBezTo>
                  <a:pt x="44" y="119"/>
                  <a:pt x="44" y="119"/>
                  <a:pt x="44" y="119"/>
                </a:cubicBezTo>
                <a:cubicBezTo>
                  <a:pt x="45" y="120"/>
                  <a:pt x="45" y="120"/>
                  <a:pt x="45" y="120"/>
                </a:cubicBezTo>
                <a:cubicBezTo>
                  <a:pt x="46" y="121"/>
                  <a:pt x="46" y="121"/>
                  <a:pt x="46" y="121"/>
                </a:cubicBezTo>
                <a:cubicBezTo>
                  <a:pt x="47" y="121"/>
                  <a:pt x="47" y="121"/>
                  <a:pt x="47" y="121"/>
                </a:cubicBezTo>
                <a:cubicBezTo>
                  <a:pt x="48" y="121"/>
                  <a:pt x="48" y="121"/>
                  <a:pt x="48" y="121"/>
                </a:cubicBezTo>
                <a:cubicBezTo>
                  <a:pt x="66" y="118"/>
                  <a:pt x="66" y="118"/>
                  <a:pt x="66" y="118"/>
                </a:cubicBezTo>
                <a:cubicBezTo>
                  <a:pt x="73" y="116"/>
                  <a:pt x="73" y="116"/>
                  <a:pt x="73" y="116"/>
                </a:cubicBezTo>
                <a:cubicBezTo>
                  <a:pt x="80" y="112"/>
                  <a:pt x="80" y="112"/>
                  <a:pt x="80" y="112"/>
                </a:cubicBezTo>
                <a:cubicBezTo>
                  <a:pt x="84" y="111"/>
                  <a:pt x="84" y="111"/>
                  <a:pt x="84" y="111"/>
                </a:cubicBezTo>
                <a:cubicBezTo>
                  <a:pt x="86" y="111"/>
                  <a:pt x="86" y="111"/>
                  <a:pt x="86" y="111"/>
                </a:cubicBezTo>
                <a:cubicBezTo>
                  <a:pt x="88" y="112"/>
                  <a:pt x="88" y="112"/>
                  <a:pt x="88" y="112"/>
                </a:cubicBezTo>
                <a:cubicBezTo>
                  <a:pt x="92" y="113"/>
                  <a:pt x="92" y="113"/>
                  <a:pt x="92" y="113"/>
                </a:cubicBezTo>
                <a:cubicBezTo>
                  <a:pt x="93" y="113"/>
                  <a:pt x="93" y="113"/>
                  <a:pt x="93" y="113"/>
                </a:cubicBezTo>
                <a:cubicBezTo>
                  <a:pt x="93" y="114"/>
                  <a:pt x="93" y="114"/>
                  <a:pt x="93" y="114"/>
                </a:cubicBezTo>
                <a:cubicBezTo>
                  <a:pt x="94" y="116"/>
                  <a:pt x="94" y="116"/>
                  <a:pt x="94" y="116"/>
                </a:cubicBezTo>
                <a:cubicBezTo>
                  <a:pt x="97" y="119"/>
                  <a:pt x="97" y="119"/>
                  <a:pt x="97" y="119"/>
                </a:cubicBezTo>
                <a:cubicBezTo>
                  <a:pt x="98" y="121"/>
                  <a:pt x="98" y="121"/>
                  <a:pt x="98" y="121"/>
                </a:cubicBezTo>
                <a:cubicBezTo>
                  <a:pt x="107" y="128"/>
                  <a:pt x="107" y="128"/>
                  <a:pt x="107" y="128"/>
                </a:cubicBezTo>
                <a:cubicBezTo>
                  <a:pt x="115" y="134"/>
                  <a:pt x="115" y="134"/>
                  <a:pt x="115" y="134"/>
                </a:cubicBezTo>
                <a:cubicBezTo>
                  <a:pt x="118" y="136"/>
                  <a:pt x="118" y="136"/>
                  <a:pt x="118" y="136"/>
                </a:cubicBezTo>
                <a:cubicBezTo>
                  <a:pt x="120" y="136"/>
                  <a:pt x="120" y="136"/>
                  <a:pt x="120" y="136"/>
                </a:cubicBezTo>
                <a:cubicBezTo>
                  <a:pt x="124" y="136"/>
                  <a:pt x="124" y="136"/>
                  <a:pt x="124" y="136"/>
                </a:cubicBezTo>
                <a:cubicBezTo>
                  <a:pt x="126" y="135"/>
                  <a:pt x="126" y="135"/>
                  <a:pt x="126" y="135"/>
                </a:cubicBezTo>
                <a:cubicBezTo>
                  <a:pt x="133" y="131"/>
                  <a:pt x="133" y="131"/>
                  <a:pt x="133" y="131"/>
                </a:cubicBezTo>
                <a:cubicBezTo>
                  <a:pt x="135" y="131"/>
                  <a:pt x="135" y="131"/>
                  <a:pt x="135" y="131"/>
                </a:cubicBezTo>
                <a:cubicBezTo>
                  <a:pt x="138" y="131"/>
                  <a:pt x="138" y="131"/>
                  <a:pt x="138" y="131"/>
                </a:cubicBezTo>
                <a:cubicBezTo>
                  <a:pt x="144" y="133"/>
                  <a:pt x="144" y="133"/>
                  <a:pt x="144" y="133"/>
                </a:cubicBezTo>
                <a:cubicBezTo>
                  <a:pt x="147" y="135"/>
                  <a:pt x="147" y="135"/>
                  <a:pt x="147" y="135"/>
                </a:cubicBezTo>
                <a:cubicBezTo>
                  <a:pt x="151" y="138"/>
                  <a:pt x="151" y="138"/>
                  <a:pt x="151" y="138"/>
                </a:cubicBezTo>
                <a:cubicBezTo>
                  <a:pt x="152" y="140"/>
                  <a:pt x="152" y="140"/>
                  <a:pt x="152" y="140"/>
                </a:cubicBezTo>
                <a:cubicBezTo>
                  <a:pt x="152" y="143"/>
                  <a:pt x="152" y="143"/>
                  <a:pt x="152" y="143"/>
                </a:cubicBezTo>
                <a:cubicBezTo>
                  <a:pt x="150" y="147"/>
                  <a:pt x="150" y="147"/>
                  <a:pt x="150" y="147"/>
                </a:cubicBezTo>
                <a:cubicBezTo>
                  <a:pt x="149" y="148"/>
                  <a:pt x="149" y="148"/>
                  <a:pt x="149" y="148"/>
                </a:cubicBezTo>
                <a:cubicBezTo>
                  <a:pt x="149" y="149"/>
                  <a:pt x="149" y="149"/>
                  <a:pt x="149" y="149"/>
                </a:cubicBezTo>
                <a:cubicBezTo>
                  <a:pt x="150" y="149"/>
                  <a:pt x="150" y="149"/>
                  <a:pt x="150" y="149"/>
                </a:cubicBezTo>
                <a:cubicBezTo>
                  <a:pt x="151" y="148"/>
                  <a:pt x="151" y="148"/>
                  <a:pt x="151" y="148"/>
                </a:cubicBezTo>
                <a:cubicBezTo>
                  <a:pt x="153" y="145"/>
                  <a:pt x="153" y="145"/>
                  <a:pt x="153" y="145"/>
                </a:cubicBezTo>
                <a:cubicBezTo>
                  <a:pt x="154" y="143"/>
                  <a:pt x="154" y="143"/>
                  <a:pt x="154" y="143"/>
                </a:cubicBezTo>
                <a:cubicBezTo>
                  <a:pt x="155" y="142"/>
                  <a:pt x="155" y="142"/>
                  <a:pt x="155" y="142"/>
                </a:cubicBezTo>
                <a:cubicBezTo>
                  <a:pt x="155" y="139"/>
                  <a:pt x="155" y="139"/>
                  <a:pt x="155" y="139"/>
                </a:cubicBezTo>
                <a:cubicBezTo>
                  <a:pt x="155" y="138"/>
                  <a:pt x="155" y="138"/>
                  <a:pt x="155" y="138"/>
                </a:cubicBezTo>
                <a:cubicBezTo>
                  <a:pt x="153" y="136"/>
                  <a:pt x="153" y="136"/>
                  <a:pt x="153" y="13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7" name="Freeform 88">
            <a:extLst>
              <a:ext uri="{FF2B5EF4-FFF2-40B4-BE49-F238E27FC236}">
                <a16:creationId xmlns:a16="http://schemas.microsoft.com/office/drawing/2014/main" id="{87D10B39-44AB-4824-8A88-5BCA34C436B7}"/>
              </a:ext>
            </a:extLst>
          </p:cNvPr>
          <p:cNvSpPr>
            <a:spLocks/>
          </p:cNvSpPr>
          <p:nvPr/>
        </p:nvSpPr>
        <p:spPr bwMode="auto">
          <a:xfrm>
            <a:off x="5299881" y="3450754"/>
            <a:ext cx="811742" cy="592138"/>
          </a:xfrm>
          <a:custGeom>
            <a:avLst/>
            <a:gdLst>
              <a:gd name="T0" fmla="*/ 312 w 336"/>
              <a:gd name="T1" fmla="*/ 61 h 266"/>
              <a:gd name="T2" fmla="*/ 256 w 336"/>
              <a:gd name="T3" fmla="*/ 7 h 266"/>
              <a:gd name="T4" fmla="*/ 226 w 336"/>
              <a:gd name="T5" fmla="*/ 2 h 266"/>
              <a:gd name="T6" fmla="*/ 224 w 336"/>
              <a:gd name="T7" fmla="*/ 15 h 266"/>
              <a:gd name="T8" fmla="*/ 213 w 336"/>
              <a:gd name="T9" fmla="*/ 23 h 266"/>
              <a:gd name="T10" fmla="*/ 205 w 336"/>
              <a:gd name="T11" fmla="*/ 29 h 266"/>
              <a:gd name="T12" fmla="*/ 198 w 336"/>
              <a:gd name="T13" fmla="*/ 39 h 266"/>
              <a:gd name="T14" fmla="*/ 182 w 336"/>
              <a:gd name="T15" fmla="*/ 47 h 266"/>
              <a:gd name="T16" fmla="*/ 177 w 336"/>
              <a:gd name="T17" fmla="*/ 52 h 266"/>
              <a:gd name="T18" fmla="*/ 171 w 336"/>
              <a:gd name="T19" fmla="*/ 50 h 266"/>
              <a:gd name="T20" fmla="*/ 155 w 336"/>
              <a:gd name="T21" fmla="*/ 40 h 266"/>
              <a:gd name="T22" fmla="*/ 139 w 336"/>
              <a:gd name="T23" fmla="*/ 34 h 266"/>
              <a:gd name="T24" fmla="*/ 120 w 336"/>
              <a:gd name="T25" fmla="*/ 38 h 266"/>
              <a:gd name="T26" fmla="*/ 107 w 336"/>
              <a:gd name="T27" fmla="*/ 36 h 266"/>
              <a:gd name="T28" fmla="*/ 94 w 336"/>
              <a:gd name="T29" fmla="*/ 29 h 266"/>
              <a:gd name="T30" fmla="*/ 84 w 336"/>
              <a:gd name="T31" fmla="*/ 15 h 266"/>
              <a:gd name="T32" fmla="*/ 73 w 336"/>
              <a:gd name="T33" fmla="*/ 10 h 266"/>
              <a:gd name="T34" fmla="*/ 52 w 336"/>
              <a:gd name="T35" fmla="*/ 9 h 266"/>
              <a:gd name="T36" fmla="*/ 63 w 336"/>
              <a:gd name="T37" fmla="*/ 27 h 266"/>
              <a:gd name="T38" fmla="*/ 73 w 336"/>
              <a:gd name="T39" fmla="*/ 43 h 266"/>
              <a:gd name="T40" fmla="*/ 63 w 336"/>
              <a:gd name="T41" fmla="*/ 57 h 266"/>
              <a:gd name="T42" fmla="*/ 56 w 336"/>
              <a:gd name="T43" fmla="*/ 72 h 266"/>
              <a:gd name="T44" fmla="*/ 37 w 336"/>
              <a:gd name="T45" fmla="*/ 77 h 266"/>
              <a:gd name="T46" fmla="*/ 27 w 336"/>
              <a:gd name="T47" fmla="*/ 73 h 266"/>
              <a:gd name="T48" fmla="*/ 14 w 336"/>
              <a:gd name="T49" fmla="*/ 76 h 266"/>
              <a:gd name="T50" fmla="*/ 15 w 336"/>
              <a:gd name="T51" fmla="*/ 88 h 266"/>
              <a:gd name="T52" fmla="*/ 24 w 336"/>
              <a:gd name="T53" fmla="*/ 99 h 266"/>
              <a:gd name="T54" fmla="*/ 27 w 336"/>
              <a:gd name="T55" fmla="*/ 110 h 266"/>
              <a:gd name="T56" fmla="*/ 21 w 336"/>
              <a:gd name="T57" fmla="*/ 119 h 266"/>
              <a:gd name="T58" fmla="*/ 12 w 336"/>
              <a:gd name="T59" fmla="*/ 127 h 266"/>
              <a:gd name="T60" fmla="*/ 17 w 336"/>
              <a:gd name="T61" fmla="*/ 136 h 266"/>
              <a:gd name="T62" fmla="*/ 24 w 336"/>
              <a:gd name="T63" fmla="*/ 144 h 266"/>
              <a:gd name="T64" fmla="*/ 23 w 336"/>
              <a:gd name="T65" fmla="*/ 157 h 266"/>
              <a:gd name="T66" fmla="*/ 8 w 336"/>
              <a:gd name="T67" fmla="*/ 166 h 266"/>
              <a:gd name="T68" fmla="*/ 1 w 336"/>
              <a:gd name="T69" fmla="*/ 176 h 266"/>
              <a:gd name="T70" fmla="*/ 16 w 336"/>
              <a:gd name="T71" fmla="*/ 182 h 266"/>
              <a:gd name="T72" fmla="*/ 16 w 336"/>
              <a:gd name="T73" fmla="*/ 190 h 266"/>
              <a:gd name="T74" fmla="*/ 27 w 336"/>
              <a:gd name="T75" fmla="*/ 198 h 266"/>
              <a:gd name="T76" fmla="*/ 35 w 336"/>
              <a:gd name="T77" fmla="*/ 193 h 266"/>
              <a:gd name="T78" fmla="*/ 67 w 336"/>
              <a:gd name="T79" fmla="*/ 192 h 266"/>
              <a:gd name="T80" fmla="*/ 81 w 336"/>
              <a:gd name="T81" fmla="*/ 191 h 266"/>
              <a:gd name="T82" fmla="*/ 93 w 336"/>
              <a:gd name="T83" fmla="*/ 200 h 266"/>
              <a:gd name="T84" fmla="*/ 101 w 336"/>
              <a:gd name="T85" fmla="*/ 181 h 266"/>
              <a:gd name="T86" fmla="*/ 124 w 336"/>
              <a:gd name="T87" fmla="*/ 187 h 266"/>
              <a:gd name="T88" fmla="*/ 158 w 336"/>
              <a:gd name="T89" fmla="*/ 197 h 266"/>
              <a:gd name="T90" fmla="*/ 194 w 336"/>
              <a:gd name="T91" fmla="*/ 210 h 266"/>
              <a:gd name="T92" fmla="*/ 190 w 336"/>
              <a:gd name="T93" fmla="*/ 230 h 266"/>
              <a:gd name="T94" fmla="*/ 211 w 336"/>
              <a:gd name="T95" fmla="*/ 251 h 266"/>
              <a:gd name="T96" fmla="*/ 207 w 336"/>
              <a:gd name="T97" fmla="*/ 264 h 266"/>
              <a:gd name="T98" fmla="*/ 239 w 336"/>
              <a:gd name="T99" fmla="*/ 241 h 266"/>
              <a:gd name="T100" fmla="*/ 266 w 336"/>
              <a:gd name="T101" fmla="*/ 219 h 266"/>
              <a:gd name="T102" fmla="*/ 251 w 336"/>
              <a:gd name="T103" fmla="*/ 157 h 266"/>
              <a:gd name="T104" fmla="*/ 290 w 336"/>
              <a:gd name="T105" fmla="*/ 128 h 266"/>
              <a:gd name="T106" fmla="*/ 314 w 336"/>
              <a:gd name="T107" fmla="*/ 98 h 266"/>
              <a:gd name="T108" fmla="*/ 317 w 336"/>
              <a:gd name="T109" fmla="*/ 76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36" h="266">
                <a:moveTo>
                  <a:pt x="317" y="76"/>
                </a:moveTo>
                <a:cubicBezTo>
                  <a:pt x="314" y="72"/>
                  <a:pt x="314" y="72"/>
                  <a:pt x="314" y="72"/>
                </a:cubicBezTo>
                <a:cubicBezTo>
                  <a:pt x="314" y="71"/>
                  <a:pt x="314" y="71"/>
                  <a:pt x="314" y="71"/>
                </a:cubicBezTo>
                <a:cubicBezTo>
                  <a:pt x="313" y="67"/>
                  <a:pt x="313" y="67"/>
                  <a:pt x="313" y="67"/>
                </a:cubicBezTo>
                <a:cubicBezTo>
                  <a:pt x="312" y="63"/>
                  <a:pt x="312" y="63"/>
                  <a:pt x="312" y="63"/>
                </a:cubicBezTo>
                <a:cubicBezTo>
                  <a:pt x="312" y="61"/>
                  <a:pt x="312" y="61"/>
                  <a:pt x="312" y="61"/>
                </a:cubicBezTo>
                <a:cubicBezTo>
                  <a:pt x="311" y="59"/>
                  <a:pt x="311" y="59"/>
                  <a:pt x="311" y="59"/>
                </a:cubicBezTo>
                <a:cubicBezTo>
                  <a:pt x="307" y="50"/>
                  <a:pt x="307" y="50"/>
                  <a:pt x="307" y="50"/>
                </a:cubicBezTo>
                <a:cubicBezTo>
                  <a:pt x="296" y="32"/>
                  <a:pt x="296" y="32"/>
                  <a:pt x="296" y="32"/>
                </a:cubicBezTo>
                <a:cubicBezTo>
                  <a:pt x="295" y="31"/>
                  <a:pt x="295" y="31"/>
                  <a:pt x="295" y="31"/>
                </a:cubicBezTo>
                <a:cubicBezTo>
                  <a:pt x="288" y="24"/>
                  <a:pt x="288" y="24"/>
                  <a:pt x="288" y="24"/>
                </a:cubicBezTo>
                <a:cubicBezTo>
                  <a:pt x="256" y="7"/>
                  <a:pt x="256" y="7"/>
                  <a:pt x="256" y="7"/>
                </a:cubicBezTo>
                <a:cubicBezTo>
                  <a:pt x="255" y="6"/>
                  <a:pt x="255" y="6"/>
                  <a:pt x="255" y="6"/>
                </a:cubicBezTo>
                <a:cubicBezTo>
                  <a:pt x="246" y="3"/>
                  <a:pt x="246" y="3"/>
                  <a:pt x="246" y="3"/>
                </a:cubicBezTo>
                <a:cubicBezTo>
                  <a:pt x="236" y="2"/>
                  <a:pt x="236" y="2"/>
                  <a:pt x="236" y="2"/>
                </a:cubicBezTo>
                <a:cubicBezTo>
                  <a:pt x="231" y="1"/>
                  <a:pt x="228" y="0"/>
                  <a:pt x="226" y="0"/>
                </a:cubicBezTo>
                <a:cubicBezTo>
                  <a:pt x="226" y="1"/>
                  <a:pt x="226" y="1"/>
                  <a:pt x="226" y="1"/>
                </a:cubicBezTo>
                <a:cubicBezTo>
                  <a:pt x="227" y="1"/>
                  <a:pt x="227" y="2"/>
                  <a:pt x="226" y="2"/>
                </a:cubicBezTo>
                <a:cubicBezTo>
                  <a:pt x="226" y="4"/>
                  <a:pt x="226" y="4"/>
                  <a:pt x="226" y="4"/>
                </a:cubicBezTo>
                <a:cubicBezTo>
                  <a:pt x="226" y="4"/>
                  <a:pt x="226" y="5"/>
                  <a:pt x="226" y="6"/>
                </a:cubicBezTo>
                <a:cubicBezTo>
                  <a:pt x="226" y="6"/>
                  <a:pt x="226" y="8"/>
                  <a:pt x="226" y="9"/>
                </a:cubicBezTo>
                <a:cubicBezTo>
                  <a:pt x="226" y="10"/>
                  <a:pt x="226" y="11"/>
                  <a:pt x="225" y="11"/>
                </a:cubicBezTo>
                <a:cubicBezTo>
                  <a:pt x="222" y="14"/>
                  <a:pt x="222" y="14"/>
                  <a:pt x="222" y="14"/>
                </a:cubicBezTo>
                <a:cubicBezTo>
                  <a:pt x="223" y="14"/>
                  <a:pt x="223" y="14"/>
                  <a:pt x="224" y="15"/>
                </a:cubicBezTo>
                <a:cubicBezTo>
                  <a:pt x="224" y="15"/>
                  <a:pt x="224" y="16"/>
                  <a:pt x="224" y="17"/>
                </a:cubicBezTo>
                <a:cubicBezTo>
                  <a:pt x="223" y="20"/>
                  <a:pt x="223" y="20"/>
                  <a:pt x="223" y="20"/>
                </a:cubicBezTo>
                <a:cubicBezTo>
                  <a:pt x="223" y="21"/>
                  <a:pt x="223" y="22"/>
                  <a:pt x="222" y="23"/>
                </a:cubicBezTo>
                <a:cubicBezTo>
                  <a:pt x="221" y="23"/>
                  <a:pt x="221" y="24"/>
                  <a:pt x="219" y="24"/>
                </a:cubicBezTo>
                <a:cubicBezTo>
                  <a:pt x="218" y="24"/>
                  <a:pt x="217" y="23"/>
                  <a:pt x="216" y="23"/>
                </a:cubicBezTo>
                <a:cubicBezTo>
                  <a:pt x="213" y="23"/>
                  <a:pt x="213" y="23"/>
                  <a:pt x="213" y="23"/>
                </a:cubicBezTo>
                <a:cubicBezTo>
                  <a:pt x="211" y="25"/>
                  <a:pt x="211" y="25"/>
                  <a:pt x="211" y="25"/>
                </a:cubicBezTo>
                <a:cubicBezTo>
                  <a:pt x="210" y="26"/>
                  <a:pt x="210" y="26"/>
                  <a:pt x="209" y="26"/>
                </a:cubicBezTo>
                <a:cubicBezTo>
                  <a:pt x="207" y="26"/>
                  <a:pt x="207" y="26"/>
                  <a:pt x="207" y="26"/>
                </a:cubicBezTo>
                <a:cubicBezTo>
                  <a:pt x="208" y="26"/>
                  <a:pt x="208" y="27"/>
                  <a:pt x="208" y="27"/>
                </a:cubicBezTo>
                <a:cubicBezTo>
                  <a:pt x="207" y="28"/>
                  <a:pt x="207" y="29"/>
                  <a:pt x="206" y="29"/>
                </a:cubicBezTo>
                <a:cubicBezTo>
                  <a:pt x="205" y="29"/>
                  <a:pt x="205" y="29"/>
                  <a:pt x="205" y="29"/>
                </a:cubicBezTo>
                <a:cubicBezTo>
                  <a:pt x="204" y="30"/>
                  <a:pt x="204" y="30"/>
                  <a:pt x="204" y="30"/>
                </a:cubicBezTo>
                <a:cubicBezTo>
                  <a:pt x="204" y="31"/>
                  <a:pt x="203" y="32"/>
                  <a:pt x="202" y="33"/>
                </a:cubicBezTo>
                <a:cubicBezTo>
                  <a:pt x="202" y="33"/>
                  <a:pt x="202" y="34"/>
                  <a:pt x="201" y="34"/>
                </a:cubicBezTo>
                <a:cubicBezTo>
                  <a:pt x="198" y="35"/>
                  <a:pt x="198" y="35"/>
                  <a:pt x="198" y="35"/>
                </a:cubicBezTo>
                <a:cubicBezTo>
                  <a:pt x="198" y="35"/>
                  <a:pt x="198" y="35"/>
                  <a:pt x="198" y="36"/>
                </a:cubicBezTo>
                <a:cubicBezTo>
                  <a:pt x="198" y="39"/>
                  <a:pt x="198" y="39"/>
                  <a:pt x="198" y="39"/>
                </a:cubicBezTo>
                <a:cubicBezTo>
                  <a:pt x="198" y="41"/>
                  <a:pt x="197" y="42"/>
                  <a:pt x="195" y="42"/>
                </a:cubicBezTo>
                <a:cubicBezTo>
                  <a:pt x="195" y="43"/>
                  <a:pt x="194" y="43"/>
                  <a:pt x="194" y="43"/>
                </a:cubicBezTo>
                <a:cubicBezTo>
                  <a:pt x="193" y="43"/>
                  <a:pt x="193" y="44"/>
                  <a:pt x="193" y="44"/>
                </a:cubicBezTo>
                <a:cubicBezTo>
                  <a:pt x="191" y="46"/>
                  <a:pt x="190" y="46"/>
                  <a:pt x="187" y="47"/>
                </a:cubicBezTo>
                <a:cubicBezTo>
                  <a:pt x="185" y="48"/>
                  <a:pt x="183" y="48"/>
                  <a:pt x="183" y="48"/>
                </a:cubicBezTo>
                <a:cubicBezTo>
                  <a:pt x="183" y="47"/>
                  <a:pt x="182" y="47"/>
                  <a:pt x="182" y="47"/>
                </a:cubicBezTo>
                <a:cubicBezTo>
                  <a:pt x="181" y="46"/>
                  <a:pt x="181" y="46"/>
                  <a:pt x="181" y="46"/>
                </a:cubicBezTo>
                <a:cubicBezTo>
                  <a:pt x="181" y="50"/>
                  <a:pt x="181" y="50"/>
                  <a:pt x="181" y="50"/>
                </a:cubicBezTo>
                <a:cubicBezTo>
                  <a:pt x="180" y="50"/>
                  <a:pt x="180" y="50"/>
                  <a:pt x="180" y="50"/>
                </a:cubicBezTo>
                <a:cubicBezTo>
                  <a:pt x="181" y="51"/>
                  <a:pt x="181" y="51"/>
                  <a:pt x="181" y="52"/>
                </a:cubicBezTo>
                <a:cubicBezTo>
                  <a:pt x="179" y="51"/>
                  <a:pt x="179" y="51"/>
                  <a:pt x="179" y="51"/>
                </a:cubicBezTo>
                <a:cubicBezTo>
                  <a:pt x="177" y="52"/>
                  <a:pt x="177" y="52"/>
                  <a:pt x="177" y="52"/>
                </a:cubicBezTo>
                <a:cubicBezTo>
                  <a:pt x="179" y="52"/>
                  <a:pt x="179" y="52"/>
                  <a:pt x="179" y="52"/>
                </a:cubicBezTo>
                <a:cubicBezTo>
                  <a:pt x="179" y="54"/>
                  <a:pt x="179" y="54"/>
                  <a:pt x="179" y="54"/>
                </a:cubicBezTo>
                <a:cubicBezTo>
                  <a:pt x="176" y="54"/>
                  <a:pt x="176" y="54"/>
                  <a:pt x="176" y="54"/>
                </a:cubicBezTo>
                <a:cubicBezTo>
                  <a:pt x="176" y="54"/>
                  <a:pt x="175" y="54"/>
                  <a:pt x="175" y="53"/>
                </a:cubicBezTo>
                <a:cubicBezTo>
                  <a:pt x="173" y="51"/>
                  <a:pt x="173" y="51"/>
                  <a:pt x="173" y="51"/>
                </a:cubicBezTo>
                <a:cubicBezTo>
                  <a:pt x="171" y="50"/>
                  <a:pt x="171" y="50"/>
                  <a:pt x="171" y="50"/>
                </a:cubicBezTo>
                <a:cubicBezTo>
                  <a:pt x="168" y="50"/>
                  <a:pt x="168" y="50"/>
                  <a:pt x="168" y="50"/>
                </a:cubicBezTo>
                <a:cubicBezTo>
                  <a:pt x="167" y="50"/>
                  <a:pt x="166" y="50"/>
                  <a:pt x="165" y="49"/>
                </a:cubicBezTo>
                <a:cubicBezTo>
                  <a:pt x="164" y="49"/>
                  <a:pt x="164" y="49"/>
                  <a:pt x="163" y="49"/>
                </a:cubicBezTo>
                <a:cubicBezTo>
                  <a:pt x="159" y="46"/>
                  <a:pt x="159" y="46"/>
                  <a:pt x="159" y="46"/>
                </a:cubicBezTo>
                <a:cubicBezTo>
                  <a:pt x="159" y="46"/>
                  <a:pt x="159" y="46"/>
                  <a:pt x="158" y="45"/>
                </a:cubicBezTo>
                <a:cubicBezTo>
                  <a:pt x="155" y="40"/>
                  <a:pt x="155" y="40"/>
                  <a:pt x="155" y="40"/>
                </a:cubicBezTo>
                <a:cubicBezTo>
                  <a:pt x="154" y="40"/>
                  <a:pt x="154" y="40"/>
                  <a:pt x="154" y="40"/>
                </a:cubicBezTo>
                <a:cubicBezTo>
                  <a:pt x="152" y="40"/>
                  <a:pt x="152" y="39"/>
                  <a:pt x="152" y="38"/>
                </a:cubicBezTo>
                <a:cubicBezTo>
                  <a:pt x="152" y="37"/>
                  <a:pt x="152" y="37"/>
                  <a:pt x="152" y="37"/>
                </a:cubicBezTo>
                <a:cubicBezTo>
                  <a:pt x="149" y="36"/>
                  <a:pt x="149" y="36"/>
                  <a:pt x="149" y="36"/>
                </a:cubicBezTo>
                <a:cubicBezTo>
                  <a:pt x="143" y="36"/>
                  <a:pt x="143" y="36"/>
                  <a:pt x="143" y="36"/>
                </a:cubicBezTo>
                <a:cubicBezTo>
                  <a:pt x="141" y="36"/>
                  <a:pt x="140" y="35"/>
                  <a:pt x="139" y="34"/>
                </a:cubicBezTo>
                <a:cubicBezTo>
                  <a:pt x="139" y="34"/>
                  <a:pt x="139" y="34"/>
                  <a:pt x="139" y="33"/>
                </a:cubicBezTo>
                <a:cubicBezTo>
                  <a:pt x="133" y="33"/>
                  <a:pt x="133" y="33"/>
                  <a:pt x="133" y="33"/>
                </a:cubicBezTo>
                <a:cubicBezTo>
                  <a:pt x="127" y="32"/>
                  <a:pt x="127" y="32"/>
                  <a:pt x="127" y="32"/>
                </a:cubicBezTo>
                <a:cubicBezTo>
                  <a:pt x="126" y="33"/>
                  <a:pt x="125" y="34"/>
                  <a:pt x="125" y="35"/>
                </a:cubicBezTo>
                <a:cubicBezTo>
                  <a:pt x="125" y="36"/>
                  <a:pt x="124" y="36"/>
                  <a:pt x="124" y="36"/>
                </a:cubicBezTo>
                <a:cubicBezTo>
                  <a:pt x="120" y="38"/>
                  <a:pt x="120" y="38"/>
                  <a:pt x="120" y="38"/>
                </a:cubicBezTo>
                <a:cubicBezTo>
                  <a:pt x="120" y="38"/>
                  <a:pt x="120" y="38"/>
                  <a:pt x="119" y="38"/>
                </a:cubicBezTo>
                <a:cubicBezTo>
                  <a:pt x="118" y="38"/>
                  <a:pt x="118" y="38"/>
                  <a:pt x="118" y="38"/>
                </a:cubicBezTo>
                <a:cubicBezTo>
                  <a:pt x="117" y="38"/>
                  <a:pt x="113" y="37"/>
                  <a:pt x="111" y="36"/>
                </a:cubicBezTo>
                <a:cubicBezTo>
                  <a:pt x="110" y="36"/>
                  <a:pt x="110" y="36"/>
                  <a:pt x="110" y="36"/>
                </a:cubicBezTo>
                <a:cubicBezTo>
                  <a:pt x="108" y="36"/>
                  <a:pt x="108" y="36"/>
                  <a:pt x="108" y="36"/>
                </a:cubicBezTo>
                <a:cubicBezTo>
                  <a:pt x="107" y="36"/>
                  <a:pt x="107" y="36"/>
                  <a:pt x="107" y="36"/>
                </a:cubicBezTo>
                <a:cubicBezTo>
                  <a:pt x="104" y="34"/>
                  <a:pt x="104" y="34"/>
                  <a:pt x="104" y="34"/>
                </a:cubicBezTo>
                <a:cubicBezTo>
                  <a:pt x="100" y="34"/>
                  <a:pt x="100" y="34"/>
                  <a:pt x="100" y="34"/>
                </a:cubicBezTo>
                <a:cubicBezTo>
                  <a:pt x="100" y="34"/>
                  <a:pt x="99" y="34"/>
                  <a:pt x="99" y="33"/>
                </a:cubicBezTo>
                <a:cubicBezTo>
                  <a:pt x="97" y="31"/>
                  <a:pt x="97" y="31"/>
                  <a:pt x="97" y="31"/>
                </a:cubicBezTo>
                <a:cubicBezTo>
                  <a:pt x="96" y="31"/>
                  <a:pt x="96" y="31"/>
                  <a:pt x="96" y="31"/>
                </a:cubicBezTo>
                <a:cubicBezTo>
                  <a:pt x="94" y="29"/>
                  <a:pt x="94" y="29"/>
                  <a:pt x="94" y="29"/>
                </a:cubicBezTo>
                <a:cubicBezTo>
                  <a:pt x="93" y="29"/>
                  <a:pt x="93" y="28"/>
                  <a:pt x="93" y="28"/>
                </a:cubicBezTo>
                <a:cubicBezTo>
                  <a:pt x="93" y="24"/>
                  <a:pt x="93" y="24"/>
                  <a:pt x="93" y="24"/>
                </a:cubicBezTo>
                <a:cubicBezTo>
                  <a:pt x="91" y="22"/>
                  <a:pt x="91" y="22"/>
                  <a:pt x="91" y="22"/>
                </a:cubicBezTo>
                <a:cubicBezTo>
                  <a:pt x="87" y="17"/>
                  <a:pt x="87" y="17"/>
                  <a:pt x="87" y="17"/>
                </a:cubicBezTo>
                <a:cubicBezTo>
                  <a:pt x="86" y="17"/>
                  <a:pt x="86" y="17"/>
                  <a:pt x="86" y="17"/>
                </a:cubicBezTo>
                <a:cubicBezTo>
                  <a:pt x="85" y="17"/>
                  <a:pt x="84" y="16"/>
                  <a:pt x="84" y="15"/>
                </a:cubicBezTo>
                <a:cubicBezTo>
                  <a:pt x="84" y="14"/>
                  <a:pt x="84" y="14"/>
                  <a:pt x="84" y="14"/>
                </a:cubicBezTo>
                <a:cubicBezTo>
                  <a:pt x="83" y="13"/>
                  <a:pt x="83" y="13"/>
                  <a:pt x="83" y="13"/>
                </a:cubicBezTo>
                <a:cubicBezTo>
                  <a:pt x="82" y="13"/>
                  <a:pt x="82" y="13"/>
                  <a:pt x="82" y="13"/>
                </a:cubicBezTo>
                <a:cubicBezTo>
                  <a:pt x="81" y="13"/>
                  <a:pt x="79" y="14"/>
                  <a:pt x="77" y="13"/>
                </a:cubicBezTo>
                <a:cubicBezTo>
                  <a:pt x="76" y="13"/>
                  <a:pt x="74" y="12"/>
                  <a:pt x="74" y="11"/>
                </a:cubicBezTo>
                <a:cubicBezTo>
                  <a:pt x="73" y="11"/>
                  <a:pt x="73" y="10"/>
                  <a:pt x="73" y="10"/>
                </a:cubicBezTo>
                <a:cubicBezTo>
                  <a:pt x="73" y="9"/>
                  <a:pt x="73" y="9"/>
                  <a:pt x="73" y="9"/>
                </a:cubicBezTo>
                <a:cubicBezTo>
                  <a:pt x="72" y="9"/>
                  <a:pt x="72" y="8"/>
                  <a:pt x="71" y="8"/>
                </a:cubicBezTo>
                <a:cubicBezTo>
                  <a:pt x="71" y="8"/>
                  <a:pt x="70" y="8"/>
                  <a:pt x="67" y="7"/>
                </a:cubicBezTo>
                <a:cubicBezTo>
                  <a:pt x="55" y="7"/>
                  <a:pt x="55" y="7"/>
                  <a:pt x="55" y="7"/>
                </a:cubicBezTo>
                <a:cubicBezTo>
                  <a:pt x="54" y="8"/>
                  <a:pt x="54" y="8"/>
                  <a:pt x="53" y="8"/>
                </a:cubicBezTo>
                <a:cubicBezTo>
                  <a:pt x="52" y="9"/>
                  <a:pt x="52" y="9"/>
                  <a:pt x="52" y="9"/>
                </a:cubicBezTo>
                <a:cubicBezTo>
                  <a:pt x="51" y="10"/>
                  <a:pt x="50" y="10"/>
                  <a:pt x="50" y="11"/>
                </a:cubicBezTo>
                <a:cubicBezTo>
                  <a:pt x="50" y="12"/>
                  <a:pt x="52" y="14"/>
                  <a:pt x="53" y="17"/>
                </a:cubicBezTo>
                <a:cubicBezTo>
                  <a:pt x="55" y="18"/>
                  <a:pt x="56" y="19"/>
                  <a:pt x="58" y="22"/>
                </a:cubicBezTo>
                <a:cubicBezTo>
                  <a:pt x="58" y="22"/>
                  <a:pt x="59" y="22"/>
                  <a:pt x="60" y="23"/>
                </a:cubicBezTo>
                <a:cubicBezTo>
                  <a:pt x="62" y="26"/>
                  <a:pt x="62" y="26"/>
                  <a:pt x="62" y="26"/>
                </a:cubicBezTo>
                <a:cubicBezTo>
                  <a:pt x="63" y="27"/>
                  <a:pt x="63" y="27"/>
                  <a:pt x="63" y="27"/>
                </a:cubicBezTo>
                <a:cubicBezTo>
                  <a:pt x="64" y="28"/>
                  <a:pt x="64" y="28"/>
                  <a:pt x="65" y="29"/>
                </a:cubicBezTo>
                <a:cubicBezTo>
                  <a:pt x="65" y="30"/>
                  <a:pt x="66" y="30"/>
                  <a:pt x="67" y="31"/>
                </a:cubicBezTo>
                <a:cubicBezTo>
                  <a:pt x="67" y="32"/>
                  <a:pt x="68" y="32"/>
                  <a:pt x="69" y="33"/>
                </a:cubicBezTo>
                <a:cubicBezTo>
                  <a:pt x="70" y="34"/>
                  <a:pt x="71" y="34"/>
                  <a:pt x="71" y="35"/>
                </a:cubicBezTo>
                <a:cubicBezTo>
                  <a:pt x="71" y="36"/>
                  <a:pt x="72" y="37"/>
                  <a:pt x="72" y="38"/>
                </a:cubicBezTo>
                <a:cubicBezTo>
                  <a:pt x="72" y="39"/>
                  <a:pt x="73" y="41"/>
                  <a:pt x="73" y="43"/>
                </a:cubicBezTo>
                <a:cubicBezTo>
                  <a:pt x="73" y="44"/>
                  <a:pt x="74" y="44"/>
                  <a:pt x="74" y="44"/>
                </a:cubicBezTo>
                <a:cubicBezTo>
                  <a:pt x="74" y="45"/>
                  <a:pt x="74" y="46"/>
                  <a:pt x="74" y="46"/>
                </a:cubicBezTo>
                <a:cubicBezTo>
                  <a:pt x="74" y="47"/>
                  <a:pt x="73" y="47"/>
                  <a:pt x="73" y="50"/>
                </a:cubicBezTo>
                <a:cubicBezTo>
                  <a:pt x="73" y="52"/>
                  <a:pt x="73" y="54"/>
                  <a:pt x="71" y="54"/>
                </a:cubicBezTo>
                <a:cubicBezTo>
                  <a:pt x="71" y="55"/>
                  <a:pt x="70" y="56"/>
                  <a:pt x="68" y="57"/>
                </a:cubicBezTo>
                <a:cubicBezTo>
                  <a:pt x="67" y="58"/>
                  <a:pt x="64" y="57"/>
                  <a:pt x="63" y="57"/>
                </a:cubicBezTo>
                <a:cubicBezTo>
                  <a:pt x="62" y="57"/>
                  <a:pt x="59" y="58"/>
                  <a:pt x="56" y="61"/>
                </a:cubicBezTo>
                <a:cubicBezTo>
                  <a:pt x="55" y="61"/>
                  <a:pt x="55" y="62"/>
                  <a:pt x="54" y="62"/>
                </a:cubicBezTo>
                <a:cubicBezTo>
                  <a:pt x="54" y="64"/>
                  <a:pt x="54" y="64"/>
                  <a:pt x="54" y="64"/>
                </a:cubicBezTo>
                <a:cubicBezTo>
                  <a:pt x="54" y="68"/>
                  <a:pt x="54" y="68"/>
                  <a:pt x="54" y="68"/>
                </a:cubicBezTo>
                <a:cubicBezTo>
                  <a:pt x="55" y="68"/>
                  <a:pt x="55" y="68"/>
                  <a:pt x="56" y="69"/>
                </a:cubicBezTo>
                <a:cubicBezTo>
                  <a:pt x="57" y="70"/>
                  <a:pt x="57" y="71"/>
                  <a:pt x="56" y="72"/>
                </a:cubicBezTo>
                <a:cubicBezTo>
                  <a:pt x="53" y="75"/>
                  <a:pt x="53" y="75"/>
                  <a:pt x="53" y="75"/>
                </a:cubicBezTo>
                <a:cubicBezTo>
                  <a:pt x="48" y="77"/>
                  <a:pt x="48" y="77"/>
                  <a:pt x="48" y="77"/>
                </a:cubicBezTo>
                <a:cubicBezTo>
                  <a:pt x="47" y="78"/>
                  <a:pt x="47" y="78"/>
                  <a:pt x="47" y="78"/>
                </a:cubicBezTo>
                <a:cubicBezTo>
                  <a:pt x="45" y="80"/>
                  <a:pt x="42" y="79"/>
                  <a:pt x="41" y="78"/>
                </a:cubicBezTo>
                <a:cubicBezTo>
                  <a:pt x="38" y="77"/>
                  <a:pt x="38" y="77"/>
                  <a:pt x="38" y="77"/>
                </a:cubicBezTo>
                <a:cubicBezTo>
                  <a:pt x="37" y="77"/>
                  <a:pt x="37" y="77"/>
                  <a:pt x="37" y="77"/>
                </a:cubicBezTo>
                <a:cubicBezTo>
                  <a:pt x="37" y="77"/>
                  <a:pt x="36" y="77"/>
                  <a:pt x="36" y="76"/>
                </a:cubicBezTo>
                <a:cubicBezTo>
                  <a:pt x="36" y="76"/>
                  <a:pt x="34" y="75"/>
                  <a:pt x="32" y="75"/>
                </a:cubicBezTo>
                <a:cubicBezTo>
                  <a:pt x="30" y="74"/>
                  <a:pt x="30" y="74"/>
                  <a:pt x="30" y="74"/>
                </a:cubicBezTo>
                <a:cubicBezTo>
                  <a:pt x="29" y="74"/>
                  <a:pt x="29" y="74"/>
                  <a:pt x="29" y="74"/>
                </a:cubicBezTo>
                <a:cubicBezTo>
                  <a:pt x="28" y="74"/>
                  <a:pt x="28" y="73"/>
                  <a:pt x="28" y="73"/>
                </a:cubicBezTo>
                <a:cubicBezTo>
                  <a:pt x="27" y="74"/>
                  <a:pt x="27" y="73"/>
                  <a:pt x="27" y="73"/>
                </a:cubicBezTo>
                <a:cubicBezTo>
                  <a:pt x="24" y="72"/>
                  <a:pt x="24" y="72"/>
                  <a:pt x="24" y="72"/>
                </a:cubicBezTo>
                <a:cubicBezTo>
                  <a:pt x="17" y="72"/>
                  <a:pt x="17" y="72"/>
                  <a:pt x="17" y="72"/>
                </a:cubicBezTo>
                <a:cubicBezTo>
                  <a:pt x="15" y="72"/>
                  <a:pt x="15" y="72"/>
                  <a:pt x="15" y="72"/>
                </a:cubicBezTo>
                <a:cubicBezTo>
                  <a:pt x="15" y="72"/>
                  <a:pt x="15" y="73"/>
                  <a:pt x="14" y="73"/>
                </a:cubicBezTo>
                <a:cubicBezTo>
                  <a:pt x="14" y="73"/>
                  <a:pt x="14" y="73"/>
                  <a:pt x="14" y="74"/>
                </a:cubicBezTo>
                <a:cubicBezTo>
                  <a:pt x="14" y="75"/>
                  <a:pt x="14" y="75"/>
                  <a:pt x="14" y="76"/>
                </a:cubicBezTo>
                <a:cubicBezTo>
                  <a:pt x="14" y="77"/>
                  <a:pt x="14" y="77"/>
                  <a:pt x="14" y="77"/>
                </a:cubicBezTo>
                <a:cubicBezTo>
                  <a:pt x="15" y="78"/>
                  <a:pt x="14" y="79"/>
                  <a:pt x="14" y="80"/>
                </a:cubicBezTo>
                <a:cubicBezTo>
                  <a:pt x="14" y="80"/>
                  <a:pt x="14" y="80"/>
                  <a:pt x="14" y="81"/>
                </a:cubicBezTo>
                <a:cubicBezTo>
                  <a:pt x="15" y="82"/>
                  <a:pt x="15" y="83"/>
                  <a:pt x="14" y="84"/>
                </a:cubicBezTo>
                <a:cubicBezTo>
                  <a:pt x="14" y="84"/>
                  <a:pt x="14" y="84"/>
                  <a:pt x="14" y="85"/>
                </a:cubicBezTo>
                <a:cubicBezTo>
                  <a:pt x="15" y="86"/>
                  <a:pt x="15" y="87"/>
                  <a:pt x="15" y="88"/>
                </a:cubicBezTo>
                <a:cubicBezTo>
                  <a:pt x="16" y="89"/>
                  <a:pt x="16" y="89"/>
                  <a:pt x="16" y="89"/>
                </a:cubicBezTo>
                <a:cubicBezTo>
                  <a:pt x="18" y="92"/>
                  <a:pt x="18" y="93"/>
                  <a:pt x="18" y="94"/>
                </a:cubicBezTo>
                <a:cubicBezTo>
                  <a:pt x="19" y="97"/>
                  <a:pt x="19" y="97"/>
                  <a:pt x="19" y="97"/>
                </a:cubicBezTo>
                <a:cubicBezTo>
                  <a:pt x="20" y="97"/>
                  <a:pt x="21" y="97"/>
                  <a:pt x="21" y="98"/>
                </a:cubicBezTo>
                <a:cubicBezTo>
                  <a:pt x="22" y="98"/>
                  <a:pt x="22" y="98"/>
                  <a:pt x="23" y="99"/>
                </a:cubicBezTo>
                <a:cubicBezTo>
                  <a:pt x="23" y="99"/>
                  <a:pt x="23" y="99"/>
                  <a:pt x="24" y="99"/>
                </a:cubicBezTo>
                <a:cubicBezTo>
                  <a:pt x="25" y="99"/>
                  <a:pt x="26" y="100"/>
                  <a:pt x="27" y="101"/>
                </a:cubicBezTo>
                <a:cubicBezTo>
                  <a:pt x="28" y="102"/>
                  <a:pt x="28" y="104"/>
                  <a:pt x="28" y="105"/>
                </a:cubicBezTo>
                <a:cubicBezTo>
                  <a:pt x="27" y="106"/>
                  <a:pt x="27" y="106"/>
                  <a:pt x="27" y="106"/>
                </a:cubicBezTo>
                <a:cubicBezTo>
                  <a:pt x="27" y="107"/>
                  <a:pt x="27" y="107"/>
                  <a:pt x="27" y="107"/>
                </a:cubicBezTo>
                <a:cubicBezTo>
                  <a:pt x="27" y="108"/>
                  <a:pt x="27" y="108"/>
                  <a:pt x="27" y="108"/>
                </a:cubicBezTo>
                <a:cubicBezTo>
                  <a:pt x="27" y="110"/>
                  <a:pt x="27" y="110"/>
                  <a:pt x="27" y="110"/>
                </a:cubicBezTo>
                <a:cubicBezTo>
                  <a:pt x="27" y="111"/>
                  <a:pt x="27" y="112"/>
                  <a:pt x="26" y="112"/>
                </a:cubicBezTo>
                <a:cubicBezTo>
                  <a:pt x="25" y="113"/>
                  <a:pt x="25" y="113"/>
                  <a:pt x="25" y="113"/>
                </a:cubicBezTo>
                <a:cubicBezTo>
                  <a:pt x="24" y="113"/>
                  <a:pt x="24" y="113"/>
                  <a:pt x="24" y="113"/>
                </a:cubicBezTo>
                <a:cubicBezTo>
                  <a:pt x="24" y="115"/>
                  <a:pt x="24" y="116"/>
                  <a:pt x="24" y="116"/>
                </a:cubicBezTo>
                <a:cubicBezTo>
                  <a:pt x="23" y="117"/>
                  <a:pt x="23" y="117"/>
                  <a:pt x="22" y="117"/>
                </a:cubicBezTo>
                <a:cubicBezTo>
                  <a:pt x="21" y="119"/>
                  <a:pt x="21" y="119"/>
                  <a:pt x="21" y="119"/>
                </a:cubicBezTo>
                <a:cubicBezTo>
                  <a:pt x="21" y="119"/>
                  <a:pt x="21" y="120"/>
                  <a:pt x="20" y="120"/>
                </a:cubicBezTo>
                <a:cubicBezTo>
                  <a:pt x="18" y="121"/>
                  <a:pt x="18" y="121"/>
                  <a:pt x="18" y="121"/>
                </a:cubicBezTo>
                <a:cubicBezTo>
                  <a:pt x="17" y="122"/>
                  <a:pt x="17" y="123"/>
                  <a:pt x="17" y="123"/>
                </a:cubicBezTo>
                <a:cubicBezTo>
                  <a:pt x="16" y="124"/>
                  <a:pt x="16" y="124"/>
                  <a:pt x="16" y="124"/>
                </a:cubicBezTo>
                <a:cubicBezTo>
                  <a:pt x="16" y="124"/>
                  <a:pt x="16" y="125"/>
                  <a:pt x="15" y="125"/>
                </a:cubicBezTo>
                <a:cubicBezTo>
                  <a:pt x="12" y="127"/>
                  <a:pt x="12" y="127"/>
                  <a:pt x="12" y="127"/>
                </a:cubicBezTo>
                <a:cubicBezTo>
                  <a:pt x="10" y="128"/>
                  <a:pt x="10" y="128"/>
                  <a:pt x="10" y="128"/>
                </a:cubicBezTo>
                <a:cubicBezTo>
                  <a:pt x="10" y="129"/>
                  <a:pt x="10" y="129"/>
                  <a:pt x="10" y="130"/>
                </a:cubicBezTo>
                <a:cubicBezTo>
                  <a:pt x="10" y="131"/>
                  <a:pt x="10" y="131"/>
                  <a:pt x="10" y="131"/>
                </a:cubicBezTo>
                <a:cubicBezTo>
                  <a:pt x="11" y="131"/>
                  <a:pt x="11" y="132"/>
                  <a:pt x="12" y="132"/>
                </a:cubicBezTo>
                <a:cubicBezTo>
                  <a:pt x="14" y="134"/>
                  <a:pt x="14" y="134"/>
                  <a:pt x="14" y="134"/>
                </a:cubicBezTo>
                <a:cubicBezTo>
                  <a:pt x="17" y="136"/>
                  <a:pt x="17" y="136"/>
                  <a:pt x="17" y="136"/>
                </a:cubicBezTo>
                <a:cubicBezTo>
                  <a:pt x="17" y="136"/>
                  <a:pt x="17" y="136"/>
                  <a:pt x="17" y="137"/>
                </a:cubicBezTo>
                <a:cubicBezTo>
                  <a:pt x="18" y="139"/>
                  <a:pt x="18" y="139"/>
                  <a:pt x="18" y="139"/>
                </a:cubicBezTo>
                <a:cubicBezTo>
                  <a:pt x="19" y="139"/>
                  <a:pt x="19" y="140"/>
                  <a:pt x="20" y="140"/>
                </a:cubicBezTo>
                <a:cubicBezTo>
                  <a:pt x="21" y="140"/>
                  <a:pt x="21" y="140"/>
                  <a:pt x="21" y="140"/>
                </a:cubicBezTo>
                <a:cubicBezTo>
                  <a:pt x="23" y="139"/>
                  <a:pt x="24" y="140"/>
                  <a:pt x="24" y="141"/>
                </a:cubicBezTo>
                <a:cubicBezTo>
                  <a:pt x="24" y="144"/>
                  <a:pt x="24" y="144"/>
                  <a:pt x="24" y="144"/>
                </a:cubicBezTo>
                <a:cubicBezTo>
                  <a:pt x="27" y="145"/>
                  <a:pt x="27" y="145"/>
                  <a:pt x="27" y="145"/>
                </a:cubicBezTo>
                <a:cubicBezTo>
                  <a:pt x="27" y="146"/>
                  <a:pt x="27" y="146"/>
                  <a:pt x="27" y="147"/>
                </a:cubicBezTo>
                <a:cubicBezTo>
                  <a:pt x="27" y="150"/>
                  <a:pt x="27" y="150"/>
                  <a:pt x="27" y="150"/>
                </a:cubicBezTo>
                <a:cubicBezTo>
                  <a:pt x="27" y="150"/>
                  <a:pt x="27" y="150"/>
                  <a:pt x="27" y="151"/>
                </a:cubicBezTo>
                <a:cubicBezTo>
                  <a:pt x="25" y="155"/>
                  <a:pt x="25" y="155"/>
                  <a:pt x="25" y="155"/>
                </a:cubicBezTo>
                <a:cubicBezTo>
                  <a:pt x="25" y="156"/>
                  <a:pt x="24" y="156"/>
                  <a:pt x="23" y="157"/>
                </a:cubicBezTo>
                <a:cubicBezTo>
                  <a:pt x="23" y="156"/>
                  <a:pt x="23" y="156"/>
                  <a:pt x="22" y="156"/>
                </a:cubicBezTo>
                <a:cubicBezTo>
                  <a:pt x="21" y="157"/>
                  <a:pt x="20" y="157"/>
                  <a:pt x="19" y="156"/>
                </a:cubicBezTo>
                <a:cubicBezTo>
                  <a:pt x="17" y="157"/>
                  <a:pt x="15" y="157"/>
                  <a:pt x="15" y="156"/>
                </a:cubicBezTo>
                <a:cubicBezTo>
                  <a:pt x="13" y="158"/>
                  <a:pt x="11" y="159"/>
                  <a:pt x="11" y="159"/>
                </a:cubicBezTo>
                <a:cubicBezTo>
                  <a:pt x="10" y="161"/>
                  <a:pt x="10" y="161"/>
                  <a:pt x="10" y="161"/>
                </a:cubicBezTo>
                <a:cubicBezTo>
                  <a:pt x="8" y="166"/>
                  <a:pt x="8" y="166"/>
                  <a:pt x="8" y="166"/>
                </a:cubicBezTo>
                <a:cubicBezTo>
                  <a:pt x="8" y="167"/>
                  <a:pt x="8" y="168"/>
                  <a:pt x="7" y="168"/>
                </a:cubicBezTo>
                <a:cubicBezTo>
                  <a:pt x="8" y="169"/>
                  <a:pt x="7" y="170"/>
                  <a:pt x="7" y="170"/>
                </a:cubicBezTo>
                <a:cubicBezTo>
                  <a:pt x="7" y="173"/>
                  <a:pt x="7" y="173"/>
                  <a:pt x="7" y="173"/>
                </a:cubicBezTo>
                <a:cubicBezTo>
                  <a:pt x="7" y="173"/>
                  <a:pt x="7" y="174"/>
                  <a:pt x="6" y="174"/>
                </a:cubicBezTo>
                <a:cubicBezTo>
                  <a:pt x="3" y="176"/>
                  <a:pt x="3" y="176"/>
                  <a:pt x="3" y="176"/>
                </a:cubicBezTo>
                <a:cubicBezTo>
                  <a:pt x="2" y="177"/>
                  <a:pt x="2" y="177"/>
                  <a:pt x="1" y="176"/>
                </a:cubicBezTo>
                <a:cubicBezTo>
                  <a:pt x="0" y="176"/>
                  <a:pt x="0" y="176"/>
                  <a:pt x="0" y="177"/>
                </a:cubicBezTo>
                <a:cubicBezTo>
                  <a:pt x="2" y="178"/>
                  <a:pt x="2" y="178"/>
                  <a:pt x="2" y="178"/>
                </a:cubicBezTo>
                <a:cubicBezTo>
                  <a:pt x="12" y="178"/>
                  <a:pt x="12" y="178"/>
                  <a:pt x="12" y="178"/>
                </a:cubicBezTo>
                <a:cubicBezTo>
                  <a:pt x="13" y="178"/>
                  <a:pt x="13" y="178"/>
                  <a:pt x="14" y="179"/>
                </a:cubicBezTo>
                <a:cubicBezTo>
                  <a:pt x="16" y="181"/>
                  <a:pt x="16" y="181"/>
                  <a:pt x="16" y="181"/>
                </a:cubicBezTo>
                <a:cubicBezTo>
                  <a:pt x="16" y="182"/>
                  <a:pt x="16" y="182"/>
                  <a:pt x="16" y="182"/>
                </a:cubicBezTo>
                <a:cubicBezTo>
                  <a:pt x="17" y="184"/>
                  <a:pt x="17" y="184"/>
                  <a:pt x="17" y="184"/>
                </a:cubicBezTo>
                <a:cubicBezTo>
                  <a:pt x="17" y="185"/>
                  <a:pt x="17" y="185"/>
                  <a:pt x="17" y="186"/>
                </a:cubicBezTo>
                <a:cubicBezTo>
                  <a:pt x="16" y="188"/>
                  <a:pt x="16" y="188"/>
                  <a:pt x="16" y="188"/>
                </a:cubicBezTo>
                <a:cubicBezTo>
                  <a:pt x="16" y="188"/>
                  <a:pt x="16" y="188"/>
                  <a:pt x="15" y="188"/>
                </a:cubicBezTo>
                <a:cubicBezTo>
                  <a:pt x="15" y="189"/>
                  <a:pt x="15" y="190"/>
                  <a:pt x="15" y="190"/>
                </a:cubicBezTo>
                <a:cubicBezTo>
                  <a:pt x="16" y="190"/>
                  <a:pt x="16" y="190"/>
                  <a:pt x="16" y="190"/>
                </a:cubicBezTo>
                <a:cubicBezTo>
                  <a:pt x="17" y="190"/>
                  <a:pt x="19" y="190"/>
                  <a:pt x="20" y="191"/>
                </a:cubicBezTo>
                <a:cubicBezTo>
                  <a:pt x="21" y="191"/>
                  <a:pt x="22" y="192"/>
                  <a:pt x="23" y="192"/>
                </a:cubicBezTo>
                <a:cubicBezTo>
                  <a:pt x="23" y="192"/>
                  <a:pt x="23" y="192"/>
                  <a:pt x="24" y="193"/>
                </a:cubicBezTo>
                <a:cubicBezTo>
                  <a:pt x="25" y="195"/>
                  <a:pt x="25" y="195"/>
                  <a:pt x="25" y="195"/>
                </a:cubicBezTo>
                <a:cubicBezTo>
                  <a:pt x="27" y="197"/>
                  <a:pt x="27" y="197"/>
                  <a:pt x="27" y="197"/>
                </a:cubicBezTo>
                <a:cubicBezTo>
                  <a:pt x="27" y="198"/>
                  <a:pt x="27" y="198"/>
                  <a:pt x="27" y="198"/>
                </a:cubicBezTo>
                <a:cubicBezTo>
                  <a:pt x="27" y="201"/>
                  <a:pt x="27" y="201"/>
                  <a:pt x="27" y="201"/>
                </a:cubicBezTo>
                <a:cubicBezTo>
                  <a:pt x="29" y="201"/>
                  <a:pt x="29" y="201"/>
                  <a:pt x="29" y="201"/>
                </a:cubicBezTo>
                <a:cubicBezTo>
                  <a:pt x="29" y="199"/>
                  <a:pt x="29" y="199"/>
                  <a:pt x="29" y="199"/>
                </a:cubicBezTo>
                <a:cubicBezTo>
                  <a:pt x="29" y="198"/>
                  <a:pt x="29" y="198"/>
                  <a:pt x="30" y="197"/>
                </a:cubicBezTo>
                <a:cubicBezTo>
                  <a:pt x="34" y="193"/>
                  <a:pt x="34" y="193"/>
                  <a:pt x="34" y="193"/>
                </a:cubicBezTo>
                <a:cubicBezTo>
                  <a:pt x="34" y="193"/>
                  <a:pt x="34" y="193"/>
                  <a:pt x="35" y="193"/>
                </a:cubicBezTo>
                <a:cubicBezTo>
                  <a:pt x="35" y="193"/>
                  <a:pt x="35" y="193"/>
                  <a:pt x="36" y="193"/>
                </a:cubicBezTo>
                <a:cubicBezTo>
                  <a:pt x="39" y="191"/>
                  <a:pt x="40" y="190"/>
                  <a:pt x="42" y="190"/>
                </a:cubicBezTo>
                <a:cubicBezTo>
                  <a:pt x="54" y="190"/>
                  <a:pt x="54" y="190"/>
                  <a:pt x="54" y="190"/>
                </a:cubicBezTo>
                <a:cubicBezTo>
                  <a:pt x="56" y="190"/>
                  <a:pt x="59" y="191"/>
                  <a:pt x="59" y="191"/>
                </a:cubicBezTo>
                <a:cubicBezTo>
                  <a:pt x="63" y="192"/>
                  <a:pt x="63" y="192"/>
                  <a:pt x="63" y="192"/>
                </a:cubicBezTo>
                <a:cubicBezTo>
                  <a:pt x="67" y="192"/>
                  <a:pt x="67" y="192"/>
                  <a:pt x="67" y="192"/>
                </a:cubicBezTo>
                <a:cubicBezTo>
                  <a:pt x="70" y="191"/>
                  <a:pt x="70" y="191"/>
                  <a:pt x="70" y="191"/>
                </a:cubicBezTo>
                <a:cubicBezTo>
                  <a:pt x="70" y="191"/>
                  <a:pt x="70" y="191"/>
                  <a:pt x="71" y="191"/>
                </a:cubicBezTo>
                <a:cubicBezTo>
                  <a:pt x="74" y="191"/>
                  <a:pt x="74" y="191"/>
                  <a:pt x="74" y="191"/>
                </a:cubicBezTo>
                <a:cubicBezTo>
                  <a:pt x="79" y="190"/>
                  <a:pt x="79" y="190"/>
                  <a:pt x="79" y="190"/>
                </a:cubicBezTo>
                <a:cubicBezTo>
                  <a:pt x="79" y="190"/>
                  <a:pt x="79" y="190"/>
                  <a:pt x="80" y="191"/>
                </a:cubicBezTo>
                <a:cubicBezTo>
                  <a:pt x="81" y="191"/>
                  <a:pt x="81" y="191"/>
                  <a:pt x="81" y="191"/>
                </a:cubicBezTo>
                <a:cubicBezTo>
                  <a:pt x="81" y="191"/>
                  <a:pt x="82" y="191"/>
                  <a:pt x="82" y="192"/>
                </a:cubicBezTo>
                <a:cubicBezTo>
                  <a:pt x="82" y="192"/>
                  <a:pt x="83" y="193"/>
                  <a:pt x="84" y="194"/>
                </a:cubicBezTo>
                <a:cubicBezTo>
                  <a:pt x="85" y="195"/>
                  <a:pt x="85" y="195"/>
                  <a:pt x="85" y="195"/>
                </a:cubicBezTo>
                <a:cubicBezTo>
                  <a:pt x="88" y="197"/>
                  <a:pt x="88" y="197"/>
                  <a:pt x="88" y="197"/>
                </a:cubicBezTo>
                <a:cubicBezTo>
                  <a:pt x="90" y="198"/>
                  <a:pt x="90" y="198"/>
                  <a:pt x="90" y="198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3" y="200"/>
                  <a:pt x="94" y="201"/>
                  <a:pt x="94" y="201"/>
                </a:cubicBezTo>
                <a:cubicBezTo>
                  <a:pt x="94" y="199"/>
                  <a:pt x="95" y="198"/>
                  <a:pt x="95" y="198"/>
                </a:cubicBezTo>
                <a:cubicBezTo>
                  <a:pt x="95" y="193"/>
                  <a:pt x="95" y="193"/>
                  <a:pt x="95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9" y="192"/>
                  <a:pt x="99" y="191"/>
                </a:cubicBezTo>
                <a:cubicBezTo>
                  <a:pt x="98" y="190"/>
                  <a:pt x="100" y="184"/>
                  <a:pt x="101" y="181"/>
                </a:cubicBezTo>
                <a:cubicBezTo>
                  <a:pt x="102" y="180"/>
                  <a:pt x="102" y="180"/>
                  <a:pt x="102" y="180"/>
                </a:cubicBezTo>
                <a:cubicBezTo>
                  <a:pt x="106" y="179"/>
                  <a:pt x="106" y="179"/>
                  <a:pt x="106" y="179"/>
                </a:cubicBezTo>
                <a:cubicBezTo>
                  <a:pt x="111" y="176"/>
                  <a:pt x="112" y="177"/>
                  <a:pt x="113" y="177"/>
                </a:cubicBezTo>
                <a:cubicBezTo>
                  <a:pt x="114" y="177"/>
                  <a:pt x="114" y="178"/>
                  <a:pt x="114" y="179"/>
                </a:cubicBezTo>
                <a:cubicBezTo>
                  <a:pt x="115" y="180"/>
                  <a:pt x="118" y="184"/>
                  <a:pt x="122" y="187"/>
                </a:cubicBezTo>
                <a:cubicBezTo>
                  <a:pt x="124" y="187"/>
                  <a:pt x="124" y="187"/>
                  <a:pt x="124" y="187"/>
                </a:cubicBezTo>
                <a:cubicBezTo>
                  <a:pt x="130" y="189"/>
                  <a:pt x="130" y="189"/>
                  <a:pt x="130" y="189"/>
                </a:cubicBezTo>
                <a:cubicBezTo>
                  <a:pt x="138" y="193"/>
                  <a:pt x="138" y="193"/>
                  <a:pt x="138" y="193"/>
                </a:cubicBezTo>
                <a:cubicBezTo>
                  <a:pt x="141" y="193"/>
                  <a:pt x="141" y="193"/>
                  <a:pt x="141" y="193"/>
                </a:cubicBezTo>
                <a:cubicBezTo>
                  <a:pt x="143" y="194"/>
                  <a:pt x="146" y="194"/>
                  <a:pt x="147" y="194"/>
                </a:cubicBezTo>
                <a:cubicBezTo>
                  <a:pt x="150" y="194"/>
                  <a:pt x="150" y="194"/>
                  <a:pt x="150" y="194"/>
                </a:cubicBezTo>
                <a:cubicBezTo>
                  <a:pt x="150" y="194"/>
                  <a:pt x="151" y="194"/>
                  <a:pt x="158" y="197"/>
                </a:cubicBezTo>
                <a:cubicBezTo>
                  <a:pt x="159" y="197"/>
                  <a:pt x="163" y="197"/>
                  <a:pt x="164" y="197"/>
                </a:cubicBezTo>
                <a:cubicBezTo>
                  <a:pt x="166" y="197"/>
                  <a:pt x="177" y="197"/>
                  <a:pt x="180" y="197"/>
                </a:cubicBezTo>
                <a:cubicBezTo>
                  <a:pt x="187" y="189"/>
                  <a:pt x="187" y="189"/>
                  <a:pt x="187" y="189"/>
                </a:cubicBezTo>
                <a:cubicBezTo>
                  <a:pt x="189" y="189"/>
                  <a:pt x="189" y="189"/>
                  <a:pt x="189" y="189"/>
                </a:cubicBezTo>
                <a:cubicBezTo>
                  <a:pt x="196" y="190"/>
                  <a:pt x="196" y="193"/>
                  <a:pt x="196" y="194"/>
                </a:cubicBezTo>
                <a:cubicBezTo>
                  <a:pt x="196" y="203"/>
                  <a:pt x="195" y="209"/>
                  <a:pt x="194" y="210"/>
                </a:cubicBezTo>
                <a:cubicBezTo>
                  <a:pt x="193" y="212"/>
                  <a:pt x="192" y="213"/>
                  <a:pt x="191" y="213"/>
                </a:cubicBezTo>
                <a:cubicBezTo>
                  <a:pt x="191" y="214"/>
                  <a:pt x="191" y="214"/>
                  <a:pt x="190" y="214"/>
                </a:cubicBezTo>
                <a:cubicBezTo>
                  <a:pt x="191" y="216"/>
                  <a:pt x="190" y="219"/>
                  <a:pt x="190" y="219"/>
                </a:cubicBezTo>
                <a:cubicBezTo>
                  <a:pt x="190" y="220"/>
                  <a:pt x="190" y="220"/>
                  <a:pt x="190" y="220"/>
                </a:cubicBezTo>
                <a:cubicBezTo>
                  <a:pt x="189" y="221"/>
                  <a:pt x="188" y="223"/>
                  <a:pt x="188" y="223"/>
                </a:cubicBezTo>
                <a:cubicBezTo>
                  <a:pt x="189" y="224"/>
                  <a:pt x="189" y="226"/>
                  <a:pt x="190" y="230"/>
                </a:cubicBezTo>
                <a:cubicBezTo>
                  <a:pt x="193" y="235"/>
                  <a:pt x="193" y="235"/>
                  <a:pt x="193" y="235"/>
                </a:cubicBezTo>
                <a:cubicBezTo>
                  <a:pt x="198" y="237"/>
                  <a:pt x="198" y="237"/>
                  <a:pt x="198" y="237"/>
                </a:cubicBezTo>
                <a:cubicBezTo>
                  <a:pt x="198" y="238"/>
                  <a:pt x="202" y="240"/>
                  <a:pt x="203" y="241"/>
                </a:cubicBezTo>
                <a:cubicBezTo>
                  <a:pt x="204" y="241"/>
                  <a:pt x="204" y="242"/>
                  <a:pt x="205" y="242"/>
                </a:cubicBezTo>
                <a:cubicBezTo>
                  <a:pt x="209" y="245"/>
                  <a:pt x="211" y="247"/>
                  <a:pt x="212" y="249"/>
                </a:cubicBezTo>
                <a:cubicBezTo>
                  <a:pt x="212" y="250"/>
                  <a:pt x="211" y="251"/>
                  <a:pt x="211" y="251"/>
                </a:cubicBezTo>
                <a:cubicBezTo>
                  <a:pt x="211" y="252"/>
                  <a:pt x="210" y="252"/>
                  <a:pt x="211" y="253"/>
                </a:cubicBezTo>
                <a:cubicBezTo>
                  <a:pt x="211" y="254"/>
                  <a:pt x="211" y="254"/>
                  <a:pt x="211" y="255"/>
                </a:cubicBezTo>
                <a:cubicBezTo>
                  <a:pt x="211" y="256"/>
                  <a:pt x="210" y="257"/>
                  <a:pt x="210" y="258"/>
                </a:cubicBezTo>
                <a:cubicBezTo>
                  <a:pt x="210" y="258"/>
                  <a:pt x="210" y="258"/>
                  <a:pt x="210" y="258"/>
                </a:cubicBezTo>
                <a:cubicBezTo>
                  <a:pt x="210" y="259"/>
                  <a:pt x="209" y="260"/>
                  <a:pt x="207" y="264"/>
                </a:cubicBezTo>
                <a:cubicBezTo>
                  <a:pt x="207" y="264"/>
                  <a:pt x="207" y="264"/>
                  <a:pt x="207" y="264"/>
                </a:cubicBezTo>
                <a:cubicBezTo>
                  <a:pt x="214" y="266"/>
                  <a:pt x="214" y="266"/>
                  <a:pt x="214" y="266"/>
                </a:cubicBezTo>
                <a:cubicBezTo>
                  <a:pt x="219" y="258"/>
                  <a:pt x="219" y="258"/>
                  <a:pt x="219" y="258"/>
                </a:cubicBezTo>
                <a:cubicBezTo>
                  <a:pt x="220" y="255"/>
                  <a:pt x="220" y="255"/>
                  <a:pt x="220" y="255"/>
                </a:cubicBezTo>
                <a:cubicBezTo>
                  <a:pt x="220" y="255"/>
                  <a:pt x="221" y="255"/>
                  <a:pt x="221" y="255"/>
                </a:cubicBezTo>
                <a:cubicBezTo>
                  <a:pt x="238" y="241"/>
                  <a:pt x="238" y="241"/>
                  <a:pt x="238" y="241"/>
                </a:cubicBezTo>
                <a:cubicBezTo>
                  <a:pt x="238" y="241"/>
                  <a:pt x="239" y="241"/>
                  <a:pt x="239" y="241"/>
                </a:cubicBezTo>
                <a:cubicBezTo>
                  <a:pt x="254" y="237"/>
                  <a:pt x="254" y="237"/>
                  <a:pt x="254" y="237"/>
                </a:cubicBezTo>
                <a:cubicBezTo>
                  <a:pt x="254" y="237"/>
                  <a:pt x="254" y="237"/>
                  <a:pt x="254" y="237"/>
                </a:cubicBezTo>
                <a:cubicBezTo>
                  <a:pt x="254" y="236"/>
                  <a:pt x="254" y="236"/>
                  <a:pt x="255" y="235"/>
                </a:cubicBezTo>
                <a:cubicBezTo>
                  <a:pt x="269" y="220"/>
                  <a:pt x="269" y="220"/>
                  <a:pt x="269" y="220"/>
                </a:cubicBezTo>
                <a:cubicBezTo>
                  <a:pt x="267" y="220"/>
                  <a:pt x="267" y="220"/>
                  <a:pt x="267" y="220"/>
                </a:cubicBezTo>
                <a:cubicBezTo>
                  <a:pt x="267" y="219"/>
                  <a:pt x="267" y="219"/>
                  <a:pt x="266" y="219"/>
                </a:cubicBezTo>
                <a:cubicBezTo>
                  <a:pt x="263" y="209"/>
                  <a:pt x="263" y="209"/>
                  <a:pt x="263" y="209"/>
                </a:cubicBezTo>
                <a:cubicBezTo>
                  <a:pt x="255" y="175"/>
                  <a:pt x="255" y="175"/>
                  <a:pt x="255" y="175"/>
                </a:cubicBezTo>
                <a:cubicBezTo>
                  <a:pt x="255" y="174"/>
                  <a:pt x="255" y="174"/>
                  <a:pt x="255" y="174"/>
                </a:cubicBezTo>
                <a:cubicBezTo>
                  <a:pt x="255" y="172"/>
                  <a:pt x="255" y="172"/>
                  <a:pt x="255" y="172"/>
                </a:cubicBezTo>
                <a:cubicBezTo>
                  <a:pt x="251" y="158"/>
                  <a:pt x="251" y="158"/>
                  <a:pt x="251" y="158"/>
                </a:cubicBezTo>
                <a:cubicBezTo>
                  <a:pt x="251" y="157"/>
                  <a:pt x="251" y="157"/>
                  <a:pt x="251" y="157"/>
                </a:cubicBezTo>
                <a:cubicBezTo>
                  <a:pt x="252" y="148"/>
                  <a:pt x="252" y="148"/>
                  <a:pt x="252" y="148"/>
                </a:cubicBezTo>
                <a:cubicBezTo>
                  <a:pt x="252" y="147"/>
                  <a:pt x="252" y="146"/>
                  <a:pt x="253" y="146"/>
                </a:cubicBezTo>
                <a:cubicBezTo>
                  <a:pt x="263" y="145"/>
                  <a:pt x="263" y="145"/>
                  <a:pt x="263" y="145"/>
                </a:cubicBezTo>
                <a:cubicBezTo>
                  <a:pt x="281" y="141"/>
                  <a:pt x="281" y="141"/>
                  <a:pt x="281" y="141"/>
                </a:cubicBezTo>
                <a:cubicBezTo>
                  <a:pt x="290" y="128"/>
                  <a:pt x="290" y="128"/>
                  <a:pt x="290" y="128"/>
                </a:cubicBezTo>
                <a:cubicBezTo>
                  <a:pt x="290" y="128"/>
                  <a:pt x="290" y="128"/>
                  <a:pt x="290" y="128"/>
                </a:cubicBezTo>
                <a:cubicBezTo>
                  <a:pt x="299" y="123"/>
                  <a:pt x="299" y="123"/>
                  <a:pt x="299" y="123"/>
                </a:cubicBezTo>
                <a:cubicBezTo>
                  <a:pt x="299" y="122"/>
                  <a:pt x="300" y="122"/>
                  <a:pt x="300" y="122"/>
                </a:cubicBezTo>
                <a:cubicBezTo>
                  <a:pt x="302" y="122"/>
                  <a:pt x="304" y="122"/>
                  <a:pt x="304" y="122"/>
                </a:cubicBezTo>
                <a:cubicBezTo>
                  <a:pt x="305" y="121"/>
                  <a:pt x="308" y="119"/>
                  <a:pt x="309" y="118"/>
                </a:cubicBezTo>
                <a:cubicBezTo>
                  <a:pt x="314" y="106"/>
                  <a:pt x="314" y="106"/>
                  <a:pt x="314" y="106"/>
                </a:cubicBezTo>
                <a:cubicBezTo>
                  <a:pt x="314" y="98"/>
                  <a:pt x="314" y="98"/>
                  <a:pt x="314" y="98"/>
                </a:cubicBezTo>
                <a:cubicBezTo>
                  <a:pt x="314" y="97"/>
                  <a:pt x="315" y="96"/>
                  <a:pt x="316" y="96"/>
                </a:cubicBezTo>
                <a:cubicBezTo>
                  <a:pt x="321" y="95"/>
                  <a:pt x="321" y="95"/>
                  <a:pt x="321" y="95"/>
                </a:cubicBezTo>
                <a:cubicBezTo>
                  <a:pt x="321" y="95"/>
                  <a:pt x="321" y="95"/>
                  <a:pt x="322" y="95"/>
                </a:cubicBezTo>
                <a:cubicBezTo>
                  <a:pt x="322" y="95"/>
                  <a:pt x="327" y="97"/>
                  <a:pt x="329" y="97"/>
                </a:cubicBezTo>
                <a:cubicBezTo>
                  <a:pt x="330" y="97"/>
                  <a:pt x="334" y="97"/>
                  <a:pt x="336" y="96"/>
                </a:cubicBezTo>
                <a:cubicBezTo>
                  <a:pt x="317" y="76"/>
                  <a:pt x="317" y="76"/>
                  <a:pt x="317" y="7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Freeform 89">
            <a:extLst>
              <a:ext uri="{FF2B5EF4-FFF2-40B4-BE49-F238E27FC236}">
                <a16:creationId xmlns:a16="http://schemas.microsoft.com/office/drawing/2014/main" id="{356B0CA0-9941-4FFE-8660-6EDB91BD4F97}"/>
              </a:ext>
            </a:extLst>
          </p:cNvPr>
          <p:cNvSpPr>
            <a:spLocks/>
          </p:cNvSpPr>
          <p:nvPr/>
        </p:nvSpPr>
        <p:spPr bwMode="auto">
          <a:xfrm>
            <a:off x="6297362" y="5363694"/>
            <a:ext cx="373195" cy="225425"/>
          </a:xfrm>
          <a:custGeom>
            <a:avLst/>
            <a:gdLst>
              <a:gd name="T0" fmla="*/ 152 w 154"/>
              <a:gd name="T1" fmla="*/ 40 h 101"/>
              <a:gd name="T2" fmla="*/ 144 w 154"/>
              <a:gd name="T3" fmla="*/ 42 h 101"/>
              <a:gd name="T4" fmla="*/ 139 w 154"/>
              <a:gd name="T5" fmla="*/ 38 h 101"/>
              <a:gd name="T6" fmla="*/ 138 w 154"/>
              <a:gd name="T7" fmla="*/ 31 h 101"/>
              <a:gd name="T8" fmla="*/ 137 w 154"/>
              <a:gd name="T9" fmla="*/ 29 h 101"/>
              <a:gd name="T10" fmla="*/ 130 w 154"/>
              <a:gd name="T11" fmla="*/ 29 h 101"/>
              <a:gd name="T12" fmla="*/ 124 w 154"/>
              <a:gd name="T13" fmla="*/ 29 h 101"/>
              <a:gd name="T14" fmla="*/ 120 w 154"/>
              <a:gd name="T15" fmla="*/ 27 h 101"/>
              <a:gd name="T16" fmla="*/ 115 w 154"/>
              <a:gd name="T17" fmla="*/ 25 h 101"/>
              <a:gd name="T18" fmla="*/ 108 w 154"/>
              <a:gd name="T19" fmla="*/ 27 h 101"/>
              <a:gd name="T20" fmla="*/ 97 w 154"/>
              <a:gd name="T21" fmla="*/ 27 h 101"/>
              <a:gd name="T22" fmla="*/ 94 w 154"/>
              <a:gd name="T23" fmla="*/ 22 h 101"/>
              <a:gd name="T24" fmla="*/ 88 w 154"/>
              <a:gd name="T25" fmla="*/ 20 h 101"/>
              <a:gd name="T26" fmla="*/ 84 w 154"/>
              <a:gd name="T27" fmla="*/ 17 h 101"/>
              <a:gd name="T28" fmla="*/ 80 w 154"/>
              <a:gd name="T29" fmla="*/ 14 h 101"/>
              <a:gd name="T30" fmla="*/ 77 w 154"/>
              <a:gd name="T31" fmla="*/ 11 h 101"/>
              <a:gd name="T32" fmla="*/ 74 w 154"/>
              <a:gd name="T33" fmla="*/ 11 h 101"/>
              <a:gd name="T34" fmla="*/ 72 w 154"/>
              <a:gd name="T35" fmla="*/ 7 h 101"/>
              <a:gd name="T36" fmla="*/ 73 w 154"/>
              <a:gd name="T37" fmla="*/ 1 h 101"/>
              <a:gd name="T38" fmla="*/ 66 w 154"/>
              <a:gd name="T39" fmla="*/ 1 h 101"/>
              <a:gd name="T40" fmla="*/ 57 w 154"/>
              <a:gd name="T41" fmla="*/ 0 h 101"/>
              <a:gd name="T42" fmla="*/ 47 w 154"/>
              <a:gd name="T43" fmla="*/ 0 h 101"/>
              <a:gd name="T44" fmla="*/ 42 w 154"/>
              <a:gd name="T45" fmla="*/ 0 h 101"/>
              <a:gd name="T46" fmla="*/ 37 w 154"/>
              <a:gd name="T47" fmla="*/ 10 h 101"/>
              <a:gd name="T48" fmla="*/ 33 w 154"/>
              <a:gd name="T49" fmla="*/ 15 h 101"/>
              <a:gd name="T50" fmla="*/ 38 w 154"/>
              <a:gd name="T51" fmla="*/ 31 h 101"/>
              <a:gd name="T52" fmla="*/ 33 w 154"/>
              <a:gd name="T53" fmla="*/ 37 h 101"/>
              <a:gd name="T54" fmla="*/ 30 w 154"/>
              <a:gd name="T55" fmla="*/ 45 h 101"/>
              <a:gd name="T56" fmla="*/ 33 w 154"/>
              <a:gd name="T57" fmla="*/ 54 h 101"/>
              <a:gd name="T58" fmla="*/ 30 w 154"/>
              <a:gd name="T59" fmla="*/ 65 h 101"/>
              <a:gd name="T60" fmla="*/ 25 w 154"/>
              <a:gd name="T61" fmla="*/ 69 h 101"/>
              <a:gd name="T62" fmla="*/ 14 w 154"/>
              <a:gd name="T63" fmla="*/ 77 h 101"/>
              <a:gd name="T64" fmla="*/ 0 w 154"/>
              <a:gd name="T65" fmla="*/ 85 h 101"/>
              <a:gd name="T66" fmla="*/ 16 w 154"/>
              <a:gd name="T67" fmla="*/ 89 h 101"/>
              <a:gd name="T68" fmla="*/ 42 w 154"/>
              <a:gd name="T69" fmla="*/ 97 h 101"/>
              <a:gd name="T70" fmla="*/ 58 w 154"/>
              <a:gd name="T71" fmla="*/ 100 h 101"/>
              <a:gd name="T72" fmla="*/ 64 w 154"/>
              <a:gd name="T73" fmla="*/ 101 h 101"/>
              <a:gd name="T74" fmla="*/ 67 w 154"/>
              <a:gd name="T75" fmla="*/ 97 h 101"/>
              <a:gd name="T76" fmla="*/ 70 w 154"/>
              <a:gd name="T77" fmla="*/ 91 h 101"/>
              <a:gd name="T78" fmla="*/ 78 w 154"/>
              <a:gd name="T79" fmla="*/ 82 h 101"/>
              <a:gd name="T80" fmla="*/ 86 w 154"/>
              <a:gd name="T81" fmla="*/ 77 h 101"/>
              <a:gd name="T82" fmla="*/ 94 w 154"/>
              <a:gd name="T83" fmla="*/ 75 h 101"/>
              <a:gd name="T84" fmla="*/ 109 w 154"/>
              <a:gd name="T85" fmla="*/ 70 h 101"/>
              <a:gd name="T86" fmla="*/ 129 w 154"/>
              <a:gd name="T87" fmla="*/ 61 h 101"/>
              <a:gd name="T88" fmla="*/ 133 w 154"/>
              <a:gd name="T89" fmla="*/ 55 h 101"/>
              <a:gd name="T90" fmla="*/ 144 w 154"/>
              <a:gd name="T91" fmla="*/ 45 h 101"/>
              <a:gd name="T92" fmla="*/ 149 w 154"/>
              <a:gd name="T93" fmla="*/ 44 h 101"/>
              <a:gd name="T94" fmla="*/ 153 w 154"/>
              <a:gd name="T95" fmla="*/ 44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54" h="101">
                <a:moveTo>
                  <a:pt x="153" y="43"/>
                </a:moveTo>
                <a:cubicBezTo>
                  <a:pt x="153" y="43"/>
                  <a:pt x="153" y="42"/>
                  <a:pt x="152" y="40"/>
                </a:cubicBezTo>
                <a:cubicBezTo>
                  <a:pt x="152" y="41"/>
                  <a:pt x="151" y="41"/>
                  <a:pt x="150" y="42"/>
                </a:cubicBezTo>
                <a:cubicBezTo>
                  <a:pt x="148" y="43"/>
                  <a:pt x="146" y="42"/>
                  <a:pt x="144" y="42"/>
                </a:cubicBezTo>
                <a:cubicBezTo>
                  <a:pt x="140" y="40"/>
                  <a:pt x="140" y="40"/>
                  <a:pt x="140" y="40"/>
                </a:cubicBezTo>
                <a:cubicBezTo>
                  <a:pt x="140" y="39"/>
                  <a:pt x="139" y="39"/>
                  <a:pt x="139" y="38"/>
                </a:cubicBezTo>
                <a:cubicBezTo>
                  <a:pt x="139" y="33"/>
                  <a:pt x="139" y="33"/>
                  <a:pt x="139" y="33"/>
                </a:cubicBezTo>
                <a:cubicBezTo>
                  <a:pt x="138" y="31"/>
                  <a:pt x="138" y="31"/>
                  <a:pt x="138" y="31"/>
                </a:cubicBezTo>
                <a:cubicBezTo>
                  <a:pt x="138" y="30"/>
                  <a:pt x="138" y="30"/>
                  <a:pt x="138" y="29"/>
                </a:cubicBezTo>
                <a:cubicBezTo>
                  <a:pt x="137" y="29"/>
                  <a:pt x="137" y="29"/>
                  <a:pt x="137" y="29"/>
                </a:cubicBezTo>
                <a:cubicBezTo>
                  <a:pt x="136" y="29"/>
                  <a:pt x="136" y="29"/>
                  <a:pt x="136" y="29"/>
                </a:cubicBezTo>
                <a:cubicBezTo>
                  <a:pt x="134" y="29"/>
                  <a:pt x="131" y="28"/>
                  <a:pt x="130" y="29"/>
                </a:cubicBezTo>
                <a:cubicBezTo>
                  <a:pt x="129" y="29"/>
                  <a:pt x="128" y="30"/>
                  <a:pt x="127" y="29"/>
                </a:cubicBezTo>
                <a:cubicBezTo>
                  <a:pt x="124" y="29"/>
                  <a:pt x="124" y="29"/>
                  <a:pt x="124" y="29"/>
                </a:cubicBezTo>
                <a:cubicBezTo>
                  <a:pt x="123" y="29"/>
                  <a:pt x="123" y="29"/>
                  <a:pt x="123" y="29"/>
                </a:cubicBezTo>
                <a:cubicBezTo>
                  <a:pt x="120" y="27"/>
                  <a:pt x="120" y="27"/>
                  <a:pt x="120" y="27"/>
                </a:cubicBezTo>
                <a:cubicBezTo>
                  <a:pt x="118" y="25"/>
                  <a:pt x="118" y="25"/>
                  <a:pt x="118" y="25"/>
                </a:cubicBezTo>
                <a:cubicBezTo>
                  <a:pt x="115" y="25"/>
                  <a:pt x="115" y="25"/>
                  <a:pt x="115" y="25"/>
                </a:cubicBezTo>
                <a:cubicBezTo>
                  <a:pt x="110" y="27"/>
                  <a:pt x="110" y="27"/>
                  <a:pt x="110" y="27"/>
                </a:cubicBezTo>
                <a:cubicBezTo>
                  <a:pt x="110" y="27"/>
                  <a:pt x="109" y="27"/>
                  <a:pt x="108" y="27"/>
                </a:cubicBezTo>
                <a:cubicBezTo>
                  <a:pt x="108" y="27"/>
                  <a:pt x="106" y="26"/>
                  <a:pt x="104" y="27"/>
                </a:cubicBezTo>
                <a:cubicBezTo>
                  <a:pt x="100" y="28"/>
                  <a:pt x="97" y="27"/>
                  <a:pt x="97" y="27"/>
                </a:cubicBezTo>
                <a:cubicBezTo>
                  <a:pt x="96" y="26"/>
                  <a:pt x="96" y="26"/>
                  <a:pt x="96" y="26"/>
                </a:cubicBezTo>
                <a:cubicBezTo>
                  <a:pt x="94" y="22"/>
                  <a:pt x="94" y="22"/>
                  <a:pt x="94" y="22"/>
                </a:cubicBezTo>
                <a:cubicBezTo>
                  <a:pt x="93" y="22"/>
                  <a:pt x="91" y="21"/>
                  <a:pt x="89" y="19"/>
                </a:cubicBezTo>
                <a:cubicBezTo>
                  <a:pt x="89" y="19"/>
                  <a:pt x="89" y="19"/>
                  <a:pt x="88" y="20"/>
                </a:cubicBezTo>
                <a:cubicBezTo>
                  <a:pt x="87" y="20"/>
                  <a:pt x="86" y="20"/>
                  <a:pt x="86" y="19"/>
                </a:cubicBezTo>
                <a:cubicBezTo>
                  <a:pt x="84" y="17"/>
                  <a:pt x="84" y="17"/>
                  <a:pt x="84" y="17"/>
                </a:cubicBezTo>
                <a:cubicBezTo>
                  <a:pt x="82" y="14"/>
                  <a:pt x="82" y="14"/>
                  <a:pt x="82" y="14"/>
                </a:cubicBezTo>
                <a:cubicBezTo>
                  <a:pt x="80" y="14"/>
                  <a:pt x="80" y="14"/>
                  <a:pt x="80" y="14"/>
                </a:cubicBezTo>
                <a:cubicBezTo>
                  <a:pt x="79" y="14"/>
                  <a:pt x="79" y="13"/>
                  <a:pt x="79" y="13"/>
                </a:cubicBezTo>
                <a:cubicBezTo>
                  <a:pt x="77" y="11"/>
                  <a:pt x="77" y="11"/>
                  <a:pt x="77" y="11"/>
                </a:cubicBezTo>
                <a:cubicBezTo>
                  <a:pt x="77" y="11"/>
                  <a:pt x="77" y="11"/>
                  <a:pt x="76" y="11"/>
                </a:cubicBezTo>
                <a:cubicBezTo>
                  <a:pt x="76" y="12"/>
                  <a:pt x="75" y="11"/>
                  <a:pt x="74" y="11"/>
                </a:cubicBezTo>
                <a:cubicBezTo>
                  <a:pt x="72" y="8"/>
                  <a:pt x="72" y="8"/>
                  <a:pt x="72" y="8"/>
                </a:cubicBezTo>
                <a:cubicBezTo>
                  <a:pt x="72" y="7"/>
                  <a:pt x="72" y="7"/>
                  <a:pt x="72" y="7"/>
                </a:cubicBezTo>
                <a:cubicBezTo>
                  <a:pt x="72" y="3"/>
                  <a:pt x="72" y="3"/>
                  <a:pt x="72" y="3"/>
                </a:cubicBezTo>
                <a:cubicBezTo>
                  <a:pt x="72" y="2"/>
                  <a:pt x="72" y="2"/>
                  <a:pt x="73" y="1"/>
                </a:cubicBezTo>
                <a:cubicBezTo>
                  <a:pt x="72" y="1"/>
                  <a:pt x="71" y="1"/>
                  <a:pt x="71" y="1"/>
                </a:cubicBezTo>
                <a:cubicBezTo>
                  <a:pt x="70" y="0"/>
                  <a:pt x="68" y="1"/>
                  <a:pt x="66" y="1"/>
                </a:cubicBezTo>
                <a:cubicBezTo>
                  <a:pt x="63" y="1"/>
                  <a:pt x="63" y="1"/>
                  <a:pt x="63" y="1"/>
                </a:cubicBezTo>
                <a:cubicBezTo>
                  <a:pt x="57" y="0"/>
                  <a:pt x="57" y="0"/>
                  <a:pt x="57" y="0"/>
                </a:cubicBezTo>
                <a:cubicBezTo>
                  <a:pt x="52" y="1"/>
                  <a:pt x="52" y="1"/>
                  <a:pt x="52" y="1"/>
                </a:cubicBezTo>
                <a:cubicBezTo>
                  <a:pt x="49" y="1"/>
                  <a:pt x="48" y="1"/>
                  <a:pt x="47" y="0"/>
                </a:cubicBezTo>
                <a:cubicBezTo>
                  <a:pt x="46" y="0"/>
                  <a:pt x="45" y="0"/>
                  <a:pt x="45" y="0"/>
                </a:cubicBezTo>
                <a:cubicBezTo>
                  <a:pt x="44" y="1"/>
                  <a:pt x="43" y="1"/>
                  <a:pt x="42" y="0"/>
                </a:cubicBezTo>
                <a:cubicBezTo>
                  <a:pt x="41" y="0"/>
                  <a:pt x="40" y="0"/>
                  <a:pt x="39" y="0"/>
                </a:cubicBezTo>
                <a:cubicBezTo>
                  <a:pt x="37" y="10"/>
                  <a:pt x="37" y="10"/>
                  <a:pt x="37" y="10"/>
                </a:cubicBezTo>
                <a:cubicBezTo>
                  <a:pt x="32" y="13"/>
                  <a:pt x="32" y="13"/>
                  <a:pt x="32" y="13"/>
                </a:cubicBezTo>
                <a:cubicBezTo>
                  <a:pt x="33" y="15"/>
                  <a:pt x="33" y="15"/>
                  <a:pt x="33" y="15"/>
                </a:cubicBezTo>
                <a:cubicBezTo>
                  <a:pt x="41" y="16"/>
                  <a:pt x="41" y="16"/>
                  <a:pt x="41" y="16"/>
                </a:cubicBezTo>
                <a:cubicBezTo>
                  <a:pt x="38" y="31"/>
                  <a:pt x="38" y="31"/>
                  <a:pt x="38" y="31"/>
                </a:cubicBezTo>
                <a:cubicBezTo>
                  <a:pt x="38" y="32"/>
                  <a:pt x="38" y="32"/>
                  <a:pt x="38" y="32"/>
                </a:cubicBezTo>
                <a:cubicBezTo>
                  <a:pt x="38" y="32"/>
                  <a:pt x="34" y="36"/>
                  <a:pt x="33" y="37"/>
                </a:cubicBezTo>
                <a:cubicBezTo>
                  <a:pt x="33" y="38"/>
                  <a:pt x="32" y="39"/>
                  <a:pt x="31" y="39"/>
                </a:cubicBezTo>
                <a:cubicBezTo>
                  <a:pt x="30" y="45"/>
                  <a:pt x="30" y="45"/>
                  <a:pt x="30" y="45"/>
                </a:cubicBezTo>
                <a:cubicBezTo>
                  <a:pt x="34" y="49"/>
                  <a:pt x="34" y="49"/>
                  <a:pt x="34" y="49"/>
                </a:cubicBezTo>
                <a:cubicBezTo>
                  <a:pt x="33" y="54"/>
                  <a:pt x="33" y="54"/>
                  <a:pt x="33" y="54"/>
                </a:cubicBezTo>
                <a:cubicBezTo>
                  <a:pt x="33" y="56"/>
                  <a:pt x="33" y="57"/>
                  <a:pt x="32" y="60"/>
                </a:cubicBezTo>
                <a:cubicBezTo>
                  <a:pt x="30" y="65"/>
                  <a:pt x="30" y="65"/>
                  <a:pt x="30" y="65"/>
                </a:cubicBezTo>
                <a:cubicBezTo>
                  <a:pt x="27" y="64"/>
                  <a:pt x="27" y="64"/>
                  <a:pt x="27" y="64"/>
                </a:cubicBezTo>
                <a:cubicBezTo>
                  <a:pt x="25" y="69"/>
                  <a:pt x="25" y="69"/>
                  <a:pt x="25" y="69"/>
                </a:cubicBezTo>
                <a:cubicBezTo>
                  <a:pt x="18" y="73"/>
                  <a:pt x="18" y="73"/>
                  <a:pt x="18" y="73"/>
                </a:cubicBezTo>
                <a:cubicBezTo>
                  <a:pt x="14" y="77"/>
                  <a:pt x="14" y="77"/>
                  <a:pt x="14" y="77"/>
                </a:cubicBezTo>
                <a:cubicBezTo>
                  <a:pt x="13" y="82"/>
                  <a:pt x="13" y="82"/>
                  <a:pt x="13" y="82"/>
                </a:cubicBezTo>
                <a:cubicBezTo>
                  <a:pt x="0" y="85"/>
                  <a:pt x="0" y="85"/>
                  <a:pt x="0" y="85"/>
                </a:cubicBezTo>
                <a:cubicBezTo>
                  <a:pt x="7" y="86"/>
                  <a:pt x="7" y="86"/>
                  <a:pt x="7" y="86"/>
                </a:cubicBezTo>
                <a:cubicBezTo>
                  <a:pt x="16" y="89"/>
                  <a:pt x="16" y="89"/>
                  <a:pt x="16" y="89"/>
                </a:cubicBezTo>
                <a:cubicBezTo>
                  <a:pt x="26" y="93"/>
                  <a:pt x="26" y="93"/>
                  <a:pt x="26" y="93"/>
                </a:cubicBezTo>
                <a:cubicBezTo>
                  <a:pt x="42" y="97"/>
                  <a:pt x="42" y="97"/>
                  <a:pt x="42" y="97"/>
                </a:cubicBezTo>
                <a:cubicBezTo>
                  <a:pt x="43" y="97"/>
                  <a:pt x="43" y="97"/>
                  <a:pt x="43" y="97"/>
                </a:cubicBezTo>
                <a:cubicBezTo>
                  <a:pt x="58" y="100"/>
                  <a:pt x="58" y="100"/>
                  <a:pt x="58" y="100"/>
                </a:cubicBezTo>
                <a:cubicBezTo>
                  <a:pt x="62" y="101"/>
                  <a:pt x="62" y="101"/>
                  <a:pt x="62" y="101"/>
                </a:cubicBezTo>
                <a:cubicBezTo>
                  <a:pt x="64" y="101"/>
                  <a:pt x="64" y="101"/>
                  <a:pt x="64" y="101"/>
                </a:cubicBezTo>
                <a:cubicBezTo>
                  <a:pt x="66" y="99"/>
                  <a:pt x="66" y="99"/>
                  <a:pt x="66" y="99"/>
                </a:cubicBezTo>
                <a:cubicBezTo>
                  <a:pt x="67" y="97"/>
                  <a:pt x="67" y="97"/>
                  <a:pt x="67" y="97"/>
                </a:cubicBezTo>
                <a:cubicBezTo>
                  <a:pt x="69" y="94"/>
                  <a:pt x="69" y="94"/>
                  <a:pt x="69" y="94"/>
                </a:cubicBezTo>
                <a:cubicBezTo>
                  <a:pt x="70" y="91"/>
                  <a:pt x="70" y="91"/>
                  <a:pt x="70" y="91"/>
                </a:cubicBezTo>
                <a:cubicBezTo>
                  <a:pt x="72" y="89"/>
                  <a:pt x="72" y="89"/>
                  <a:pt x="72" y="89"/>
                </a:cubicBezTo>
                <a:cubicBezTo>
                  <a:pt x="78" y="82"/>
                  <a:pt x="78" y="82"/>
                  <a:pt x="78" y="82"/>
                </a:cubicBezTo>
                <a:cubicBezTo>
                  <a:pt x="79" y="81"/>
                  <a:pt x="79" y="81"/>
                  <a:pt x="79" y="81"/>
                </a:cubicBezTo>
                <a:cubicBezTo>
                  <a:pt x="86" y="77"/>
                  <a:pt x="86" y="77"/>
                  <a:pt x="86" y="77"/>
                </a:cubicBezTo>
                <a:cubicBezTo>
                  <a:pt x="91" y="75"/>
                  <a:pt x="91" y="75"/>
                  <a:pt x="91" y="75"/>
                </a:cubicBezTo>
                <a:cubicBezTo>
                  <a:pt x="94" y="75"/>
                  <a:pt x="94" y="75"/>
                  <a:pt x="94" y="75"/>
                </a:cubicBezTo>
                <a:cubicBezTo>
                  <a:pt x="101" y="73"/>
                  <a:pt x="101" y="73"/>
                  <a:pt x="101" y="73"/>
                </a:cubicBezTo>
                <a:cubicBezTo>
                  <a:pt x="109" y="70"/>
                  <a:pt x="109" y="70"/>
                  <a:pt x="109" y="70"/>
                </a:cubicBezTo>
                <a:cubicBezTo>
                  <a:pt x="127" y="63"/>
                  <a:pt x="127" y="63"/>
                  <a:pt x="127" y="63"/>
                </a:cubicBezTo>
                <a:cubicBezTo>
                  <a:pt x="129" y="61"/>
                  <a:pt x="129" y="61"/>
                  <a:pt x="129" y="61"/>
                </a:cubicBezTo>
                <a:cubicBezTo>
                  <a:pt x="132" y="58"/>
                  <a:pt x="132" y="58"/>
                  <a:pt x="132" y="58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4" y="53"/>
                  <a:pt x="134" y="53"/>
                  <a:pt x="134" y="53"/>
                </a:cubicBezTo>
                <a:cubicBezTo>
                  <a:pt x="144" y="45"/>
                  <a:pt x="144" y="45"/>
                  <a:pt x="144" y="45"/>
                </a:cubicBezTo>
                <a:cubicBezTo>
                  <a:pt x="147" y="44"/>
                  <a:pt x="147" y="44"/>
                  <a:pt x="147" y="44"/>
                </a:cubicBezTo>
                <a:cubicBezTo>
                  <a:pt x="149" y="44"/>
                  <a:pt x="149" y="44"/>
                  <a:pt x="149" y="44"/>
                </a:cubicBezTo>
                <a:cubicBezTo>
                  <a:pt x="151" y="45"/>
                  <a:pt x="153" y="45"/>
                  <a:pt x="154" y="45"/>
                </a:cubicBezTo>
                <a:cubicBezTo>
                  <a:pt x="153" y="44"/>
                  <a:pt x="153" y="44"/>
                  <a:pt x="153" y="44"/>
                </a:cubicBezTo>
                <a:cubicBezTo>
                  <a:pt x="153" y="43"/>
                  <a:pt x="153" y="43"/>
                  <a:pt x="153" y="4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9" name="Freeform 90">
            <a:extLst>
              <a:ext uri="{FF2B5EF4-FFF2-40B4-BE49-F238E27FC236}">
                <a16:creationId xmlns:a16="http://schemas.microsoft.com/office/drawing/2014/main" id="{48FBB1A6-5574-46D4-8106-893914D9187F}"/>
              </a:ext>
            </a:extLst>
          </p:cNvPr>
          <p:cNvSpPr>
            <a:spLocks/>
          </p:cNvSpPr>
          <p:nvPr/>
        </p:nvSpPr>
        <p:spPr bwMode="auto">
          <a:xfrm>
            <a:off x="5998117" y="5362107"/>
            <a:ext cx="386954" cy="258763"/>
          </a:xfrm>
          <a:custGeom>
            <a:avLst/>
            <a:gdLst>
              <a:gd name="T0" fmla="*/ 134 w 160"/>
              <a:gd name="T1" fmla="*/ 76 h 116"/>
              <a:gd name="T2" fmla="*/ 146 w 160"/>
              <a:gd name="T3" fmla="*/ 67 h 116"/>
              <a:gd name="T4" fmla="*/ 152 w 160"/>
              <a:gd name="T5" fmla="*/ 61 h 116"/>
              <a:gd name="T6" fmla="*/ 153 w 160"/>
              <a:gd name="T7" fmla="*/ 56 h 116"/>
              <a:gd name="T8" fmla="*/ 154 w 160"/>
              <a:gd name="T9" fmla="*/ 52 h 116"/>
              <a:gd name="T10" fmla="*/ 151 w 160"/>
              <a:gd name="T11" fmla="*/ 38 h 116"/>
              <a:gd name="T12" fmla="*/ 154 w 160"/>
              <a:gd name="T13" fmla="*/ 35 h 116"/>
              <a:gd name="T14" fmla="*/ 160 w 160"/>
              <a:gd name="T15" fmla="*/ 21 h 116"/>
              <a:gd name="T16" fmla="*/ 151 w 160"/>
              <a:gd name="T17" fmla="*/ 12 h 116"/>
              <a:gd name="T18" fmla="*/ 159 w 160"/>
              <a:gd name="T19" fmla="*/ 1 h 116"/>
              <a:gd name="T20" fmla="*/ 155 w 160"/>
              <a:gd name="T21" fmla="*/ 0 h 116"/>
              <a:gd name="T22" fmla="*/ 150 w 160"/>
              <a:gd name="T23" fmla="*/ 1 h 116"/>
              <a:gd name="T24" fmla="*/ 136 w 160"/>
              <a:gd name="T25" fmla="*/ 3 h 116"/>
              <a:gd name="T26" fmla="*/ 131 w 160"/>
              <a:gd name="T27" fmla="*/ 3 h 116"/>
              <a:gd name="T28" fmla="*/ 125 w 160"/>
              <a:gd name="T29" fmla="*/ 3 h 116"/>
              <a:gd name="T30" fmla="*/ 119 w 160"/>
              <a:gd name="T31" fmla="*/ 3 h 116"/>
              <a:gd name="T32" fmla="*/ 111 w 160"/>
              <a:gd name="T33" fmla="*/ 3 h 116"/>
              <a:gd name="T34" fmla="*/ 104 w 160"/>
              <a:gd name="T35" fmla="*/ 4 h 116"/>
              <a:gd name="T36" fmla="*/ 98 w 160"/>
              <a:gd name="T37" fmla="*/ 5 h 116"/>
              <a:gd name="T38" fmla="*/ 94 w 160"/>
              <a:gd name="T39" fmla="*/ 5 h 116"/>
              <a:gd name="T40" fmla="*/ 87 w 160"/>
              <a:gd name="T41" fmla="*/ 8 h 116"/>
              <a:gd name="T42" fmla="*/ 80 w 160"/>
              <a:gd name="T43" fmla="*/ 8 h 116"/>
              <a:gd name="T44" fmla="*/ 69 w 160"/>
              <a:gd name="T45" fmla="*/ 13 h 116"/>
              <a:gd name="T46" fmla="*/ 64 w 160"/>
              <a:gd name="T47" fmla="*/ 15 h 116"/>
              <a:gd name="T48" fmla="*/ 58 w 160"/>
              <a:gd name="T49" fmla="*/ 17 h 116"/>
              <a:gd name="T50" fmla="*/ 50 w 160"/>
              <a:gd name="T51" fmla="*/ 22 h 116"/>
              <a:gd name="T52" fmla="*/ 46 w 160"/>
              <a:gd name="T53" fmla="*/ 26 h 116"/>
              <a:gd name="T54" fmla="*/ 48 w 160"/>
              <a:gd name="T55" fmla="*/ 32 h 116"/>
              <a:gd name="T56" fmla="*/ 47 w 160"/>
              <a:gd name="T57" fmla="*/ 36 h 116"/>
              <a:gd name="T58" fmla="*/ 40 w 160"/>
              <a:gd name="T59" fmla="*/ 39 h 116"/>
              <a:gd name="T60" fmla="*/ 32 w 160"/>
              <a:gd name="T61" fmla="*/ 45 h 116"/>
              <a:gd name="T62" fmla="*/ 29 w 160"/>
              <a:gd name="T63" fmla="*/ 47 h 116"/>
              <a:gd name="T64" fmla="*/ 27 w 160"/>
              <a:gd name="T65" fmla="*/ 48 h 116"/>
              <a:gd name="T66" fmla="*/ 22 w 160"/>
              <a:gd name="T67" fmla="*/ 66 h 116"/>
              <a:gd name="T68" fmla="*/ 21 w 160"/>
              <a:gd name="T69" fmla="*/ 71 h 116"/>
              <a:gd name="T70" fmla="*/ 22 w 160"/>
              <a:gd name="T71" fmla="*/ 75 h 116"/>
              <a:gd name="T72" fmla="*/ 17 w 160"/>
              <a:gd name="T73" fmla="*/ 81 h 116"/>
              <a:gd name="T74" fmla="*/ 17 w 160"/>
              <a:gd name="T75" fmla="*/ 89 h 116"/>
              <a:gd name="T76" fmla="*/ 20 w 160"/>
              <a:gd name="T77" fmla="*/ 91 h 116"/>
              <a:gd name="T78" fmla="*/ 10 w 160"/>
              <a:gd name="T79" fmla="*/ 98 h 116"/>
              <a:gd name="T80" fmla="*/ 7 w 160"/>
              <a:gd name="T81" fmla="*/ 99 h 116"/>
              <a:gd name="T82" fmla="*/ 5 w 160"/>
              <a:gd name="T83" fmla="*/ 99 h 116"/>
              <a:gd name="T84" fmla="*/ 1 w 160"/>
              <a:gd name="T85" fmla="*/ 102 h 116"/>
              <a:gd name="T86" fmla="*/ 0 w 160"/>
              <a:gd name="T87" fmla="*/ 104 h 116"/>
              <a:gd name="T88" fmla="*/ 2 w 160"/>
              <a:gd name="T89" fmla="*/ 106 h 116"/>
              <a:gd name="T90" fmla="*/ 12 w 160"/>
              <a:gd name="T91" fmla="*/ 110 h 116"/>
              <a:gd name="T92" fmla="*/ 20 w 160"/>
              <a:gd name="T93" fmla="*/ 115 h 116"/>
              <a:gd name="T94" fmla="*/ 25 w 160"/>
              <a:gd name="T95" fmla="*/ 116 h 116"/>
              <a:gd name="T96" fmla="*/ 27 w 160"/>
              <a:gd name="T97" fmla="*/ 113 h 116"/>
              <a:gd name="T98" fmla="*/ 28 w 160"/>
              <a:gd name="T99" fmla="*/ 109 h 116"/>
              <a:gd name="T100" fmla="*/ 33 w 160"/>
              <a:gd name="T101" fmla="*/ 104 h 116"/>
              <a:gd name="T102" fmla="*/ 68 w 160"/>
              <a:gd name="T103" fmla="*/ 96 h 116"/>
              <a:gd name="T104" fmla="*/ 79 w 160"/>
              <a:gd name="T105" fmla="*/ 95 h 116"/>
              <a:gd name="T106" fmla="*/ 95 w 160"/>
              <a:gd name="T107" fmla="*/ 88 h 116"/>
              <a:gd name="T108" fmla="*/ 101 w 160"/>
              <a:gd name="T109" fmla="*/ 86 h 116"/>
              <a:gd name="T110" fmla="*/ 114 w 160"/>
              <a:gd name="T111" fmla="*/ 84 h 116"/>
              <a:gd name="T112" fmla="*/ 118 w 160"/>
              <a:gd name="T113" fmla="*/ 85 h 116"/>
              <a:gd name="T114" fmla="*/ 134 w 160"/>
              <a:gd name="T115" fmla="*/ 80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60" h="116">
                <a:moveTo>
                  <a:pt x="134" y="80"/>
                </a:moveTo>
                <a:cubicBezTo>
                  <a:pt x="134" y="76"/>
                  <a:pt x="134" y="76"/>
                  <a:pt x="134" y="76"/>
                </a:cubicBezTo>
                <a:cubicBezTo>
                  <a:pt x="140" y="71"/>
                  <a:pt x="140" y="71"/>
                  <a:pt x="140" y="71"/>
                </a:cubicBezTo>
                <a:cubicBezTo>
                  <a:pt x="146" y="67"/>
                  <a:pt x="146" y="67"/>
                  <a:pt x="146" y="67"/>
                </a:cubicBezTo>
                <a:cubicBezTo>
                  <a:pt x="149" y="60"/>
                  <a:pt x="149" y="60"/>
                  <a:pt x="149" y="60"/>
                </a:cubicBezTo>
                <a:cubicBezTo>
                  <a:pt x="152" y="61"/>
                  <a:pt x="152" y="61"/>
                  <a:pt x="152" y="61"/>
                </a:cubicBezTo>
                <a:cubicBezTo>
                  <a:pt x="153" y="59"/>
                  <a:pt x="153" y="59"/>
                  <a:pt x="153" y="59"/>
                </a:cubicBezTo>
                <a:cubicBezTo>
                  <a:pt x="153" y="57"/>
                  <a:pt x="153" y="57"/>
                  <a:pt x="153" y="56"/>
                </a:cubicBezTo>
                <a:cubicBezTo>
                  <a:pt x="153" y="56"/>
                  <a:pt x="153" y="56"/>
                  <a:pt x="153" y="56"/>
                </a:cubicBezTo>
                <a:cubicBezTo>
                  <a:pt x="154" y="52"/>
                  <a:pt x="154" y="52"/>
                  <a:pt x="154" y="52"/>
                </a:cubicBezTo>
                <a:cubicBezTo>
                  <a:pt x="150" y="47"/>
                  <a:pt x="150" y="47"/>
                  <a:pt x="150" y="47"/>
                </a:cubicBezTo>
                <a:cubicBezTo>
                  <a:pt x="151" y="38"/>
                  <a:pt x="151" y="38"/>
                  <a:pt x="151" y="38"/>
                </a:cubicBezTo>
                <a:cubicBezTo>
                  <a:pt x="152" y="38"/>
                  <a:pt x="152" y="38"/>
                  <a:pt x="152" y="38"/>
                </a:cubicBezTo>
                <a:cubicBezTo>
                  <a:pt x="152" y="38"/>
                  <a:pt x="153" y="36"/>
                  <a:pt x="154" y="35"/>
                </a:cubicBezTo>
                <a:cubicBezTo>
                  <a:pt x="155" y="34"/>
                  <a:pt x="157" y="32"/>
                  <a:pt x="158" y="30"/>
                </a:cubicBezTo>
                <a:cubicBezTo>
                  <a:pt x="160" y="21"/>
                  <a:pt x="160" y="21"/>
                  <a:pt x="160" y="21"/>
                </a:cubicBezTo>
                <a:cubicBezTo>
                  <a:pt x="154" y="19"/>
                  <a:pt x="154" y="19"/>
                  <a:pt x="154" y="19"/>
                </a:cubicBezTo>
                <a:cubicBezTo>
                  <a:pt x="151" y="12"/>
                  <a:pt x="151" y="12"/>
                  <a:pt x="151" y="12"/>
                </a:cubicBezTo>
                <a:cubicBezTo>
                  <a:pt x="157" y="8"/>
                  <a:pt x="157" y="8"/>
                  <a:pt x="157" y="8"/>
                </a:cubicBezTo>
                <a:cubicBezTo>
                  <a:pt x="159" y="1"/>
                  <a:pt x="159" y="1"/>
                  <a:pt x="159" y="1"/>
                </a:cubicBezTo>
                <a:cubicBezTo>
                  <a:pt x="157" y="1"/>
                  <a:pt x="157" y="1"/>
                  <a:pt x="157" y="1"/>
                </a:cubicBezTo>
                <a:cubicBezTo>
                  <a:pt x="156" y="1"/>
                  <a:pt x="155" y="1"/>
                  <a:pt x="155" y="0"/>
                </a:cubicBezTo>
                <a:cubicBezTo>
                  <a:pt x="154" y="0"/>
                  <a:pt x="154" y="0"/>
                  <a:pt x="154" y="0"/>
                </a:cubicBezTo>
                <a:cubicBezTo>
                  <a:pt x="153" y="1"/>
                  <a:pt x="151" y="1"/>
                  <a:pt x="150" y="1"/>
                </a:cubicBezTo>
                <a:cubicBezTo>
                  <a:pt x="138" y="3"/>
                  <a:pt x="138" y="3"/>
                  <a:pt x="138" y="3"/>
                </a:cubicBezTo>
                <a:cubicBezTo>
                  <a:pt x="137" y="3"/>
                  <a:pt x="137" y="3"/>
                  <a:pt x="136" y="3"/>
                </a:cubicBezTo>
                <a:cubicBezTo>
                  <a:pt x="136" y="3"/>
                  <a:pt x="135" y="3"/>
                  <a:pt x="134" y="3"/>
                </a:cubicBezTo>
                <a:cubicBezTo>
                  <a:pt x="132" y="3"/>
                  <a:pt x="132" y="3"/>
                  <a:pt x="131" y="3"/>
                </a:cubicBezTo>
                <a:cubicBezTo>
                  <a:pt x="131" y="3"/>
                  <a:pt x="130" y="3"/>
                  <a:pt x="129" y="3"/>
                </a:cubicBezTo>
                <a:cubicBezTo>
                  <a:pt x="127" y="3"/>
                  <a:pt x="126" y="3"/>
                  <a:pt x="125" y="3"/>
                </a:cubicBezTo>
                <a:cubicBezTo>
                  <a:pt x="124" y="3"/>
                  <a:pt x="123" y="3"/>
                  <a:pt x="120" y="3"/>
                </a:cubicBezTo>
                <a:cubicBezTo>
                  <a:pt x="120" y="3"/>
                  <a:pt x="120" y="3"/>
                  <a:pt x="119" y="3"/>
                </a:cubicBezTo>
                <a:cubicBezTo>
                  <a:pt x="119" y="3"/>
                  <a:pt x="116" y="2"/>
                  <a:pt x="112" y="3"/>
                </a:cubicBezTo>
                <a:cubicBezTo>
                  <a:pt x="111" y="3"/>
                  <a:pt x="111" y="3"/>
                  <a:pt x="111" y="3"/>
                </a:cubicBezTo>
                <a:cubicBezTo>
                  <a:pt x="110" y="4"/>
                  <a:pt x="109" y="4"/>
                  <a:pt x="109" y="4"/>
                </a:cubicBezTo>
                <a:cubicBezTo>
                  <a:pt x="106" y="6"/>
                  <a:pt x="105" y="5"/>
                  <a:pt x="104" y="4"/>
                </a:cubicBezTo>
                <a:cubicBezTo>
                  <a:pt x="103" y="4"/>
                  <a:pt x="103" y="4"/>
                  <a:pt x="103" y="4"/>
                </a:cubicBezTo>
                <a:cubicBezTo>
                  <a:pt x="101" y="6"/>
                  <a:pt x="99" y="5"/>
                  <a:pt x="98" y="5"/>
                </a:cubicBezTo>
                <a:cubicBezTo>
                  <a:pt x="97" y="5"/>
                  <a:pt x="97" y="5"/>
                  <a:pt x="96" y="5"/>
                </a:cubicBezTo>
                <a:cubicBezTo>
                  <a:pt x="95" y="5"/>
                  <a:pt x="95" y="5"/>
                  <a:pt x="94" y="5"/>
                </a:cubicBezTo>
                <a:cubicBezTo>
                  <a:pt x="93" y="6"/>
                  <a:pt x="92" y="7"/>
                  <a:pt x="90" y="7"/>
                </a:cubicBezTo>
                <a:cubicBezTo>
                  <a:pt x="89" y="7"/>
                  <a:pt x="88" y="8"/>
                  <a:pt x="87" y="8"/>
                </a:cubicBezTo>
                <a:cubicBezTo>
                  <a:pt x="85" y="9"/>
                  <a:pt x="84" y="9"/>
                  <a:pt x="83" y="8"/>
                </a:cubicBezTo>
                <a:cubicBezTo>
                  <a:pt x="82" y="8"/>
                  <a:pt x="82" y="8"/>
                  <a:pt x="80" y="8"/>
                </a:cubicBezTo>
                <a:cubicBezTo>
                  <a:pt x="77" y="8"/>
                  <a:pt x="76" y="9"/>
                  <a:pt x="76" y="9"/>
                </a:cubicBezTo>
                <a:cubicBezTo>
                  <a:pt x="74" y="11"/>
                  <a:pt x="70" y="13"/>
                  <a:pt x="69" y="13"/>
                </a:cubicBezTo>
                <a:cubicBezTo>
                  <a:pt x="69" y="13"/>
                  <a:pt x="69" y="14"/>
                  <a:pt x="68" y="14"/>
                </a:cubicBezTo>
                <a:cubicBezTo>
                  <a:pt x="67" y="14"/>
                  <a:pt x="66" y="15"/>
                  <a:pt x="64" y="15"/>
                </a:cubicBezTo>
                <a:cubicBezTo>
                  <a:pt x="63" y="15"/>
                  <a:pt x="62" y="16"/>
                  <a:pt x="61" y="16"/>
                </a:cubicBezTo>
                <a:cubicBezTo>
                  <a:pt x="60" y="17"/>
                  <a:pt x="59" y="17"/>
                  <a:pt x="58" y="17"/>
                </a:cubicBezTo>
                <a:cubicBezTo>
                  <a:pt x="57" y="17"/>
                  <a:pt x="56" y="18"/>
                  <a:pt x="54" y="19"/>
                </a:cubicBezTo>
                <a:cubicBezTo>
                  <a:pt x="53" y="20"/>
                  <a:pt x="52" y="21"/>
                  <a:pt x="50" y="22"/>
                </a:cubicBezTo>
                <a:cubicBezTo>
                  <a:pt x="49" y="23"/>
                  <a:pt x="47" y="24"/>
                  <a:pt x="46" y="24"/>
                </a:cubicBezTo>
                <a:cubicBezTo>
                  <a:pt x="46" y="24"/>
                  <a:pt x="46" y="25"/>
                  <a:pt x="46" y="26"/>
                </a:cubicBezTo>
                <a:cubicBezTo>
                  <a:pt x="47" y="28"/>
                  <a:pt x="47" y="28"/>
                  <a:pt x="47" y="28"/>
                </a:cubicBezTo>
                <a:cubicBezTo>
                  <a:pt x="47" y="29"/>
                  <a:pt x="48" y="30"/>
                  <a:pt x="48" y="32"/>
                </a:cubicBezTo>
                <a:cubicBezTo>
                  <a:pt x="48" y="34"/>
                  <a:pt x="48" y="34"/>
                  <a:pt x="48" y="34"/>
                </a:cubicBezTo>
                <a:cubicBezTo>
                  <a:pt x="48" y="35"/>
                  <a:pt x="47" y="36"/>
                  <a:pt x="47" y="36"/>
                </a:cubicBezTo>
                <a:cubicBezTo>
                  <a:pt x="46" y="37"/>
                  <a:pt x="44" y="39"/>
                  <a:pt x="43" y="39"/>
                </a:cubicBezTo>
                <a:cubicBezTo>
                  <a:pt x="42" y="39"/>
                  <a:pt x="41" y="39"/>
                  <a:pt x="40" y="39"/>
                </a:cubicBezTo>
                <a:cubicBezTo>
                  <a:pt x="39" y="41"/>
                  <a:pt x="39" y="41"/>
                  <a:pt x="39" y="41"/>
                </a:cubicBezTo>
                <a:cubicBezTo>
                  <a:pt x="34" y="45"/>
                  <a:pt x="33" y="45"/>
                  <a:pt x="32" y="45"/>
                </a:cubicBezTo>
                <a:cubicBezTo>
                  <a:pt x="31" y="45"/>
                  <a:pt x="31" y="45"/>
                  <a:pt x="31" y="45"/>
                </a:cubicBezTo>
                <a:cubicBezTo>
                  <a:pt x="29" y="47"/>
                  <a:pt x="29" y="47"/>
                  <a:pt x="29" y="47"/>
                </a:cubicBezTo>
                <a:cubicBezTo>
                  <a:pt x="28" y="48"/>
                  <a:pt x="28" y="48"/>
                  <a:pt x="28" y="48"/>
                </a:cubicBezTo>
                <a:cubicBezTo>
                  <a:pt x="27" y="48"/>
                  <a:pt x="27" y="48"/>
                  <a:pt x="27" y="48"/>
                </a:cubicBezTo>
                <a:cubicBezTo>
                  <a:pt x="26" y="49"/>
                  <a:pt x="26" y="50"/>
                  <a:pt x="25" y="50"/>
                </a:cubicBezTo>
                <a:cubicBezTo>
                  <a:pt x="22" y="66"/>
                  <a:pt x="22" y="66"/>
                  <a:pt x="22" y="66"/>
                </a:cubicBezTo>
                <a:cubicBezTo>
                  <a:pt x="22" y="68"/>
                  <a:pt x="21" y="68"/>
                  <a:pt x="21" y="69"/>
                </a:cubicBezTo>
                <a:cubicBezTo>
                  <a:pt x="21" y="70"/>
                  <a:pt x="21" y="70"/>
                  <a:pt x="21" y="71"/>
                </a:cubicBezTo>
                <a:cubicBezTo>
                  <a:pt x="22" y="74"/>
                  <a:pt x="22" y="74"/>
                  <a:pt x="22" y="74"/>
                </a:cubicBezTo>
                <a:cubicBezTo>
                  <a:pt x="22" y="74"/>
                  <a:pt x="22" y="74"/>
                  <a:pt x="22" y="75"/>
                </a:cubicBezTo>
                <a:cubicBezTo>
                  <a:pt x="21" y="75"/>
                  <a:pt x="20" y="79"/>
                  <a:pt x="17" y="80"/>
                </a:cubicBezTo>
                <a:cubicBezTo>
                  <a:pt x="17" y="81"/>
                  <a:pt x="17" y="81"/>
                  <a:pt x="17" y="81"/>
                </a:cubicBezTo>
                <a:cubicBezTo>
                  <a:pt x="16" y="83"/>
                  <a:pt x="16" y="85"/>
                  <a:pt x="16" y="86"/>
                </a:cubicBezTo>
                <a:cubicBezTo>
                  <a:pt x="17" y="87"/>
                  <a:pt x="17" y="88"/>
                  <a:pt x="17" y="89"/>
                </a:cubicBezTo>
                <a:cubicBezTo>
                  <a:pt x="17" y="89"/>
                  <a:pt x="18" y="89"/>
                  <a:pt x="18" y="89"/>
                </a:cubicBezTo>
                <a:cubicBezTo>
                  <a:pt x="19" y="89"/>
                  <a:pt x="20" y="90"/>
                  <a:pt x="20" y="91"/>
                </a:cubicBezTo>
                <a:cubicBezTo>
                  <a:pt x="21" y="92"/>
                  <a:pt x="20" y="93"/>
                  <a:pt x="16" y="94"/>
                </a:cubicBezTo>
                <a:cubicBezTo>
                  <a:pt x="11" y="96"/>
                  <a:pt x="10" y="97"/>
                  <a:pt x="10" y="98"/>
                </a:cubicBezTo>
                <a:cubicBezTo>
                  <a:pt x="9" y="98"/>
                  <a:pt x="9" y="99"/>
                  <a:pt x="8" y="99"/>
                </a:cubicBezTo>
                <a:cubicBezTo>
                  <a:pt x="8" y="99"/>
                  <a:pt x="8" y="99"/>
                  <a:pt x="7" y="99"/>
                </a:cubicBezTo>
                <a:cubicBezTo>
                  <a:pt x="7" y="99"/>
                  <a:pt x="7" y="98"/>
                  <a:pt x="6" y="98"/>
                </a:cubicBezTo>
                <a:cubicBezTo>
                  <a:pt x="5" y="99"/>
                  <a:pt x="5" y="99"/>
                  <a:pt x="5" y="99"/>
                </a:cubicBezTo>
                <a:cubicBezTo>
                  <a:pt x="4" y="99"/>
                  <a:pt x="4" y="99"/>
                  <a:pt x="4" y="99"/>
                </a:cubicBezTo>
                <a:cubicBezTo>
                  <a:pt x="1" y="102"/>
                  <a:pt x="1" y="102"/>
                  <a:pt x="1" y="102"/>
                </a:cubicBezTo>
                <a:cubicBezTo>
                  <a:pt x="0" y="103"/>
                  <a:pt x="0" y="103"/>
                  <a:pt x="0" y="103"/>
                </a:cubicBezTo>
                <a:cubicBezTo>
                  <a:pt x="0" y="104"/>
                  <a:pt x="0" y="104"/>
                  <a:pt x="0" y="104"/>
                </a:cubicBezTo>
                <a:cubicBezTo>
                  <a:pt x="1" y="105"/>
                  <a:pt x="1" y="105"/>
                  <a:pt x="1" y="105"/>
                </a:cubicBezTo>
                <a:cubicBezTo>
                  <a:pt x="2" y="106"/>
                  <a:pt x="2" y="106"/>
                  <a:pt x="2" y="106"/>
                </a:cubicBezTo>
                <a:cubicBezTo>
                  <a:pt x="5" y="107"/>
                  <a:pt x="5" y="107"/>
                  <a:pt x="5" y="107"/>
                </a:cubicBezTo>
                <a:cubicBezTo>
                  <a:pt x="12" y="110"/>
                  <a:pt x="12" y="110"/>
                  <a:pt x="12" y="110"/>
                </a:cubicBezTo>
                <a:cubicBezTo>
                  <a:pt x="16" y="112"/>
                  <a:pt x="16" y="112"/>
                  <a:pt x="16" y="112"/>
                </a:cubicBezTo>
                <a:cubicBezTo>
                  <a:pt x="20" y="115"/>
                  <a:pt x="20" y="115"/>
                  <a:pt x="20" y="115"/>
                </a:cubicBezTo>
                <a:cubicBezTo>
                  <a:pt x="23" y="116"/>
                  <a:pt x="23" y="116"/>
                  <a:pt x="23" y="116"/>
                </a:cubicBezTo>
                <a:cubicBezTo>
                  <a:pt x="25" y="116"/>
                  <a:pt x="25" y="116"/>
                  <a:pt x="25" y="116"/>
                </a:cubicBezTo>
                <a:cubicBezTo>
                  <a:pt x="27" y="114"/>
                  <a:pt x="27" y="114"/>
                  <a:pt x="27" y="114"/>
                </a:cubicBezTo>
                <a:cubicBezTo>
                  <a:pt x="27" y="113"/>
                  <a:pt x="27" y="113"/>
                  <a:pt x="27" y="113"/>
                </a:cubicBezTo>
                <a:cubicBezTo>
                  <a:pt x="28" y="110"/>
                  <a:pt x="28" y="110"/>
                  <a:pt x="28" y="110"/>
                </a:cubicBezTo>
                <a:cubicBezTo>
                  <a:pt x="28" y="109"/>
                  <a:pt x="28" y="109"/>
                  <a:pt x="28" y="109"/>
                </a:cubicBezTo>
                <a:cubicBezTo>
                  <a:pt x="32" y="105"/>
                  <a:pt x="32" y="105"/>
                  <a:pt x="32" y="105"/>
                </a:cubicBezTo>
                <a:cubicBezTo>
                  <a:pt x="33" y="104"/>
                  <a:pt x="33" y="104"/>
                  <a:pt x="33" y="104"/>
                </a:cubicBezTo>
                <a:cubicBezTo>
                  <a:pt x="47" y="101"/>
                  <a:pt x="47" y="101"/>
                  <a:pt x="47" y="101"/>
                </a:cubicBezTo>
                <a:cubicBezTo>
                  <a:pt x="68" y="96"/>
                  <a:pt x="68" y="96"/>
                  <a:pt x="68" y="96"/>
                </a:cubicBezTo>
                <a:cubicBezTo>
                  <a:pt x="73" y="95"/>
                  <a:pt x="73" y="95"/>
                  <a:pt x="73" y="95"/>
                </a:cubicBezTo>
                <a:cubicBezTo>
                  <a:pt x="79" y="95"/>
                  <a:pt x="79" y="95"/>
                  <a:pt x="79" y="95"/>
                </a:cubicBezTo>
                <a:cubicBezTo>
                  <a:pt x="88" y="92"/>
                  <a:pt x="88" y="92"/>
                  <a:pt x="88" y="92"/>
                </a:cubicBezTo>
                <a:cubicBezTo>
                  <a:pt x="95" y="88"/>
                  <a:pt x="95" y="88"/>
                  <a:pt x="95" y="88"/>
                </a:cubicBezTo>
                <a:cubicBezTo>
                  <a:pt x="97" y="87"/>
                  <a:pt x="97" y="87"/>
                  <a:pt x="97" y="87"/>
                </a:cubicBezTo>
                <a:cubicBezTo>
                  <a:pt x="101" y="86"/>
                  <a:pt x="101" y="86"/>
                  <a:pt x="101" y="86"/>
                </a:cubicBezTo>
                <a:cubicBezTo>
                  <a:pt x="105" y="85"/>
                  <a:pt x="105" y="85"/>
                  <a:pt x="105" y="85"/>
                </a:cubicBezTo>
                <a:cubicBezTo>
                  <a:pt x="114" y="84"/>
                  <a:pt x="114" y="84"/>
                  <a:pt x="114" y="84"/>
                </a:cubicBezTo>
                <a:cubicBezTo>
                  <a:pt x="117" y="85"/>
                  <a:pt x="117" y="85"/>
                  <a:pt x="117" y="85"/>
                </a:cubicBezTo>
                <a:cubicBezTo>
                  <a:pt x="117" y="85"/>
                  <a:pt x="118" y="85"/>
                  <a:pt x="118" y="85"/>
                </a:cubicBezTo>
                <a:cubicBezTo>
                  <a:pt x="119" y="83"/>
                  <a:pt x="119" y="83"/>
                  <a:pt x="119" y="83"/>
                </a:cubicBezTo>
                <a:lnTo>
                  <a:pt x="134" y="8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0" name="Freeform 91">
            <a:extLst>
              <a:ext uri="{FF2B5EF4-FFF2-40B4-BE49-F238E27FC236}">
                <a16:creationId xmlns:a16="http://schemas.microsoft.com/office/drawing/2014/main" id="{E8C10FBC-EFF9-4693-A230-47500A032B3C}"/>
              </a:ext>
            </a:extLst>
          </p:cNvPr>
          <p:cNvSpPr>
            <a:spLocks/>
          </p:cNvSpPr>
          <p:nvPr/>
        </p:nvSpPr>
        <p:spPr bwMode="auto">
          <a:xfrm>
            <a:off x="5299881" y="4857282"/>
            <a:ext cx="421350" cy="398463"/>
          </a:xfrm>
          <a:custGeom>
            <a:avLst/>
            <a:gdLst>
              <a:gd name="T0" fmla="*/ 167 w 174"/>
              <a:gd name="T1" fmla="*/ 41 h 178"/>
              <a:gd name="T2" fmla="*/ 171 w 174"/>
              <a:gd name="T3" fmla="*/ 25 h 178"/>
              <a:gd name="T4" fmla="*/ 169 w 174"/>
              <a:gd name="T5" fmla="*/ 15 h 178"/>
              <a:gd name="T6" fmla="*/ 164 w 174"/>
              <a:gd name="T7" fmla="*/ 8 h 178"/>
              <a:gd name="T8" fmla="*/ 160 w 174"/>
              <a:gd name="T9" fmla="*/ 3 h 178"/>
              <a:gd name="T10" fmla="*/ 148 w 174"/>
              <a:gd name="T11" fmla="*/ 1 h 178"/>
              <a:gd name="T12" fmla="*/ 146 w 174"/>
              <a:gd name="T13" fmla="*/ 15 h 178"/>
              <a:gd name="T14" fmla="*/ 135 w 174"/>
              <a:gd name="T15" fmla="*/ 19 h 178"/>
              <a:gd name="T16" fmla="*/ 144 w 174"/>
              <a:gd name="T17" fmla="*/ 26 h 178"/>
              <a:gd name="T18" fmla="*/ 151 w 174"/>
              <a:gd name="T19" fmla="*/ 36 h 178"/>
              <a:gd name="T20" fmla="*/ 143 w 174"/>
              <a:gd name="T21" fmla="*/ 41 h 178"/>
              <a:gd name="T22" fmla="*/ 129 w 174"/>
              <a:gd name="T23" fmla="*/ 33 h 178"/>
              <a:gd name="T24" fmla="*/ 122 w 174"/>
              <a:gd name="T25" fmla="*/ 24 h 178"/>
              <a:gd name="T26" fmla="*/ 113 w 174"/>
              <a:gd name="T27" fmla="*/ 24 h 178"/>
              <a:gd name="T28" fmla="*/ 115 w 174"/>
              <a:gd name="T29" fmla="*/ 33 h 178"/>
              <a:gd name="T30" fmla="*/ 103 w 174"/>
              <a:gd name="T31" fmla="*/ 34 h 178"/>
              <a:gd name="T32" fmla="*/ 101 w 174"/>
              <a:gd name="T33" fmla="*/ 46 h 178"/>
              <a:gd name="T34" fmla="*/ 94 w 174"/>
              <a:gd name="T35" fmla="*/ 38 h 178"/>
              <a:gd name="T36" fmla="*/ 92 w 174"/>
              <a:gd name="T37" fmla="*/ 36 h 178"/>
              <a:gd name="T38" fmla="*/ 85 w 174"/>
              <a:gd name="T39" fmla="*/ 40 h 178"/>
              <a:gd name="T40" fmla="*/ 73 w 174"/>
              <a:gd name="T41" fmla="*/ 40 h 178"/>
              <a:gd name="T42" fmla="*/ 74 w 174"/>
              <a:gd name="T43" fmla="*/ 46 h 178"/>
              <a:gd name="T44" fmla="*/ 60 w 174"/>
              <a:gd name="T45" fmla="*/ 51 h 178"/>
              <a:gd name="T46" fmla="*/ 47 w 174"/>
              <a:gd name="T47" fmla="*/ 48 h 178"/>
              <a:gd name="T48" fmla="*/ 52 w 174"/>
              <a:gd name="T49" fmla="*/ 37 h 178"/>
              <a:gd name="T50" fmla="*/ 44 w 174"/>
              <a:gd name="T51" fmla="*/ 43 h 178"/>
              <a:gd name="T52" fmla="*/ 32 w 174"/>
              <a:gd name="T53" fmla="*/ 40 h 178"/>
              <a:gd name="T54" fmla="*/ 34 w 174"/>
              <a:gd name="T55" fmla="*/ 49 h 178"/>
              <a:gd name="T56" fmla="*/ 39 w 174"/>
              <a:gd name="T57" fmla="*/ 64 h 178"/>
              <a:gd name="T58" fmla="*/ 25 w 174"/>
              <a:gd name="T59" fmla="*/ 73 h 178"/>
              <a:gd name="T60" fmla="*/ 14 w 174"/>
              <a:gd name="T61" fmla="*/ 79 h 178"/>
              <a:gd name="T62" fmla="*/ 2 w 174"/>
              <a:gd name="T63" fmla="*/ 93 h 178"/>
              <a:gd name="T64" fmla="*/ 1 w 174"/>
              <a:gd name="T65" fmla="*/ 113 h 178"/>
              <a:gd name="T66" fmla="*/ 4 w 174"/>
              <a:gd name="T67" fmla="*/ 130 h 178"/>
              <a:gd name="T68" fmla="*/ 47 w 174"/>
              <a:gd name="T69" fmla="*/ 92 h 178"/>
              <a:gd name="T70" fmla="*/ 35 w 174"/>
              <a:gd name="T71" fmla="*/ 101 h 178"/>
              <a:gd name="T72" fmla="*/ 31 w 174"/>
              <a:gd name="T73" fmla="*/ 151 h 178"/>
              <a:gd name="T74" fmla="*/ 33 w 174"/>
              <a:gd name="T75" fmla="*/ 174 h 178"/>
              <a:gd name="T76" fmla="*/ 47 w 174"/>
              <a:gd name="T77" fmla="*/ 177 h 178"/>
              <a:gd name="T78" fmla="*/ 60 w 174"/>
              <a:gd name="T79" fmla="*/ 175 h 178"/>
              <a:gd name="T80" fmla="*/ 58 w 174"/>
              <a:gd name="T81" fmla="*/ 160 h 178"/>
              <a:gd name="T82" fmla="*/ 66 w 174"/>
              <a:gd name="T83" fmla="*/ 140 h 178"/>
              <a:gd name="T84" fmla="*/ 85 w 174"/>
              <a:gd name="T85" fmla="*/ 134 h 178"/>
              <a:gd name="T86" fmla="*/ 91 w 174"/>
              <a:gd name="T87" fmla="*/ 120 h 178"/>
              <a:gd name="T88" fmla="*/ 104 w 174"/>
              <a:gd name="T89" fmla="*/ 115 h 178"/>
              <a:gd name="T90" fmla="*/ 117 w 174"/>
              <a:gd name="T91" fmla="*/ 116 h 178"/>
              <a:gd name="T92" fmla="*/ 129 w 174"/>
              <a:gd name="T93" fmla="*/ 124 h 178"/>
              <a:gd name="T94" fmla="*/ 137 w 174"/>
              <a:gd name="T95" fmla="*/ 120 h 178"/>
              <a:gd name="T96" fmla="*/ 142 w 174"/>
              <a:gd name="T97" fmla="*/ 112 h 178"/>
              <a:gd name="T98" fmla="*/ 151 w 174"/>
              <a:gd name="T99" fmla="*/ 121 h 178"/>
              <a:gd name="T100" fmla="*/ 168 w 174"/>
              <a:gd name="T101" fmla="*/ 117 h 178"/>
              <a:gd name="T102" fmla="*/ 162 w 174"/>
              <a:gd name="T103" fmla="*/ 97 h 178"/>
              <a:gd name="T104" fmla="*/ 164 w 174"/>
              <a:gd name="T105" fmla="*/ 85 h 178"/>
              <a:gd name="T106" fmla="*/ 165 w 174"/>
              <a:gd name="T107" fmla="*/ 70 h 178"/>
              <a:gd name="T108" fmla="*/ 174 w 174"/>
              <a:gd name="T109" fmla="*/ 55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4" h="178">
                <a:moveTo>
                  <a:pt x="173" y="52"/>
                </a:moveTo>
                <a:cubicBezTo>
                  <a:pt x="173" y="52"/>
                  <a:pt x="173" y="52"/>
                  <a:pt x="172" y="52"/>
                </a:cubicBezTo>
                <a:cubicBezTo>
                  <a:pt x="169" y="49"/>
                  <a:pt x="169" y="49"/>
                  <a:pt x="169" y="49"/>
                </a:cubicBezTo>
                <a:cubicBezTo>
                  <a:pt x="169" y="49"/>
                  <a:pt x="168" y="49"/>
                  <a:pt x="168" y="48"/>
                </a:cubicBezTo>
                <a:cubicBezTo>
                  <a:pt x="167" y="46"/>
                  <a:pt x="167" y="46"/>
                  <a:pt x="167" y="46"/>
                </a:cubicBezTo>
                <a:cubicBezTo>
                  <a:pt x="167" y="44"/>
                  <a:pt x="167" y="44"/>
                  <a:pt x="167" y="44"/>
                </a:cubicBezTo>
                <a:cubicBezTo>
                  <a:pt x="167" y="41"/>
                  <a:pt x="167" y="41"/>
                  <a:pt x="167" y="41"/>
                </a:cubicBezTo>
                <a:cubicBezTo>
                  <a:pt x="167" y="40"/>
                  <a:pt x="167" y="40"/>
                  <a:pt x="167" y="40"/>
                </a:cubicBezTo>
                <a:cubicBezTo>
                  <a:pt x="168" y="39"/>
                  <a:pt x="169" y="38"/>
                  <a:pt x="169" y="37"/>
                </a:cubicBezTo>
                <a:cubicBezTo>
                  <a:pt x="171" y="36"/>
                  <a:pt x="171" y="36"/>
                  <a:pt x="171" y="36"/>
                </a:cubicBezTo>
                <a:cubicBezTo>
                  <a:pt x="171" y="35"/>
                  <a:pt x="172" y="34"/>
                  <a:pt x="173" y="34"/>
                </a:cubicBezTo>
                <a:cubicBezTo>
                  <a:pt x="173" y="28"/>
                  <a:pt x="173" y="28"/>
                  <a:pt x="173" y="28"/>
                </a:cubicBezTo>
                <a:cubicBezTo>
                  <a:pt x="172" y="27"/>
                  <a:pt x="172" y="27"/>
                  <a:pt x="172" y="27"/>
                </a:cubicBezTo>
                <a:cubicBezTo>
                  <a:pt x="171" y="27"/>
                  <a:pt x="171" y="26"/>
                  <a:pt x="171" y="25"/>
                </a:cubicBezTo>
                <a:cubicBezTo>
                  <a:pt x="171" y="24"/>
                  <a:pt x="171" y="24"/>
                  <a:pt x="171" y="24"/>
                </a:cubicBezTo>
                <a:cubicBezTo>
                  <a:pt x="171" y="23"/>
                  <a:pt x="171" y="23"/>
                  <a:pt x="171" y="23"/>
                </a:cubicBezTo>
                <a:cubicBezTo>
                  <a:pt x="172" y="21"/>
                  <a:pt x="172" y="21"/>
                  <a:pt x="172" y="21"/>
                </a:cubicBezTo>
                <a:cubicBezTo>
                  <a:pt x="170" y="20"/>
                  <a:pt x="170" y="20"/>
                  <a:pt x="170" y="20"/>
                </a:cubicBezTo>
                <a:cubicBezTo>
                  <a:pt x="169" y="20"/>
                  <a:pt x="169" y="19"/>
                  <a:pt x="169" y="19"/>
                </a:cubicBezTo>
                <a:cubicBezTo>
                  <a:pt x="169" y="17"/>
                  <a:pt x="169" y="17"/>
                  <a:pt x="169" y="17"/>
                </a:cubicBezTo>
                <a:cubicBezTo>
                  <a:pt x="169" y="15"/>
                  <a:pt x="169" y="15"/>
                  <a:pt x="169" y="15"/>
                </a:cubicBezTo>
                <a:cubicBezTo>
                  <a:pt x="168" y="15"/>
                  <a:pt x="169" y="14"/>
                  <a:pt x="169" y="14"/>
                </a:cubicBezTo>
                <a:cubicBezTo>
                  <a:pt x="171" y="12"/>
                  <a:pt x="171" y="12"/>
                  <a:pt x="171" y="12"/>
                </a:cubicBezTo>
                <a:cubicBezTo>
                  <a:pt x="171" y="11"/>
                  <a:pt x="171" y="11"/>
                  <a:pt x="171" y="11"/>
                </a:cubicBezTo>
                <a:cubicBezTo>
                  <a:pt x="167" y="11"/>
                  <a:pt x="167" y="11"/>
                  <a:pt x="167" y="11"/>
                </a:cubicBezTo>
                <a:cubicBezTo>
                  <a:pt x="166" y="11"/>
                  <a:pt x="166" y="10"/>
                  <a:pt x="166" y="10"/>
                </a:cubicBezTo>
                <a:cubicBezTo>
                  <a:pt x="165" y="8"/>
                  <a:pt x="165" y="8"/>
                  <a:pt x="165" y="8"/>
                </a:cubicBezTo>
                <a:cubicBezTo>
                  <a:pt x="165" y="8"/>
                  <a:pt x="165" y="8"/>
                  <a:pt x="164" y="8"/>
                </a:cubicBezTo>
                <a:cubicBezTo>
                  <a:pt x="164" y="5"/>
                  <a:pt x="164" y="5"/>
                  <a:pt x="164" y="5"/>
                </a:cubicBezTo>
                <a:cubicBezTo>
                  <a:pt x="164" y="5"/>
                  <a:pt x="164" y="4"/>
                  <a:pt x="165" y="3"/>
                </a:cubicBezTo>
                <a:cubicBezTo>
                  <a:pt x="167" y="2"/>
                  <a:pt x="167" y="2"/>
                  <a:pt x="167" y="2"/>
                </a:cubicBezTo>
                <a:cubicBezTo>
                  <a:pt x="164" y="3"/>
                  <a:pt x="164" y="3"/>
                  <a:pt x="164" y="3"/>
                </a:cubicBezTo>
                <a:cubicBezTo>
                  <a:pt x="164" y="3"/>
                  <a:pt x="164" y="3"/>
                  <a:pt x="163" y="3"/>
                </a:cubicBezTo>
                <a:cubicBezTo>
                  <a:pt x="161" y="3"/>
                  <a:pt x="161" y="3"/>
                  <a:pt x="161" y="3"/>
                </a:cubicBezTo>
                <a:cubicBezTo>
                  <a:pt x="160" y="3"/>
                  <a:pt x="160" y="3"/>
                  <a:pt x="160" y="3"/>
                </a:cubicBezTo>
                <a:cubicBezTo>
                  <a:pt x="158" y="3"/>
                  <a:pt x="158" y="3"/>
                  <a:pt x="158" y="3"/>
                </a:cubicBezTo>
                <a:cubicBezTo>
                  <a:pt x="158" y="3"/>
                  <a:pt x="157" y="3"/>
                  <a:pt x="157" y="2"/>
                </a:cubicBezTo>
                <a:cubicBezTo>
                  <a:pt x="156" y="2"/>
                  <a:pt x="156" y="2"/>
                  <a:pt x="156" y="2"/>
                </a:cubicBezTo>
                <a:cubicBezTo>
                  <a:pt x="154" y="2"/>
                  <a:pt x="154" y="2"/>
                  <a:pt x="154" y="2"/>
                </a:cubicBezTo>
                <a:cubicBezTo>
                  <a:pt x="152" y="2"/>
                  <a:pt x="152" y="2"/>
                  <a:pt x="152" y="2"/>
                </a:cubicBezTo>
                <a:cubicBezTo>
                  <a:pt x="151" y="2"/>
                  <a:pt x="149" y="1"/>
                  <a:pt x="149" y="1"/>
                </a:cubicBezTo>
                <a:cubicBezTo>
                  <a:pt x="148" y="1"/>
                  <a:pt x="148" y="1"/>
                  <a:pt x="148" y="1"/>
                </a:cubicBezTo>
                <a:cubicBezTo>
                  <a:pt x="147" y="0"/>
                  <a:pt x="147" y="0"/>
                  <a:pt x="147" y="0"/>
                </a:cubicBezTo>
                <a:cubicBezTo>
                  <a:pt x="146" y="5"/>
                  <a:pt x="146" y="5"/>
                  <a:pt x="146" y="5"/>
                </a:cubicBezTo>
                <a:cubicBezTo>
                  <a:pt x="146" y="5"/>
                  <a:pt x="146" y="6"/>
                  <a:pt x="145" y="6"/>
                </a:cubicBezTo>
                <a:cubicBezTo>
                  <a:pt x="146" y="7"/>
                  <a:pt x="146" y="7"/>
                  <a:pt x="146" y="8"/>
                </a:cubicBezTo>
                <a:cubicBezTo>
                  <a:pt x="146" y="9"/>
                  <a:pt x="147" y="10"/>
                  <a:pt x="147" y="11"/>
                </a:cubicBezTo>
                <a:cubicBezTo>
                  <a:pt x="147" y="12"/>
                  <a:pt x="147" y="12"/>
                  <a:pt x="147" y="12"/>
                </a:cubicBezTo>
                <a:cubicBezTo>
                  <a:pt x="147" y="13"/>
                  <a:pt x="147" y="14"/>
                  <a:pt x="146" y="15"/>
                </a:cubicBezTo>
                <a:cubicBezTo>
                  <a:pt x="144" y="16"/>
                  <a:pt x="144" y="16"/>
                  <a:pt x="144" y="16"/>
                </a:cubicBezTo>
                <a:cubicBezTo>
                  <a:pt x="141" y="17"/>
                  <a:pt x="141" y="17"/>
                  <a:pt x="141" y="17"/>
                </a:cubicBezTo>
                <a:cubicBezTo>
                  <a:pt x="140" y="17"/>
                  <a:pt x="140" y="17"/>
                  <a:pt x="139" y="17"/>
                </a:cubicBezTo>
                <a:cubicBezTo>
                  <a:pt x="137" y="15"/>
                  <a:pt x="137" y="15"/>
                  <a:pt x="137" y="15"/>
                </a:cubicBezTo>
                <a:cubicBezTo>
                  <a:pt x="137" y="16"/>
                  <a:pt x="136" y="16"/>
                  <a:pt x="136" y="16"/>
                </a:cubicBezTo>
                <a:cubicBezTo>
                  <a:pt x="136" y="17"/>
                  <a:pt x="135" y="18"/>
                  <a:pt x="134" y="18"/>
                </a:cubicBezTo>
                <a:cubicBezTo>
                  <a:pt x="134" y="19"/>
                  <a:pt x="135" y="19"/>
                  <a:pt x="135" y="19"/>
                </a:cubicBezTo>
                <a:cubicBezTo>
                  <a:pt x="136" y="19"/>
                  <a:pt x="137" y="20"/>
                  <a:pt x="137" y="21"/>
                </a:cubicBezTo>
                <a:cubicBezTo>
                  <a:pt x="137" y="22"/>
                  <a:pt x="137" y="22"/>
                  <a:pt x="138" y="22"/>
                </a:cubicBezTo>
                <a:cubicBezTo>
                  <a:pt x="139" y="22"/>
                  <a:pt x="139" y="23"/>
                  <a:pt x="139" y="23"/>
                </a:cubicBezTo>
                <a:cubicBezTo>
                  <a:pt x="140" y="24"/>
                  <a:pt x="140" y="24"/>
                  <a:pt x="141" y="25"/>
                </a:cubicBezTo>
                <a:cubicBezTo>
                  <a:pt x="141" y="25"/>
                  <a:pt x="141" y="25"/>
                  <a:pt x="141" y="26"/>
                </a:cubicBezTo>
                <a:cubicBezTo>
                  <a:pt x="142" y="26"/>
                  <a:pt x="142" y="26"/>
                  <a:pt x="142" y="26"/>
                </a:cubicBezTo>
                <a:cubicBezTo>
                  <a:pt x="144" y="26"/>
                  <a:pt x="144" y="26"/>
                  <a:pt x="144" y="26"/>
                </a:cubicBezTo>
                <a:cubicBezTo>
                  <a:pt x="146" y="26"/>
                  <a:pt x="147" y="27"/>
                  <a:pt x="147" y="27"/>
                </a:cubicBezTo>
                <a:cubicBezTo>
                  <a:pt x="149" y="28"/>
                  <a:pt x="149" y="28"/>
                  <a:pt x="149" y="28"/>
                </a:cubicBezTo>
                <a:cubicBezTo>
                  <a:pt x="149" y="29"/>
                  <a:pt x="149" y="29"/>
                  <a:pt x="149" y="29"/>
                </a:cubicBezTo>
                <a:cubicBezTo>
                  <a:pt x="150" y="29"/>
                  <a:pt x="150" y="29"/>
                  <a:pt x="150" y="29"/>
                </a:cubicBezTo>
                <a:cubicBezTo>
                  <a:pt x="151" y="30"/>
                  <a:pt x="151" y="30"/>
                  <a:pt x="151" y="31"/>
                </a:cubicBezTo>
                <a:cubicBezTo>
                  <a:pt x="151" y="34"/>
                  <a:pt x="151" y="34"/>
                  <a:pt x="151" y="34"/>
                </a:cubicBezTo>
                <a:cubicBezTo>
                  <a:pt x="151" y="35"/>
                  <a:pt x="151" y="35"/>
                  <a:pt x="151" y="36"/>
                </a:cubicBezTo>
                <a:cubicBezTo>
                  <a:pt x="151" y="36"/>
                  <a:pt x="151" y="36"/>
                  <a:pt x="151" y="37"/>
                </a:cubicBezTo>
                <a:cubicBezTo>
                  <a:pt x="151" y="38"/>
                  <a:pt x="150" y="39"/>
                  <a:pt x="150" y="39"/>
                </a:cubicBezTo>
                <a:cubicBezTo>
                  <a:pt x="150" y="39"/>
                  <a:pt x="150" y="40"/>
                  <a:pt x="150" y="41"/>
                </a:cubicBezTo>
                <a:cubicBezTo>
                  <a:pt x="150" y="41"/>
                  <a:pt x="149" y="42"/>
                  <a:pt x="148" y="42"/>
                </a:cubicBezTo>
                <a:cubicBezTo>
                  <a:pt x="147" y="43"/>
                  <a:pt x="146" y="42"/>
                  <a:pt x="146" y="42"/>
                </a:cubicBezTo>
                <a:cubicBezTo>
                  <a:pt x="144" y="42"/>
                  <a:pt x="144" y="42"/>
                  <a:pt x="144" y="42"/>
                </a:cubicBezTo>
                <a:cubicBezTo>
                  <a:pt x="144" y="42"/>
                  <a:pt x="144" y="42"/>
                  <a:pt x="143" y="41"/>
                </a:cubicBezTo>
                <a:cubicBezTo>
                  <a:pt x="143" y="41"/>
                  <a:pt x="143" y="41"/>
                  <a:pt x="141" y="41"/>
                </a:cubicBezTo>
                <a:cubicBezTo>
                  <a:pt x="139" y="40"/>
                  <a:pt x="138" y="39"/>
                  <a:pt x="138" y="39"/>
                </a:cubicBezTo>
                <a:cubicBezTo>
                  <a:pt x="138" y="38"/>
                  <a:pt x="138" y="38"/>
                  <a:pt x="138" y="38"/>
                </a:cubicBezTo>
                <a:cubicBezTo>
                  <a:pt x="137" y="38"/>
                  <a:pt x="137" y="38"/>
                  <a:pt x="137" y="38"/>
                </a:cubicBezTo>
                <a:cubicBezTo>
                  <a:pt x="136" y="36"/>
                  <a:pt x="136" y="36"/>
                  <a:pt x="136" y="36"/>
                </a:cubicBezTo>
                <a:cubicBezTo>
                  <a:pt x="131" y="35"/>
                  <a:pt x="131" y="35"/>
                  <a:pt x="131" y="35"/>
                </a:cubicBezTo>
                <a:cubicBezTo>
                  <a:pt x="130" y="35"/>
                  <a:pt x="129" y="34"/>
                  <a:pt x="129" y="33"/>
                </a:cubicBezTo>
                <a:cubicBezTo>
                  <a:pt x="129" y="31"/>
                  <a:pt x="129" y="31"/>
                  <a:pt x="129" y="31"/>
                </a:cubicBezTo>
                <a:cubicBezTo>
                  <a:pt x="128" y="29"/>
                  <a:pt x="128" y="29"/>
                  <a:pt x="128" y="29"/>
                </a:cubicBezTo>
                <a:cubicBezTo>
                  <a:pt x="128" y="28"/>
                  <a:pt x="128" y="27"/>
                  <a:pt x="128" y="27"/>
                </a:cubicBezTo>
                <a:cubicBezTo>
                  <a:pt x="128" y="26"/>
                  <a:pt x="128" y="26"/>
                  <a:pt x="128" y="26"/>
                </a:cubicBezTo>
                <a:cubicBezTo>
                  <a:pt x="126" y="26"/>
                  <a:pt x="126" y="26"/>
                  <a:pt x="126" y="26"/>
                </a:cubicBezTo>
                <a:cubicBezTo>
                  <a:pt x="124" y="24"/>
                  <a:pt x="124" y="24"/>
                  <a:pt x="124" y="24"/>
                </a:cubicBezTo>
                <a:cubicBezTo>
                  <a:pt x="124" y="24"/>
                  <a:pt x="123" y="24"/>
                  <a:pt x="122" y="24"/>
                </a:cubicBezTo>
                <a:cubicBezTo>
                  <a:pt x="121" y="24"/>
                  <a:pt x="121" y="24"/>
                  <a:pt x="121" y="24"/>
                </a:cubicBezTo>
                <a:cubicBezTo>
                  <a:pt x="117" y="24"/>
                  <a:pt x="117" y="24"/>
                  <a:pt x="117" y="24"/>
                </a:cubicBezTo>
                <a:cubicBezTo>
                  <a:pt x="116" y="24"/>
                  <a:pt x="116" y="24"/>
                  <a:pt x="116" y="24"/>
                </a:cubicBezTo>
                <a:cubicBezTo>
                  <a:pt x="115" y="24"/>
                  <a:pt x="115" y="24"/>
                  <a:pt x="115" y="24"/>
                </a:cubicBezTo>
                <a:cubicBezTo>
                  <a:pt x="113" y="22"/>
                  <a:pt x="113" y="22"/>
                  <a:pt x="113" y="22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3" y="24"/>
                  <a:pt x="113" y="24"/>
                  <a:pt x="113" y="24"/>
                </a:cubicBezTo>
                <a:cubicBezTo>
                  <a:pt x="114" y="25"/>
                  <a:pt x="114" y="25"/>
                  <a:pt x="114" y="25"/>
                </a:cubicBezTo>
                <a:cubicBezTo>
                  <a:pt x="114" y="25"/>
                  <a:pt x="115" y="24"/>
                  <a:pt x="116" y="25"/>
                </a:cubicBezTo>
                <a:cubicBezTo>
                  <a:pt x="118" y="26"/>
                  <a:pt x="118" y="27"/>
                  <a:pt x="118" y="27"/>
                </a:cubicBezTo>
                <a:cubicBezTo>
                  <a:pt x="118" y="28"/>
                  <a:pt x="118" y="28"/>
                  <a:pt x="117" y="29"/>
                </a:cubicBezTo>
                <a:cubicBezTo>
                  <a:pt x="117" y="30"/>
                  <a:pt x="117" y="30"/>
                  <a:pt x="117" y="31"/>
                </a:cubicBezTo>
                <a:cubicBezTo>
                  <a:pt x="116" y="32"/>
                  <a:pt x="116" y="32"/>
                  <a:pt x="116" y="32"/>
                </a:cubicBezTo>
                <a:cubicBezTo>
                  <a:pt x="116" y="32"/>
                  <a:pt x="116" y="33"/>
                  <a:pt x="115" y="33"/>
                </a:cubicBezTo>
                <a:cubicBezTo>
                  <a:pt x="115" y="34"/>
                  <a:pt x="114" y="34"/>
                  <a:pt x="113" y="34"/>
                </a:cubicBezTo>
                <a:cubicBezTo>
                  <a:pt x="111" y="33"/>
                  <a:pt x="111" y="33"/>
                  <a:pt x="111" y="33"/>
                </a:cubicBezTo>
                <a:cubicBezTo>
                  <a:pt x="110" y="32"/>
                  <a:pt x="110" y="32"/>
                  <a:pt x="110" y="32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8" y="32"/>
                  <a:pt x="107" y="32"/>
                  <a:pt x="106" y="32"/>
                </a:cubicBezTo>
                <a:cubicBezTo>
                  <a:pt x="105" y="33"/>
                  <a:pt x="104" y="33"/>
                  <a:pt x="104" y="33"/>
                </a:cubicBezTo>
                <a:cubicBezTo>
                  <a:pt x="104" y="33"/>
                  <a:pt x="103" y="33"/>
                  <a:pt x="103" y="34"/>
                </a:cubicBezTo>
                <a:cubicBezTo>
                  <a:pt x="103" y="34"/>
                  <a:pt x="103" y="35"/>
                  <a:pt x="103" y="36"/>
                </a:cubicBezTo>
                <a:cubicBezTo>
                  <a:pt x="104" y="36"/>
                  <a:pt x="104" y="37"/>
                  <a:pt x="105" y="38"/>
                </a:cubicBezTo>
                <a:cubicBezTo>
                  <a:pt x="106" y="39"/>
                  <a:pt x="107" y="40"/>
                  <a:pt x="107" y="41"/>
                </a:cubicBezTo>
                <a:cubicBezTo>
                  <a:pt x="106" y="42"/>
                  <a:pt x="106" y="42"/>
                  <a:pt x="106" y="42"/>
                </a:cubicBezTo>
                <a:cubicBezTo>
                  <a:pt x="106" y="43"/>
                  <a:pt x="105" y="44"/>
                  <a:pt x="104" y="44"/>
                </a:cubicBezTo>
                <a:cubicBezTo>
                  <a:pt x="104" y="44"/>
                  <a:pt x="104" y="44"/>
                  <a:pt x="103" y="44"/>
                </a:cubicBezTo>
                <a:cubicBezTo>
                  <a:pt x="103" y="46"/>
                  <a:pt x="102" y="46"/>
                  <a:pt x="101" y="46"/>
                </a:cubicBezTo>
                <a:cubicBezTo>
                  <a:pt x="98" y="46"/>
                  <a:pt x="98" y="46"/>
                  <a:pt x="98" y="46"/>
                </a:cubicBezTo>
                <a:cubicBezTo>
                  <a:pt x="97" y="46"/>
                  <a:pt x="97" y="46"/>
                  <a:pt x="96" y="46"/>
                </a:cubicBezTo>
                <a:cubicBezTo>
                  <a:pt x="96" y="45"/>
                  <a:pt x="96" y="44"/>
                  <a:pt x="96" y="44"/>
                </a:cubicBezTo>
                <a:cubicBezTo>
                  <a:pt x="96" y="43"/>
                  <a:pt x="96" y="41"/>
                  <a:pt x="96" y="41"/>
                </a:cubicBezTo>
                <a:cubicBezTo>
                  <a:pt x="96" y="40"/>
                  <a:pt x="96" y="40"/>
                  <a:pt x="96" y="40"/>
                </a:cubicBezTo>
                <a:cubicBezTo>
                  <a:pt x="96" y="39"/>
                  <a:pt x="96" y="39"/>
                  <a:pt x="96" y="39"/>
                </a:cubicBezTo>
                <a:cubicBezTo>
                  <a:pt x="94" y="38"/>
                  <a:pt x="94" y="38"/>
                  <a:pt x="94" y="38"/>
                </a:cubicBezTo>
                <a:cubicBezTo>
                  <a:pt x="94" y="37"/>
                  <a:pt x="94" y="37"/>
                  <a:pt x="94" y="36"/>
                </a:cubicBezTo>
                <a:cubicBezTo>
                  <a:pt x="94" y="33"/>
                  <a:pt x="94" y="33"/>
                  <a:pt x="94" y="33"/>
                </a:cubicBezTo>
                <a:cubicBezTo>
                  <a:pt x="94" y="33"/>
                  <a:pt x="94" y="33"/>
                  <a:pt x="94" y="32"/>
                </a:cubicBezTo>
                <a:cubicBezTo>
                  <a:pt x="94" y="31"/>
                  <a:pt x="94" y="31"/>
                  <a:pt x="94" y="31"/>
                </a:cubicBezTo>
                <a:cubicBezTo>
                  <a:pt x="93" y="31"/>
                  <a:pt x="93" y="31"/>
                  <a:pt x="93" y="31"/>
                </a:cubicBezTo>
                <a:cubicBezTo>
                  <a:pt x="93" y="32"/>
                  <a:pt x="93" y="32"/>
                  <a:pt x="93" y="34"/>
                </a:cubicBezTo>
                <a:cubicBezTo>
                  <a:pt x="93" y="35"/>
                  <a:pt x="93" y="36"/>
                  <a:pt x="92" y="36"/>
                </a:cubicBezTo>
                <a:cubicBezTo>
                  <a:pt x="92" y="37"/>
                  <a:pt x="92" y="37"/>
                  <a:pt x="92" y="37"/>
                </a:cubicBezTo>
                <a:cubicBezTo>
                  <a:pt x="92" y="37"/>
                  <a:pt x="92" y="38"/>
                  <a:pt x="92" y="39"/>
                </a:cubicBezTo>
                <a:cubicBezTo>
                  <a:pt x="91" y="40"/>
                  <a:pt x="89" y="41"/>
                  <a:pt x="89" y="41"/>
                </a:cubicBezTo>
                <a:cubicBezTo>
                  <a:pt x="89" y="41"/>
                  <a:pt x="89" y="41"/>
                  <a:pt x="88" y="41"/>
                </a:cubicBezTo>
                <a:cubicBezTo>
                  <a:pt x="87" y="41"/>
                  <a:pt x="87" y="41"/>
                  <a:pt x="87" y="41"/>
                </a:cubicBezTo>
                <a:cubicBezTo>
                  <a:pt x="86" y="41"/>
                  <a:pt x="86" y="41"/>
                  <a:pt x="86" y="41"/>
                </a:cubicBezTo>
                <a:cubicBezTo>
                  <a:pt x="85" y="40"/>
                  <a:pt x="85" y="40"/>
                  <a:pt x="85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4" y="41"/>
                  <a:pt x="83" y="43"/>
                  <a:pt x="81" y="43"/>
                </a:cubicBezTo>
                <a:cubicBezTo>
                  <a:pt x="80" y="43"/>
                  <a:pt x="80" y="43"/>
                  <a:pt x="79" y="42"/>
                </a:cubicBezTo>
                <a:cubicBezTo>
                  <a:pt x="77" y="42"/>
                  <a:pt x="77" y="42"/>
                  <a:pt x="77" y="42"/>
                </a:cubicBezTo>
                <a:cubicBezTo>
                  <a:pt x="77" y="42"/>
                  <a:pt x="77" y="42"/>
                  <a:pt x="76" y="42"/>
                </a:cubicBezTo>
                <a:cubicBezTo>
                  <a:pt x="75" y="41"/>
                  <a:pt x="75" y="41"/>
                  <a:pt x="75" y="41"/>
                </a:cubicBezTo>
                <a:cubicBezTo>
                  <a:pt x="73" y="40"/>
                  <a:pt x="73" y="40"/>
                  <a:pt x="73" y="40"/>
                </a:cubicBezTo>
                <a:cubicBezTo>
                  <a:pt x="72" y="40"/>
                  <a:pt x="70" y="40"/>
                  <a:pt x="69" y="39"/>
                </a:cubicBezTo>
                <a:cubicBezTo>
                  <a:pt x="69" y="39"/>
                  <a:pt x="68" y="40"/>
                  <a:pt x="69" y="40"/>
                </a:cubicBezTo>
                <a:cubicBezTo>
                  <a:pt x="70" y="39"/>
                  <a:pt x="70" y="40"/>
                  <a:pt x="71" y="40"/>
                </a:cubicBezTo>
                <a:cubicBezTo>
                  <a:pt x="72" y="41"/>
                  <a:pt x="72" y="41"/>
                  <a:pt x="72" y="41"/>
                </a:cubicBezTo>
                <a:cubicBezTo>
                  <a:pt x="72" y="41"/>
                  <a:pt x="73" y="41"/>
                  <a:pt x="73" y="42"/>
                </a:cubicBezTo>
                <a:cubicBezTo>
                  <a:pt x="74" y="43"/>
                  <a:pt x="74" y="43"/>
                  <a:pt x="74" y="43"/>
                </a:cubicBezTo>
                <a:cubicBezTo>
                  <a:pt x="74" y="46"/>
                  <a:pt x="74" y="46"/>
                  <a:pt x="74" y="46"/>
                </a:cubicBezTo>
                <a:cubicBezTo>
                  <a:pt x="74" y="47"/>
                  <a:pt x="73" y="47"/>
                  <a:pt x="73" y="48"/>
                </a:cubicBezTo>
                <a:cubicBezTo>
                  <a:pt x="73" y="48"/>
                  <a:pt x="72" y="49"/>
                  <a:pt x="71" y="49"/>
                </a:cubicBezTo>
                <a:cubicBezTo>
                  <a:pt x="70" y="49"/>
                  <a:pt x="70" y="50"/>
                  <a:pt x="69" y="50"/>
                </a:cubicBezTo>
                <a:cubicBezTo>
                  <a:pt x="67" y="50"/>
                  <a:pt x="67" y="50"/>
                  <a:pt x="67" y="50"/>
                </a:cubicBezTo>
                <a:cubicBezTo>
                  <a:pt x="64" y="50"/>
                  <a:pt x="64" y="50"/>
                  <a:pt x="64" y="50"/>
                </a:cubicBezTo>
                <a:cubicBezTo>
                  <a:pt x="61" y="51"/>
                  <a:pt x="61" y="51"/>
                  <a:pt x="61" y="51"/>
                </a:cubicBezTo>
                <a:cubicBezTo>
                  <a:pt x="60" y="51"/>
                  <a:pt x="60" y="51"/>
                  <a:pt x="60" y="51"/>
                </a:cubicBezTo>
                <a:cubicBezTo>
                  <a:pt x="59" y="52"/>
                  <a:pt x="59" y="52"/>
                  <a:pt x="59" y="52"/>
                </a:cubicBezTo>
                <a:cubicBezTo>
                  <a:pt x="57" y="52"/>
                  <a:pt x="57" y="52"/>
                  <a:pt x="57" y="52"/>
                </a:cubicBezTo>
                <a:cubicBezTo>
                  <a:pt x="56" y="52"/>
                  <a:pt x="56" y="52"/>
                  <a:pt x="56" y="52"/>
                </a:cubicBezTo>
                <a:cubicBezTo>
                  <a:pt x="54" y="51"/>
                  <a:pt x="54" y="51"/>
                  <a:pt x="54" y="51"/>
                </a:cubicBezTo>
                <a:cubicBezTo>
                  <a:pt x="51" y="50"/>
                  <a:pt x="51" y="50"/>
                  <a:pt x="51" y="50"/>
                </a:cubicBezTo>
                <a:cubicBezTo>
                  <a:pt x="49" y="50"/>
                  <a:pt x="49" y="50"/>
                  <a:pt x="49" y="50"/>
                </a:cubicBezTo>
                <a:cubicBezTo>
                  <a:pt x="48" y="50"/>
                  <a:pt x="48" y="49"/>
                  <a:pt x="47" y="48"/>
                </a:cubicBezTo>
                <a:cubicBezTo>
                  <a:pt x="47" y="45"/>
                  <a:pt x="47" y="45"/>
                  <a:pt x="47" y="45"/>
                </a:cubicBezTo>
                <a:cubicBezTo>
                  <a:pt x="47" y="45"/>
                  <a:pt x="47" y="45"/>
                  <a:pt x="47" y="44"/>
                </a:cubicBezTo>
                <a:cubicBezTo>
                  <a:pt x="47" y="42"/>
                  <a:pt x="47" y="42"/>
                  <a:pt x="47" y="42"/>
                </a:cubicBezTo>
                <a:cubicBezTo>
                  <a:pt x="47" y="41"/>
                  <a:pt x="47" y="41"/>
                  <a:pt x="47" y="40"/>
                </a:cubicBezTo>
                <a:cubicBezTo>
                  <a:pt x="49" y="39"/>
                  <a:pt x="49" y="39"/>
                  <a:pt x="49" y="39"/>
                </a:cubicBezTo>
                <a:cubicBezTo>
                  <a:pt x="52" y="38"/>
                  <a:pt x="52" y="38"/>
                  <a:pt x="52" y="38"/>
                </a:cubicBezTo>
                <a:cubicBezTo>
                  <a:pt x="52" y="37"/>
                  <a:pt x="52" y="37"/>
                  <a:pt x="52" y="37"/>
                </a:cubicBezTo>
                <a:cubicBezTo>
                  <a:pt x="51" y="37"/>
                  <a:pt x="51" y="37"/>
                  <a:pt x="51" y="36"/>
                </a:cubicBezTo>
                <a:cubicBezTo>
                  <a:pt x="50" y="36"/>
                  <a:pt x="50" y="36"/>
                  <a:pt x="50" y="36"/>
                </a:cubicBezTo>
                <a:cubicBezTo>
                  <a:pt x="49" y="37"/>
                  <a:pt x="49" y="37"/>
                  <a:pt x="48" y="37"/>
                </a:cubicBezTo>
                <a:cubicBezTo>
                  <a:pt x="47" y="37"/>
                  <a:pt x="47" y="37"/>
                  <a:pt x="47" y="37"/>
                </a:cubicBezTo>
                <a:cubicBezTo>
                  <a:pt x="46" y="37"/>
                  <a:pt x="46" y="37"/>
                  <a:pt x="46" y="38"/>
                </a:cubicBezTo>
                <a:cubicBezTo>
                  <a:pt x="46" y="41"/>
                  <a:pt x="46" y="41"/>
                  <a:pt x="46" y="41"/>
                </a:cubicBezTo>
                <a:cubicBezTo>
                  <a:pt x="46" y="43"/>
                  <a:pt x="45" y="43"/>
                  <a:pt x="44" y="43"/>
                </a:cubicBezTo>
                <a:cubicBezTo>
                  <a:pt x="43" y="43"/>
                  <a:pt x="42" y="43"/>
                  <a:pt x="38" y="42"/>
                </a:cubicBezTo>
                <a:cubicBezTo>
                  <a:pt x="38" y="41"/>
                  <a:pt x="38" y="41"/>
                  <a:pt x="37" y="40"/>
                </a:cubicBezTo>
                <a:cubicBezTo>
                  <a:pt x="37" y="38"/>
                  <a:pt x="37" y="38"/>
                  <a:pt x="37" y="38"/>
                </a:cubicBezTo>
                <a:cubicBezTo>
                  <a:pt x="34" y="37"/>
                  <a:pt x="34" y="37"/>
                  <a:pt x="34" y="37"/>
                </a:cubicBezTo>
                <a:cubicBezTo>
                  <a:pt x="33" y="37"/>
                  <a:pt x="32" y="37"/>
                  <a:pt x="32" y="37"/>
                </a:cubicBezTo>
                <a:cubicBezTo>
                  <a:pt x="32" y="37"/>
                  <a:pt x="32" y="37"/>
                  <a:pt x="32" y="38"/>
                </a:cubicBezTo>
                <a:cubicBezTo>
                  <a:pt x="32" y="40"/>
                  <a:pt x="32" y="40"/>
                  <a:pt x="32" y="40"/>
                </a:cubicBezTo>
                <a:cubicBezTo>
                  <a:pt x="32" y="40"/>
                  <a:pt x="32" y="40"/>
                  <a:pt x="32" y="41"/>
                </a:cubicBezTo>
                <a:cubicBezTo>
                  <a:pt x="32" y="42"/>
                  <a:pt x="32" y="42"/>
                  <a:pt x="32" y="42"/>
                </a:cubicBezTo>
                <a:cubicBezTo>
                  <a:pt x="31" y="45"/>
                  <a:pt x="31" y="45"/>
                  <a:pt x="31" y="45"/>
                </a:cubicBezTo>
                <a:cubicBezTo>
                  <a:pt x="31" y="45"/>
                  <a:pt x="31" y="46"/>
                  <a:pt x="30" y="47"/>
                </a:cubicBezTo>
                <a:cubicBezTo>
                  <a:pt x="31" y="47"/>
                  <a:pt x="31" y="48"/>
                  <a:pt x="32" y="48"/>
                </a:cubicBezTo>
                <a:cubicBezTo>
                  <a:pt x="33" y="49"/>
                  <a:pt x="33" y="49"/>
                  <a:pt x="33" y="49"/>
                </a:cubicBezTo>
                <a:cubicBezTo>
                  <a:pt x="33" y="49"/>
                  <a:pt x="33" y="49"/>
                  <a:pt x="34" y="49"/>
                </a:cubicBezTo>
                <a:cubicBezTo>
                  <a:pt x="34" y="50"/>
                  <a:pt x="36" y="51"/>
                  <a:pt x="35" y="52"/>
                </a:cubicBezTo>
                <a:cubicBezTo>
                  <a:pt x="35" y="53"/>
                  <a:pt x="36" y="53"/>
                  <a:pt x="36" y="54"/>
                </a:cubicBezTo>
                <a:cubicBezTo>
                  <a:pt x="37" y="55"/>
                  <a:pt x="37" y="55"/>
                  <a:pt x="37" y="56"/>
                </a:cubicBezTo>
                <a:cubicBezTo>
                  <a:pt x="37" y="56"/>
                  <a:pt x="37" y="56"/>
                  <a:pt x="39" y="58"/>
                </a:cubicBezTo>
                <a:cubicBezTo>
                  <a:pt x="39" y="58"/>
                  <a:pt x="41" y="60"/>
                  <a:pt x="40" y="62"/>
                </a:cubicBezTo>
                <a:cubicBezTo>
                  <a:pt x="39" y="62"/>
                  <a:pt x="39" y="62"/>
                  <a:pt x="39" y="62"/>
                </a:cubicBezTo>
                <a:cubicBezTo>
                  <a:pt x="39" y="64"/>
                  <a:pt x="39" y="64"/>
                  <a:pt x="39" y="64"/>
                </a:cubicBezTo>
                <a:cubicBezTo>
                  <a:pt x="39" y="66"/>
                  <a:pt x="39" y="68"/>
                  <a:pt x="38" y="68"/>
                </a:cubicBezTo>
                <a:cubicBezTo>
                  <a:pt x="37" y="69"/>
                  <a:pt x="36" y="69"/>
                  <a:pt x="36" y="69"/>
                </a:cubicBezTo>
                <a:cubicBezTo>
                  <a:pt x="35" y="69"/>
                  <a:pt x="35" y="70"/>
                  <a:pt x="34" y="70"/>
                </a:cubicBezTo>
                <a:cubicBezTo>
                  <a:pt x="34" y="70"/>
                  <a:pt x="33" y="71"/>
                  <a:pt x="31" y="70"/>
                </a:cubicBezTo>
                <a:cubicBezTo>
                  <a:pt x="30" y="71"/>
                  <a:pt x="29" y="71"/>
                  <a:pt x="28" y="71"/>
                </a:cubicBezTo>
                <a:cubicBezTo>
                  <a:pt x="27" y="72"/>
                  <a:pt x="27" y="72"/>
                  <a:pt x="27" y="72"/>
                </a:cubicBezTo>
                <a:cubicBezTo>
                  <a:pt x="26" y="73"/>
                  <a:pt x="26" y="73"/>
                  <a:pt x="25" y="73"/>
                </a:cubicBezTo>
                <a:cubicBezTo>
                  <a:pt x="25" y="73"/>
                  <a:pt x="25" y="73"/>
                  <a:pt x="25" y="74"/>
                </a:cubicBezTo>
                <a:cubicBezTo>
                  <a:pt x="25" y="75"/>
                  <a:pt x="24" y="76"/>
                  <a:pt x="23" y="76"/>
                </a:cubicBezTo>
                <a:cubicBezTo>
                  <a:pt x="22" y="77"/>
                  <a:pt x="21" y="76"/>
                  <a:pt x="21" y="76"/>
                </a:cubicBezTo>
                <a:cubicBezTo>
                  <a:pt x="18" y="76"/>
                  <a:pt x="18" y="76"/>
                  <a:pt x="18" y="76"/>
                </a:cubicBezTo>
                <a:cubicBezTo>
                  <a:pt x="16" y="77"/>
                  <a:pt x="16" y="77"/>
                  <a:pt x="16" y="77"/>
                </a:cubicBezTo>
                <a:cubicBezTo>
                  <a:pt x="16" y="78"/>
                  <a:pt x="16" y="78"/>
                  <a:pt x="16" y="78"/>
                </a:cubicBezTo>
                <a:cubicBezTo>
                  <a:pt x="15" y="79"/>
                  <a:pt x="15" y="79"/>
                  <a:pt x="14" y="79"/>
                </a:cubicBezTo>
                <a:cubicBezTo>
                  <a:pt x="11" y="79"/>
                  <a:pt x="11" y="79"/>
                  <a:pt x="11" y="79"/>
                </a:cubicBezTo>
                <a:cubicBezTo>
                  <a:pt x="9" y="80"/>
                  <a:pt x="9" y="80"/>
                  <a:pt x="9" y="80"/>
                </a:cubicBezTo>
                <a:cubicBezTo>
                  <a:pt x="8" y="81"/>
                  <a:pt x="8" y="81"/>
                  <a:pt x="8" y="81"/>
                </a:cubicBezTo>
                <a:cubicBezTo>
                  <a:pt x="6" y="83"/>
                  <a:pt x="5" y="84"/>
                  <a:pt x="4" y="84"/>
                </a:cubicBezTo>
                <a:cubicBezTo>
                  <a:pt x="4" y="85"/>
                  <a:pt x="2" y="86"/>
                  <a:pt x="2" y="88"/>
                </a:cubicBezTo>
                <a:cubicBezTo>
                  <a:pt x="1" y="88"/>
                  <a:pt x="1" y="90"/>
                  <a:pt x="2" y="92"/>
                </a:cubicBezTo>
                <a:cubicBezTo>
                  <a:pt x="2" y="92"/>
                  <a:pt x="2" y="92"/>
                  <a:pt x="2" y="93"/>
                </a:cubicBezTo>
                <a:cubicBezTo>
                  <a:pt x="2" y="93"/>
                  <a:pt x="1" y="96"/>
                  <a:pt x="1" y="99"/>
                </a:cubicBezTo>
                <a:cubicBezTo>
                  <a:pt x="1" y="99"/>
                  <a:pt x="1" y="99"/>
                  <a:pt x="0" y="100"/>
                </a:cubicBezTo>
                <a:cubicBezTo>
                  <a:pt x="1" y="100"/>
                  <a:pt x="1" y="100"/>
                  <a:pt x="1" y="101"/>
                </a:cubicBezTo>
                <a:cubicBezTo>
                  <a:pt x="1" y="101"/>
                  <a:pt x="1" y="103"/>
                  <a:pt x="1" y="106"/>
                </a:cubicBezTo>
                <a:cubicBezTo>
                  <a:pt x="1" y="108"/>
                  <a:pt x="1" y="108"/>
                  <a:pt x="1" y="109"/>
                </a:cubicBezTo>
                <a:cubicBezTo>
                  <a:pt x="1" y="110"/>
                  <a:pt x="1" y="111"/>
                  <a:pt x="1" y="112"/>
                </a:cubicBezTo>
                <a:cubicBezTo>
                  <a:pt x="1" y="112"/>
                  <a:pt x="1" y="112"/>
                  <a:pt x="1" y="113"/>
                </a:cubicBezTo>
                <a:cubicBezTo>
                  <a:pt x="1" y="113"/>
                  <a:pt x="1" y="114"/>
                  <a:pt x="1" y="115"/>
                </a:cubicBezTo>
                <a:cubicBezTo>
                  <a:pt x="1" y="116"/>
                  <a:pt x="1" y="117"/>
                  <a:pt x="1" y="119"/>
                </a:cubicBezTo>
                <a:cubicBezTo>
                  <a:pt x="1" y="120"/>
                  <a:pt x="2" y="121"/>
                  <a:pt x="2" y="121"/>
                </a:cubicBezTo>
                <a:cubicBezTo>
                  <a:pt x="2" y="121"/>
                  <a:pt x="2" y="121"/>
                  <a:pt x="2" y="122"/>
                </a:cubicBezTo>
                <a:cubicBezTo>
                  <a:pt x="2" y="129"/>
                  <a:pt x="2" y="129"/>
                  <a:pt x="2" y="129"/>
                </a:cubicBezTo>
                <a:cubicBezTo>
                  <a:pt x="3" y="129"/>
                  <a:pt x="3" y="129"/>
                  <a:pt x="3" y="130"/>
                </a:cubicBezTo>
                <a:cubicBezTo>
                  <a:pt x="4" y="130"/>
                  <a:pt x="4" y="130"/>
                  <a:pt x="4" y="130"/>
                </a:cubicBezTo>
                <a:cubicBezTo>
                  <a:pt x="8" y="124"/>
                  <a:pt x="8" y="124"/>
                  <a:pt x="8" y="124"/>
                </a:cubicBezTo>
                <a:cubicBezTo>
                  <a:pt x="30" y="100"/>
                  <a:pt x="30" y="100"/>
                  <a:pt x="30" y="100"/>
                </a:cubicBezTo>
                <a:cubicBezTo>
                  <a:pt x="33" y="97"/>
                  <a:pt x="33" y="97"/>
                  <a:pt x="33" y="97"/>
                </a:cubicBezTo>
                <a:cubicBezTo>
                  <a:pt x="44" y="88"/>
                  <a:pt x="44" y="88"/>
                  <a:pt x="44" y="88"/>
                </a:cubicBezTo>
                <a:cubicBezTo>
                  <a:pt x="45" y="89"/>
                  <a:pt x="45" y="89"/>
                  <a:pt x="45" y="89"/>
                </a:cubicBezTo>
                <a:cubicBezTo>
                  <a:pt x="46" y="91"/>
                  <a:pt x="46" y="91"/>
                  <a:pt x="46" y="91"/>
                </a:cubicBezTo>
                <a:cubicBezTo>
                  <a:pt x="47" y="92"/>
                  <a:pt x="47" y="92"/>
                  <a:pt x="47" y="92"/>
                </a:cubicBezTo>
                <a:cubicBezTo>
                  <a:pt x="47" y="94"/>
                  <a:pt x="47" y="94"/>
                  <a:pt x="47" y="94"/>
                </a:cubicBezTo>
                <a:cubicBezTo>
                  <a:pt x="46" y="95"/>
                  <a:pt x="46" y="95"/>
                  <a:pt x="46" y="95"/>
                </a:cubicBezTo>
                <a:cubicBezTo>
                  <a:pt x="45" y="97"/>
                  <a:pt x="45" y="97"/>
                  <a:pt x="45" y="97"/>
                </a:cubicBezTo>
                <a:cubicBezTo>
                  <a:pt x="43" y="98"/>
                  <a:pt x="43" y="98"/>
                  <a:pt x="43" y="98"/>
                </a:cubicBezTo>
                <a:cubicBezTo>
                  <a:pt x="38" y="99"/>
                  <a:pt x="38" y="99"/>
                  <a:pt x="38" y="99"/>
                </a:cubicBezTo>
                <a:cubicBezTo>
                  <a:pt x="36" y="100"/>
                  <a:pt x="36" y="100"/>
                  <a:pt x="36" y="100"/>
                </a:cubicBezTo>
                <a:cubicBezTo>
                  <a:pt x="35" y="101"/>
                  <a:pt x="35" y="101"/>
                  <a:pt x="35" y="101"/>
                </a:cubicBezTo>
                <a:cubicBezTo>
                  <a:pt x="32" y="102"/>
                  <a:pt x="32" y="102"/>
                  <a:pt x="32" y="102"/>
                </a:cubicBezTo>
                <a:cubicBezTo>
                  <a:pt x="20" y="119"/>
                  <a:pt x="20" y="119"/>
                  <a:pt x="20" y="119"/>
                </a:cubicBezTo>
                <a:cubicBezTo>
                  <a:pt x="13" y="130"/>
                  <a:pt x="8" y="137"/>
                  <a:pt x="7" y="139"/>
                </a:cubicBezTo>
                <a:cubicBezTo>
                  <a:pt x="17" y="143"/>
                  <a:pt x="17" y="143"/>
                  <a:pt x="17" y="143"/>
                </a:cubicBezTo>
                <a:cubicBezTo>
                  <a:pt x="20" y="146"/>
                  <a:pt x="20" y="146"/>
                  <a:pt x="20" y="146"/>
                </a:cubicBezTo>
                <a:cubicBezTo>
                  <a:pt x="25" y="149"/>
                  <a:pt x="25" y="149"/>
                  <a:pt x="25" y="149"/>
                </a:cubicBezTo>
                <a:cubicBezTo>
                  <a:pt x="27" y="150"/>
                  <a:pt x="30" y="150"/>
                  <a:pt x="31" y="151"/>
                </a:cubicBezTo>
                <a:cubicBezTo>
                  <a:pt x="33" y="152"/>
                  <a:pt x="32" y="154"/>
                  <a:pt x="32" y="155"/>
                </a:cubicBezTo>
                <a:cubicBezTo>
                  <a:pt x="32" y="156"/>
                  <a:pt x="32" y="156"/>
                  <a:pt x="32" y="156"/>
                </a:cubicBezTo>
                <a:cubicBezTo>
                  <a:pt x="32" y="158"/>
                  <a:pt x="32" y="160"/>
                  <a:pt x="30" y="164"/>
                </a:cubicBezTo>
                <a:cubicBezTo>
                  <a:pt x="30" y="165"/>
                  <a:pt x="30" y="165"/>
                  <a:pt x="30" y="165"/>
                </a:cubicBezTo>
                <a:cubicBezTo>
                  <a:pt x="30" y="165"/>
                  <a:pt x="30" y="165"/>
                  <a:pt x="30" y="166"/>
                </a:cubicBezTo>
                <a:cubicBezTo>
                  <a:pt x="30" y="168"/>
                  <a:pt x="30" y="171"/>
                  <a:pt x="28" y="174"/>
                </a:cubicBezTo>
                <a:cubicBezTo>
                  <a:pt x="29" y="174"/>
                  <a:pt x="32" y="173"/>
                  <a:pt x="33" y="174"/>
                </a:cubicBezTo>
                <a:cubicBezTo>
                  <a:pt x="34" y="174"/>
                  <a:pt x="35" y="174"/>
                  <a:pt x="36" y="174"/>
                </a:cubicBezTo>
                <a:cubicBezTo>
                  <a:pt x="38" y="175"/>
                  <a:pt x="39" y="177"/>
                  <a:pt x="40" y="177"/>
                </a:cubicBezTo>
                <a:cubicBezTo>
                  <a:pt x="40" y="178"/>
                  <a:pt x="40" y="178"/>
                  <a:pt x="40" y="178"/>
                </a:cubicBezTo>
                <a:cubicBezTo>
                  <a:pt x="41" y="178"/>
                  <a:pt x="41" y="178"/>
                  <a:pt x="41" y="178"/>
                </a:cubicBezTo>
                <a:cubicBezTo>
                  <a:pt x="43" y="177"/>
                  <a:pt x="44" y="177"/>
                  <a:pt x="44" y="177"/>
                </a:cubicBezTo>
                <a:cubicBezTo>
                  <a:pt x="44" y="177"/>
                  <a:pt x="44" y="177"/>
                  <a:pt x="45" y="178"/>
                </a:cubicBezTo>
                <a:cubicBezTo>
                  <a:pt x="45" y="178"/>
                  <a:pt x="46" y="178"/>
                  <a:pt x="47" y="177"/>
                </a:cubicBezTo>
                <a:cubicBezTo>
                  <a:pt x="48" y="177"/>
                  <a:pt x="48" y="177"/>
                  <a:pt x="48" y="177"/>
                </a:cubicBezTo>
                <a:cubicBezTo>
                  <a:pt x="49" y="176"/>
                  <a:pt x="49" y="176"/>
                  <a:pt x="49" y="176"/>
                </a:cubicBezTo>
                <a:cubicBezTo>
                  <a:pt x="49" y="176"/>
                  <a:pt x="50" y="175"/>
                  <a:pt x="51" y="175"/>
                </a:cubicBezTo>
                <a:cubicBezTo>
                  <a:pt x="51" y="175"/>
                  <a:pt x="53" y="176"/>
                  <a:pt x="54" y="175"/>
                </a:cubicBezTo>
                <a:cubicBezTo>
                  <a:pt x="55" y="175"/>
                  <a:pt x="55" y="175"/>
                  <a:pt x="56" y="175"/>
                </a:cubicBezTo>
                <a:cubicBezTo>
                  <a:pt x="57" y="174"/>
                  <a:pt x="59" y="175"/>
                  <a:pt x="59" y="175"/>
                </a:cubicBezTo>
                <a:cubicBezTo>
                  <a:pt x="60" y="175"/>
                  <a:pt x="60" y="175"/>
                  <a:pt x="60" y="175"/>
                </a:cubicBezTo>
                <a:cubicBezTo>
                  <a:pt x="62" y="174"/>
                  <a:pt x="64" y="174"/>
                  <a:pt x="65" y="175"/>
                </a:cubicBezTo>
                <a:cubicBezTo>
                  <a:pt x="65" y="173"/>
                  <a:pt x="65" y="173"/>
                  <a:pt x="65" y="173"/>
                </a:cubicBezTo>
                <a:cubicBezTo>
                  <a:pt x="64" y="173"/>
                  <a:pt x="63" y="172"/>
                  <a:pt x="63" y="171"/>
                </a:cubicBezTo>
                <a:cubicBezTo>
                  <a:pt x="62" y="170"/>
                  <a:pt x="62" y="170"/>
                  <a:pt x="62" y="170"/>
                </a:cubicBezTo>
                <a:cubicBezTo>
                  <a:pt x="61" y="170"/>
                  <a:pt x="59" y="169"/>
                  <a:pt x="59" y="169"/>
                </a:cubicBezTo>
                <a:cubicBezTo>
                  <a:pt x="56" y="168"/>
                  <a:pt x="54" y="166"/>
                  <a:pt x="54" y="164"/>
                </a:cubicBezTo>
                <a:cubicBezTo>
                  <a:pt x="54" y="163"/>
                  <a:pt x="54" y="162"/>
                  <a:pt x="58" y="160"/>
                </a:cubicBezTo>
                <a:cubicBezTo>
                  <a:pt x="60" y="159"/>
                  <a:pt x="62" y="157"/>
                  <a:pt x="62" y="157"/>
                </a:cubicBezTo>
                <a:cubicBezTo>
                  <a:pt x="63" y="155"/>
                  <a:pt x="65" y="156"/>
                  <a:pt x="67" y="156"/>
                </a:cubicBezTo>
                <a:cubicBezTo>
                  <a:pt x="66" y="155"/>
                  <a:pt x="66" y="154"/>
                  <a:pt x="66" y="154"/>
                </a:cubicBezTo>
                <a:cubicBezTo>
                  <a:pt x="65" y="151"/>
                  <a:pt x="65" y="151"/>
                  <a:pt x="65" y="151"/>
                </a:cubicBezTo>
                <a:cubicBezTo>
                  <a:pt x="65" y="149"/>
                  <a:pt x="65" y="149"/>
                  <a:pt x="65" y="149"/>
                </a:cubicBezTo>
                <a:cubicBezTo>
                  <a:pt x="65" y="149"/>
                  <a:pt x="65" y="145"/>
                  <a:pt x="65" y="142"/>
                </a:cubicBezTo>
                <a:cubicBezTo>
                  <a:pt x="65" y="142"/>
                  <a:pt x="65" y="140"/>
                  <a:pt x="66" y="140"/>
                </a:cubicBezTo>
                <a:cubicBezTo>
                  <a:pt x="67" y="139"/>
                  <a:pt x="68" y="140"/>
                  <a:pt x="69" y="140"/>
                </a:cubicBezTo>
                <a:cubicBezTo>
                  <a:pt x="69" y="140"/>
                  <a:pt x="69" y="139"/>
                  <a:pt x="70" y="139"/>
                </a:cubicBezTo>
                <a:cubicBezTo>
                  <a:pt x="70" y="138"/>
                  <a:pt x="71" y="138"/>
                  <a:pt x="71" y="137"/>
                </a:cubicBezTo>
                <a:cubicBezTo>
                  <a:pt x="72" y="135"/>
                  <a:pt x="72" y="135"/>
                  <a:pt x="72" y="135"/>
                </a:cubicBezTo>
                <a:cubicBezTo>
                  <a:pt x="73" y="133"/>
                  <a:pt x="75" y="133"/>
                  <a:pt x="77" y="134"/>
                </a:cubicBezTo>
                <a:cubicBezTo>
                  <a:pt x="79" y="133"/>
                  <a:pt x="80" y="134"/>
                  <a:pt x="81" y="134"/>
                </a:cubicBezTo>
                <a:cubicBezTo>
                  <a:pt x="82" y="133"/>
                  <a:pt x="84" y="134"/>
                  <a:pt x="85" y="134"/>
                </a:cubicBezTo>
                <a:cubicBezTo>
                  <a:pt x="86" y="134"/>
                  <a:pt x="87" y="134"/>
                  <a:pt x="88" y="134"/>
                </a:cubicBezTo>
                <a:cubicBezTo>
                  <a:pt x="87" y="132"/>
                  <a:pt x="87" y="132"/>
                  <a:pt x="87" y="132"/>
                </a:cubicBezTo>
                <a:cubicBezTo>
                  <a:pt x="86" y="131"/>
                  <a:pt x="86" y="131"/>
                  <a:pt x="86" y="130"/>
                </a:cubicBezTo>
                <a:cubicBezTo>
                  <a:pt x="86" y="128"/>
                  <a:pt x="86" y="128"/>
                  <a:pt x="86" y="128"/>
                </a:cubicBezTo>
                <a:cubicBezTo>
                  <a:pt x="86" y="127"/>
                  <a:pt x="86" y="127"/>
                  <a:pt x="86" y="127"/>
                </a:cubicBezTo>
                <a:cubicBezTo>
                  <a:pt x="89" y="122"/>
                  <a:pt x="89" y="122"/>
                  <a:pt x="89" y="122"/>
                </a:cubicBezTo>
                <a:cubicBezTo>
                  <a:pt x="90" y="121"/>
                  <a:pt x="91" y="120"/>
                  <a:pt x="91" y="120"/>
                </a:cubicBezTo>
                <a:cubicBezTo>
                  <a:pt x="92" y="120"/>
                  <a:pt x="92" y="120"/>
                  <a:pt x="92" y="120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98" y="119"/>
                  <a:pt x="98" y="119"/>
                  <a:pt x="98" y="119"/>
                </a:cubicBezTo>
                <a:cubicBezTo>
                  <a:pt x="98" y="118"/>
                  <a:pt x="98" y="118"/>
                  <a:pt x="99" y="118"/>
                </a:cubicBezTo>
                <a:cubicBezTo>
                  <a:pt x="101" y="117"/>
                  <a:pt x="101" y="117"/>
                  <a:pt x="101" y="117"/>
                </a:cubicBezTo>
                <a:cubicBezTo>
                  <a:pt x="103" y="115"/>
                  <a:pt x="103" y="115"/>
                  <a:pt x="103" y="115"/>
                </a:cubicBezTo>
                <a:cubicBezTo>
                  <a:pt x="104" y="115"/>
                  <a:pt x="104" y="115"/>
                  <a:pt x="104" y="115"/>
                </a:cubicBezTo>
                <a:cubicBezTo>
                  <a:pt x="104" y="112"/>
                  <a:pt x="104" y="112"/>
                  <a:pt x="104" y="112"/>
                </a:cubicBezTo>
                <a:cubicBezTo>
                  <a:pt x="105" y="111"/>
                  <a:pt x="105" y="111"/>
                  <a:pt x="105" y="110"/>
                </a:cubicBezTo>
                <a:cubicBezTo>
                  <a:pt x="106" y="110"/>
                  <a:pt x="106" y="110"/>
                  <a:pt x="107" y="110"/>
                </a:cubicBezTo>
                <a:cubicBezTo>
                  <a:pt x="107" y="110"/>
                  <a:pt x="110" y="111"/>
                  <a:pt x="111" y="112"/>
                </a:cubicBezTo>
                <a:cubicBezTo>
                  <a:pt x="112" y="113"/>
                  <a:pt x="112" y="113"/>
                  <a:pt x="113" y="113"/>
                </a:cubicBezTo>
                <a:cubicBezTo>
                  <a:pt x="113" y="114"/>
                  <a:pt x="113" y="114"/>
                  <a:pt x="114" y="115"/>
                </a:cubicBezTo>
                <a:cubicBezTo>
                  <a:pt x="115" y="115"/>
                  <a:pt x="116" y="115"/>
                  <a:pt x="117" y="116"/>
                </a:cubicBezTo>
                <a:cubicBezTo>
                  <a:pt x="117" y="116"/>
                  <a:pt x="117" y="117"/>
                  <a:pt x="119" y="118"/>
                </a:cubicBezTo>
                <a:cubicBezTo>
                  <a:pt x="120" y="119"/>
                  <a:pt x="121" y="119"/>
                  <a:pt x="121" y="120"/>
                </a:cubicBezTo>
                <a:cubicBezTo>
                  <a:pt x="122" y="120"/>
                  <a:pt x="123" y="121"/>
                  <a:pt x="125" y="122"/>
                </a:cubicBezTo>
                <a:cubicBezTo>
                  <a:pt x="126" y="122"/>
                  <a:pt x="126" y="122"/>
                  <a:pt x="126" y="123"/>
                </a:cubicBezTo>
                <a:cubicBezTo>
                  <a:pt x="127" y="123"/>
                  <a:pt x="127" y="123"/>
                  <a:pt x="127" y="123"/>
                </a:cubicBezTo>
                <a:cubicBezTo>
                  <a:pt x="128" y="123"/>
                  <a:pt x="128" y="123"/>
                  <a:pt x="128" y="123"/>
                </a:cubicBezTo>
                <a:cubicBezTo>
                  <a:pt x="128" y="124"/>
                  <a:pt x="129" y="124"/>
                  <a:pt x="129" y="124"/>
                </a:cubicBezTo>
                <a:cubicBezTo>
                  <a:pt x="130" y="124"/>
                  <a:pt x="130" y="124"/>
                  <a:pt x="130" y="124"/>
                </a:cubicBezTo>
                <a:cubicBezTo>
                  <a:pt x="130" y="122"/>
                  <a:pt x="130" y="122"/>
                  <a:pt x="130" y="122"/>
                </a:cubicBezTo>
                <a:cubicBezTo>
                  <a:pt x="130" y="121"/>
                  <a:pt x="130" y="121"/>
                  <a:pt x="130" y="121"/>
                </a:cubicBezTo>
                <a:cubicBezTo>
                  <a:pt x="129" y="121"/>
                  <a:pt x="129" y="120"/>
                  <a:pt x="129" y="120"/>
                </a:cubicBezTo>
                <a:cubicBezTo>
                  <a:pt x="129" y="120"/>
                  <a:pt x="130" y="117"/>
                  <a:pt x="133" y="115"/>
                </a:cubicBezTo>
                <a:cubicBezTo>
                  <a:pt x="134" y="114"/>
                  <a:pt x="135" y="115"/>
                  <a:pt x="136" y="115"/>
                </a:cubicBezTo>
                <a:cubicBezTo>
                  <a:pt x="137" y="116"/>
                  <a:pt x="137" y="117"/>
                  <a:pt x="137" y="120"/>
                </a:cubicBezTo>
                <a:cubicBezTo>
                  <a:pt x="137" y="120"/>
                  <a:pt x="138" y="121"/>
                  <a:pt x="139" y="122"/>
                </a:cubicBezTo>
                <a:cubicBezTo>
                  <a:pt x="139" y="122"/>
                  <a:pt x="139" y="122"/>
                  <a:pt x="139" y="121"/>
                </a:cubicBezTo>
                <a:cubicBezTo>
                  <a:pt x="139" y="120"/>
                  <a:pt x="139" y="120"/>
                  <a:pt x="139" y="120"/>
                </a:cubicBezTo>
                <a:cubicBezTo>
                  <a:pt x="139" y="119"/>
                  <a:pt x="140" y="118"/>
                  <a:pt x="140" y="117"/>
                </a:cubicBezTo>
                <a:cubicBezTo>
                  <a:pt x="140" y="117"/>
                  <a:pt x="140" y="117"/>
                  <a:pt x="141" y="117"/>
                </a:cubicBezTo>
                <a:cubicBezTo>
                  <a:pt x="141" y="117"/>
                  <a:pt x="141" y="116"/>
                  <a:pt x="142" y="115"/>
                </a:cubicBezTo>
                <a:cubicBezTo>
                  <a:pt x="142" y="112"/>
                  <a:pt x="142" y="112"/>
                  <a:pt x="142" y="112"/>
                </a:cubicBezTo>
                <a:cubicBezTo>
                  <a:pt x="142" y="111"/>
                  <a:pt x="142" y="110"/>
                  <a:pt x="143" y="110"/>
                </a:cubicBezTo>
                <a:cubicBezTo>
                  <a:pt x="144" y="109"/>
                  <a:pt x="145" y="110"/>
                  <a:pt x="145" y="110"/>
                </a:cubicBezTo>
                <a:cubicBezTo>
                  <a:pt x="148" y="114"/>
                  <a:pt x="148" y="114"/>
                  <a:pt x="148" y="114"/>
                </a:cubicBezTo>
                <a:cubicBezTo>
                  <a:pt x="148" y="115"/>
                  <a:pt x="148" y="115"/>
                  <a:pt x="148" y="115"/>
                </a:cubicBezTo>
                <a:cubicBezTo>
                  <a:pt x="148" y="115"/>
                  <a:pt x="148" y="116"/>
                  <a:pt x="149" y="117"/>
                </a:cubicBezTo>
                <a:cubicBezTo>
                  <a:pt x="149" y="118"/>
                  <a:pt x="150" y="119"/>
                  <a:pt x="150" y="119"/>
                </a:cubicBezTo>
                <a:cubicBezTo>
                  <a:pt x="151" y="119"/>
                  <a:pt x="151" y="120"/>
                  <a:pt x="151" y="121"/>
                </a:cubicBezTo>
                <a:cubicBezTo>
                  <a:pt x="152" y="120"/>
                  <a:pt x="152" y="120"/>
                  <a:pt x="153" y="120"/>
                </a:cubicBezTo>
                <a:cubicBezTo>
                  <a:pt x="155" y="119"/>
                  <a:pt x="156" y="119"/>
                  <a:pt x="157" y="120"/>
                </a:cubicBezTo>
                <a:cubicBezTo>
                  <a:pt x="158" y="120"/>
                  <a:pt x="159" y="120"/>
                  <a:pt x="160" y="120"/>
                </a:cubicBezTo>
                <a:cubicBezTo>
                  <a:pt x="161" y="119"/>
                  <a:pt x="163" y="120"/>
                  <a:pt x="164" y="120"/>
                </a:cubicBezTo>
                <a:cubicBezTo>
                  <a:pt x="166" y="119"/>
                  <a:pt x="166" y="119"/>
                  <a:pt x="166" y="119"/>
                </a:cubicBezTo>
                <a:cubicBezTo>
                  <a:pt x="168" y="118"/>
                  <a:pt x="168" y="118"/>
                  <a:pt x="168" y="118"/>
                </a:cubicBezTo>
                <a:cubicBezTo>
                  <a:pt x="168" y="117"/>
                  <a:pt x="168" y="117"/>
                  <a:pt x="168" y="117"/>
                </a:cubicBezTo>
                <a:cubicBezTo>
                  <a:pt x="168" y="117"/>
                  <a:pt x="168" y="117"/>
                  <a:pt x="167" y="116"/>
                </a:cubicBezTo>
                <a:cubicBezTo>
                  <a:pt x="166" y="115"/>
                  <a:pt x="166" y="115"/>
                  <a:pt x="166" y="115"/>
                </a:cubicBezTo>
                <a:cubicBezTo>
                  <a:pt x="165" y="115"/>
                  <a:pt x="164" y="114"/>
                  <a:pt x="164" y="112"/>
                </a:cubicBezTo>
                <a:cubicBezTo>
                  <a:pt x="163" y="110"/>
                  <a:pt x="163" y="108"/>
                  <a:pt x="163" y="107"/>
                </a:cubicBezTo>
                <a:cubicBezTo>
                  <a:pt x="163" y="107"/>
                  <a:pt x="163" y="105"/>
                  <a:pt x="163" y="104"/>
                </a:cubicBezTo>
                <a:cubicBezTo>
                  <a:pt x="162" y="102"/>
                  <a:pt x="162" y="98"/>
                  <a:pt x="162" y="98"/>
                </a:cubicBezTo>
                <a:cubicBezTo>
                  <a:pt x="162" y="97"/>
                  <a:pt x="162" y="97"/>
                  <a:pt x="162" y="97"/>
                </a:cubicBezTo>
                <a:cubicBezTo>
                  <a:pt x="161" y="96"/>
                  <a:pt x="161" y="96"/>
                  <a:pt x="161" y="96"/>
                </a:cubicBezTo>
                <a:cubicBezTo>
                  <a:pt x="160" y="95"/>
                  <a:pt x="160" y="95"/>
                  <a:pt x="160" y="94"/>
                </a:cubicBezTo>
                <a:cubicBezTo>
                  <a:pt x="160" y="92"/>
                  <a:pt x="160" y="92"/>
                  <a:pt x="160" y="92"/>
                </a:cubicBezTo>
                <a:cubicBezTo>
                  <a:pt x="160" y="91"/>
                  <a:pt x="160" y="91"/>
                  <a:pt x="160" y="91"/>
                </a:cubicBezTo>
                <a:cubicBezTo>
                  <a:pt x="163" y="88"/>
                  <a:pt x="163" y="88"/>
                  <a:pt x="163" y="88"/>
                </a:cubicBezTo>
                <a:cubicBezTo>
                  <a:pt x="163" y="87"/>
                  <a:pt x="163" y="87"/>
                  <a:pt x="163" y="87"/>
                </a:cubicBezTo>
                <a:cubicBezTo>
                  <a:pt x="164" y="85"/>
                  <a:pt x="164" y="85"/>
                  <a:pt x="164" y="85"/>
                </a:cubicBezTo>
                <a:cubicBezTo>
                  <a:pt x="164" y="84"/>
                  <a:pt x="164" y="84"/>
                  <a:pt x="164" y="84"/>
                </a:cubicBezTo>
                <a:cubicBezTo>
                  <a:pt x="163" y="83"/>
                  <a:pt x="163" y="82"/>
                  <a:pt x="163" y="82"/>
                </a:cubicBezTo>
                <a:cubicBezTo>
                  <a:pt x="164" y="79"/>
                  <a:pt x="164" y="79"/>
                  <a:pt x="164" y="79"/>
                </a:cubicBezTo>
                <a:cubicBezTo>
                  <a:pt x="164" y="78"/>
                  <a:pt x="164" y="77"/>
                  <a:pt x="164" y="76"/>
                </a:cubicBezTo>
                <a:cubicBezTo>
                  <a:pt x="164" y="75"/>
                  <a:pt x="164" y="75"/>
                  <a:pt x="164" y="75"/>
                </a:cubicBezTo>
                <a:cubicBezTo>
                  <a:pt x="164" y="74"/>
                  <a:pt x="164" y="74"/>
                  <a:pt x="164" y="74"/>
                </a:cubicBezTo>
                <a:cubicBezTo>
                  <a:pt x="164" y="73"/>
                  <a:pt x="165" y="71"/>
                  <a:pt x="165" y="70"/>
                </a:cubicBezTo>
                <a:cubicBezTo>
                  <a:pt x="165" y="70"/>
                  <a:pt x="165" y="69"/>
                  <a:pt x="166" y="69"/>
                </a:cubicBezTo>
                <a:cubicBezTo>
                  <a:pt x="166" y="68"/>
                  <a:pt x="167" y="68"/>
                  <a:pt x="168" y="67"/>
                </a:cubicBezTo>
                <a:cubicBezTo>
                  <a:pt x="169" y="65"/>
                  <a:pt x="169" y="65"/>
                  <a:pt x="169" y="65"/>
                </a:cubicBezTo>
                <a:cubicBezTo>
                  <a:pt x="169" y="64"/>
                  <a:pt x="169" y="64"/>
                  <a:pt x="169" y="64"/>
                </a:cubicBezTo>
                <a:cubicBezTo>
                  <a:pt x="171" y="63"/>
                  <a:pt x="171" y="63"/>
                  <a:pt x="171" y="63"/>
                </a:cubicBezTo>
                <a:cubicBezTo>
                  <a:pt x="171" y="60"/>
                  <a:pt x="171" y="60"/>
                  <a:pt x="171" y="60"/>
                </a:cubicBezTo>
                <a:cubicBezTo>
                  <a:pt x="171" y="59"/>
                  <a:pt x="171" y="58"/>
                  <a:pt x="174" y="55"/>
                </a:cubicBezTo>
                <a:cubicBezTo>
                  <a:pt x="174" y="52"/>
                  <a:pt x="174" y="52"/>
                  <a:pt x="174" y="52"/>
                </a:cubicBezTo>
                <a:lnTo>
                  <a:pt x="173" y="5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1" name="Freeform 92">
            <a:extLst>
              <a:ext uri="{FF2B5EF4-FFF2-40B4-BE49-F238E27FC236}">
                <a16:creationId xmlns:a16="http://schemas.microsoft.com/office/drawing/2014/main" id="{3614F4E6-CDE9-44E8-B3F8-96640196E2D1}"/>
              </a:ext>
            </a:extLst>
          </p:cNvPr>
          <p:cNvSpPr>
            <a:spLocks/>
          </p:cNvSpPr>
          <p:nvPr/>
        </p:nvSpPr>
        <p:spPr bwMode="auto">
          <a:xfrm>
            <a:off x="4899170" y="5212882"/>
            <a:ext cx="613966" cy="392113"/>
          </a:xfrm>
          <a:custGeom>
            <a:avLst/>
            <a:gdLst>
              <a:gd name="T0" fmla="*/ 250 w 254"/>
              <a:gd name="T1" fmla="*/ 122 h 176"/>
              <a:gd name="T2" fmla="*/ 226 w 254"/>
              <a:gd name="T3" fmla="*/ 108 h 176"/>
              <a:gd name="T4" fmla="*/ 233 w 254"/>
              <a:gd name="T5" fmla="*/ 100 h 176"/>
              <a:gd name="T6" fmla="*/ 243 w 254"/>
              <a:gd name="T7" fmla="*/ 74 h 176"/>
              <a:gd name="T8" fmla="*/ 245 w 254"/>
              <a:gd name="T9" fmla="*/ 63 h 176"/>
              <a:gd name="T10" fmla="*/ 231 w 254"/>
              <a:gd name="T11" fmla="*/ 49 h 176"/>
              <a:gd name="T12" fmla="*/ 234 w 254"/>
              <a:gd name="T13" fmla="*/ 18 h 176"/>
              <a:gd name="T14" fmla="*/ 228 w 254"/>
              <a:gd name="T15" fmla="*/ 20 h 176"/>
              <a:gd name="T16" fmla="*/ 214 w 254"/>
              <a:gd name="T17" fmla="*/ 22 h 176"/>
              <a:gd name="T18" fmla="*/ 203 w 254"/>
              <a:gd name="T19" fmla="*/ 22 h 176"/>
              <a:gd name="T20" fmla="*/ 198 w 254"/>
              <a:gd name="T21" fmla="*/ 19 h 176"/>
              <a:gd name="T22" fmla="*/ 191 w 254"/>
              <a:gd name="T23" fmla="*/ 19 h 176"/>
              <a:gd name="T24" fmla="*/ 183 w 254"/>
              <a:gd name="T25" fmla="*/ 23 h 176"/>
              <a:gd name="T26" fmla="*/ 174 w 254"/>
              <a:gd name="T27" fmla="*/ 18 h 176"/>
              <a:gd name="T28" fmla="*/ 165 w 254"/>
              <a:gd name="T29" fmla="*/ 6 h 176"/>
              <a:gd name="T30" fmla="*/ 151 w 254"/>
              <a:gd name="T31" fmla="*/ 5 h 176"/>
              <a:gd name="T32" fmla="*/ 117 w 254"/>
              <a:gd name="T33" fmla="*/ 58 h 176"/>
              <a:gd name="T34" fmla="*/ 120 w 254"/>
              <a:gd name="T35" fmla="*/ 69 h 176"/>
              <a:gd name="T36" fmla="*/ 118 w 254"/>
              <a:gd name="T37" fmla="*/ 76 h 176"/>
              <a:gd name="T38" fmla="*/ 57 w 254"/>
              <a:gd name="T39" fmla="*/ 86 h 176"/>
              <a:gd name="T40" fmla="*/ 50 w 254"/>
              <a:gd name="T41" fmla="*/ 80 h 176"/>
              <a:gd name="T42" fmla="*/ 19 w 254"/>
              <a:gd name="T43" fmla="*/ 75 h 176"/>
              <a:gd name="T44" fmla="*/ 12 w 254"/>
              <a:gd name="T45" fmla="*/ 86 h 176"/>
              <a:gd name="T46" fmla="*/ 4 w 254"/>
              <a:gd name="T47" fmla="*/ 86 h 176"/>
              <a:gd name="T48" fmla="*/ 0 w 254"/>
              <a:gd name="T49" fmla="*/ 90 h 176"/>
              <a:gd name="T50" fmla="*/ 5 w 254"/>
              <a:gd name="T51" fmla="*/ 97 h 176"/>
              <a:gd name="T52" fmla="*/ 9 w 254"/>
              <a:gd name="T53" fmla="*/ 101 h 176"/>
              <a:gd name="T54" fmla="*/ 14 w 254"/>
              <a:gd name="T55" fmla="*/ 103 h 176"/>
              <a:gd name="T56" fmla="*/ 22 w 254"/>
              <a:gd name="T57" fmla="*/ 106 h 176"/>
              <a:gd name="T58" fmla="*/ 30 w 254"/>
              <a:gd name="T59" fmla="*/ 111 h 176"/>
              <a:gd name="T60" fmla="*/ 40 w 254"/>
              <a:gd name="T61" fmla="*/ 114 h 176"/>
              <a:gd name="T62" fmla="*/ 39 w 254"/>
              <a:gd name="T63" fmla="*/ 124 h 176"/>
              <a:gd name="T64" fmla="*/ 46 w 254"/>
              <a:gd name="T65" fmla="*/ 126 h 176"/>
              <a:gd name="T66" fmla="*/ 51 w 254"/>
              <a:gd name="T67" fmla="*/ 122 h 176"/>
              <a:gd name="T68" fmla="*/ 60 w 254"/>
              <a:gd name="T69" fmla="*/ 119 h 176"/>
              <a:gd name="T70" fmla="*/ 72 w 254"/>
              <a:gd name="T71" fmla="*/ 120 h 176"/>
              <a:gd name="T72" fmla="*/ 77 w 254"/>
              <a:gd name="T73" fmla="*/ 125 h 176"/>
              <a:gd name="T74" fmla="*/ 86 w 254"/>
              <a:gd name="T75" fmla="*/ 134 h 176"/>
              <a:gd name="T76" fmla="*/ 98 w 254"/>
              <a:gd name="T77" fmla="*/ 141 h 176"/>
              <a:gd name="T78" fmla="*/ 103 w 254"/>
              <a:gd name="T79" fmla="*/ 143 h 176"/>
              <a:gd name="T80" fmla="*/ 115 w 254"/>
              <a:gd name="T81" fmla="*/ 143 h 176"/>
              <a:gd name="T82" fmla="*/ 124 w 254"/>
              <a:gd name="T83" fmla="*/ 149 h 176"/>
              <a:gd name="T84" fmla="*/ 131 w 254"/>
              <a:gd name="T85" fmla="*/ 151 h 176"/>
              <a:gd name="T86" fmla="*/ 134 w 254"/>
              <a:gd name="T87" fmla="*/ 162 h 176"/>
              <a:gd name="T88" fmla="*/ 139 w 254"/>
              <a:gd name="T89" fmla="*/ 170 h 176"/>
              <a:gd name="T90" fmla="*/ 143 w 254"/>
              <a:gd name="T91" fmla="*/ 169 h 176"/>
              <a:gd name="T92" fmla="*/ 150 w 254"/>
              <a:gd name="T93" fmla="*/ 166 h 176"/>
              <a:gd name="T94" fmla="*/ 156 w 254"/>
              <a:gd name="T95" fmla="*/ 172 h 176"/>
              <a:gd name="T96" fmla="*/ 160 w 254"/>
              <a:gd name="T97" fmla="*/ 173 h 176"/>
              <a:gd name="T98" fmla="*/ 168 w 254"/>
              <a:gd name="T99" fmla="*/ 172 h 176"/>
              <a:gd name="T100" fmla="*/ 174 w 254"/>
              <a:gd name="T101" fmla="*/ 171 h 176"/>
              <a:gd name="T102" fmla="*/ 183 w 254"/>
              <a:gd name="T103" fmla="*/ 166 h 176"/>
              <a:gd name="T104" fmla="*/ 200 w 254"/>
              <a:gd name="T105" fmla="*/ 167 h 176"/>
              <a:gd name="T106" fmla="*/ 206 w 254"/>
              <a:gd name="T107" fmla="*/ 160 h 176"/>
              <a:gd name="T108" fmla="*/ 207 w 254"/>
              <a:gd name="T109" fmla="*/ 152 h 176"/>
              <a:gd name="T110" fmla="*/ 209 w 254"/>
              <a:gd name="T111" fmla="*/ 143 h 176"/>
              <a:gd name="T112" fmla="*/ 216 w 254"/>
              <a:gd name="T113" fmla="*/ 137 h 176"/>
              <a:gd name="T114" fmla="*/ 234 w 254"/>
              <a:gd name="T115" fmla="*/ 139 h 176"/>
              <a:gd name="T116" fmla="*/ 241 w 254"/>
              <a:gd name="T117" fmla="*/ 144 h 176"/>
              <a:gd name="T118" fmla="*/ 248 w 254"/>
              <a:gd name="T119" fmla="*/ 141 h 176"/>
              <a:gd name="T120" fmla="*/ 248 w 254"/>
              <a:gd name="T121" fmla="*/ 135 h 176"/>
              <a:gd name="T122" fmla="*/ 254 w 254"/>
              <a:gd name="T123" fmla="*/ 128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54" h="176">
                <a:moveTo>
                  <a:pt x="253" y="127"/>
                </a:moveTo>
                <a:cubicBezTo>
                  <a:pt x="251" y="125"/>
                  <a:pt x="251" y="125"/>
                  <a:pt x="251" y="125"/>
                </a:cubicBezTo>
                <a:cubicBezTo>
                  <a:pt x="250" y="125"/>
                  <a:pt x="250" y="124"/>
                  <a:pt x="250" y="123"/>
                </a:cubicBezTo>
                <a:cubicBezTo>
                  <a:pt x="250" y="122"/>
                  <a:pt x="250" y="122"/>
                  <a:pt x="250" y="122"/>
                </a:cubicBezTo>
                <a:cubicBezTo>
                  <a:pt x="249" y="121"/>
                  <a:pt x="248" y="119"/>
                  <a:pt x="247" y="116"/>
                </a:cubicBezTo>
                <a:cubicBezTo>
                  <a:pt x="238" y="116"/>
                  <a:pt x="238" y="116"/>
                  <a:pt x="238" y="116"/>
                </a:cubicBezTo>
                <a:cubicBezTo>
                  <a:pt x="237" y="116"/>
                  <a:pt x="237" y="116"/>
                  <a:pt x="237" y="115"/>
                </a:cubicBezTo>
                <a:cubicBezTo>
                  <a:pt x="226" y="108"/>
                  <a:pt x="226" y="108"/>
                  <a:pt x="226" y="108"/>
                </a:cubicBezTo>
                <a:cubicBezTo>
                  <a:pt x="225" y="108"/>
                  <a:pt x="225" y="107"/>
                  <a:pt x="225" y="107"/>
                </a:cubicBezTo>
                <a:cubicBezTo>
                  <a:pt x="225" y="106"/>
                  <a:pt x="225" y="105"/>
                  <a:pt x="226" y="105"/>
                </a:cubicBezTo>
                <a:cubicBezTo>
                  <a:pt x="231" y="100"/>
                  <a:pt x="231" y="100"/>
                  <a:pt x="231" y="100"/>
                </a:cubicBezTo>
                <a:cubicBezTo>
                  <a:pt x="232" y="100"/>
                  <a:pt x="232" y="100"/>
                  <a:pt x="233" y="100"/>
                </a:cubicBezTo>
                <a:cubicBezTo>
                  <a:pt x="234" y="100"/>
                  <a:pt x="234" y="100"/>
                  <a:pt x="234" y="100"/>
                </a:cubicBezTo>
                <a:cubicBezTo>
                  <a:pt x="237" y="99"/>
                  <a:pt x="237" y="99"/>
                  <a:pt x="237" y="99"/>
                </a:cubicBezTo>
                <a:cubicBezTo>
                  <a:pt x="239" y="98"/>
                  <a:pt x="241" y="98"/>
                  <a:pt x="243" y="99"/>
                </a:cubicBezTo>
                <a:cubicBezTo>
                  <a:pt x="243" y="74"/>
                  <a:pt x="243" y="74"/>
                  <a:pt x="243" y="74"/>
                </a:cubicBezTo>
                <a:cubicBezTo>
                  <a:pt x="243" y="73"/>
                  <a:pt x="243" y="73"/>
                  <a:pt x="243" y="73"/>
                </a:cubicBezTo>
                <a:cubicBezTo>
                  <a:pt x="247" y="66"/>
                  <a:pt x="247" y="66"/>
                  <a:pt x="247" y="66"/>
                </a:cubicBezTo>
                <a:cubicBezTo>
                  <a:pt x="247" y="63"/>
                  <a:pt x="247" y="63"/>
                  <a:pt x="247" y="63"/>
                </a:cubicBezTo>
                <a:cubicBezTo>
                  <a:pt x="245" y="63"/>
                  <a:pt x="245" y="63"/>
                  <a:pt x="245" y="63"/>
                </a:cubicBezTo>
                <a:cubicBezTo>
                  <a:pt x="243" y="63"/>
                  <a:pt x="243" y="62"/>
                  <a:pt x="243" y="61"/>
                </a:cubicBezTo>
                <a:cubicBezTo>
                  <a:pt x="243" y="54"/>
                  <a:pt x="243" y="54"/>
                  <a:pt x="243" y="54"/>
                </a:cubicBezTo>
                <a:cubicBezTo>
                  <a:pt x="232" y="50"/>
                  <a:pt x="232" y="50"/>
                  <a:pt x="232" y="50"/>
                </a:cubicBezTo>
                <a:cubicBezTo>
                  <a:pt x="231" y="50"/>
                  <a:pt x="231" y="50"/>
                  <a:pt x="231" y="49"/>
                </a:cubicBezTo>
                <a:cubicBezTo>
                  <a:pt x="230" y="48"/>
                  <a:pt x="231" y="48"/>
                  <a:pt x="231" y="47"/>
                </a:cubicBezTo>
                <a:cubicBezTo>
                  <a:pt x="243" y="36"/>
                  <a:pt x="243" y="36"/>
                  <a:pt x="243" y="36"/>
                </a:cubicBezTo>
                <a:cubicBezTo>
                  <a:pt x="243" y="18"/>
                  <a:pt x="243" y="18"/>
                  <a:pt x="243" y="18"/>
                </a:cubicBezTo>
                <a:cubicBezTo>
                  <a:pt x="234" y="18"/>
                  <a:pt x="234" y="18"/>
                  <a:pt x="234" y="18"/>
                </a:cubicBezTo>
                <a:cubicBezTo>
                  <a:pt x="234" y="19"/>
                  <a:pt x="234" y="20"/>
                  <a:pt x="233" y="20"/>
                </a:cubicBezTo>
                <a:cubicBezTo>
                  <a:pt x="230" y="20"/>
                  <a:pt x="230" y="20"/>
                  <a:pt x="230" y="20"/>
                </a:cubicBezTo>
                <a:cubicBezTo>
                  <a:pt x="230" y="20"/>
                  <a:pt x="229" y="20"/>
                  <a:pt x="229" y="19"/>
                </a:cubicBezTo>
                <a:cubicBezTo>
                  <a:pt x="229" y="19"/>
                  <a:pt x="229" y="19"/>
                  <a:pt x="228" y="20"/>
                </a:cubicBezTo>
                <a:cubicBezTo>
                  <a:pt x="226" y="21"/>
                  <a:pt x="225" y="20"/>
                  <a:pt x="224" y="20"/>
                </a:cubicBezTo>
                <a:cubicBezTo>
                  <a:pt x="223" y="21"/>
                  <a:pt x="222" y="20"/>
                  <a:pt x="221" y="20"/>
                </a:cubicBezTo>
                <a:cubicBezTo>
                  <a:pt x="219" y="20"/>
                  <a:pt x="218" y="20"/>
                  <a:pt x="217" y="20"/>
                </a:cubicBezTo>
                <a:cubicBezTo>
                  <a:pt x="217" y="21"/>
                  <a:pt x="216" y="22"/>
                  <a:pt x="214" y="22"/>
                </a:cubicBezTo>
                <a:cubicBezTo>
                  <a:pt x="212" y="23"/>
                  <a:pt x="210" y="23"/>
                  <a:pt x="209" y="22"/>
                </a:cubicBezTo>
                <a:cubicBezTo>
                  <a:pt x="209" y="22"/>
                  <a:pt x="209" y="22"/>
                  <a:pt x="209" y="23"/>
                </a:cubicBezTo>
                <a:cubicBezTo>
                  <a:pt x="208" y="23"/>
                  <a:pt x="207" y="23"/>
                  <a:pt x="206" y="23"/>
                </a:cubicBezTo>
                <a:cubicBezTo>
                  <a:pt x="205" y="23"/>
                  <a:pt x="204" y="23"/>
                  <a:pt x="203" y="22"/>
                </a:cubicBezTo>
                <a:cubicBezTo>
                  <a:pt x="203" y="21"/>
                  <a:pt x="203" y="21"/>
                  <a:pt x="203" y="21"/>
                </a:cubicBezTo>
                <a:cubicBezTo>
                  <a:pt x="202" y="20"/>
                  <a:pt x="201" y="19"/>
                  <a:pt x="200" y="19"/>
                </a:cubicBezTo>
                <a:cubicBezTo>
                  <a:pt x="199" y="19"/>
                  <a:pt x="199" y="19"/>
                  <a:pt x="199" y="19"/>
                </a:cubicBezTo>
                <a:cubicBezTo>
                  <a:pt x="199" y="19"/>
                  <a:pt x="199" y="19"/>
                  <a:pt x="198" y="19"/>
                </a:cubicBezTo>
                <a:cubicBezTo>
                  <a:pt x="196" y="18"/>
                  <a:pt x="194" y="19"/>
                  <a:pt x="194" y="19"/>
                </a:cubicBezTo>
                <a:cubicBezTo>
                  <a:pt x="193" y="19"/>
                  <a:pt x="193" y="19"/>
                  <a:pt x="193" y="19"/>
                </a:cubicBezTo>
                <a:cubicBezTo>
                  <a:pt x="192" y="19"/>
                  <a:pt x="192" y="19"/>
                  <a:pt x="192" y="19"/>
                </a:cubicBezTo>
                <a:cubicBezTo>
                  <a:pt x="192" y="19"/>
                  <a:pt x="191" y="19"/>
                  <a:pt x="191" y="19"/>
                </a:cubicBezTo>
                <a:cubicBezTo>
                  <a:pt x="191" y="19"/>
                  <a:pt x="190" y="21"/>
                  <a:pt x="189" y="21"/>
                </a:cubicBezTo>
                <a:cubicBezTo>
                  <a:pt x="188" y="21"/>
                  <a:pt x="186" y="22"/>
                  <a:pt x="186" y="22"/>
                </a:cubicBezTo>
                <a:cubicBezTo>
                  <a:pt x="184" y="22"/>
                  <a:pt x="184" y="22"/>
                  <a:pt x="184" y="22"/>
                </a:cubicBezTo>
                <a:cubicBezTo>
                  <a:pt x="183" y="22"/>
                  <a:pt x="183" y="23"/>
                  <a:pt x="183" y="23"/>
                </a:cubicBezTo>
                <a:cubicBezTo>
                  <a:pt x="183" y="23"/>
                  <a:pt x="182" y="22"/>
                  <a:pt x="182" y="22"/>
                </a:cubicBezTo>
                <a:cubicBezTo>
                  <a:pt x="181" y="22"/>
                  <a:pt x="180" y="21"/>
                  <a:pt x="179" y="21"/>
                </a:cubicBezTo>
                <a:cubicBezTo>
                  <a:pt x="178" y="21"/>
                  <a:pt x="177" y="21"/>
                  <a:pt x="175" y="20"/>
                </a:cubicBezTo>
                <a:cubicBezTo>
                  <a:pt x="174" y="19"/>
                  <a:pt x="174" y="19"/>
                  <a:pt x="174" y="18"/>
                </a:cubicBezTo>
                <a:cubicBezTo>
                  <a:pt x="175" y="13"/>
                  <a:pt x="175" y="13"/>
                  <a:pt x="175" y="13"/>
                </a:cubicBezTo>
                <a:cubicBezTo>
                  <a:pt x="174" y="13"/>
                  <a:pt x="172" y="13"/>
                  <a:pt x="172" y="10"/>
                </a:cubicBezTo>
                <a:cubicBezTo>
                  <a:pt x="171" y="9"/>
                  <a:pt x="170" y="7"/>
                  <a:pt x="169" y="6"/>
                </a:cubicBezTo>
                <a:cubicBezTo>
                  <a:pt x="167" y="6"/>
                  <a:pt x="165" y="6"/>
                  <a:pt x="165" y="6"/>
                </a:cubicBezTo>
                <a:cubicBezTo>
                  <a:pt x="164" y="7"/>
                  <a:pt x="164" y="6"/>
                  <a:pt x="163" y="6"/>
                </a:cubicBezTo>
                <a:cubicBezTo>
                  <a:pt x="159" y="2"/>
                  <a:pt x="159" y="2"/>
                  <a:pt x="159" y="2"/>
                </a:cubicBezTo>
                <a:cubicBezTo>
                  <a:pt x="156" y="0"/>
                  <a:pt x="156" y="0"/>
                  <a:pt x="156" y="0"/>
                </a:cubicBezTo>
                <a:cubicBezTo>
                  <a:pt x="151" y="5"/>
                  <a:pt x="151" y="5"/>
                  <a:pt x="151" y="5"/>
                </a:cubicBezTo>
                <a:cubicBezTo>
                  <a:pt x="124" y="38"/>
                  <a:pt x="124" y="38"/>
                  <a:pt x="124" y="38"/>
                </a:cubicBezTo>
                <a:cubicBezTo>
                  <a:pt x="120" y="42"/>
                  <a:pt x="120" y="42"/>
                  <a:pt x="120" y="42"/>
                </a:cubicBezTo>
                <a:cubicBezTo>
                  <a:pt x="118" y="52"/>
                  <a:pt x="118" y="52"/>
                  <a:pt x="118" y="52"/>
                </a:cubicBezTo>
                <a:cubicBezTo>
                  <a:pt x="117" y="58"/>
                  <a:pt x="117" y="58"/>
                  <a:pt x="117" y="58"/>
                </a:cubicBezTo>
                <a:cubicBezTo>
                  <a:pt x="117" y="63"/>
                  <a:pt x="117" y="63"/>
                  <a:pt x="117" y="63"/>
                </a:cubicBezTo>
                <a:cubicBezTo>
                  <a:pt x="117" y="65"/>
                  <a:pt x="117" y="65"/>
                  <a:pt x="117" y="65"/>
                </a:cubicBezTo>
                <a:cubicBezTo>
                  <a:pt x="120" y="68"/>
                  <a:pt x="120" y="68"/>
                  <a:pt x="120" y="68"/>
                </a:cubicBezTo>
                <a:cubicBezTo>
                  <a:pt x="120" y="69"/>
                  <a:pt x="120" y="69"/>
                  <a:pt x="120" y="69"/>
                </a:cubicBezTo>
                <a:cubicBezTo>
                  <a:pt x="120" y="70"/>
                  <a:pt x="120" y="70"/>
                  <a:pt x="120" y="70"/>
                </a:cubicBezTo>
                <a:cubicBezTo>
                  <a:pt x="120" y="72"/>
                  <a:pt x="120" y="72"/>
                  <a:pt x="120" y="72"/>
                </a:cubicBezTo>
                <a:cubicBezTo>
                  <a:pt x="119" y="75"/>
                  <a:pt x="119" y="75"/>
                  <a:pt x="119" y="75"/>
                </a:cubicBezTo>
                <a:cubicBezTo>
                  <a:pt x="118" y="76"/>
                  <a:pt x="118" y="76"/>
                  <a:pt x="118" y="76"/>
                </a:cubicBezTo>
                <a:cubicBezTo>
                  <a:pt x="110" y="79"/>
                  <a:pt x="110" y="79"/>
                  <a:pt x="110" y="79"/>
                </a:cubicBezTo>
                <a:cubicBezTo>
                  <a:pt x="109" y="80"/>
                  <a:pt x="109" y="80"/>
                  <a:pt x="109" y="80"/>
                </a:cubicBezTo>
                <a:cubicBezTo>
                  <a:pt x="76" y="86"/>
                  <a:pt x="76" y="86"/>
                  <a:pt x="76" y="86"/>
                </a:cubicBezTo>
                <a:cubicBezTo>
                  <a:pt x="57" y="86"/>
                  <a:pt x="57" y="86"/>
                  <a:pt x="57" y="86"/>
                </a:cubicBezTo>
                <a:cubicBezTo>
                  <a:pt x="56" y="85"/>
                  <a:pt x="56" y="85"/>
                  <a:pt x="56" y="85"/>
                </a:cubicBezTo>
                <a:cubicBezTo>
                  <a:pt x="55" y="85"/>
                  <a:pt x="55" y="85"/>
                  <a:pt x="55" y="85"/>
                </a:cubicBezTo>
                <a:cubicBezTo>
                  <a:pt x="53" y="83"/>
                  <a:pt x="53" y="83"/>
                  <a:pt x="53" y="83"/>
                </a:cubicBezTo>
                <a:cubicBezTo>
                  <a:pt x="50" y="80"/>
                  <a:pt x="50" y="80"/>
                  <a:pt x="50" y="80"/>
                </a:cubicBezTo>
                <a:cubicBezTo>
                  <a:pt x="43" y="77"/>
                  <a:pt x="43" y="77"/>
                  <a:pt x="43" y="77"/>
                </a:cubicBezTo>
                <a:cubicBezTo>
                  <a:pt x="30" y="74"/>
                  <a:pt x="30" y="74"/>
                  <a:pt x="30" y="74"/>
                </a:cubicBezTo>
                <a:cubicBezTo>
                  <a:pt x="19" y="74"/>
                  <a:pt x="19" y="74"/>
                  <a:pt x="19" y="74"/>
                </a:cubicBezTo>
                <a:cubicBezTo>
                  <a:pt x="19" y="74"/>
                  <a:pt x="19" y="74"/>
                  <a:pt x="19" y="75"/>
                </a:cubicBezTo>
                <a:cubicBezTo>
                  <a:pt x="19" y="82"/>
                  <a:pt x="19" y="82"/>
                  <a:pt x="19" y="82"/>
                </a:cubicBezTo>
                <a:cubicBezTo>
                  <a:pt x="19" y="84"/>
                  <a:pt x="18" y="85"/>
                  <a:pt x="16" y="86"/>
                </a:cubicBezTo>
                <a:cubicBezTo>
                  <a:pt x="15" y="86"/>
                  <a:pt x="14" y="86"/>
                  <a:pt x="14" y="86"/>
                </a:cubicBezTo>
                <a:cubicBezTo>
                  <a:pt x="12" y="86"/>
                  <a:pt x="12" y="86"/>
                  <a:pt x="12" y="86"/>
                </a:cubicBezTo>
                <a:cubicBezTo>
                  <a:pt x="9" y="86"/>
                  <a:pt x="9" y="86"/>
                  <a:pt x="9" y="86"/>
                </a:cubicBezTo>
                <a:cubicBezTo>
                  <a:pt x="8" y="86"/>
                  <a:pt x="8" y="86"/>
                  <a:pt x="8" y="86"/>
                </a:cubicBezTo>
                <a:cubicBezTo>
                  <a:pt x="8" y="86"/>
                  <a:pt x="8" y="86"/>
                  <a:pt x="6" y="86"/>
                </a:cubicBezTo>
                <a:cubicBezTo>
                  <a:pt x="5" y="86"/>
                  <a:pt x="4" y="86"/>
                  <a:pt x="4" y="86"/>
                </a:cubicBezTo>
                <a:cubicBezTo>
                  <a:pt x="3" y="86"/>
                  <a:pt x="3" y="86"/>
                  <a:pt x="3" y="86"/>
                </a:cubicBezTo>
                <a:cubicBezTo>
                  <a:pt x="2" y="86"/>
                  <a:pt x="2" y="86"/>
                  <a:pt x="2" y="86"/>
                </a:cubicBezTo>
                <a:cubicBezTo>
                  <a:pt x="0" y="88"/>
                  <a:pt x="0" y="88"/>
                  <a:pt x="0" y="88"/>
                </a:cubicBezTo>
                <a:cubicBezTo>
                  <a:pt x="0" y="90"/>
                  <a:pt x="0" y="90"/>
                  <a:pt x="0" y="90"/>
                </a:cubicBezTo>
                <a:cubicBezTo>
                  <a:pt x="0" y="91"/>
                  <a:pt x="0" y="91"/>
                  <a:pt x="0" y="91"/>
                </a:cubicBezTo>
                <a:cubicBezTo>
                  <a:pt x="3" y="95"/>
                  <a:pt x="3" y="95"/>
                  <a:pt x="3" y="95"/>
                </a:cubicBezTo>
                <a:cubicBezTo>
                  <a:pt x="3" y="95"/>
                  <a:pt x="3" y="95"/>
                  <a:pt x="4" y="95"/>
                </a:cubicBezTo>
                <a:cubicBezTo>
                  <a:pt x="5" y="97"/>
                  <a:pt x="5" y="97"/>
                  <a:pt x="5" y="97"/>
                </a:cubicBezTo>
                <a:cubicBezTo>
                  <a:pt x="6" y="97"/>
                  <a:pt x="6" y="97"/>
                  <a:pt x="6" y="97"/>
                </a:cubicBezTo>
                <a:cubicBezTo>
                  <a:pt x="7" y="98"/>
                  <a:pt x="7" y="98"/>
                  <a:pt x="7" y="98"/>
                </a:cubicBezTo>
                <a:cubicBezTo>
                  <a:pt x="9" y="99"/>
                  <a:pt x="9" y="99"/>
                  <a:pt x="9" y="99"/>
                </a:cubicBezTo>
                <a:cubicBezTo>
                  <a:pt x="9" y="100"/>
                  <a:pt x="9" y="100"/>
                  <a:pt x="9" y="101"/>
                </a:cubicBezTo>
                <a:cubicBezTo>
                  <a:pt x="9" y="102"/>
                  <a:pt x="9" y="102"/>
                  <a:pt x="9" y="102"/>
                </a:cubicBezTo>
                <a:cubicBezTo>
                  <a:pt x="10" y="102"/>
                  <a:pt x="11" y="102"/>
                  <a:pt x="11" y="103"/>
                </a:cubicBezTo>
                <a:cubicBezTo>
                  <a:pt x="12" y="102"/>
                  <a:pt x="12" y="102"/>
                  <a:pt x="12" y="102"/>
                </a:cubicBezTo>
                <a:cubicBezTo>
                  <a:pt x="13" y="102"/>
                  <a:pt x="14" y="102"/>
                  <a:pt x="14" y="103"/>
                </a:cubicBezTo>
                <a:cubicBezTo>
                  <a:pt x="16" y="104"/>
                  <a:pt x="16" y="104"/>
                  <a:pt x="16" y="104"/>
                </a:cubicBezTo>
                <a:cubicBezTo>
                  <a:pt x="19" y="104"/>
                  <a:pt x="19" y="104"/>
                  <a:pt x="19" y="104"/>
                </a:cubicBezTo>
                <a:cubicBezTo>
                  <a:pt x="20" y="104"/>
                  <a:pt x="21" y="105"/>
                  <a:pt x="21" y="106"/>
                </a:cubicBezTo>
                <a:cubicBezTo>
                  <a:pt x="22" y="106"/>
                  <a:pt x="22" y="106"/>
                  <a:pt x="22" y="106"/>
                </a:cubicBezTo>
                <a:cubicBezTo>
                  <a:pt x="23" y="106"/>
                  <a:pt x="24" y="106"/>
                  <a:pt x="24" y="107"/>
                </a:cubicBezTo>
                <a:cubicBezTo>
                  <a:pt x="24" y="108"/>
                  <a:pt x="24" y="108"/>
                  <a:pt x="24" y="108"/>
                </a:cubicBezTo>
                <a:cubicBezTo>
                  <a:pt x="25" y="108"/>
                  <a:pt x="26" y="109"/>
                  <a:pt x="27" y="110"/>
                </a:cubicBezTo>
                <a:cubicBezTo>
                  <a:pt x="30" y="111"/>
                  <a:pt x="30" y="111"/>
                  <a:pt x="30" y="111"/>
                </a:cubicBezTo>
                <a:cubicBezTo>
                  <a:pt x="30" y="112"/>
                  <a:pt x="31" y="111"/>
                  <a:pt x="33" y="111"/>
                </a:cubicBezTo>
                <a:cubicBezTo>
                  <a:pt x="33" y="111"/>
                  <a:pt x="34" y="111"/>
                  <a:pt x="34" y="112"/>
                </a:cubicBezTo>
                <a:cubicBezTo>
                  <a:pt x="37" y="114"/>
                  <a:pt x="37" y="114"/>
                  <a:pt x="37" y="114"/>
                </a:cubicBezTo>
                <a:cubicBezTo>
                  <a:pt x="40" y="114"/>
                  <a:pt x="40" y="114"/>
                  <a:pt x="40" y="114"/>
                </a:cubicBezTo>
                <a:cubicBezTo>
                  <a:pt x="41" y="114"/>
                  <a:pt x="42" y="115"/>
                  <a:pt x="42" y="116"/>
                </a:cubicBezTo>
                <a:cubicBezTo>
                  <a:pt x="42" y="120"/>
                  <a:pt x="42" y="120"/>
                  <a:pt x="42" y="120"/>
                </a:cubicBezTo>
                <a:cubicBezTo>
                  <a:pt x="42" y="120"/>
                  <a:pt x="42" y="120"/>
                  <a:pt x="42" y="121"/>
                </a:cubicBezTo>
                <a:cubicBezTo>
                  <a:pt x="42" y="123"/>
                  <a:pt x="40" y="124"/>
                  <a:pt x="39" y="124"/>
                </a:cubicBezTo>
                <a:cubicBezTo>
                  <a:pt x="39" y="125"/>
                  <a:pt x="39" y="125"/>
                  <a:pt x="38" y="125"/>
                </a:cubicBezTo>
                <a:cubicBezTo>
                  <a:pt x="39" y="126"/>
                  <a:pt x="40" y="126"/>
                  <a:pt x="40" y="126"/>
                </a:cubicBezTo>
                <a:cubicBezTo>
                  <a:pt x="41" y="125"/>
                  <a:pt x="44" y="125"/>
                  <a:pt x="45" y="127"/>
                </a:cubicBezTo>
                <a:cubicBezTo>
                  <a:pt x="46" y="126"/>
                  <a:pt x="46" y="126"/>
                  <a:pt x="46" y="126"/>
                </a:cubicBezTo>
                <a:cubicBezTo>
                  <a:pt x="47" y="126"/>
                  <a:pt x="49" y="126"/>
                  <a:pt x="50" y="126"/>
                </a:cubicBezTo>
                <a:cubicBezTo>
                  <a:pt x="50" y="125"/>
                  <a:pt x="50" y="124"/>
                  <a:pt x="51" y="124"/>
                </a:cubicBezTo>
                <a:cubicBezTo>
                  <a:pt x="51" y="123"/>
                  <a:pt x="51" y="123"/>
                  <a:pt x="51" y="123"/>
                </a:cubicBezTo>
                <a:cubicBezTo>
                  <a:pt x="51" y="122"/>
                  <a:pt x="51" y="122"/>
                  <a:pt x="51" y="122"/>
                </a:cubicBezTo>
                <a:cubicBezTo>
                  <a:pt x="51" y="121"/>
                  <a:pt x="52" y="120"/>
                  <a:pt x="52" y="120"/>
                </a:cubicBezTo>
                <a:cubicBezTo>
                  <a:pt x="53" y="120"/>
                  <a:pt x="53" y="120"/>
                  <a:pt x="53" y="120"/>
                </a:cubicBezTo>
                <a:cubicBezTo>
                  <a:pt x="54" y="119"/>
                  <a:pt x="55" y="119"/>
                  <a:pt x="57" y="119"/>
                </a:cubicBezTo>
                <a:cubicBezTo>
                  <a:pt x="58" y="119"/>
                  <a:pt x="60" y="119"/>
                  <a:pt x="60" y="119"/>
                </a:cubicBezTo>
                <a:cubicBezTo>
                  <a:pt x="64" y="120"/>
                  <a:pt x="64" y="120"/>
                  <a:pt x="64" y="120"/>
                </a:cubicBezTo>
                <a:cubicBezTo>
                  <a:pt x="69" y="120"/>
                  <a:pt x="69" y="120"/>
                  <a:pt x="69" y="120"/>
                </a:cubicBezTo>
                <a:cubicBezTo>
                  <a:pt x="71" y="120"/>
                  <a:pt x="71" y="120"/>
                  <a:pt x="71" y="120"/>
                </a:cubicBezTo>
                <a:cubicBezTo>
                  <a:pt x="72" y="120"/>
                  <a:pt x="72" y="120"/>
                  <a:pt x="72" y="120"/>
                </a:cubicBezTo>
                <a:cubicBezTo>
                  <a:pt x="74" y="121"/>
                  <a:pt x="74" y="121"/>
                  <a:pt x="74" y="121"/>
                </a:cubicBezTo>
                <a:cubicBezTo>
                  <a:pt x="74" y="121"/>
                  <a:pt x="74" y="121"/>
                  <a:pt x="74" y="122"/>
                </a:cubicBezTo>
                <a:cubicBezTo>
                  <a:pt x="75" y="122"/>
                  <a:pt x="75" y="123"/>
                  <a:pt x="76" y="123"/>
                </a:cubicBezTo>
                <a:cubicBezTo>
                  <a:pt x="77" y="125"/>
                  <a:pt x="77" y="125"/>
                  <a:pt x="77" y="125"/>
                </a:cubicBezTo>
                <a:cubicBezTo>
                  <a:pt x="78" y="126"/>
                  <a:pt x="78" y="126"/>
                  <a:pt x="78" y="127"/>
                </a:cubicBezTo>
                <a:cubicBezTo>
                  <a:pt x="78" y="132"/>
                  <a:pt x="78" y="132"/>
                  <a:pt x="78" y="132"/>
                </a:cubicBezTo>
                <a:cubicBezTo>
                  <a:pt x="82" y="132"/>
                  <a:pt x="82" y="132"/>
                  <a:pt x="82" y="132"/>
                </a:cubicBezTo>
                <a:cubicBezTo>
                  <a:pt x="83" y="132"/>
                  <a:pt x="83" y="133"/>
                  <a:pt x="86" y="134"/>
                </a:cubicBezTo>
                <a:cubicBezTo>
                  <a:pt x="88" y="136"/>
                  <a:pt x="88" y="136"/>
                  <a:pt x="88" y="136"/>
                </a:cubicBezTo>
                <a:cubicBezTo>
                  <a:pt x="90" y="138"/>
                  <a:pt x="90" y="138"/>
                  <a:pt x="90" y="138"/>
                </a:cubicBezTo>
                <a:cubicBezTo>
                  <a:pt x="95" y="141"/>
                  <a:pt x="95" y="141"/>
                  <a:pt x="95" y="141"/>
                </a:cubicBezTo>
                <a:cubicBezTo>
                  <a:pt x="98" y="141"/>
                  <a:pt x="98" y="141"/>
                  <a:pt x="98" y="141"/>
                </a:cubicBezTo>
                <a:cubicBezTo>
                  <a:pt x="99" y="141"/>
                  <a:pt x="100" y="142"/>
                  <a:pt x="100" y="143"/>
                </a:cubicBezTo>
                <a:cubicBezTo>
                  <a:pt x="101" y="143"/>
                  <a:pt x="101" y="143"/>
                  <a:pt x="101" y="143"/>
                </a:cubicBezTo>
                <a:cubicBezTo>
                  <a:pt x="102" y="143"/>
                  <a:pt x="102" y="143"/>
                  <a:pt x="102" y="143"/>
                </a:cubicBezTo>
                <a:cubicBezTo>
                  <a:pt x="103" y="143"/>
                  <a:pt x="103" y="143"/>
                  <a:pt x="103" y="143"/>
                </a:cubicBezTo>
                <a:cubicBezTo>
                  <a:pt x="104" y="142"/>
                  <a:pt x="105" y="142"/>
                  <a:pt x="106" y="143"/>
                </a:cubicBezTo>
                <a:cubicBezTo>
                  <a:pt x="106" y="142"/>
                  <a:pt x="107" y="142"/>
                  <a:pt x="107" y="142"/>
                </a:cubicBezTo>
                <a:cubicBezTo>
                  <a:pt x="108" y="141"/>
                  <a:pt x="109" y="141"/>
                  <a:pt x="111" y="142"/>
                </a:cubicBezTo>
                <a:cubicBezTo>
                  <a:pt x="114" y="143"/>
                  <a:pt x="115" y="143"/>
                  <a:pt x="115" y="143"/>
                </a:cubicBezTo>
                <a:cubicBezTo>
                  <a:pt x="118" y="145"/>
                  <a:pt x="118" y="145"/>
                  <a:pt x="118" y="145"/>
                </a:cubicBezTo>
                <a:cubicBezTo>
                  <a:pt x="120" y="147"/>
                  <a:pt x="120" y="147"/>
                  <a:pt x="120" y="147"/>
                </a:cubicBezTo>
                <a:cubicBezTo>
                  <a:pt x="123" y="149"/>
                  <a:pt x="123" y="149"/>
                  <a:pt x="123" y="149"/>
                </a:cubicBezTo>
                <a:cubicBezTo>
                  <a:pt x="124" y="149"/>
                  <a:pt x="124" y="149"/>
                  <a:pt x="124" y="149"/>
                </a:cubicBezTo>
                <a:cubicBezTo>
                  <a:pt x="125" y="149"/>
                  <a:pt x="125" y="149"/>
                  <a:pt x="125" y="149"/>
                </a:cubicBezTo>
                <a:cubicBezTo>
                  <a:pt x="128" y="150"/>
                  <a:pt x="128" y="150"/>
                  <a:pt x="128" y="150"/>
                </a:cubicBezTo>
                <a:cubicBezTo>
                  <a:pt x="129" y="150"/>
                  <a:pt x="129" y="150"/>
                  <a:pt x="129" y="150"/>
                </a:cubicBezTo>
                <a:cubicBezTo>
                  <a:pt x="130" y="150"/>
                  <a:pt x="131" y="150"/>
                  <a:pt x="131" y="151"/>
                </a:cubicBezTo>
                <a:cubicBezTo>
                  <a:pt x="131" y="152"/>
                  <a:pt x="131" y="152"/>
                  <a:pt x="131" y="152"/>
                </a:cubicBezTo>
                <a:cubicBezTo>
                  <a:pt x="133" y="153"/>
                  <a:pt x="134" y="154"/>
                  <a:pt x="134" y="155"/>
                </a:cubicBezTo>
                <a:cubicBezTo>
                  <a:pt x="134" y="161"/>
                  <a:pt x="134" y="161"/>
                  <a:pt x="134" y="161"/>
                </a:cubicBezTo>
                <a:cubicBezTo>
                  <a:pt x="134" y="162"/>
                  <a:pt x="134" y="162"/>
                  <a:pt x="134" y="162"/>
                </a:cubicBezTo>
                <a:cubicBezTo>
                  <a:pt x="135" y="162"/>
                  <a:pt x="135" y="162"/>
                  <a:pt x="135" y="162"/>
                </a:cubicBezTo>
                <a:cubicBezTo>
                  <a:pt x="137" y="165"/>
                  <a:pt x="137" y="165"/>
                  <a:pt x="137" y="165"/>
                </a:cubicBezTo>
                <a:cubicBezTo>
                  <a:pt x="137" y="166"/>
                  <a:pt x="137" y="166"/>
                  <a:pt x="137" y="166"/>
                </a:cubicBezTo>
                <a:cubicBezTo>
                  <a:pt x="137" y="167"/>
                  <a:pt x="138" y="169"/>
                  <a:pt x="139" y="170"/>
                </a:cubicBezTo>
                <a:cubicBezTo>
                  <a:pt x="140" y="170"/>
                  <a:pt x="140" y="171"/>
                  <a:pt x="141" y="172"/>
                </a:cubicBezTo>
                <a:cubicBezTo>
                  <a:pt x="142" y="172"/>
                  <a:pt x="142" y="172"/>
                  <a:pt x="143" y="173"/>
                </a:cubicBezTo>
                <a:cubicBezTo>
                  <a:pt x="143" y="172"/>
                  <a:pt x="143" y="171"/>
                  <a:pt x="143" y="171"/>
                </a:cubicBezTo>
                <a:cubicBezTo>
                  <a:pt x="143" y="169"/>
                  <a:pt x="143" y="169"/>
                  <a:pt x="143" y="169"/>
                </a:cubicBezTo>
                <a:cubicBezTo>
                  <a:pt x="143" y="168"/>
                  <a:pt x="144" y="167"/>
                  <a:pt x="145" y="167"/>
                </a:cubicBezTo>
                <a:cubicBezTo>
                  <a:pt x="146" y="167"/>
                  <a:pt x="146" y="167"/>
                  <a:pt x="146" y="167"/>
                </a:cubicBezTo>
                <a:cubicBezTo>
                  <a:pt x="147" y="167"/>
                  <a:pt x="147" y="166"/>
                  <a:pt x="148" y="166"/>
                </a:cubicBezTo>
                <a:cubicBezTo>
                  <a:pt x="150" y="166"/>
                  <a:pt x="150" y="166"/>
                  <a:pt x="150" y="166"/>
                </a:cubicBezTo>
                <a:cubicBezTo>
                  <a:pt x="151" y="166"/>
                  <a:pt x="152" y="167"/>
                  <a:pt x="152" y="167"/>
                </a:cubicBezTo>
                <a:cubicBezTo>
                  <a:pt x="153" y="168"/>
                  <a:pt x="153" y="168"/>
                  <a:pt x="153" y="168"/>
                </a:cubicBezTo>
                <a:cubicBezTo>
                  <a:pt x="154" y="169"/>
                  <a:pt x="155" y="169"/>
                  <a:pt x="155" y="171"/>
                </a:cubicBezTo>
                <a:cubicBezTo>
                  <a:pt x="156" y="172"/>
                  <a:pt x="156" y="172"/>
                  <a:pt x="156" y="172"/>
                </a:cubicBezTo>
                <a:cubicBezTo>
                  <a:pt x="157" y="174"/>
                  <a:pt x="157" y="174"/>
                  <a:pt x="157" y="174"/>
                </a:cubicBezTo>
                <a:cubicBezTo>
                  <a:pt x="157" y="175"/>
                  <a:pt x="157" y="175"/>
                  <a:pt x="157" y="176"/>
                </a:cubicBezTo>
                <a:cubicBezTo>
                  <a:pt x="158" y="174"/>
                  <a:pt x="158" y="174"/>
                  <a:pt x="158" y="174"/>
                </a:cubicBezTo>
                <a:cubicBezTo>
                  <a:pt x="159" y="174"/>
                  <a:pt x="159" y="173"/>
                  <a:pt x="160" y="173"/>
                </a:cubicBezTo>
                <a:cubicBezTo>
                  <a:pt x="160" y="173"/>
                  <a:pt x="160" y="172"/>
                  <a:pt x="161" y="172"/>
                </a:cubicBezTo>
                <a:cubicBezTo>
                  <a:pt x="164" y="171"/>
                  <a:pt x="164" y="171"/>
                  <a:pt x="164" y="171"/>
                </a:cubicBezTo>
                <a:cubicBezTo>
                  <a:pt x="165" y="171"/>
                  <a:pt x="165" y="171"/>
                  <a:pt x="165" y="171"/>
                </a:cubicBezTo>
                <a:cubicBezTo>
                  <a:pt x="166" y="171"/>
                  <a:pt x="167" y="171"/>
                  <a:pt x="168" y="172"/>
                </a:cubicBezTo>
                <a:cubicBezTo>
                  <a:pt x="169" y="173"/>
                  <a:pt x="169" y="173"/>
                  <a:pt x="169" y="173"/>
                </a:cubicBezTo>
                <a:cubicBezTo>
                  <a:pt x="169" y="172"/>
                  <a:pt x="169" y="172"/>
                  <a:pt x="170" y="172"/>
                </a:cubicBezTo>
                <a:cubicBezTo>
                  <a:pt x="173" y="172"/>
                  <a:pt x="173" y="172"/>
                  <a:pt x="173" y="172"/>
                </a:cubicBezTo>
                <a:cubicBezTo>
                  <a:pt x="173" y="172"/>
                  <a:pt x="173" y="172"/>
                  <a:pt x="174" y="171"/>
                </a:cubicBezTo>
                <a:cubicBezTo>
                  <a:pt x="174" y="171"/>
                  <a:pt x="175" y="171"/>
                  <a:pt x="175" y="170"/>
                </a:cubicBezTo>
                <a:cubicBezTo>
                  <a:pt x="176" y="170"/>
                  <a:pt x="177" y="169"/>
                  <a:pt x="179" y="168"/>
                </a:cubicBezTo>
                <a:cubicBezTo>
                  <a:pt x="181" y="167"/>
                  <a:pt x="181" y="167"/>
                  <a:pt x="181" y="167"/>
                </a:cubicBezTo>
                <a:cubicBezTo>
                  <a:pt x="182" y="166"/>
                  <a:pt x="182" y="166"/>
                  <a:pt x="183" y="166"/>
                </a:cubicBezTo>
                <a:cubicBezTo>
                  <a:pt x="194" y="166"/>
                  <a:pt x="194" y="166"/>
                  <a:pt x="194" y="166"/>
                </a:cubicBezTo>
                <a:cubicBezTo>
                  <a:pt x="194" y="166"/>
                  <a:pt x="195" y="166"/>
                  <a:pt x="195" y="167"/>
                </a:cubicBezTo>
                <a:cubicBezTo>
                  <a:pt x="197" y="165"/>
                  <a:pt x="199" y="166"/>
                  <a:pt x="199" y="167"/>
                </a:cubicBezTo>
                <a:cubicBezTo>
                  <a:pt x="200" y="167"/>
                  <a:pt x="200" y="167"/>
                  <a:pt x="200" y="167"/>
                </a:cubicBezTo>
                <a:cubicBezTo>
                  <a:pt x="201" y="166"/>
                  <a:pt x="203" y="165"/>
                  <a:pt x="204" y="165"/>
                </a:cubicBezTo>
                <a:cubicBezTo>
                  <a:pt x="204" y="164"/>
                  <a:pt x="204" y="164"/>
                  <a:pt x="204" y="164"/>
                </a:cubicBezTo>
                <a:cubicBezTo>
                  <a:pt x="205" y="163"/>
                  <a:pt x="205" y="163"/>
                  <a:pt x="206" y="162"/>
                </a:cubicBezTo>
                <a:cubicBezTo>
                  <a:pt x="206" y="161"/>
                  <a:pt x="206" y="161"/>
                  <a:pt x="206" y="160"/>
                </a:cubicBezTo>
                <a:cubicBezTo>
                  <a:pt x="206" y="160"/>
                  <a:pt x="206" y="160"/>
                  <a:pt x="206" y="159"/>
                </a:cubicBezTo>
                <a:cubicBezTo>
                  <a:pt x="206" y="157"/>
                  <a:pt x="206" y="157"/>
                  <a:pt x="206" y="157"/>
                </a:cubicBezTo>
                <a:cubicBezTo>
                  <a:pt x="206" y="156"/>
                  <a:pt x="206" y="155"/>
                  <a:pt x="206" y="153"/>
                </a:cubicBezTo>
                <a:cubicBezTo>
                  <a:pt x="206" y="152"/>
                  <a:pt x="206" y="152"/>
                  <a:pt x="207" y="152"/>
                </a:cubicBezTo>
                <a:cubicBezTo>
                  <a:pt x="207" y="152"/>
                  <a:pt x="207" y="152"/>
                  <a:pt x="206" y="151"/>
                </a:cubicBezTo>
                <a:cubicBezTo>
                  <a:pt x="205" y="150"/>
                  <a:pt x="206" y="149"/>
                  <a:pt x="206" y="148"/>
                </a:cubicBezTo>
                <a:cubicBezTo>
                  <a:pt x="207" y="148"/>
                  <a:pt x="207" y="147"/>
                  <a:pt x="207" y="147"/>
                </a:cubicBezTo>
                <a:cubicBezTo>
                  <a:pt x="208" y="145"/>
                  <a:pt x="209" y="144"/>
                  <a:pt x="209" y="143"/>
                </a:cubicBezTo>
                <a:cubicBezTo>
                  <a:pt x="209" y="142"/>
                  <a:pt x="210" y="142"/>
                  <a:pt x="211" y="141"/>
                </a:cubicBezTo>
                <a:cubicBezTo>
                  <a:pt x="211" y="140"/>
                  <a:pt x="211" y="140"/>
                  <a:pt x="211" y="140"/>
                </a:cubicBezTo>
                <a:cubicBezTo>
                  <a:pt x="212" y="140"/>
                  <a:pt x="212" y="139"/>
                  <a:pt x="213" y="138"/>
                </a:cubicBezTo>
                <a:cubicBezTo>
                  <a:pt x="216" y="137"/>
                  <a:pt x="216" y="137"/>
                  <a:pt x="216" y="137"/>
                </a:cubicBezTo>
                <a:cubicBezTo>
                  <a:pt x="216" y="137"/>
                  <a:pt x="216" y="137"/>
                  <a:pt x="217" y="137"/>
                </a:cubicBezTo>
                <a:cubicBezTo>
                  <a:pt x="229" y="137"/>
                  <a:pt x="229" y="137"/>
                  <a:pt x="229" y="137"/>
                </a:cubicBezTo>
                <a:cubicBezTo>
                  <a:pt x="230" y="137"/>
                  <a:pt x="230" y="137"/>
                  <a:pt x="230" y="137"/>
                </a:cubicBezTo>
                <a:cubicBezTo>
                  <a:pt x="234" y="139"/>
                  <a:pt x="234" y="139"/>
                  <a:pt x="234" y="139"/>
                </a:cubicBezTo>
                <a:cubicBezTo>
                  <a:pt x="234" y="140"/>
                  <a:pt x="235" y="140"/>
                  <a:pt x="235" y="141"/>
                </a:cubicBezTo>
                <a:cubicBezTo>
                  <a:pt x="235" y="145"/>
                  <a:pt x="235" y="145"/>
                  <a:pt x="235" y="145"/>
                </a:cubicBezTo>
                <a:cubicBezTo>
                  <a:pt x="237" y="145"/>
                  <a:pt x="237" y="145"/>
                  <a:pt x="237" y="145"/>
                </a:cubicBezTo>
                <a:cubicBezTo>
                  <a:pt x="239" y="144"/>
                  <a:pt x="241" y="144"/>
                  <a:pt x="241" y="144"/>
                </a:cubicBezTo>
                <a:cubicBezTo>
                  <a:pt x="244" y="143"/>
                  <a:pt x="244" y="143"/>
                  <a:pt x="244" y="143"/>
                </a:cubicBezTo>
                <a:cubicBezTo>
                  <a:pt x="245" y="143"/>
                  <a:pt x="246" y="143"/>
                  <a:pt x="246" y="143"/>
                </a:cubicBezTo>
                <a:cubicBezTo>
                  <a:pt x="247" y="142"/>
                  <a:pt x="247" y="142"/>
                  <a:pt x="247" y="142"/>
                </a:cubicBezTo>
                <a:cubicBezTo>
                  <a:pt x="247" y="141"/>
                  <a:pt x="248" y="141"/>
                  <a:pt x="248" y="141"/>
                </a:cubicBezTo>
                <a:cubicBezTo>
                  <a:pt x="248" y="141"/>
                  <a:pt x="248" y="140"/>
                  <a:pt x="247" y="140"/>
                </a:cubicBezTo>
                <a:cubicBezTo>
                  <a:pt x="247" y="138"/>
                  <a:pt x="247" y="138"/>
                  <a:pt x="247" y="138"/>
                </a:cubicBezTo>
                <a:cubicBezTo>
                  <a:pt x="247" y="137"/>
                  <a:pt x="247" y="137"/>
                  <a:pt x="247" y="136"/>
                </a:cubicBezTo>
                <a:cubicBezTo>
                  <a:pt x="248" y="136"/>
                  <a:pt x="248" y="135"/>
                  <a:pt x="248" y="135"/>
                </a:cubicBezTo>
                <a:cubicBezTo>
                  <a:pt x="248" y="134"/>
                  <a:pt x="248" y="133"/>
                  <a:pt x="248" y="133"/>
                </a:cubicBezTo>
                <a:cubicBezTo>
                  <a:pt x="249" y="132"/>
                  <a:pt x="250" y="131"/>
                  <a:pt x="251" y="131"/>
                </a:cubicBezTo>
                <a:cubicBezTo>
                  <a:pt x="254" y="129"/>
                  <a:pt x="254" y="129"/>
                  <a:pt x="254" y="129"/>
                </a:cubicBezTo>
                <a:cubicBezTo>
                  <a:pt x="254" y="128"/>
                  <a:pt x="254" y="128"/>
                  <a:pt x="254" y="128"/>
                </a:cubicBezTo>
                <a:cubicBezTo>
                  <a:pt x="253" y="127"/>
                  <a:pt x="253" y="127"/>
                  <a:pt x="253" y="12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2" name="Freeform 93">
            <a:extLst>
              <a:ext uri="{FF2B5EF4-FFF2-40B4-BE49-F238E27FC236}">
                <a16:creationId xmlns:a16="http://schemas.microsoft.com/office/drawing/2014/main" id="{182C4FAF-2328-44C2-8034-C675A9E6D2FD}"/>
              </a:ext>
            </a:extLst>
          </p:cNvPr>
          <p:cNvSpPr>
            <a:spLocks/>
          </p:cNvSpPr>
          <p:nvPr/>
        </p:nvSpPr>
        <p:spPr bwMode="auto">
          <a:xfrm>
            <a:off x="5282685" y="5173194"/>
            <a:ext cx="84270" cy="79375"/>
          </a:xfrm>
          <a:custGeom>
            <a:avLst/>
            <a:gdLst>
              <a:gd name="T0" fmla="*/ 35 w 35"/>
              <a:gd name="T1" fmla="*/ 13 h 36"/>
              <a:gd name="T2" fmla="*/ 31 w 35"/>
              <a:gd name="T3" fmla="*/ 12 h 36"/>
              <a:gd name="T4" fmla="*/ 31 w 35"/>
              <a:gd name="T5" fmla="*/ 12 h 36"/>
              <a:gd name="T6" fmla="*/ 25 w 35"/>
              <a:gd name="T7" fmla="*/ 9 h 36"/>
              <a:gd name="T8" fmla="*/ 24 w 35"/>
              <a:gd name="T9" fmla="*/ 8 h 36"/>
              <a:gd name="T10" fmla="*/ 21 w 35"/>
              <a:gd name="T11" fmla="*/ 6 h 36"/>
              <a:gd name="T12" fmla="*/ 12 w 35"/>
              <a:gd name="T13" fmla="*/ 0 h 36"/>
              <a:gd name="T14" fmla="*/ 11 w 35"/>
              <a:gd name="T15" fmla="*/ 2 h 36"/>
              <a:gd name="T16" fmla="*/ 0 w 35"/>
              <a:gd name="T17" fmla="*/ 15 h 36"/>
              <a:gd name="T18" fmla="*/ 2 w 35"/>
              <a:gd name="T19" fmla="*/ 17 h 36"/>
              <a:gd name="T20" fmla="*/ 6 w 35"/>
              <a:gd name="T21" fmla="*/ 20 h 36"/>
              <a:gd name="T22" fmla="*/ 11 w 35"/>
              <a:gd name="T23" fmla="*/ 21 h 36"/>
              <a:gd name="T24" fmla="*/ 12 w 35"/>
              <a:gd name="T25" fmla="*/ 21 h 36"/>
              <a:gd name="T26" fmla="*/ 16 w 35"/>
              <a:gd name="T27" fmla="*/ 27 h 36"/>
              <a:gd name="T28" fmla="*/ 18 w 35"/>
              <a:gd name="T29" fmla="*/ 27 h 36"/>
              <a:gd name="T30" fmla="*/ 20 w 35"/>
              <a:gd name="T31" fmla="*/ 29 h 36"/>
              <a:gd name="T32" fmla="*/ 20 w 35"/>
              <a:gd name="T33" fmla="*/ 31 h 36"/>
              <a:gd name="T34" fmla="*/ 19 w 35"/>
              <a:gd name="T35" fmla="*/ 35 h 36"/>
              <a:gd name="T36" fmla="*/ 19 w 35"/>
              <a:gd name="T37" fmla="*/ 35 h 36"/>
              <a:gd name="T38" fmla="*/ 24 w 35"/>
              <a:gd name="T39" fmla="*/ 36 h 36"/>
              <a:gd name="T40" fmla="*/ 25 w 35"/>
              <a:gd name="T41" fmla="*/ 36 h 36"/>
              <a:gd name="T42" fmla="*/ 26 w 35"/>
              <a:gd name="T43" fmla="*/ 36 h 36"/>
              <a:gd name="T44" fmla="*/ 26 w 35"/>
              <a:gd name="T45" fmla="*/ 36 h 36"/>
              <a:gd name="T46" fmla="*/ 26 w 35"/>
              <a:gd name="T47" fmla="*/ 36 h 36"/>
              <a:gd name="T48" fmla="*/ 32 w 35"/>
              <a:gd name="T49" fmla="*/ 31 h 36"/>
              <a:gd name="T50" fmla="*/ 33 w 35"/>
              <a:gd name="T51" fmla="*/ 25 h 36"/>
              <a:gd name="T52" fmla="*/ 33 w 35"/>
              <a:gd name="T53" fmla="*/ 23 h 36"/>
              <a:gd name="T54" fmla="*/ 33 w 35"/>
              <a:gd name="T55" fmla="*/ 22 h 36"/>
              <a:gd name="T56" fmla="*/ 35 w 35"/>
              <a:gd name="T57" fmla="*/ 17 h 36"/>
              <a:gd name="T58" fmla="*/ 35 w 35"/>
              <a:gd name="T59" fmla="*/ 13 h 36"/>
              <a:gd name="T60" fmla="*/ 35 w 35"/>
              <a:gd name="T61" fmla="*/ 13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5" h="36">
                <a:moveTo>
                  <a:pt x="35" y="13"/>
                </a:moveTo>
                <a:cubicBezTo>
                  <a:pt x="34" y="13"/>
                  <a:pt x="32" y="12"/>
                  <a:pt x="31" y="12"/>
                </a:cubicBezTo>
                <a:cubicBezTo>
                  <a:pt x="31" y="12"/>
                  <a:pt x="31" y="12"/>
                  <a:pt x="31" y="12"/>
                </a:cubicBezTo>
                <a:cubicBezTo>
                  <a:pt x="25" y="9"/>
                  <a:pt x="25" y="9"/>
                  <a:pt x="25" y="9"/>
                </a:cubicBezTo>
                <a:cubicBezTo>
                  <a:pt x="25" y="9"/>
                  <a:pt x="25" y="9"/>
                  <a:pt x="24" y="8"/>
                </a:cubicBezTo>
                <a:cubicBezTo>
                  <a:pt x="21" y="6"/>
                  <a:pt x="21" y="6"/>
                  <a:pt x="21" y="6"/>
                </a:cubicBezTo>
                <a:cubicBezTo>
                  <a:pt x="12" y="0"/>
                  <a:pt x="12" y="0"/>
                  <a:pt x="12" y="0"/>
                </a:cubicBezTo>
                <a:cubicBezTo>
                  <a:pt x="11" y="1"/>
                  <a:pt x="11" y="1"/>
                  <a:pt x="11" y="2"/>
                </a:cubicBezTo>
                <a:cubicBezTo>
                  <a:pt x="0" y="15"/>
                  <a:pt x="0" y="15"/>
                  <a:pt x="0" y="15"/>
                </a:cubicBezTo>
                <a:cubicBezTo>
                  <a:pt x="2" y="17"/>
                  <a:pt x="2" y="17"/>
                  <a:pt x="2" y="17"/>
                </a:cubicBezTo>
                <a:cubicBezTo>
                  <a:pt x="6" y="20"/>
                  <a:pt x="6" y="20"/>
                  <a:pt x="6" y="20"/>
                </a:cubicBezTo>
                <a:cubicBezTo>
                  <a:pt x="7" y="20"/>
                  <a:pt x="9" y="20"/>
                  <a:pt x="11" y="21"/>
                </a:cubicBezTo>
                <a:cubicBezTo>
                  <a:pt x="12" y="21"/>
                  <a:pt x="12" y="21"/>
                  <a:pt x="12" y="21"/>
                </a:cubicBezTo>
                <a:cubicBezTo>
                  <a:pt x="12" y="21"/>
                  <a:pt x="16" y="24"/>
                  <a:pt x="16" y="27"/>
                </a:cubicBezTo>
                <a:cubicBezTo>
                  <a:pt x="17" y="26"/>
                  <a:pt x="18" y="27"/>
                  <a:pt x="18" y="27"/>
                </a:cubicBezTo>
                <a:cubicBezTo>
                  <a:pt x="20" y="29"/>
                  <a:pt x="20" y="29"/>
                  <a:pt x="20" y="29"/>
                </a:cubicBezTo>
                <a:cubicBezTo>
                  <a:pt x="20" y="30"/>
                  <a:pt x="20" y="30"/>
                  <a:pt x="20" y="31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5"/>
                  <a:pt x="19" y="35"/>
                  <a:pt x="19" y="35"/>
                </a:cubicBezTo>
                <a:cubicBezTo>
                  <a:pt x="20" y="35"/>
                  <a:pt x="21" y="35"/>
                  <a:pt x="24" y="36"/>
                </a:cubicBezTo>
                <a:cubicBezTo>
                  <a:pt x="25" y="36"/>
                  <a:pt x="25" y="36"/>
                  <a:pt x="25" y="36"/>
                </a:cubicBezTo>
                <a:cubicBezTo>
                  <a:pt x="25" y="36"/>
                  <a:pt x="25" y="36"/>
                  <a:pt x="26" y="36"/>
                </a:cubicBezTo>
                <a:cubicBezTo>
                  <a:pt x="26" y="36"/>
                  <a:pt x="26" y="36"/>
                  <a:pt x="26" y="36"/>
                </a:cubicBezTo>
                <a:cubicBezTo>
                  <a:pt x="26" y="36"/>
                  <a:pt x="26" y="36"/>
                  <a:pt x="26" y="36"/>
                </a:cubicBezTo>
                <a:cubicBezTo>
                  <a:pt x="28" y="35"/>
                  <a:pt x="31" y="33"/>
                  <a:pt x="32" y="31"/>
                </a:cubicBezTo>
                <a:cubicBezTo>
                  <a:pt x="33" y="29"/>
                  <a:pt x="33" y="27"/>
                  <a:pt x="33" y="25"/>
                </a:cubicBezTo>
                <a:cubicBezTo>
                  <a:pt x="33" y="24"/>
                  <a:pt x="33" y="23"/>
                  <a:pt x="33" y="23"/>
                </a:cubicBezTo>
                <a:cubicBezTo>
                  <a:pt x="33" y="22"/>
                  <a:pt x="33" y="22"/>
                  <a:pt x="33" y="22"/>
                </a:cubicBezTo>
                <a:cubicBezTo>
                  <a:pt x="34" y="19"/>
                  <a:pt x="35" y="17"/>
                  <a:pt x="35" y="17"/>
                </a:cubicBezTo>
                <a:cubicBezTo>
                  <a:pt x="34" y="16"/>
                  <a:pt x="35" y="14"/>
                  <a:pt x="35" y="13"/>
                </a:cubicBezTo>
                <a:cubicBezTo>
                  <a:pt x="35" y="13"/>
                  <a:pt x="35" y="13"/>
                  <a:pt x="35" y="1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3" name="Freeform 94">
            <a:extLst>
              <a:ext uri="{FF2B5EF4-FFF2-40B4-BE49-F238E27FC236}">
                <a16:creationId xmlns:a16="http://schemas.microsoft.com/office/drawing/2014/main" id="{23E9EE03-070E-4C50-940B-F042B589C06A}"/>
              </a:ext>
            </a:extLst>
          </p:cNvPr>
          <p:cNvSpPr>
            <a:spLocks/>
          </p:cNvSpPr>
          <p:nvPr/>
        </p:nvSpPr>
        <p:spPr bwMode="auto">
          <a:xfrm>
            <a:off x="5765944" y="5170016"/>
            <a:ext cx="380075" cy="122238"/>
          </a:xfrm>
          <a:custGeom>
            <a:avLst/>
            <a:gdLst>
              <a:gd name="T0" fmla="*/ 153 w 157"/>
              <a:gd name="T1" fmla="*/ 25 h 55"/>
              <a:gd name="T2" fmla="*/ 141 w 157"/>
              <a:gd name="T3" fmla="*/ 20 h 55"/>
              <a:gd name="T4" fmla="*/ 136 w 157"/>
              <a:gd name="T5" fmla="*/ 13 h 55"/>
              <a:gd name="T6" fmla="*/ 135 w 157"/>
              <a:gd name="T7" fmla="*/ 7 h 55"/>
              <a:gd name="T8" fmla="*/ 136 w 157"/>
              <a:gd name="T9" fmla="*/ 4 h 55"/>
              <a:gd name="T10" fmla="*/ 132 w 157"/>
              <a:gd name="T11" fmla="*/ 0 h 55"/>
              <a:gd name="T12" fmla="*/ 128 w 157"/>
              <a:gd name="T13" fmla="*/ 1 h 55"/>
              <a:gd name="T14" fmla="*/ 121 w 157"/>
              <a:gd name="T15" fmla="*/ 7 h 55"/>
              <a:gd name="T16" fmla="*/ 110 w 157"/>
              <a:gd name="T17" fmla="*/ 6 h 55"/>
              <a:gd name="T18" fmla="*/ 103 w 157"/>
              <a:gd name="T19" fmla="*/ 3 h 55"/>
              <a:gd name="T20" fmla="*/ 105 w 157"/>
              <a:gd name="T21" fmla="*/ 8 h 55"/>
              <a:gd name="T22" fmla="*/ 111 w 157"/>
              <a:gd name="T23" fmla="*/ 12 h 55"/>
              <a:gd name="T24" fmla="*/ 109 w 157"/>
              <a:gd name="T25" fmla="*/ 20 h 55"/>
              <a:gd name="T26" fmla="*/ 101 w 157"/>
              <a:gd name="T27" fmla="*/ 29 h 55"/>
              <a:gd name="T28" fmla="*/ 88 w 157"/>
              <a:gd name="T29" fmla="*/ 29 h 55"/>
              <a:gd name="T30" fmla="*/ 79 w 157"/>
              <a:gd name="T31" fmla="*/ 25 h 55"/>
              <a:gd name="T32" fmla="*/ 77 w 157"/>
              <a:gd name="T33" fmla="*/ 24 h 55"/>
              <a:gd name="T34" fmla="*/ 68 w 157"/>
              <a:gd name="T35" fmla="*/ 22 h 55"/>
              <a:gd name="T36" fmla="*/ 56 w 157"/>
              <a:gd name="T37" fmla="*/ 22 h 55"/>
              <a:gd name="T38" fmla="*/ 35 w 157"/>
              <a:gd name="T39" fmla="*/ 17 h 55"/>
              <a:gd name="T40" fmla="*/ 32 w 157"/>
              <a:gd name="T41" fmla="*/ 16 h 55"/>
              <a:gd name="T42" fmla="*/ 26 w 157"/>
              <a:gd name="T43" fmla="*/ 12 h 55"/>
              <a:gd name="T44" fmla="*/ 13 w 157"/>
              <a:gd name="T45" fmla="*/ 20 h 55"/>
              <a:gd name="T46" fmla="*/ 4 w 157"/>
              <a:gd name="T47" fmla="*/ 25 h 55"/>
              <a:gd name="T48" fmla="*/ 6 w 157"/>
              <a:gd name="T49" fmla="*/ 27 h 55"/>
              <a:gd name="T50" fmla="*/ 11 w 157"/>
              <a:gd name="T51" fmla="*/ 30 h 55"/>
              <a:gd name="T52" fmla="*/ 9 w 157"/>
              <a:gd name="T53" fmla="*/ 45 h 55"/>
              <a:gd name="T54" fmla="*/ 6 w 157"/>
              <a:gd name="T55" fmla="*/ 46 h 55"/>
              <a:gd name="T56" fmla="*/ 1 w 157"/>
              <a:gd name="T57" fmla="*/ 49 h 55"/>
              <a:gd name="T58" fmla="*/ 13 w 157"/>
              <a:gd name="T59" fmla="*/ 50 h 55"/>
              <a:gd name="T60" fmla="*/ 16 w 157"/>
              <a:gd name="T61" fmla="*/ 55 h 55"/>
              <a:gd name="T62" fmla="*/ 26 w 157"/>
              <a:gd name="T63" fmla="*/ 52 h 55"/>
              <a:gd name="T64" fmla="*/ 59 w 157"/>
              <a:gd name="T65" fmla="*/ 51 h 55"/>
              <a:gd name="T66" fmla="*/ 69 w 157"/>
              <a:gd name="T67" fmla="*/ 50 h 55"/>
              <a:gd name="T68" fmla="*/ 83 w 157"/>
              <a:gd name="T69" fmla="*/ 53 h 55"/>
              <a:gd name="T70" fmla="*/ 91 w 157"/>
              <a:gd name="T71" fmla="*/ 53 h 55"/>
              <a:gd name="T72" fmla="*/ 99 w 157"/>
              <a:gd name="T73" fmla="*/ 53 h 55"/>
              <a:gd name="T74" fmla="*/ 109 w 157"/>
              <a:gd name="T75" fmla="*/ 50 h 55"/>
              <a:gd name="T76" fmla="*/ 121 w 157"/>
              <a:gd name="T77" fmla="*/ 52 h 55"/>
              <a:gd name="T78" fmla="*/ 126 w 157"/>
              <a:gd name="T79" fmla="*/ 47 h 55"/>
              <a:gd name="T80" fmla="*/ 139 w 157"/>
              <a:gd name="T81" fmla="*/ 45 h 55"/>
              <a:gd name="T82" fmla="*/ 145 w 157"/>
              <a:gd name="T83" fmla="*/ 39 h 55"/>
              <a:gd name="T84" fmla="*/ 149 w 157"/>
              <a:gd name="T85" fmla="*/ 27 h 55"/>
              <a:gd name="T86" fmla="*/ 157 w 157"/>
              <a:gd name="T87" fmla="*/ 27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7" h="55">
                <a:moveTo>
                  <a:pt x="156" y="26"/>
                </a:moveTo>
                <a:cubicBezTo>
                  <a:pt x="156" y="26"/>
                  <a:pt x="155" y="26"/>
                  <a:pt x="155" y="25"/>
                </a:cubicBezTo>
                <a:cubicBezTo>
                  <a:pt x="153" y="25"/>
                  <a:pt x="153" y="25"/>
                  <a:pt x="153" y="25"/>
                </a:cubicBezTo>
                <a:cubicBezTo>
                  <a:pt x="152" y="26"/>
                  <a:pt x="151" y="25"/>
                  <a:pt x="148" y="24"/>
                </a:cubicBezTo>
                <a:cubicBezTo>
                  <a:pt x="145" y="22"/>
                  <a:pt x="145" y="22"/>
                  <a:pt x="145" y="22"/>
                </a:cubicBezTo>
                <a:cubicBezTo>
                  <a:pt x="144" y="22"/>
                  <a:pt x="143" y="22"/>
                  <a:pt x="141" y="20"/>
                </a:cubicBezTo>
                <a:cubicBezTo>
                  <a:pt x="139" y="18"/>
                  <a:pt x="139" y="18"/>
                  <a:pt x="139" y="18"/>
                </a:cubicBezTo>
                <a:cubicBezTo>
                  <a:pt x="136" y="15"/>
                  <a:pt x="136" y="14"/>
                  <a:pt x="136" y="14"/>
                </a:cubicBezTo>
                <a:cubicBezTo>
                  <a:pt x="136" y="13"/>
                  <a:pt x="136" y="13"/>
                  <a:pt x="136" y="13"/>
                </a:cubicBezTo>
                <a:cubicBezTo>
                  <a:pt x="135" y="12"/>
                  <a:pt x="135" y="11"/>
                  <a:pt x="135" y="11"/>
                </a:cubicBezTo>
                <a:cubicBezTo>
                  <a:pt x="135" y="11"/>
                  <a:pt x="135" y="10"/>
                  <a:pt x="135" y="9"/>
                </a:cubicBezTo>
                <a:cubicBezTo>
                  <a:pt x="135" y="8"/>
                  <a:pt x="135" y="7"/>
                  <a:pt x="135" y="7"/>
                </a:cubicBezTo>
                <a:cubicBezTo>
                  <a:pt x="136" y="6"/>
                  <a:pt x="136" y="6"/>
                  <a:pt x="136" y="6"/>
                </a:cubicBezTo>
                <a:cubicBezTo>
                  <a:pt x="136" y="5"/>
                  <a:pt x="136" y="5"/>
                  <a:pt x="136" y="5"/>
                </a:cubicBezTo>
                <a:cubicBezTo>
                  <a:pt x="136" y="4"/>
                  <a:pt x="136" y="4"/>
                  <a:pt x="136" y="4"/>
                </a:cubicBezTo>
                <a:cubicBezTo>
                  <a:pt x="136" y="4"/>
                  <a:pt x="135" y="3"/>
                  <a:pt x="136" y="3"/>
                </a:cubicBezTo>
                <a:cubicBezTo>
                  <a:pt x="135" y="2"/>
                  <a:pt x="134" y="2"/>
                  <a:pt x="134" y="1"/>
                </a:cubicBezTo>
                <a:cubicBezTo>
                  <a:pt x="133" y="1"/>
                  <a:pt x="133" y="0"/>
                  <a:pt x="132" y="0"/>
                </a:cubicBezTo>
                <a:cubicBezTo>
                  <a:pt x="131" y="0"/>
                  <a:pt x="131" y="0"/>
                  <a:pt x="131" y="0"/>
                </a:cubicBezTo>
                <a:cubicBezTo>
                  <a:pt x="131" y="0"/>
                  <a:pt x="131" y="0"/>
                  <a:pt x="130" y="0"/>
                </a:cubicBezTo>
                <a:cubicBezTo>
                  <a:pt x="129" y="1"/>
                  <a:pt x="128" y="1"/>
                  <a:pt x="128" y="1"/>
                </a:cubicBezTo>
                <a:cubicBezTo>
                  <a:pt x="128" y="2"/>
                  <a:pt x="128" y="2"/>
                  <a:pt x="128" y="2"/>
                </a:cubicBezTo>
                <a:cubicBezTo>
                  <a:pt x="123" y="6"/>
                  <a:pt x="123" y="6"/>
                  <a:pt x="123" y="6"/>
                </a:cubicBezTo>
                <a:cubicBezTo>
                  <a:pt x="121" y="7"/>
                  <a:pt x="121" y="7"/>
                  <a:pt x="121" y="7"/>
                </a:cubicBezTo>
                <a:cubicBezTo>
                  <a:pt x="121" y="7"/>
                  <a:pt x="120" y="7"/>
                  <a:pt x="120" y="8"/>
                </a:cubicBezTo>
                <a:cubicBezTo>
                  <a:pt x="119" y="8"/>
                  <a:pt x="118" y="8"/>
                  <a:pt x="117" y="8"/>
                </a:cubicBezTo>
                <a:cubicBezTo>
                  <a:pt x="110" y="6"/>
                  <a:pt x="110" y="6"/>
                  <a:pt x="110" y="6"/>
                </a:cubicBezTo>
                <a:cubicBezTo>
                  <a:pt x="109" y="5"/>
                  <a:pt x="109" y="5"/>
                  <a:pt x="109" y="5"/>
                </a:cubicBezTo>
                <a:cubicBezTo>
                  <a:pt x="109" y="5"/>
                  <a:pt x="109" y="4"/>
                  <a:pt x="108" y="4"/>
                </a:cubicBezTo>
                <a:cubicBezTo>
                  <a:pt x="106" y="3"/>
                  <a:pt x="104" y="3"/>
                  <a:pt x="103" y="3"/>
                </a:cubicBezTo>
                <a:cubicBezTo>
                  <a:pt x="103" y="4"/>
                  <a:pt x="104" y="4"/>
                  <a:pt x="104" y="4"/>
                </a:cubicBezTo>
                <a:cubicBezTo>
                  <a:pt x="104" y="5"/>
                  <a:pt x="104" y="5"/>
                  <a:pt x="104" y="5"/>
                </a:cubicBezTo>
                <a:cubicBezTo>
                  <a:pt x="105" y="8"/>
                  <a:pt x="105" y="8"/>
                  <a:pt x="105" y="8"/>
                </a:cubicBezTo>
                <a:cubicBezTo>
                  <a:pt x="106" y="9"/>
                  <a:pt x="106" y="9"/>
                  <a:pt x="106" y="9"/>
                </a:cubicBezTo>
                <a:cubicBezTo>
                  <a:pt x="107" y="10"/>
                  <a:pt x="107" y="11"/>
                  <a:pt x="108" y="11"/>
                </a:cubicBezTo>
                <a:cubicBezTo>
                  <a:pt x="109" y="11"/>
                  <a:pt x="110" y="12"/>
                  <a:pt x="111" y="12"/>
                </a:cubicBezTo>
                <a:cubicBezTo>
                  <a:pt x="111" y="13"/>
                  <a:pt x="111" y="13"/>
                  <a:pt x="111" y="14"/>
                </a:cubicBezTo>
                <a:cubicBezTo>
                  <a:pt x="111" y="15"/>
                  <a:pt x="111" y="15"/>
                  <a:pt x="111" y="15"/>
                </a:cubicBezTo>
                <a:cubicBezTo>
                  <a:pt x="111" y="16"/>
                  <a:pt x="111" y="18"/>
                  <a:pt x="109" y="20"/>
                </a:cubicBezTo>
                <a:cubicBezTo>
                  <a:pt x="108" y="21"/>
                  <a:pt x="108" y="22"/>
                  <a:pt x="107" y="22"/>
                </a:cubicBezTo>
                <a:cubicBezTo>
                  <a:pt x="104" y="25"/>
                  <a:pt x="104" y="25"/>
                  <a:pt x="104" y="25"/>
                </a:cubicBezTo>
                <a:cubicBezTo>
                  <a:pt x="101" y="29"/>
                  <a:pt x="101" y="29"/>
                  <a:pt x="101" y="29"/>
                </a:cubicBezTo>
                <a:cubicBezTo>
                  <a:pt x="100" y="30"/>
                  <a:pt x="97" y="31"/>
                  <a:pt x="96" y="31"/>
                </a:cubicBezTo>
                <a:cubicBezTo>
                  <a:pt x="92" y="31"/>
                  <a:pt x="92" y="31"/>
                  <a:pt x="92" y="31"/>
                </a:cubicBezTo>
                <a:cubicBezTo>
                  <a:pt x="92" y="31"/>
                  <a:pt x="90" y="31"/>
                  <a:pt x="88" y="29"/>
                </a:cubicBezTo>
                <a:cubicBezTo>
                  <a:pt x="87" y="29"/>
                  <a:pt x="87" y="29"/>
                  <a:pt x="86" y="29"/>
                </a:cubicBezTo>
                <a:cubicBezTo>
                  <a:pt x="85" y="29"/>
                  <a:pt x="85" y="28"/>
                  <a:pt x="85" y="28"/>
                </a:cubicBezTo>
                <a:cubicBezTo>
                  <a:pt x="83" y="28"/>
                  <a:pt x="81" y="27"/>
                  <a:pt x="79" y="25"/>
                </a:cubicBezTo>
                <a:cubicBezTo>
                  <a:pt x="79" y="24"/>
                  <a:pt x="79" y="24"/>
                  <a:pt x="79" y="24"/>
                </a:cubicBezTo>
                <a:cubicBezTo>
                  <a:pt x="78" y="24"/>
                  <a:pt x="78" y="24"/>
                  <a:pt x="78" y="24"/>
                </a:cubicBezTo>
                <a:cubicBezTo>
                  <a:pt x="77" y="24"/>
                  <a:pt x="77" y="24"/>
                  <a:pt x="77" y="24"/>
                </a:cubicBezTo>
                <a:cubicBezTo>
                  <a:pt x="76" y="24"/>
                  <a:pt x="75" y="24"/>
                  <a:pt x="73" y="24"/>
                </a:cubicBezTo>
                <a:cubicBezTo>
                  <a:pt x="70" y="24"/>
                  <a:pt x="70" y="24"/>
                  <a:pt x="70" y="24"/>
                </a:cubicBezTo>
                <a:cubicBezTo>
                  <a:pt x="68" y="24"/>
                  <a:pt x="68" y="23"/>
                  <a:pt x="68" y="22"/>
                </a:cubicBezTo>
                <a:cubicBezTo>
                  <a:pt x="68" y="22"/>
                  <a:pt x="68" y="21"/>
                  <a:pt x="68" y="21"/>
                </a:cubicBezTo>
                <a:cubicBezTo>
                  <a:pt x="67" y="21"/>
                  <a:pt x="66" y="21"/>
                  <a:pt x="65" y="21"/>
                </a:cubicBezTo>
                <a:cubicBezTo>
                  <a:pt x="61" y="21"/>
                  <a:pt x="56" y="22"/>
                  <a:pt x="56" y="22"/>
                </a:cubicBezTo>
                <a:cubicBezTo>
                  <a:pt x="56" y="22"/>
                  <a:pt x="56" y="22"/>
                  <a:pt x="55" y="22"/>
                </a:cubicBezTo>
                <a:cubicBezTo>
                  <a:pt x="44" y="19"/>
                  <a:pt x="44" y="19"/>
                  <a:pt x="44" y="19"/>
                </a:cubicBezTo>
                <a:cubicBezTo>
                  <a:pt x="38" y="18"/>
                  <a:pt x="36" y="17"/>
                  <a:pt x="35" y="17"/>
                </a:cubicBezTo>
                <a:cubicBezTo>
                  <a:pt x="35" y="17"/>
                  <a:pt x="35" y="17"/>
                  <a:pt x="35" y="17"/>
                </a:cubicBezTo>
                <a:cubicBezTo>
                  <a:pt x="34" y="18"/>
                  <a:pt x="33" y="18"/>
                  <a:pt x="33" y="17"/>
                </a:cubicBezTo>
                <a:cubicBezTo>
                  <a:pt x="32" y="17"/>
                  <a:pt x="32" y="17"/>
                  <a:pt x="32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15"/>
                  <a:pt x="31" y="12"/>
                  <a:pt x="29" y="12"/>
                </a:cubicBezTo>
                <a:cubicBezTo>
                  <a:pt x="27" y="12"/>
                  <a:pt x="27" y="12"/>
                  <a:pt x="26" y="12"/>
                </a:cubicBezTo>
                <a:cubicBezTo>
                  <a:pt x="25" y="14"/>
                  <a:pt x="23" y="15"/>
                  <a:pt x="19" y="16"/>
                </a:cubicBezTo>
                <a:cubicBezTo>
                  <a:pt x="16" y="17"/>
                  <a:pt x="16" y="17"/>
                  <a:pt x="16" y="17"/>
                </a:cubicBezTo>
                <a:cubicBezTo>
                  <a:pt x="15" y="19"/>
                  <a:pt x="13" y="20"/>
                  <a:pt x="13" y="20"/>
                </a:cubicBezTo>
                <a:cubicBezTo>
                  <a:pt x="11" y="19"/>
                  <a:pt x="10" y="18"/>
                  <a:pt x="9" y="18"/>
                </a:cubicBezTo>
                <a:cubicBezTo>
                  <a:pt x="7" y="19"/>
                  <a:pt x="7" y="19"/>
                  <a:pt x="7" y="19"/>
                </a:cubicBezTo>
                <a:cubicBezTo>
                  <a:pt x="4" y="25"/>
                  <a:pt x="4" y="25"/>
                  <a:pt x="4" y="25"/>
                </a:cubicBezTo>
                <a:cubicBezTo>
                  <a:pt x="4" y="25"/>
                  <a:pt x="4" y="25"/>
                  <a:pt x="4" y="25"/>
                </a:cubicBezTo>
                <a:cubicBezTo>
                  <a:pt x="4" y="25"/>
                  <a:pt x="4" y="25"/>
                  <a:pt x="4" y="25"/>
                </a:cubicBezTo>
                <a:cubicBezTo>
                  <a:pt x="6" y="27"/>
                  <a:pt x="6" y="27"/>
                  <a:pt x="6" y="27"/>
                </a:cubicBezTo>
                <a:cubicBezTo>
                  <a:pt x="7" y="27"/>
                  <a:pt x="7" y="27"/>
                  <a:pt x="7" y="27"/>
                </a:cubicBezTo>
                <a:cubicBezTo>
                  <a:pt x="8" y="27"/>
                  <a:pt x="8" y="27"/>
                  <a:pt x="8" y="27"/>
                </a:cubicBezTo>
                <a:cubicBezTo>
                  <a:pt x="11" y="30"/>
                  <a:pt x="11" y="30"/>
                  <a:pt x="11" y="30"/>
                </a:cubicBezTo>
                <a:cubicBezTo>
                  <a:pt x="11" y="31"/>
                  <a:pt x="11" y="31"/>
                  <a:pt x="11" y="31"/>
                </a:cubicBezTo>
                <a:cubicBezTo>
                  <a:pt x="11" y="44"/>
                  <a:pt x="11" y="44"/>
                  <a:pt x="11" y="44"/>
                </a:cubicBezTo>
                <a:cubicBezTo>
                  <a:pt x="11" y="45"/>
                  <a:pt x="10" y="45"/>
                  <a:pt x="9" y="45"/>
                </a:cubicBezTo>
                <a:cubicBezTo>
                  <a:pt x="9" y="46"/>
                  <a:pt x="8" y="45"/>
                  <a:pt x="8" y="45"/>
                </a:cubicBezTo>
                <a:cubicBezTo>
                  <a:pt x="7" y="45"/>
                  <a:pt x="7" y="45"/>
                  <a:pt x="7" y="45"/>
                </a:cubicBezTo>
                <a:cubicBezTo>
                  <a:pt x="6" y="46"/>
                  <a:pt x="6" y="46"/>
                  <a:pt x="6" y="46"/>
                </a:cubicBezTo>
                <a:cubicBezTo>
                  <a:pt x="6" y="47"/>
                  <a:pt x="5" y="47"/>
                  <a:pt x="3" y="47"/>
                </a:cubicBezTo>
                <a:cubicBezTo>
                  <a:pt x="3" y="47"/>
                  <a:pt x="2" y="48"/>
                  <a:pt x="0" y="49"/>
                </a:cubicBezTo>
                <a:cubicBezTo>
                  <a:pt x="1" y="49"/>
                  <a:pt x="1" y="49"/>
                  <a:pt x="1" y="49"/>
                </a:cubicBezTo>
                <a:cubicBezTo>
                  <a:pt x="5" y="49"/>
                  <a:pt x="5" y="49"/>
                  <a:pt x="5" y="49"/>
                </a:cubicBezTo>
                <a:cubicBezTo>
                  <a:pt x="11" y="49"/>
                  <a:pt x="11" y="49"/>
                  <a:pt x="11" y="49"/>
                </a:cubicBezTo>
                <a:cubicBezTo>
                  <a:pt x="12" y="49"/>
                  <a:pt x="12" y="50"/>
                  <a:pt x="13" y="50"/>
                </a:cubicBezTo>
                <a:cubicBezTo>
                  <a:pt x="14" y="50"/>
                  <a:pt x="14" y="50"/>
                  <a:pt x="14" y="50"/>
                </a:cubicBezTo>
                <a:cubicBezTo>
                  <a:pt x="15" y="50"/>
                  <a:pt x="16" y="51"/>
                  <a:pt x="16" y="52"/>
                </a:cubicBezTo>
                <a:cubicBezTo>
                  <a:pt x="16" y="55"/>
                  <a:pt x="16" y="55"/>
                  <a:pt x="16" y="55"/>
                </a:cubicBezTo>
                <a:cubicBezTo>
                  <a:pt x="24" y="55"/>
                  <a:pt x="24" y="55"/>
                  <a:pt x="24" y="55"/>
                </a:cubicBezTo>
                <a:cubicBezTo>
                  <a:pt x="24" y="54"/>
                  <a:pt x="24" y="54"/>
                  <a:pt x="24" y="54"/>
                </a:cubicBezTo>
                <a:cubicBezTo>
                  <a:pt x="24" y="53"/>
                  <a:pt x="25" y="53"/>
                  <a:pt x="26" y="52"/>
                </a:cubicBezTo>
                <a:cubicBezTo>
                  <a:pt x="33" y="51"/>
                  <a:pt x="33" y="51"/>
                  <a:pt x="33" y="51"/>
                </a:cubicBezTo>
                <a:cubicBezTo>
                  <a:pt x="53" y="51"/>
                  <a:pt x="53" y="51"/>
                  <a:pt x="53" y="51"/>
                </a:cubicBezTo>
                <a:cubicBezTo>
                  <a:pt x="55" y="50"/>
                  <a:pt x="58" y="50"/>
                  <a:pt x="59" y="51"/>
                </a:cubicBezTo>
                <a:cubicBezTo>
                  <a:pt x="60" y="51"/>
                  <a:pt x="61" y="51"/>
                  <a:pt x="62" y="51"/>
                </a:cubicBezTo>
                <a:cubicBezTo>
                  <a:pt x="63" y="50"/>
                  <a:pt x="64" y="50"/>
                  <a:pt x="67" y="50"/>
                </a:cubicBezTo>
                <a:cubicBezTo>
                  <a:pt x="69" y="50"/>
                  <a:pt x="69" y="50"/>
                  <a:pt x="69" y="50"/>
                </a:cubicBezTo>
                <a:cubicBezTo>
                  <a:pt x="72" y="51"/>
                  <a:pt x="76" y="50"/>
                  <a:pt x="76" y="50"/>
                </a:cubicBezTo>
                <a:cubicBezTo>
                  <a:pt x="77" y="50"/>
                  <a:pt x="77" y="50"/>
                  <a:pt x="77" y="50"/>
                </a:cubicBezTo>
                <a:cubicBezTo>
                  <a:pt x="83" y="53"/>
                  <a:pt x="83" y="53"/>
                  <a:pt x="83" y="53"/>
                </a:cubicBezTo>
                <a:cubicBezTo>
                  <a:pt x="84" y="53"/>
                  <a:pt x="84" y="53"/>
                  <a:pt x="84" y="53"/>
                </a:cubicBezTo>
                <a:cubicBezTo>
                  <a:pt x="86" y="52"/>
                  <a:pt x="87" y="52"/>
                  <a:pt x="89" y="52"/>
                </a:cubicBezTo>
                <a:cubicBezTo>
                  <a:pt x="89" y="53"/>
                  <a:pt x="90" y="53"/>
                  <a:pt x="91" y="53"/>
                </a:cubicBezTo>
                <a:cubicBezTo>
                  <a:pt x="92" y="52"/>
                  <a:pt x="94" y="52"/>
                  <a:pt x="95" y="53"/>
                </a:cubicBezTo>
                <a:cubicBezTo>
                  <a:pt x="96" y="53"/>
                  <a:pt x="96" y="53"/>
                  <a:pt x="96" y="53"/>
                </a:cubicBezTo>
                <a:cubicBezTo>
                  <a:pt x="97" y="52"/>
                  <a:pt x="98" y="53"/>
                  <a:pt x="99" y="53"/>
                </a:cubicBezTo>
                <a:cubicBezTo>
                  <a:pt x="99" y="53"/>
                  <a:pt x="99" y="53"/>
                  <a:pt x="100" y="53"/>
                </a:cubicBezTo>
                <a:cubicBezTo>
                  <a:pt x="101" y="52"/>
                  <a:pt x="101" y="52"/>
                  <a:pt x="102" y="52"/>
                </a:cubicBezTo>
                <a:cubicBezTo>
                  <a:pt x="104" y="50"/>
                  <a:pt x="106" y="49"/>
                  <a:pt x="109" y="50"/>
                </a:cubicBezTo>
                <a:cubicBezTo>
                  <a:pt x="109" y="51"/>
                  <a:pt x="111" y="50"/>
                  <a:pt x="112" y="50"/>
                </a:cubicBezTo>
                <a:cubicBezTo>
                  <a:pt x="114" y="50"/>
                  <a:pt x="116" y="49"/>
                  <a:pt x="117" y="50"/>
                </a:cubicBezTo>
                <a:cubicBezTo>
                  <a:pt x="118" y="51"/>
                  <a:pt x="120" y="52"/>
                  <a:pt x="121" y="52"/>
                </a:cubicBezTo>
                <a:cubicBezTo>
                  <a:pt x="122" y="52"/>
                  <a:pt x="123" y="52"/>
                  <a:pt x="125" y="52"/>
                </a:cubicBezTo>
                <a:cubicBezTo>
                  <a:pt x="125" y="49"/>
                  <a:pt x="125" y="49"/>
                  <a:pt x="125" y="49"/>
                </a:cubicBezTo>
                <a:cubicBezTo>
                  <a:pt x="125" y="48"/>
                  <a:pt x="126" y="48"/>
                  <a:pt x="126" y="47"/>
                </a:cubicBezTo>
                <a:cubicBezTo>
                  <a:pt x="132" y="45"/>
                  <a:pt x="132" y="45"/>
                  <a:pt x="132" y="45"/>
                </a:cubicBezTo>
                <a:cubicBezTo>
                  <a:pt x="132" y="45"/>
                  <a:pt x="132" y="45"/>
                  <a:pt x="133" y="45"/>
                </a:cubicBezTo>
                <a:cubicBezTo>
                  <a:pt x="139" y="45"/>
                  <a:pt x="139" y="45"/>
                  <a:pt x="139" y="45"/>
                </a:cubicBezTo>
                <a:cubicBezTo>
                  <a:pt x="141" y="42"/>
                  <a:pt x="143" y="41"/>
                  <a:pt x="143" y="40"/>
                </a:cubicBezTo>
                <a:cubicBezTo>
                  <a:pt x="144" y="40"/>
                  <a:pt x="144" y="40"/>
                  <a:pt x="145" y="40"/>
                </a:cubicBezTo>
                <a:cubicBezTo>
                  <a:pt x="145" y="39"/>
                  <a:pt x="145" y="39"/>
                  <a:pt x="145" y="39"/>
                </a:cubicBezTo>
                <a:cubicBezTo>
                  <a:pt x="146" y="35"/>
                  <a:pt x="145" y="32"/>
                  <a:pt x="145" y="32"/>
                </a:cubicBezTo>
                <a:cubicBezTo>
                  <a:pt x="145" y="32"/>
                  <a:pt x="145" y="31"/>
                  <a:pt x="146" y="31"/>
                </a:cubicBezTo>
                <a:cubicBezTo>
                  <a:pt x="149" y="27"/>
                  <a:pt x="149" y="27"/>
                  <a:pt x="149" y="27"/>
                </a:cubicBezTo>
                <a:cubicBezTo>
                  <a:pt x="150" y="27"/>
                  <a:pt x="150" y="27"/>
                  <a:pt x="151" y="27"/>
                </a:cubicBezTo>
                <a:cubicBezTo>
                  <a:pt x="155" y="27"/>
                  <a:pt x="155" y="27"/>
                  <a:pt x="155" y="27"/>
                </a:cubicBezTo>
                <a:cubicBezTo>
                  <a:pt x="157" y="27"/>
                  <a:pt x="157" y="27"/>
                  <a:pt x="157" y="27"/>
                </a:cubicBezTo>
                <a:cubicBezTo>
                  <a:pt x="156" y="26"/>
                  <a:pt x="156" y="26"/>
                  <a:pt x="156" y="2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4" name="Freeform 95">
            <a:extLst>
              <a:ext uri="{FF2B5EF4-FFF2-40B4-BE49-F238E27FC236}">
                <a16:creationId xmlns:a16="http://schemas.microsoft.com/office/drawing/2014/main" id="{70FC1766-CB47-4B9B-B689-71C10EE804D0}"/>
              </a:ext>
            </a:extLst>
          </p:cNvPr>
          <p:cNvSpPr>
            <a:spLocks/>
          </p:cNvSpPr>
          <p:nvPr/>
        </p:nvSpPr>
        <p:spPr bwMode="auto">
          <a:xfrm>
            <a:off x="5695433" y="4850932"/>
            <a:ext cx="333640" cy="379413"/>
          </a:xfrm>
          <a:custGeom>
            <a:avLst/>
            <a:gdLst>
              <a:gd name="T0" fmla="*/ 129 w 138"/>
              <a:gd name="T1" fmla="*/ 128 h 170"/>
              <a:gd name="T2" fmla="*/ 138 w 138"/>
              <a:gd name="T3" fmla="*/ 123 h 170"/>
              <a:gd name="T4" fmla="*/ 132 w 138"/>
              <a:gd name="T5" fmla="*/ 112 h 170"/>
              <a:gd name="T6" fmla="*/ 128 w 138"/>
              <a:gd name="T7" fmla="*/ 105 h 170"/>
              <a:gd name="T8" fmla="*/ 114 w 138"/>
              <a:gd name="T9" fmla="*/ 100 h 170"/>
              <a:gd name="T10" fmla="*/ 104 w 138"/>
              <a:gd name="T11" fmla="*/ 101 h 170"/>
              <a:gd name="T12" fmla="*/ 100 w 138"/>
              <a:gd name="T13" fmla="*/ 94 h 170"/>
              <a:gd name="T14" fmla="*/ 95 w 138"/>
              <a:gd name="T15" fmla="*/ 87 h 170"/>
              <a:gd name="T16" fmla="*/ 98 w 138"/>
              <a:gd name="T17" fmla="*/ 84 h 170"/>
              <a:gd name="T18" fmla="*/ 103 w 138"/>
              <a:gd name="T19" fmla="*/ 79 h 170"/>
              <a:gd name="T20" fmla="*/ 101 w 138"/>
              <a:gd name="T21" fmla="*/ 71 h 170"/>
              <a:gd name="T22" fmla="*/ 97 w 138"/>
              <a:gd name="T23" fmla="*/ 65 h 170"/>
              <a:gd name="T24" fmla="*/ 98 w 138"/>
              <a:gd name="T25" fmla="*/ 57 h 170"/>
              <a:gd name="T26" fmla="*/ 98 w 138"/>
              <a:gd name="T27" fmla="*/ 46 h 170"/>
              <a:gd name="T28" fmla="*/ 100 w 138"/>
              <a:gd name="T29" fmla="*/ 42 h 170"/>
              <a:gd name="T30" fmla="*/ 96 w 138"/>
              <a:gd name="T31" fmla="*/ 38 h 170"/>
              <a:gd name="T32" fmla="*/ 91 w 138"/>
              <a:gd name="T33" fmla="*/ 38 h 170"/>
              <a:gd name="T34" fmla="*/ 88 w 138"/>
              <a:gd name="T35" fmla="*/ 43 h 170"/>
              <a:gd name="T36" fmla="*/ 79 w 138"/>
              <a:gd name="T37" fmla="*/ 44 h 170"/>
              <a:gd name="T38" fmla="*/ 75 w 138"/>
              <a:gd name="T39" fmla="*/ 44 h 170"/>
              <a:gd name="T40" fmla="*/ 66 w 138"/>
              <a:gd name="T41" fmla="*/ 41 h 170"/>
              <a:gd name="T42" fmla="*/ 64 w 138"/>
              <a:gd name="T43" fmla="*/ 32 h 170"/>
              <a:gd name="T44" fmla="*/ 60 w 138"/>
              <a:gd name="T45" fmla="*/ 20 h 170"/>
              <a:gd name="T46" fmla="*/ 65 w 138"/>
              <a:gd name="T47" fmla="*/ 14 h 170"/>
              <a:gd name="T48" fmla="*/ 65 w 138"/>
              <a:gd name="T49" fmla="*/ 9 h 170"/>
              <a:gd name="T50" fmla="*/ 59 w 138"/>
              <a:gd name="T51" fmla="*/ 0 h 170"/>
              <a:gd name="T52" fmla="*/ 56 w 138"/>
              <a:gd name="T53" fmla="*/ 9 h 170"/>
              <a:gd name="T54" fmla="*/ 52 w 138"/>
              <a:gd name="T55" fmla="*/ 17 h 170"/>
              <a:gd name="T56" fmla="*/ 42 w 138"/>
              <a:gd name="T57" fmla="*/ 12 h 170"/>
              <a:gd name="T58" fmla="*/ 36 w 138"/>
              <a:gd name="T59" fmla="*/ 15 h 170"/>
              <a:gd name="T60" fmla="*/ 31 w 138"/>
              <a:gd name="T61" fmla="*/ 22 h 170"/>
              <a:gd name="T62" fmla="*/ 26 w 138"/>
              <a:gd name="T63" fmla="*/ 39 h 170"/>
              <a:gd name="T64" fmla="*/ 19 w 138"/>
              <a:gd name="T65" fmla="*/ 45 h 170"/>
              <a:gd name="T66" fmla="*/ 7 w 138"/>
              <a:gd name="T67" fmla="*/ 47 h 170"/>
              <a:gd name="T68" fmla="*/ 12 w 138"/>
              <a:gd name="T69" fmla="*/ 51 h 170"/>
              <a:gd name="T70" fmla="*/ 14 w 138"/>
              <a:gd name="T71" fmla="*/ 55 h 170"/>
              <a:gd name="T72" fmla="*/ 11 w 138"/>
              <a:gd name="T73" fmla="*/ 67 h 170"/>
              <a:gd name="T74" fmla="*/ 5 w 138"/>
              <a:gd name="T75" fmla="*/ 75 h 170"/>
              <a:gd name="T76" fmla="*/ 4 w 138"/>
              <a:gd name="T77" fmla="*/ 82 h 170"/>
              <a:gd name="T78" fmla="*/ 4 w 138"/>
              <a:gd name="T79" fmla="*/ 88 h 170"/>
              <a:gd name="T80" fmla="*/ 0 w 138"/>
              <a:gd name="T81" fmla="*/ 96 h 170"/>
              <a:gd name="T82" fmla="*/ 3 w 138"/>
              <a:gd name="T83" fmla="*/ 106 h 170"/>
              <a:gd name="T84" fmla="*/ 9 w 138"/>
              <a:gd name="T85" fmla="*/ 116 h 170"/>
              <a:gd name="T86" fmla="*/ 12 w 138"/>
              <a:gd name="T87" fmla="*/ 121 h 170"/>
              <a:gd name="T88" fmla="*/ 15 w 138"/>
              <a:gd name="T89" fmla="*/ 127 h 170"/>
              <a:gd name="T90" fmla="*/ 12 w 138"/>
              <a:gd name="T91" fmla="*/ 139 h 170"/>
              <a:gd name="T92" fmla="*/ 19 w 138"/>
              <a:gd name="T93" fmla="*/ 142 h 170"/>
              <a:gd name="T94" fmla="*/ 24 w 138"/>
              <a:gd name="T95" fmla="*/ 152 h 170"/>
              <a:gd name="T96" fmla="*/ 28 w 138"/>
              <a:gd name="T97" fmla="*/ 161 h 170"/>
              <a:gd name="T98" fmla="*/ 33 w 138"/>
              <a:gd name="T99" fmla="*/ 159 h 170"/>
              <a:gd name="T100" fmla="*/ 47 w 138"/>
              <a:gd name="T101" fmla="*/ 155 h 170"/>
              <a:gd name="T102" fmla="*/ 64 w 138"/>
              <a:gd name="T103" fmla="*/ 156 h 170"/>
              <a:gd name="T104" fmla="*/ 101 w 138"/>
              <a:gd name="T105" fmla="*/ 161 h 170"/>
              <a:gd name="T106" fmla="*/ 105 w 138"/>
              <a:gd name="T107" fmla="*/ 163 h 170"/>
              <a:gd name="T108" fmla="*/ 111 w 138"/>
              <a:gd name="T109" fmla="*/ 164 h 170"/>
              <a:gd name="T110" fmla="*/ 117 w 138"/>
              <a:gd name="T111" fmla="*/ 167 h 170"/>
              <a:gd name="T112" fmla="*/ 127 w 138"/>
              <a:gd name="T113" fmla="*/ 169 h 170"/>
              <a:gd name="T114" fmla="*/ 135 w 138"/>
              <a:gd name="T115" fmla="*/ 161 h 170"/>
              <a:gd name="T116" fmla="*/ 130 w 138"/>
              <a:gd name="T117" fmla="*/ 150 h 170"/>
              <a:gd name="T118" fmla="*/ 124 w 138"/>
              <a:gd name="T119" fmla="*/ 142 h 170"/>
              <a:gd name="T120" fmla="*/ 125 w 138"/>
              <a:gd name="T121" fmla="*/ 138 h 170"/>
              <a:gd name="T122" fmla="*/ 124 w 138"/>
              <a:gd name="T123" fmla="*/ 130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38" h="170">
                <a:moveTo>
                  <a:pt x="124" y="130"/>
                </a:moveTo>
                <a:cubicBezTo>
                  <a:pt x="125" y="128"/>
                  <a:pt x="125" y="128"/>
                  <a:pt x="125" y="128"/>
                </a:cubicBezTo>
                <a:cubicBezTo>
                  <a:pt x="125" y="127"/>
                  <a:pt x="127" y="127"/>
                  <a:pt x="127" y="127"/>
                </a:cubicBezTo>
                <a:cubicBezTo>
                  <a:pt x="129" y="128"/>
                  <a:pt x="129" y="128"/>
                  <a:pt x="129" y="128"/>
                </a:cubicBezTo>
                <a:cubicBezTo>
                  <a:pt x="133" y="127"/>
                  <a:pt x="133" y="127"/>
                  <a:pt x="133" y="127"/>
                </a:cubicBezTo>
                <a:cubicBezTo>
                  <a:pt x="135" y="126"/>
                  <a:pt x="135" y="126"/>
                  <a:pt x="135" y="126"/>
                </a:cubicBezTo>
                <a:cubicBezTo>
                  <a:pt x="137" y="125"/>
                  <a:pt x="137" y="125"/>
                  <a:pt x="137" y="125"/>
                </a:cubicBezTo>
                <a:cubicBezTo>
                  <a:pt x="137" y="124"/>
                  <a:pt x="138" y="123"/>
                  <a:pt x="138" y="123"/>
                </a:cubicBezTo>
                <a:cubicBezTo>
                  <a:pt x="137" y="122"/>
                  <a:pt x="137" y="122"/>
                  <a:pt x="137" y="122"/>
                </a:cubicBezTo>
                <a:cubicBezTo>
                  <a:pt x="136" y="122"/>
                  <a:pt x="136" y="122"/>
                  <a:pt x="136" y="122"/>
                </a:cubicBezTo>
                <a:cubicBezTo>
                  <a:pt x="135" y="122"/>
                  <a:pt x="132" y="121"/>
                  <a:pt x="132" y="117"/>
                </a:cubicBezTo>
                <a:cubicBezTo>
                  <a:pt x="132" y="112"/>
                  <a:pt x="132" y="112"/>
                  <a:pt x="132" y="112"/>
                </a:cubicBezTo>
                <a:cubicBezTo>
                  <a:pt x="132" y="111"/>
                  <a:pt x="131" y="109"/>
                  <a:pt x="131" y="109"/>
                </a:cubicBezTo>
                <a:cubicBezTo>
                  <a:pt x="131" y="108"/>
                  <a:pt x="131" y="108"/>
                  <a:pt x="131" y="107"/>
                </a:cubicBezTo>
                <a:cubicBezTo>
                  <a:pt x="130" y="107"/>
                  <a:pt x="130" y="107"/>
                  <a:pt x="130" y="107"/>
                </a:cubicBezTo>
                <a:cubicBezTo>
                  <a:pt x="129" y="107"/>
                  <a:pt x="129" y="106"/>
                  <a:pt x="128" y="105"/>
                </a:cubicBezTo>
                <a:cubicBezTo>
                  <a:pt x="127" y="104"/>
                  <a:pt x="125" y="103"/>
                  <a:pt x="125" y="103"/>
                </a:cubicBezTo>
                <a:cubicBezTo>
                  <a:pt x="122" y="101"/>
                  <a:pt x="120" y="100"/>
                  <a:pt x="119" y="99"/>
                </a:cubicBezTo>
                <a:cubicBezTo>
                  <a:pt x="116" y="100"/>
                  <a:pt x="116" y="100"/>
                  <a:pt x="116" y="100"/>
                </a:cubicBezTo>
                <a:cubicBezTo>
                  <a:pt x="115" y="100"/>
                  <a:pt x="115" y="100"/>
                  <a:pt x="114" y="100"/>
                </a:cubicBezTo>
                <a:cubicBezTo>
                  <a:pt x="113" y="100"/>
                  <a:pt x="110" y="101"/>
                  <a:pt x="108" y="101"/>
                </a:cubicBezTo>
                <a:cubicBezTo>
                  <a:pt x="108" y="101"/>
                  <a:pt x="108" y="101"/>
                  <a:pt x="107" y="101"/>
                </a:cubicBezTo>
                <a:cubicBezTo>
                  <a:pt x="106" y="101"/>
                  <a:pt x="106" y="101"/>
                  <a:pt x="106" y="101"/>
                </a:cubicBezTo>
                <a:cubicBezTo>
                  <a:pt x="104" y="101"/>
                  <a:pt x="104" y="101"/>
                  <a:pt x="104" y="101"/>
                </a:cubicBezTo>
                <a:cubicBezTo>
                  <a:pt x="103" y="101"/>
                  <a:pt x="102" y="100"/>
                  <a:pt x="102" y="100"/>
                </a:cubicBezTo>
                <a:cubicBezTo>
                  <a:pt x="101" y="96"/>
                  <a:pt x="101" y="96"/>
                  <a:pt x="101" y="96"/>
                </a:cubicBezTo>
                <a:cubicBezTo>
                  <a:pt x="101" y="94"/>
                  <a:pt x="101" y="94"/>
                  <a:pt x="101" y="94"/>
                </a:cubicBezTo>
                <a:cubicBezTo>
                  <a:pt x="100" y="94"/>
                  <a:pt x="100" y="94"/>
                  <a:pt x="100" y="94"/>
                </a:cubicBezTo>
                <a:cubicBezTo>
                  <a:pt x="96" y="94"/>
                  <a:pt x="96" y="94"/>
                  <a:pt x="96" y="94"/>
                </a:cubicBezTo>
                <a:cubicBezTo>
                  <a:pt x="95" y="94"/>
                  <a:pt x="94" y="93"/>
                  <a:pt x="94" y="92"/>
                </a:cubicBezTo>
                <a:cubicBezTo>
                  <a:pt x="94" y="89"/>
                  <a:pt x="94" y="89"/>
                  <a:pt x="94" y="89"/>
                </a:cubicBezTo>
                <a:cubicBezTo>
                  <a:pt x="95" y="87"/>
                  <a:pt x="95" y="87"/>
                  <a:pt x="95" y="87"/>
                </a:cubicBezTo>
                <a:cubicBezTo>
                  <a:pt x="95" y="86"/>
                  <a:pt x="95" y="86"/>
                  <a:pt x="95" y="86"/>
                </a:cubicBezTo>
                <a:cubicBezTo>
                  <a:pt x="96" y="85"/>
                  <a:pt x="96" y="85"/>
                  <a:pt x="96" y="85"/>
                </a:cubicBezTo>
                <a:cubicBezTo>
                  <a:pt x="96" y="84"/>
                  <a:pt x="97" y="84"/>
                  <a:pt x="97" y="84"/>
                </a:cubicBezTo>
                <a:cubicBezTo>
                  <a:pt x="98" y="84"/>
                  <a:pt x="98" y="84"/>
                  <a:pt x="98" y="84"/>
                </a:cubicBezTo>
                <a:cubicBezTo>
                  <a:pt x="98" y="83"/>
                  <a:pt x="99" y="83"/>
                  <a:pt x="100" y="83"/>
                </a:cubicBezTo>
                <a:cubicBezTo>
                  <a:pt x="101" y="83"/>
                  <a:pt x="101" y="83"/>
                  <a:pt x="101" y="83"/>
                </a:cubicBezTo>
                <a:cubicBezTo>
                  <a:pt x="101" y="82"/>
                  <a:pt x="101" y="82"/>
                  <a:pt x="101" y="82"/>
                </a:cubicBezTo>
                <a:cubicBezTo>
                  <a:pt x="103" y="79"/>
                  <a:pt x="103" y="79"/>
                  <a:pt x="103" y="79"/>
                </a:cubicBezTo>
                <a:cubicBezTo>
                  <a:pt x="104" y="78"/>
                  <a:pt x="104" y="78"/>
                  <a:pt x="104" y="78"/>
                </a:cubicBezTo>
                <a:cubicBezTo>
                  <a:pt x="103" y="75"/>
                  <a:pt x="103" y="75"/>
                  <a:pt x="103" y="75"/>
                </a:cubicBezTo>
                <a:cubicBezTo>
                  <a:pt x="102" y="74"/>
                  <a:pt x="102" y="74"/>
                  <a:pt x="102" y="74"/>
                </a:cubicBezTo>
                <a:cubicBezTo>
                  <a:pt x="101" y="71"/>
                  <a:pt x="101" y="71"/>
                  <a:pt x="101" y="71"/>
                </a:cubicBezTo>
                <a:cubicBezTo>
                  <a:pt x="101" y="71"/>
                  <a:pt x="101" y="71"/>
                  <a:pt x="101" y="70"/>
                </a:cubicBezTo>
                <a:cubicBezTo>
                  <a:pt x="101" y="69"/>
                  <a:pt x="101" y="69"/>
                  <a:pt x="101" y="69"/>
                </a:cubicBezTo>
                <a:cubicBezTo>
                  <a:pt x="101" y="69"/>
                  <a:pt x="101" y="69"/>
                  <a:pt x="100" y="69"/>
                </a:cubicBezTo>
                <a:cubicBezTo>
                  <a:pt x="99" y="68"/>
                  <a:pt x="97" y="67"/>
                  <a:pt x="97" y="65"/>
                </a:cubicBezTo>
                <a:cubicBezTo>
                  <a:pt x="97" y="64"/>
                  <a:pt x="97" y="64"/>
                  <a:pt x="97" y="62"/>
                </a:cubicBezTo>
                <a:cubicBezTo>
                  <a:pt x="97" y="62"/>
                  <a:pt x="97" y="62"/>
                  <a:pt x="97" y="61"/>
                </a:cubicBezTo>
                <a:cubicBezTo>
                  <a:pt x="97" y="61"/>
                  <a:pt x="97" y="60"/>
                  <a:pt x="98" y="59"/>
                </a:cubicBezTo>
                <a:cubicBezTo>
                  <a:pt x="98" y="57"/>
                  <a:pt x="98" y="57"/>
                  <a:pt x="98" y="57"/>
                </a:cubicBezTo>
                <a:cubicBezTo>
                  <a:pt x="98" y="57"/>
                  <a:pt x="99" y="56"/>
                  <a:pt x="99" y="54"/>
                </a:cubicBezTo>
                <a:cubicBezTo>
                  <a:pt x="100" y="53"/>
                  <a:pt x="100" y="53"/>
                  <a:pt x="100" y="52"/>
                </a:cubicBezTo>
                <a:cubicBezTo>
                  <a:pt x="99" y="52"/>
                  <a:pt x="98" y="51"/>
                  <a:pt x="98" y="50"/>
                </a:cubicBezTo>
                <a:cubicBezTo>
                  <a:pt x="98" y="48"/>
                  <a:pt x="98" y="46"/>
                  <a:pt x="98" y="46"/>
                </a:cubicBezTo>
                <a:cubicBezTo>
                  <a:pt x="98" y="44"/>
                  <a:pt x="98" y="44"/>
                  <a:pt x="98" y="44"/>
                </a:cubicBezTo>
                <a:cubicBezTo>
                  <a:pt x="98" y="44"/>
                  <a:pt x="99" y="44"/>
                  <a:pt x="99" y="43"/>
                </a:cubicBezTo>
                <a:cubicBezTo>
                  <a:pt x="99" y="43"/>
                  <a:pt x="99" y="43"/>
                  <a:pt x="100" y="43"/>
                </a:cubicBezTo>
                <a:cubicBezTo>
                  <a:pt x="100" y="42"/>
                  <a:pt x="100" y="42"/>
                  <a:pt x="100" y="42"/>
                </a:cubicBezTo>
                <a:cubicBezTo>
                  <a:pt x="101" y="41"/>
                  <a:pt x="101" y="41"/>
                  <a:pt x="101" y="41"/>
                </a:cubicBezTo>
                <a:cubicBezTo>
                  <a:pt x="101" y="40"/>
                  <a:pt x="101" y="40"/>
                  <a:pt x="101" y="39"/>
                </a:cubicBezTo>
                <a:cubicBezTo>
                  <a:pt x="99" y="39"/>
                  <a:pt x="97" y="39"/>
                  <a:pt x="97" y="39"/>
                </a:cubicBezTo>
                <a:cubicBezTo>
                  <a:pt x="97" y="39"/>
                  <a:pt x="96" y="39"/>
                  <a:pt x="96" y="38"/>
                </a:cubicBezTo>
                <a:cubicBezTo>
                  <a:pt x="94" y="37"/>
                  <a:pt x="94" y="37"/>
                  <a:pt x="94" y="37"/>
                </a:cubicBezTo>
                <a:cubicBezTo>
                  <a:pt x="93" y="37"/>
                  <a:pt x="93" y="37"/>
                  <a:pt x="93" y="37"/>
                </a:cubicBezTo>
                <a:cubicBezTo>
                  <a:pt x="92" y="37"/>
                  <a:pt x="92" y="37"/>
                  <a:pt x="92" y="37"/>
                </a:cubicBezTo>
                <a:cubicBezTo>
                  <a:pt x="91" y="38"/>
                  <a:pt x="91" y="38"/>
                  <a:pt x="91" y="38"/>
                </a:cubicBezTo>
                <a:cubicBezTo>
                  <a:pt x="91" y="39"/>
                  <a:pt x="91" y="39"/>
                  <a:pt x="91" y="39"/>
                </a:cubicBezTo>
                <a:cubicBezTo>
                  <a:pt x="90" y="41"/>
                  <a:pt x="90" y="41"/>
                  <a:pt x="90" y="41"/>
                </a:cubicBezTo>
                <a:cubicBezTo>
                  <a:pt x="90" y="41"/>
                  <a:pt x="89" y="41"/>
                  <a:pt x="89" y="42"/>
                </a:cubicBezTo>
                <a:cubicBezTo>
                  <a:pt x="88" y="43"/>
                  <a:pt x="88" y="43"/>
                  <a:pt x="88" y="43"/>
                </a:cubicBezTo>
                <a:cubicBezTo>
                  <a:pt x="87" y="43"/>
                  <a:pt x="86" y="43"/>
                  <a:pt x="86" y="43"/>
                </a:cubicBezTo>
                <a:cubicBezTo>
                  <a:pt x="85" y="44"/>
                  <a:pt x="85" y="44"/>
                  <a:pt x="85" y="44"/>
                </a:cubicBezTo>
                <a:cubicBezTo>
                  <a:pt x="85" y="44"/>
                  <a:pt x="84" y="44"/>
                  <a:pt x="83" y="44"/>
                </a:cubicBezTo>
                <a:cubicBezTo>
                  <a:pt x="79" y="44"/>
                  <a:pt x="79" y="44"/>
                  <a:pt x="79" y="44"/>
                </a:cubicBezTo>
                <a:cubicBezTo>
                  <a:pt x="78" y="44"/>
                  <a:pt x="78" y="44"/>
                  <a:pt x="78" y="44"/>
                </a:cubicBezTo>
                <a:cubicBezTo>
                  <a:pt x="78" y="44"/>
                  <a:pt x="78" y="44"/>
                  <a:pt x="77" y="44"/>
                </a:cubicBezTo>
                <a:cubicBezTo>
                  <a:pt x="77" y="44"/>
                  <a:pt x="77" y="44"/>
                  <a:pt x="76" y="44"/>
                </a:cubicBezTo>
                <a:cubicBezTo>
                  <a:pt x="75" y="44"/>
                  <a:pt x="75" y="44"/>
                  <a:pt x="75" y="44"/>
                </a:cubicBezTo>
                <a:cubicBezTo>
                  <a:pt x="74" y="44"/>
                  <a:pt x="74" y="44"/>
                  <a:pt x="74" y="44"/>
                </a:cubicBezTo>
                <a:cubicBezTo>
                  <a:pt x="73" y="44"/>
                  <a:pt x="73" y="44"/>
                  <a:pt x="72" y="44"/>
                </a:cubicBezTo>
                <a:cubicBezTo>
                  <a:pt x="69" y="44"/>
                  <a:pt x="68" y="44"/>
                  <a:pt x="67" y="43"/>
                </a:cubicBezTo>
                <a:cubicBezTo>
                  <a:pt x="66" y="42"/>
                  <a:pt x="66" y="41"/>
                  <a:pt x="66" y="41"/>
                </a:cubicBezTo>
                <a:cubicBezTo>
                  <a:pt x="65" y="40"/>
                  <a:pt x="65" y="38"/>
                  <a:pt x="65" y="37"/>
                </a:cubicBezTo>
                <a:cubicBezTo>
                  <a:pt x="65" y="36"/>
                  <a:pt x="65" y="34"/>
                  <a:pt x="65" y="34"/>
                </a:cubicBezTo>
                <a:cubicBezTo>
                  <a:pt x="65" y="33"/>
                  <a:pt x="65" y="33"/>
                  <a:pt x="65" y="33"/>
                </a:cubicBezTo>
                <a:cubicBezTo>
                  <a:pt x="64" y="33"/>
                  <a:pt x="64" y="33"/>
                  <a:pt x="64" y="32"/>
                </a:cubicBezTo>
                <a:cubicBezTo>
                  <a:pt x="64" y="32"/>
                  <a:pt x="62" y="29"/>
                  <a:pt x="62" y="28"/>
                </a:cubicBezTo>
                <a:cubicBezTo>
                  <a:pt x="60" y="27"/>
                  <a:pt x="60" y="26"/>
                  <a:pt x="60" y="25"/>
                </a:cubicBezTo>
                <a:cubicBezTo>
                  <a:pt x="60" y="24"/>
                  <a:pt x="60" y="23"/>
                  <a:pt x="60" y="23"/>
                </a:cubicBezTo>
                <a:cubicBezTo>
                  <a:pt x="60" y="20"/>
                  <a:pt x="60" y="20"/>
                  <a:pt x="60" y="20"/>
                </a:cubicBezTo>
                <a:cubicBezTo>
                  <a:pt x="61" y="20"/>
                  <a:pt x="61" y="18"/>
                  <a:pt x="61" y="17"/>
                </a:cubicBezTo>
                <a:cubicBezTo>
                  <a:pt x="62" y="15"/>
                  <a:pt x="62" y="15"/>
                  <a:pt x="62" y="15"/>
                </a:cubicBezTo>
                <a:cubicBezTo>
                  <a:pt x="62" y="14"/>
                  <a:pt x="63" y="14"/>
                  <a:pt x="64" y="14"/>
                </a:cubicBezTo>
                <a:cubicBezTo>
                  <a:pt x="65" y="14"/>
                  <a:pt x="65" y="14"/>
                  <a:pt x="65" y="14"/>
                </a:cubicBezTo>
                <a:cubicBezTo>
                  <a:pt x="66" y="13"/>
                  <a:pt x="66" y="13"/>
                  <a:pt x="66" y="13"/>
                </a:cubicBezTo>
                <a:cubicBezTo>
                  <a:pt x="66" y="12"/>
                  <a:pt x="67" y="12"/>
                  <a:pt x="67" y="12"/>
                </a:cubicBezTo>
                <a:cubicBezTo>
                  <a:pt x="68" y="12"/>
                  <a:pt x="68" y="12"/>
                  <a:pt x="68" y="12"/>
                </a:cubicBezTo>
                <a:cubicBezTo>
                  <a:pt x="65" y="9"/>
                  <a:pt x="65" y="9"/>
                  <a:pt x="65" y="9"/>
                </a:cubicBezTo>
                <a:cubicBezTo>
                  <a:pt x="64" y="8"/>
                  <a:pt x="64" y="8"/>
                  <a:pt x="64" y="8"/>
                </a:cubicBezTo>
                <a:cubicBezTo>
                  <a:pt x="63" y="7"/>
                  <a:pt x="63" y="7"/>
                  <a:pt x="63" y="7"/>
                </a:cubicBezTo>
                <a:cubicBezTo>
                  <a:pt x="63" y="7"/>
                  <a:pt x="63" y="6"/>
                  <a:pt x="62" y="6"/>
                </a:cubicBezTo>
                <a:cubicBezTo>
                  <a:pt x="61" y="5"/>
                  <a:pt x="60" y="3"/>
                  <a:pt x="59" y="0"/>
                </a:cubicBezTo>
                <a:cubicBezTo>
                  <a:pt x="59" y="1"/>
                  <a:pt x="59" y="2"/>
                  <a:pt x="58" y="2"/>
                </a:cubicBezTo>
                <a:cubicBezTo>
                  <a:pt x="56" y="4"/>
                  <a:pt x="56" y="4"/>
                  <a:pt x="56" y="4"/>
                </a:cubicBezTo>
                <a:cubicBezTo>
                  <a:pt x="56" y="5"/>
                  <a:pt x="56" y="5"/>
                  <a:pt x="56" y="6"/>
                </a:cubicBezTo>
                <a:cubicBezTo>
                  <a:pt x="57" y="8"/>
                  <a:pt x="57" y="9"/>
                  <a:pt x="56" y="9"/>
                </a:cubicBezTo>
                <a:cubicBezTo>
                  <a:pt x="56" y="10"/>
                  <a:pt x="56" y="10"/>
                  <a:pt x="56" y="11"/>
                </a:cubicBezTo>
                <a:cubicBezTo>
                  <a:pt x="56" y="12"/>
                  <a:pt x="56" y="12"/>
                  <a:pt x="56" y="12"/>
                </a:cubicBezTo>
                <a:cubicBezTo>
                  <a:pt x="57" y="14"/>
                  <a:pt x="57" y="14"/>
                  <a:pt x="56" y="15"/>
                </a:cubicBezTo>
                <a:cubicBezTo>
                  <a:pt x="55" y="17"/>
                  <a:pt x="53" y="17"/>
                  <a:pt x="52" y="17"/>
                </a:cubicBezTo>
                <a:cubicBezTo>
                  <a:pt x="47" y="16"/>
                  <a:pt x="47" y="16"/>
                  <a:pt x="47" y="16"/>
                </a:cubicBezTo>
                <a:cubicBezTo>
                  <a:pt x="44" y="15"/>
                  <a:pt x="44" y="15"/>
                  <a:pt x="44" y="15"/>
                </a:cubicBezTo>
                <a:cubicBezTo>
                  <a:pt x="43" y="14"/>
                  <a:pt x="42" y="14"/>
                  <a:pt x="42" y="13"/>
                </a:cubicBezTo>
                <a:cubicBezTo>
                  <a:pt x="42" y="12"/>
                  <a:pt x="42" y="12"/>
                  <a:pt x="42" y="12"/>
                </a:cubicBezTo>
                <a:cubicBezTo>
                  <a:pt x="42" y="11"/>
                  <a:pt x="42" y="11"/>
                  <a:pt x="42" y="11"/>
                </a:cubicBezTo>
                <a:cubicBezTo>
                  <a:pt x="39" y="11"/>
                  <a:pt x="39" y="11"/>
                  <a:pt x="39" y="11"/>
                </a:cubicBezTo>
                <a:cubicBezTo>
                  <a:pt x="39" y="12"/>
                  <a:pt x="39" y="12"/>
                  <a:pt x="39" y="13"/>
                </a:cubicBezTo>
                <a:cubicBezTo>
                  <a:pt x="39" y="13"/>
                  <a:pt x="37" y="14"/>
                  <a:pt x="36" y="15"/>
                </a:cubicBezTo>
                <a:cubicBezTo>
                  <a:pt x="35" y="16"/>
                  <a:pt x="35" y="16"/>
                  <a:pt x="35" y="16"/>
                </a:cubicBezTo>
                <a:cubicBezTo>
                  <a:pt x="35" y="17"/>
                  <a:pt x="34" y="17"/>
                  <a:pt x="34" y="18"/>
                </a:cubicBezTo>
                <a:cubicBezTo>
                  <a:pt x="33" y="19"/>
                  <a:pt x="32" y="19"/>
                  <a:pt x="31" y="20"/>
                </a:cubicBezTo>
                <a:cubicBezTo>
                  <a:pt x="31" y="20"/>
                  <a:pt x="31" y="21"/>
                  <a:pt x="31" y="22"/>
                </a:cubicBezTo>
                <a:cubicBezTo>
                  <a:pt x="30" y="22"/>
                  <a:pt x="30" y="23"/>
                  <a:pt x="29" y="23"/>
                </a:cubicBezTo>
                <a:cubicBezTo>
                  <a:pt x="29" y="34"/>
                  <a:pt x="29" y="34"/>
                  <a:pt x="29" y="34"/>
                </a:cubicBezTo>
                <a:cubicBezTo>
                  <a:pt x="28" y="35"/>
                  <a:pt x="28" y="36"/>
                  <a:pt x="27" y="37"/>
                </a:cubicBezTo>
                <a:cubicBezTo>
                  <a:pt x="27" y="37"/>
                  <a:pt x="27" y="38"/>
                  <a:pt x="26" y="39"/>
                </a:cubicBezTo>
                <a:cubicBezTo>
                  <a:pt x="26" y="40"/>
                  <a:pt x="26" y="40"/>
                  <a:pt x="25" y="41"/>
                </a:cubicBezTo>
                <a:cubicBezTo>
                  <a:pt x="25" y="42"/>
                  <a:pt x="23" y="43"/>
                  <a:pt x="23" y="43"/>
                </a:cubicBezTo>
                <a:cubicBezTo>
                  <a:pt x="22" y="43"/>
                  <a:pt x="22" y="43"/>
                  <a:pt x="21" y="43"/>
                </a:cubicBezTo>
                <a:cubicBezTo>
                  <a:pt x="20" y="44"/>
                  <a:pt x="20" y="44"/>
                  <a:pt x="19" y="45"/>
                </a:cubicBezTo>
                <a:cubicBezTo>
                  <a:pt x="19" y="46"/>
                  <a:pt x="18" y="47"/>
                  <a:pt x="17" y="47"/>
                </a:cubicBezTo>
                <a:cubicBezTo>
                  <a:pt x="9" y="47"/>
                  <a:pt x="9" y="47"/>
                  <a:pt x="9" y="47"/>
                </a:cubicBezTo>
                <a:cubicBezTo>
                  <a:pt x="8" y="47"/>
                  <a:pt x="7" y="46"/>
                  <a:pt x="7" y="46"/>
                </a:cubicBezTo>
                <a:cubicBezTo>
                  <a:pt x="7" y="47"/>
                  <a:pt x="7" y="47"/>
                  <a:pt x="7" y="47"/>
                </a:cubicBezTo>
                <a:cubicBezTo>
                  <a:pt x="7" y="48"/>
                  <a:pt x="7" y="48"/>
                  <a:pt x="7" y="48"/>
                </a:cubicBezTo>
                <a:cubicBezTo>
                  <a:pt x="8" y="49"/>
                  <a:pt x="8" y="49"/>
                  <a:pt x="8" y="49"/>
                </a:cubicBezTo>
                <a:cubicBezTo>
                  <a:pt x="10" y="51"/>
                  <a:pt x="10" y="51"/>
                  <a:pt x="10" y="51"/>
                </a:cubicBezTo>
                <a:cubicBezTo>
                  <a:pt x="12" y="51"/>
                  <a:pt x="12" y="51"/>
                  <a:pt x="12" y="51"/>
                </a:cubicBezTo>
                <a:cubicBezTo>
                  <a:pt x="13" y="52"/>
                  <a:pt x="13" y="52"/>
                  <a:pt x="13" y="52"/>
                </a:cubicBezTo>
                <a:cubicBezTo>
                  <a:pt x="14" y="53"/>
                  <a:pt x="14" y="53"/>
                  <a:pt x="14" y="53"/>
                </a:cubicBezTo>
                <a:cubicBezTo>
                  <a:pt x="14" y="54"/>
                  <a:pt x="14" y="54"/>
                  <a:pt x="14" y="54"/>
                </a:cubicBezTo>
                <a:cubicBezTo>
                  <a:pt x="14" y="55"/>
                  <a:pt x="14" y="55"/>
                  <a:pt x="14" y="55"/>
                </a:cubicBezTo>
                <a:cubicBezTo>
                  <a:pt x="14" y="55"/>
                  <a:pt x="15" y="55"/>
                  <a:pt x="15" y="56"/>
                </a:cubicBezTo>
                <a:cubicBezTo>
                  <a:pt x="16" y="57"/>
                  <a:pt x="15" y="59"/>
                  <a:pt x="14" y="60"/>
                </a:cubicBezTo>
                <a:cubicBezTo>
                  <a:pt x="12" y="62"/>
                  <a:pt x="11" y="63"/>
                  <a:pt x="11" y="64"/>
                </a:cubicBezTo>
                <a:cubicBezTo>
                  <a:pt x="11" y="67"/>
                  <a:pt x="11" y="67"/>
                  <a:pt x="11" y="67"/>
                </a:cubicBezTo>
                <a:cubicBezTo>
                  <a:pt x="11" y="68"/>
                  <a:pt x="10" y="68"/>
                  <a:pt x="10" y="68"/>
                </a:cubicBezTo>
                <a:cubicBezTo>
                  <a:pt x="8" y="70"/>
                  <a:pt x="8" y="70"/>
                  <a:pt x="8" y="70"/>
                </a:cubicBezTo>
                <a:cubicBezTo>
                  <a:pt x="8" y="71"/>
                  <a:pt x="7" y="72"/>
                  <a:pt x="7" y="73"/>
                </a:cubicBezTo>
                <a:cubicBezTo>
                  <a:pt x="6" y="73"/>
                  <a:pt x="5" y="74"/>
                  <a:pt x="5" y="75"/>
                </a:cubicBezTo>
                <a:cubicBezTo>
                  <a:pt x="4" y="76"/>
                  <a:pt x="4" y="77"/>
                  <a:pt x="4" y="77"/>
                </a:cubicBezTo>
                <a:cubicBezTo>
                  <a:pt x="4" y="78"/>
                  <a:pt x="4" y="78"/>
                  <a:pt x="4" y="78"/>
                </a:cubicBezTo>
                <a:cubicBezTo>
                  <a:pt x="4" y="79"/>
                  <a:pt x="4" y="79"/>
                  <a:pt x="4" y="79"/>
                </a:cubicBezTo>
                <a:cubicBezTo>
                  <a:pt x="4" y="80"/>
                  <a:pt x="4" y="82"/>
                  <a:pt x="4" y="82"/>
                </a:cubicBezTo>
                <a:cubicBezTo>
                  <a:pt x="3" y="85"/>
                  <a:pt x="3" y="85"/>
                  <a:pt x="3" y="85"/>
                </a:cubicBezTo>
                <a:cubicBezTo>
                  <a:pt x="3" y="85"/>
                  <a:pt x="3" y="86"/>
                  <a:pt x="4" y="86"/>
                </a:cubicBezTo>
                <a:cubicBezTo>
                  <a:pt x="4" y="87"/>
                  <a:pt x="4" y="87"/>
                  <a:pt x="4" y="87"/>
                </a:cubicBezTo>
                <a:cubicBezTo>
                  <a:pt x="4" y="88"/>
                  <a:pt x="4" y="88"/>
                  <a:pt x="4" y="88"/>
                </a:cubicBezTo>
                <a:cubicBezTo>
                  <a:pt x="3" y="91"/>
                  <a:pt x="3" y="91"/>
                  <a:pt x="3" y="91"/>
                </a:cubicBezTo>
                <a:cubicBezTo>
                  <a:pt x="3" y="92"/>
                  <a:pt x="3" y="92"/>
                  <a:pt x="3" y="92"/>
                </a:cubicBezTo>
                <a:cubicBezTo>
                  <a:pt x="3" y="93"/>
                  <a:pt x="3" y="93"/>
                  <a:pt x="3" y="93"/>
                </a:cubicBezTo>
                <a:cubicBezTo>
                  <a:pt x="0" y="96"/>
                  <a:pt x="0" y="96"/>
                  <a:pt x="0" y="96"/>
                </a:cubicBezTo>
                <a:cubicBezTo>
                  <a:pt x="2" y="97"/>
                  <a:pt x="2" y="97"/>
                  <a:pt x="2" y="97"/>
                </a:cubicBezTo>
                <a:cubicBezTo>
                  <a:pt x="2" y="97"/>
                  <a:pt x="3" y="98"/>
                  <a:pt x="2" y="99"/>
                </a:cubicBezTo>
                <a:cubicBezTo>
                  <a:pt x="2" y="101"/>
                  <a:pt x="2" y="101"/>
                  <a:pt x="2" y="101"/>
                </a:cubicBezTo>
                <a:cubicBezTo>
                  <a:pt x="2" y="102"/>
                  <a:pt x="2" y="104"/>
                  <a:pt x="3" y="106"/>
                </a:cubicBezTo>
                <a:cubicBezTo>
                  <a:pt x="3" y="108"/>
                  <a:pt x="3" y="110"/>
                  <a:pt x="3" y="110"/>
                </a:cubicBezTo>
                <a:cubicBezTo>
                  <a:pt x="3" y="111"/>
                  <a:pt x="3" y="111"/>
                  <a:pt x="3" y="112"/>
                </a:cubicBezTo>
                <a:cubicBezTo>
                  <a:pt x="3" y="112"/>
                  <a:pt x="4" y="112"/>
                  <a:pt x="4" y="111"/>
                </a:cubicBezTo>
                <a:cubicBezTo>
                  <a:pt x="5" y="113"/>
                  <a:pt x="7" y="116"/>
                  <a:pt x="9" y="116"/>
                </a:cubicBezTo>
                <a:cubicBezTo>
                  <a:pt x="6" y="116"/>
                  <a:pt x="6" y="116"/>
                  <a:pt x="6" y="116"/>
                </a:cubicBezTo>
                <a:cubicBezTo>
                  <a:pt x="7" y="118"/>
                  <a:pt x="8" y="119"/>
                  <a:pt x="8" y="119"/>
                </a:cubicBezTo>
                <a:cubicBezTo>
                  <a:pt x="10" y="119"/>
                  <a:pt x="10" y="119"/>
                  <a:pt x="10" y="119"/>
                </a:cubicBezTo>
                <a:cubicBezTo>
                  <a:pt x="11" y="119"/>
                  <a:pt x="12" y="120"/>
                  <a:pt x="12" y="121"/>
                </a:cubicBezTo>
                <a:cubicBezTo>
                  <a:pt x="12" y="121"/>
                  <a:pt x="12" y="122"/>
                  <a:pt x="12" y="122"/>
                </a:cubicBezTo>
                <a:cubicBezTo>
                  <a:pt x="12" y="122"/>
                  <a:pt x="13" y="123"/>
                  <a:pt x="13" y="124"/>
                </a:cubicBezTo>
                <a:cubicBezTo>
                  <a:pt x="14" y="126"/>
                  <a:pt x="15" y="126"/>
                  <a:pt x="15" y="126"/>
                </a:cubicBezTo>
                <a:cubicBezTo>
                  <a:pt x="15" y="126"/>
                  <a:pt x="15" y="126"/>
                  <a:pt x="15" y="127"/>
                </a:cubicBezTo>
                <a:cubicBezTo>
                  <a:pt x="15" y="127"/>
                  <a:pt x="16" y="128"/>
                  <a:pt x="15" y="130"/>
                </a:cubicBezTo>
                <a:cubicBezTo>
                  <a:pt x="15" y="131"/>
                  <a:pt x="15" y="131"/>
                  <a:pt x="15" y="131"/>
                </a:cubicBezTo>
                <a:cubicBezTo>
                  <a:pt x="16" y="132"/>
                  <a:pt x="16" y="132"/>
                  <a:pt x="15" y="133"/>
                </a:cubicBezTo>
                <a:cubicBezTo>
                  <a:pt x="12" y="139"/>
                  <a:pt x="12" y="139"/>
                  <a:pt x="12" y="139"/>
                </a:cubicBezTo>
                <a:cubicBezTo>
                  <a:pt x="14" y="139"/>
                  <a:pt x="14" y="139"/>
                  <a:pt x="14" y="139"/>
                </a:cubicBezTo>
                <a:cubicBezTo>
                  <a:pt x="15" y="140"/>
                  <a:pt x="15" y="140"/>
                  <a:pt x="15" y="140"/>
                </a:cubicBezTo>
                <a:cubicBezTo>
                  <a:pt x="16" y="140"/>
                  <a:pt x="16" y="141"/>
                  <a:pt x="17" y="141"/>
                </a:cubicBezTo>
                <a:cubicBezTo>
                  <a:pt x="17" y="141"/>
                  <a:pt x="18" y="142"/>
                  <a:pt x="19" y="142"/>
                </a:cubicBezTo>
                <a:cubicBezTo>
                  <a:pt x="20" y="143"/>
                  <a:pt x="20" y="143"/>
                  <a:pt x="20" y="143"/>
                </a:cubicBezTo>
                <a:cubicBezTo>
                  <a:pt x="21" y="144"/>
                  <a:pt x="21" y="144"/>
                  <a:pt x="21" y="144"/>
                </a:cubicBezTo>
                <a:cubicBezTo>
                  <a:pt x="22" y="150"/>
                  <a:pt x="22" y="150"/>
                  <a:pt x="22" y="150"/>
                </a:cubicBezTo>
                <a:cubicBezTo>
                  <a:pt x="24" y="152"/>
                  <a:pt x="24" y="152"/>
                  <a:pt x="24" y="152"/>
                </a:cubicBezTo>
                <a:cubicBezTo>
                  <a:pt x="26" y="154"/>
                  <a:pt x="26" y="154"/>
                  <a:pt x="26" y="154"/>
                </a:cubicBezTo>
                <a:cubicBezTo>
                  <a:pt x="27" y="155"/>
                  <a:pt x="27" y="155"/>
                  <a:pt x="27" y="156"/>
                </a:cubicBezTo>
                <a:cubicBezTo>
                  <a:pt x="27" y="157"/>
                  <a:pt x="27" y="157"/>
                  <a:pt x="27" y="157"/>
                </a:cubicBezTo>
                <a:cubicBezTo>
                  <a:pt x="28" y="161"/>
                  <a:pt x="28" y="161"/>
                  <a:pt x="28" y="161"/>
                </a:cubicBezTo>
                <a:cubicBezTo>
                  <a:pt x="30" y="162"/>
                  <a:pt x="30" y="162"/>
                  <a:pt x="30" y="162"/>
                </a:cubicBezTo>
                <a:cubicBezTo>
                  <a:pt x="31" y="162"/>
                  <a:pt x="31" y="162"/>
                  <a:pt x="31" y="163"/>
                </a:cubicBezTo>
                <a:cubicBezTo>
                  <a:pt x="32" y="160"/>
                  <a:pt x="32" y="160"/>
                  <a:pt x="32" y="160"/>
                </a:cubicBezTo>
                <a:cubicBezTo>
                  <a:pt x="32" y="159"/>
                  <a:pt x="33" y="159"/>
                  <a:pt x="33" y="159"/>
                </a:cubicBezTo>
                <a:cubicBezTo>
                  <a:pt x="37" y="156"/>
                  <a:pt x="37" y="156"/>
                  <a:pt x="37" y="156"/>
                </a:cubicBezTo>
                <a:cubicBezTo>
                  <a:pt x="38" y="156"/>
                  <a:pt x="39" y="156"/>
                  <a:pt x="40" y="157"/>
                </a:cubicBezTo>
                <a:cubicBezTo>
                  <a:pt x="40" y="157"/>
                  <a:pt x="41" y="158"/>
                  <a:pt x="41" y="158"/>
                </a:cubicBezTo>
                <a:cubicBezTo>
                  <a:pt x="42" y="157"/>
                  <a:pt x="44" y="156"/>
                  <a:pt x="47" y="155"/>
                </a:cubicBezTo>
                <a:cubicBezTo>
                  <a:pt x="51" y="155"/>
                  <a:pt x="52" y="153"/>
                  <a:pt x="52" y="153"/>
                </a:cubicBezTo>
                <a:cubicBezTo>
                  <a:pt x="52" y="153"/>
                  <a:pt x="52" y="153"/>
                  <a:pt x="52" y="152"/>
                </a:cubicBezTo>
                <a:cubicBezTo>
                  <a:pt x="53" y="151"/>
                  <a:pt x="55" y="151"/>
                  <a:pt x="58" y="151"/>
                </a:cubicBezTo>
                <a:cubicBezTo>
                  <a:pt x="61" y="152"/>
                  <a:pt x="63" y="154"/>
                  <a:pt x="64" y="156"/>
                </a:cubicBezTo>
                <a:cubicBezTo>
                  <a:pt x="66" y="156"/>
                  <a:pt x="69" y="157"/>
                  <a:pt x="74" y="158"/>
                </a:cubicBezTo>
                <a:cubicBezTo>
                  <a:pt x="85" y="161"/>
                  <a:pt x="85" y="161"/>
                  <a:pt x="85" y="161"/>
                </a:cubicBezTo>
                <a:cubicBezTo>
                  <a:pt x="86" y="161"/>
                  <a:pt x="88" y="161"/>
                  <a:pt x="91" y="160"/>
                </a:cubicBezTo>
                <a:cubicBezTo>
                  <a:pt x="101" y="161"/>
                  <a:pt x="101" y="161"/>
                  <a:pt x="101" y="161"/>
                </a:cubicBezTo>
                <a:cubicBezTo>
                  <a:pt x="101" y="163"/>
                  <a:pt x="101" y="163"/>
                  <a:pt x="101" y="163"/>
                </a:cubicBezTo>
                <a:cubicBezTo>
                  <a:pt x="102" y="163"/>
                  <a:pt x="102" y="163"/>
                  <a:pt x="102" y="163"/>
                </a:cubicBezTo>
                <a:cubicBezTo>
                  <a:pt x="103" y="163"/>
                  <a:pt x="103" y="163"/>
                  <a:pt x="103" y="163"/>
                </a:cubicBezTo>
                <a:cubicBezTo>
                  <a:pt x="104" y="163"/>
                  <a:pt x="105" y="163"/>
                  <a:pt x="105" y="163"/>
                </a:cubicBezTo>
                <a:cubicBezTo>
                  <a:pt x="106" y="163"/>
                  <a:pt x="106" y="163"/>
                  <a:pt x="106" y="163"/>
                </a:cubicBezTo>
                <a:cubicBezTo>
                  <a:pt x="107" y="163"/>
                  <a:pt x="107" y="163"/>
                  <a:pt x="107" y="163"/>
                </a:cubicBezTo>
                <a:cubicBezTo>
                  <a:pt x="107" y="162"/>
                  <a:pt x="107" y="162"/>
                  <a:pt x="108" y="162"/>
                </a:cubicBezTo>
                <a:cubicBezTo>
                  <a:pt x="108" y="162"/>
                  <a:pt x="110" y="162"/>
                  <a:pt x="111" y="164"/>
                </a:cubicBezTo>
                <a:cubicBezTo>
                  <a:pt x="111" y="164"/>
                  <a:pt x="112" y="165"/>
                  <a:pt x="112" y="166"/>
                </a:cubicBezTo>
                <a:cubicBezTo>
                  <a:pt x="113" y="167"/>
                  <a:pt x="114" y="167"/>
                  <a:pt x="114" y="167"/>
                </a:cubicBezTo>
                <a:cubicBezTo>
                  <a:pt x="116" y="167"/>
                  <a:pt x="116" y="167"/>
                  <a:pt x="116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8" y="168"/>
                  <a:pt x="118" y="168"/>
                  <a:pt x="119" y="169"/>
                </a:cubicBezTo>
                <a:cubicBezTo>
                  <a:pt x="120" y="170"/>
                  <a:pt x="121" y="170"/>
                  <a:pt x="121" y="170"/>
                </a:cubicBezTo>
                <a:cubicBezTo>
                  <a:pt x="125" y="170"/>
                  <a:pt x="125" y="170"/>
                  <a:pt x="125" y="170"/>
                </a:cubicBezTo>
                <a:cubicBezTo>
                  <a:pt x="126" y="170"/>
                  <a:pt x="127" y="169"/>
                  <a:pt x="127" y="169"/>
                </a:cubicBezTo>
                <a:cubicBezTo>
                  <a:pt x="128" y="168"/>
                  <a:pt x="128" y="168"/>
                  <a:pt x="128" y="168"/>
                </a:cubicBezTo>
                <a:cubicBezTo>
                  <a:pt x="132" y="164"/>
                  <a:pt x="132" y="164"/>
                  <a:pt x="132" y="164"/>
                </a:cubicBezTo>
                <a:cubicBezTo>
                  <a:pt x="132" y="163"/>
                  <a:pt x="132" y="162"/>
                  <a:pt x="134" y="161"/>
                </a:cubicBezTo>
                <a:cubicBezTo>
                  <a:pt x="134" y="161"/>
                  <a:pt x="134" y="161"/>
                  <a:pt x="135" y="161"/>
                </a:cubicBezTo>
                <a:cubicBezTo>
                  <a:pt x="136" y="160"/>
                  <a:pt x="136" y="158"/>
                  <a:pt x="136" y="158"/>
                </a:cubicBezTo>
                <a:cubicBezTo>
                  <a:pt x="134" y="157"/>
                  <a:pt x="132" y="155"/>
                  <a:pt x="132" y="155"/>
                </a:cubicBezTo>
                <a:cubicBezTo>
                  <a:pt x="131" y="154"/>
                  <a:pt x="131" y="152"/>
                  <a:pt x="131" y="152"/>
                </a:cubicBezTo>
                <a:cubicBezTo>
                  <a:pt x="130" y="150"/>
                  <a:pt x="130" y="150"/>
                  <a:pt x="130" y="150"/>
                </a:cubicBezTo>
                <a:cubicBezTo>
                  <a:pt x="127" y="147"/>
                  <a:pt x="127" y="147"/>
                  <a:pt x="127" y="147"/>
                </a:cubicBezTo>
                <a:cubicBezTo>
                  <a:pt x="126" y="148"/>
                  <a:pt x="125" y="147"/>
                  <a:pt x="125" y="146"/>
                </a:cubicBezTo>
                <a:cubicBezTo>
                  <a:pt x="124" y="143"/>
                  <a:pt x="124" y="143"/>
                  <a:pt x="124" y="143"/>
                </a:cubicBezTo>
                <a:cubicBezTo>
                  <a:pt x="123" y="143"/>
                  <a:pt x="123" y="142"/>
                  <a:pt x="124" y="142"/>
                </a:cubicBezTo>
                <a:cubicBezTo>
                  <a:pt x="124" y="141"/>
                  <a:pt x="124" y="141"/>
                  <a:pt x="125" y="140"/>
                </a:cubicBezTo>
                <a:cubicBezTo>
                  <a:pt x="126" y="140"/>
                  <a:pt x="126" y="140"/>
                  <a:pt x="126" y="140"/>
                </a:cubicBezTo>
                <a:cubicBezTo>
                  <a:pt x="127" y="138"/>
                  <a:pt x="127" y="138"/>
                  <a:pt x="127" y="138"/>
                </a:cubicBezTo>
                <a:cubicBezTo>
                  <a:pt x="125" y="138"/>
                  <a:pt x="125" y="138"/>
                  <a:pt x="125" y="138"/>
                </a:cubicBezTo>
                <a:cubicBezTo>
                  <a:pt x="125" y="138"/>
                  <a:pt x="125" y="137"/>
                  <a:pt x="124" y="137"/>
                </a:cubicBezTo>
                <a:cubicBezTo>
                  <a:pt x="123" y="133"/>
                  <a:pt x="123" y="131"/>
                  <a:pt x="123" y="131"/>
                </a:cubicBezTo>
                <a:cubicBezTo>
                  <a:pt x="123" y="130"/>
                  <a:pt x="123" y="130"/>
                  <a:pt x="123" y="130"/>
                </a:cubicBezTo>
                <a:cubicBezTo>
                  <a:pt x="124" y="130"/>
                  <a:pt x="124" y="130"/>
                  <a:pt x="124" y="13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5" name="Freeform 96">
            <a:extLst>
              <a:ext uri="{FF2B5EF4-FFF2-40B4-BE49-F238E27FC236}">
                <a16:creationId xmlns:a16="http://schemas.microsoft.com/office/drawing/2014/main" id="{E72B4D2F-FE02-41F8-8872-79A81836E4B1}"/>
              </a:ext>
            </a:extLst>
          </p:cNvPr>
          <p:cNvSpPr>
            <a:spLocks/>
          </p:cNvSpPr>
          <p:nvPr/>
        </p:nvSpPr>
        <p:spPr bwMode="auto">
          <a:xfrm>
            <a:off x="5079748" y="4130204"/>
            <a:ext cx="118666" cy="93663"/>
          </a:xfrm>
          <a:custGeom>
            <a:avLst/>
            <a:gdLst>
              <a:gd name="T0" fmla="*/ 23 w 49"/>
              <a:gd name="T1" fmla="*/ 41 h 42"/>
              <a:gd name="T2" fmla="*/ 26 w 49"/>
              <a:gd name="T3" fmla="*/ 42 h 42"/>
              <a:gd name="T4" fmla="*/ 30 w 49"/>
              <a:gd name="T5" fmla="*/ 42 h 42"/>
              <a:gd name="T6" fmla="*/ 42 w 49"/>
              <a:gd name="T7" fmla="*/ 38 h 42"/>
              <a:gd name="T8" fmla="*/ 49 w 49"/>
              <a:gd name="T9" fmla="*/ 36 h 42"/>
              <a:gd name="T10" fmla="*/ 48 w 49"/>
              <a:gd name="T11" fmla="*/ 36 h 42"/>
              <a:gd name="T12" fmla="*/ 46 w 49"/>
              <a:gd name="T13" fmla="*/ 35 h 42"/>
              <a:gd name="T14" fmla="*/ 44 w 49"/>
              <a:gd name="T15" fmla="*/ 33 h 42"/>
              <a:gd name="T16" fmla="*/ 41 w 49"/>
              <a:gd name="T17" fmla="*/ 31 h 42"/>
              <a:gd name="T18" fmla="*/ 38 w 49"/>
              <a:gd name="T19" fmla="*/ 29 h 42"/>
              <a:gd name="T20" fmla="*/ 31 w 49"/>
              <a:gd name="T21" fmla="*/ 15 h 42"/>
              <a:gd name="T22" fmla="*/ 30 w 49"/>
              <a:gd name="T23" fmla="*/ 14 h 42"/>
              <a:gd name="T24" fmla="*/ 30 w 49"/>
              <a:gd name="T25" fmla="*/ 12 h 42"/>
              <a:gd name="T26" fmla="*/ 30 w 49"/>
              <a:gd name="T27" fmla="*/ 11 h 42"/>
              <a:gd name="T28" fmla="*/ 26 w 49"/>
              <a:gd name="T29" fmla="*/ 2 h 42"/>
              <a:gd name="T30" fmla="*/ 25 w 49"/>
              <a:gd name="T31" fmla="*/ 1 h 42"/>
              <a:gd name="T32" fmla="*/ 23 w 49"/>
              <a:gd name="T33" fmla="*/ 0 h 42"/>
              <a:gd name="T34" fmla="*/ 19 w 49"/>
              <a:gd name="T35" fmla="*/ 0 h 42"/>
              <a:gd name="T36" fmla="*/ 4 w 49"/>
              <a:gd name="T37" fmla="*/ 8 h 42"/>
              <a:gd name="T38" fmla="*/ 2 w 49"/>
              <a:gd name="T39" fmla="*/ 9 h 42"/>
              <a:gd name="T40" fmla="*/ 1 w 49"/>
              <a:gd name="T41" fmla="*/ 10 h 42"/>
              <a:gd name="T42" fmla="*/ 0 w 49"/>
              <a:gd name="T43" fmla="*/ 11 h 42"/>
              <a:gd name="T44" fmla="*/ 0 w 49"/>
              <a:gd name="T45" fmla="*/ 12 h 42"/>
              <a:gd name="T46" fmla="*/ 0 w 49"/>
              <a:gd name="T47" fmla="*/ 13 h 42"/>
              <a:gd name="T48" fmla="*/ 0 w 49"/>
              <a:gd name="T49" fmla="*/ 15 h 42"/>
              <a:gd name="T50" fmla="*/ 2 w 49"/>
              <a:gd name="T51" fmla="*/ 17 h 42"/>
              <a:gd name="T52" fmla="*/ 7 w 49"/>
              <a:gd name="T53" fmla="*/ 23 h 42"/>
              <a:gd name="T54" fmla="*/ 12 w 49"/>
              <a:gd name="T55" fmla="*/ 27 h 42"/>
              <a:gd name="T56" fmla="*/ 16 w 49"/>
              <a:gd name="T57" fmla="*/ 32 h 42"/>
              <a:gd name="T58" fmla="*/ 20 w 49"/>
              <a:gd name="T59" fmla="*/ 42 h 42"/>
              <a:gd name="T60" fmla="*/ 22 w 49"/>
              <a:gd name="T61" fmla="*/ 41 h 42"/>
              <a:gd name="T62" fmla="*/ 23 w 49"/>
              <a:gd name="T63" fmla="*/ 41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9" h="42">
                <a:moveTo>
                  <a:pt x="23" y="41"/>
                </a:moveTo>
                <a:cubicBezTo>
                  <a:pt x="26" y="42"/>
                  <a:pt x="26" y="42"/>
                  <a:pt x="26" y="42"/>
                </a:cubicBezTo>
                <a:cubicBezTo>
                  <a:pt x="30" y="42"/>
                  <a:pt x="30" y="42"/>
                  <a:pt x="30" y="42"/>
                </a:cubicBezTo>
                <a:cubicBezTo>
                  <a:pt x="42" y="38"/>
                  <a:pt x="42" y="38"/>
                  <a:pt x="42" y="38"/>
                </a:cubicBezTo>
                <a:cubicBezTo>
                  <a:pt x="49" y="36"/>
                  <a:pt x="49" y="36"/>
                  <a:pt x="49" y="36"/>
                </a:cubicBezTo>
                <a:cubicBezTo>
                  <a:pt x="48" y="36"/>
                  <a:pt x="48" y="36"/>
                  <a:pt x="48" y="36"/>
                </a:cubicBezTo>
                <a:cubicBezTo>
                  <a:pt x="46" y="35"/>
                  <a:pt x="46" y="35"/>
                  <a:pt x="46" y="35"/>
                </a:cubicBezTo>
                <a:cubicBezTo>
                  <a:pt x="44" y="33"/>
                  <a:pt x="44" y="33"/>
                  <a:pt x="44" y="33"/>
                </a:cubicBezTo>
                <a:cubicBezTo>
                  <a:pt x="41" y="31"/>
                  <a:pt x="41" y="31"/>
                  <a:pt x="41" y="31"/>
                </a:cubicBezTo>
                <a:cubicBezTo>
                  <a:pt x="38" y="29"/>
                  <a:pt x="38" y="29"/>
                  <a:pt x="38" y="29"/>
                </a:cubicBezTo>
                <a:cubicBezTo>
                  <a:pt x="31" y="15"/>
                  <a:pt x="31" y="15"/>
                  <a:pt x="31" y="15"/>
                </a:cubicBezTo>
                <a:cubicBezTo>
                  <a:pt x="30" y="14"/>
                  <a:pt x="30" y="14"/>
                  <a:pt x="30" y="14"/>
                </a:cubicBezTo>
                <a:cubicBezTo>
                  <a:pt x="30" y="12"/>
                  <a:pt x="30" y="12"/>
                  <a:pt x="30" y="12"/>
                </a:cubicBezTo>
                <a:cubicBezTo>
                  <a:pt x="30" y="11"/>
                  <a:pt x="30" y="11"/>
                  <a:pt x="30" y="11"/>
                </a:cubicBezTo>
                <a:cubicBezTo>
                  <a:pt x="26" y="2"/>
                  <a:pt x="26" y="2"/>
                  <a:pt x="26" y="2"/>
                </a:cubicBezTo>
                <a:cubicBezTo>
                  <a:pt x="25" y="1"/>
                  <a:pt x="25" y="1"/>
                  <a:pt x="25" y="1"/>
                </a:cubicBezTo>
                <a:cubicBezTo>
                  <a:pt x="23" y="0"/>
                  <a:pt x="23" y="0"/>
                  <a:pt x="23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4" y="8"/>
                  <a:pt x="4" y="8"/>
                  <a:pt x="4" y="8"/>
                </a:cubicBezTo>
                <a:cubicBezTo>
                  <a:pt x="2" y="9"/>
                  <a:pt x="2" y="9"/>
                  <a:pt x="2" y="9"/>
                </a:cubicBezTo>
                <a:cubicBezTo>
                  <a:pt x="1" y="10"/>
                  <a:pt x="1" y="10"/>
                  <a:pt x="1" y="10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5"/>
                  <a:pt x="0" y="15"/>
                  <a:pt x="0" y="15"/>
                </a:cubicBezTo>
                <a:cubicBezTo>
                  <a:pt x="2" y="17"/>
                  <a:pt x="2" y="17"/>
                  <a:pt x="2" y="17"/>
                </a:cubicBezTo>
                <a:cubicBezTo>
                  <a:pt x="7" y="23"/>
                  <a:pt x="7" y="23"/>
                  <a:pt x="7" y="23"/>
                </a:cubicBezTo>
                <a:cubicBezTo>
                  <a:pt x="12" y="27"/>
                  <a:pt x="12" y="27"/>
                  <a:pt x="12" y="27"/>
                </a:cubicBezTo>
                <a:cubicBezTo>
                  <a:pt x="16" y="32"/>
                  <a:pt x="16" y="32"/>
                  <a:pt x="16" y="32"/>
                </a:cubicBezTo>
                <a:cubicBezTo>
                  <a:pt x="19" y="38"/>
                  <a:pt x="19" y="41"/>
                  <a:pt x="20" y="42"/>
                </a:cubicBezTo>
                <a:cubicBezTo>
                  <a:pt x="22" y="41"/>
                  <a:pt x="22" y="41"/>
                  <a:pt x="22" y="41"/>
                </a:cubicBezTo>
                <a:cubicBezTo>
                  <a:pt x="22" y="41"/>
                  <a:pt x="23" y="41"/>
                  <a:pt x="23" y="4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6" name="Freeform 97">
            <a:extLst>
              <a:ext uri="{FF2B5EF4-FFF2-40B4-BE49-F238E27FC236}">
                <a16:creationId xmlns:a16="http://schemas.microsoft.com/office/drawing/2014/main" id="{E6E064D4-DCE5-4A40-B77D-477AB5B5D369}"/>
              </a:ext>
            </a:extLst>
          </p:cNvPr>
          <p:cNvSpPr>
            <a:spLocks/>
          </p:cNvSpPr>
          <p:nvPr/>
        </p:nvSpPr>
        <p:spPr bwMode="auto">
          <a:xfrm>
            <a:off x="5920727" y="3934944"/>
            <a:ext cx="376635" cy="187325"/>
          </a:xfrm>
          <a:custGeom>
            <a:avLst/>
            <a:gdLst>
              <a:gd name="T0" fmla="*/ 33 w 156"/>
              <a:gd name="T1" fmla="*/ 46 h 84"/>
              <a:gd name="T2" fmla="*/ 37 w 156"/>
              <a:gd name="T3" fmla="*/ 43 h 84"/>
              <a:gd name="T4" fmla="*/ 42 w 156"/>
              <a:gd name="T5" fmla="*/ 43 h 84"/>
              <a:gd name="T6" fmla="*/ 49 w 156"/>
              <a:gd name="T7" fmla="*/ 44 h 84"/>
              <a:gd name="T8" fmla="*/ 48 w 156"/>
              <a:gd name="T9" fmla="*/ 56 h 84"/>
              <a:gd name="T10" fmla="*/ 67 w 156"/>
              <a:gd name="T11" fmla="*/ 63 h 84"/>
              <a:gd name="T12" fmla="*/ 73 w 156"/>
              <a:gd name="T13" fmla="*/ 62 h 84"/>
              <a:gd name="T14" fmla="*/ 75 w 156"/>
              <a:gd name="T15" fmla="*/ 59 h 84"/>
              <a:gd name="T16" fmla="*/ 78 w 156"/>
              <a:gd name="T17" fmla="*/ 54 h 84"/>
              <a:gd name="T18" fmla="*/ 83 w 156"/>
              <a:gd name="T19" fmla="*/ 52 h 84"/>
              <a:gd name="T20" fmla="*/ 79 w 156"/>
              <a:gd name="T21" fmla="*/ 49 h 84"/>
              <a:gd name="T22" fmla="*/ 73 w 156"/>
              <a:gd name="T23" fmla="*/ 44 h 84"/>
              <a:gd name="T24" fmla="*/ 71 w 156"/>
              <a:gd name="T25" fmla="*/ 44 h 84"/>
              <a:gd name="T26" fmla="*/ 77 w 156"/>
              <a:gd name="T27" fmla="*/ 34 h 84"/>
              <a:gd name="T28" fmla="*/ 88 w 156"/>
              <a:gd name="T29" fmla="*/ 38 h 84"/>
              <a:gd name="T30" fmla="*/ 100 w 156"/>
              <a:gd name="T31" fmla="*/ 39 h 84"/>
              <a:gd name="T32" fmla="*/ 106 w 156"/>
              <a:gd name="T33" fmla="*/ 38 h 84"/>
              <a:gd name="T34" fmla="*/ 117 w 156"/>
              <a:gd name="T35" fmla="*/ 44 h 84"/>
              <a:gd name="T36" fmla="*/ 119 w 156"/>
              <a:gd name="T37" fmla="*/ 47 h 84"/>
              <a:gd name="T38" fmla="*/ 127 w 156"/>
              <a:gd name="T39" fmla="*/ 59 h 84"/>
              <a:gd name="T40" fmla="*/ 132 w 156"/>
              <a:gd name="T41" fmla="*/ 78 h 84"/>
              <a:gd name="T42" fmla="*/ 142 w 156"/>
              <a:gd name="T43" fmla="*/ 83 h 84"/>
              <a:gd name="T44" fmla="*/ 145 w 156"/>
              <a:gd name="T45" fmla="*/ 82 h 84"/>
              <a:gd name="T46" fmla="*/ 145 w 156"/>
              <a:gd name="T47" fmla="*/ 76 h 84"/>
              <a:gd name="T48" fmla="*/ 146 w 156"/>
              <a:gd name="T49" fmla="*/ 71 h 84"/>
              <a:gd name="T50" fmla="*/ 144 w 156"/>
              <a:gd name="T51" fmla="*/ 66 h 84"/>
              <a:gd name="T52" fmla="*/ 156 w 156"/>
              <a:gd name="T53" fmla="*/ 55 h 84"/>
              <a:gd name="T54" fmla="*/ 153 w 156"/>
              <a:gd name="T55" fmla="*/ 53 h 84"/>
              <a:gd name="T56" fmla="*/ 150 w 156"/>
              <a:gd name="T57" fmla="*/ 53 h 84"/>
              <a:gd name="T58" fmla="*/ 116 w 156"/>
              <a:gd name="T59" fmla="*/ 31 h 84"/>
              <a:gd name="T60" fmla="*/ 98 w 156"/>
              <a:gd name="T61" fmla="*/ 17 h 84"/>
              <a:gd name="T62" fmla="*/ 92 w 156"/>
              <a:gd name="T63" fmla="*/ 8 h 84"/>
              <a:gd name="T64" fmla="*/ 85 w 156"/>
              <a:gd name="T65" fmla="*/ 0 h 84"/>
              <a:gd name="T66" fmla="*/ 82 w 156"/>
              <a:gd name="T67" fmla="*/ 0 h 84"/>
              <a:gd name="T68" fmla="*/ 43 w 156"/>
              <a:gd name="T69" fmla="*/ 9 h 84"/>
              <a:gd name="T70" fmla="*/ 26 w 156"/>
              <a:gd name="T71" fmla="*/ 19 h 84"/>
              <a:gd name="T72" fmla="*/ 24 w 156"/>
              <a:gd name="T73" fmla="*/ 22 h 84"/>
              <a:gd name="T74" fmla="*/ 23 w 156"/>
              <a:gd name="T75" fmla="*/ 25 h 84"/>
              <a:gd name="T76" fmla="*/ 16 w 156"/>
              <a:gd name="T77" fmla="*/ 27 h 84"/>
              <a:gd name="T78" fmla="*/ 10 w 156"/>
              <a:gd name="T79" fmla="*/ 27 h 84"/>
              <a:gd name="T80" fmla="*/ 8 w 156"/>
              <a:gd name="T81" fmla="*/ 28 h 84"/>
              <a:gd name="T82" fmla="*/ 5 w 156"/>
              <a:gd name="T83" fmla="*/ 31 h 84"/>
              <a:gd name="T84" fmla="*/ 4 w 156"/>
              <a:gd name="T85" fmla="*/ 34 h 84"/>
              <a:gd name="T86" fmla="*/ 2 w 156"/>
              <a:gd name="T87" fmla="*/ 43 h 84"/>
              <a:gd name="T88" fmla="*/ 0 w 156"/>
              <a:gd name="T89" fmla="*/ 47 h 84"/>
              <a:gd name="T90" fmla="*/ 3 w 156"/>
              <a:gd name="T91" fmla="*/ 47 h 84"/>
              <a:gd name="T92" fmla="*/ 7 w 156"/>
              <a:gd name="T93" fmla="*/ 48 h 84"/>
              <a:gd name="T94" fmla="*/ 17 w 156"/>
              <a:gd name="T95" fmla="*/ 52 h 84"/>
              <a:gd name="T96" fmla="*/ 18 w 156"/>
              <a:gd name="T97" fmla="*/ 60 h 84"/>
              <a:gd name="T98" fmla="*/ 25 w 156"/>
              <a:gd name="T99" fmla="*/ 55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56" h="84">
                <a:moveTo>
                  <a:pt x="25" y="55"/>
                </a:moveTo>
                <a:cubicBezTo>
                  <a:pt x="33" y="46"/>
                  <a:pt x="33" y="46"/>
                  <a:pt x="33" y="46"/>
                </a:cubicBezTo>
                <a:cubicBezTo>
                  <a:pt x="33" y="46"/>
                  <a:pt x="34" y="46"/>
                  <a:pt x="34" y="46"/>
                </a:cubicBezTo>
                <a:cubicBezTo>
                  <a:pt x="37" y="43"/>
                  <a:pt x="37" y="43"/>
                  <a:pt x="37" y="43"/>
                </a:cubicBezTo>
                <a:cubicBezTo>
                  <a:pt x="38" y="43"/>
                  <a:pt x="38" y="43"/>
                  <a:pt x="38" y="43"/>
                </a:cubicBezTo>
                <a:cubicBezTo>
                  <a:pt x="42" y="43"/>
                  <a:pt x="42" y="43"/>
                  <a:pt x="42" y="43"/>
                </a:cubicBezTo>
                <a:cubicBezTo>
                  <a:pt x="42" y="42"/>
                  <a:pt x="43" y="43"/>
                  <a:pt x="43" y="43"/>
                </a:cubicBezTo>
                <a:cubicBezTo>
                  <a:pt x="49" y="44"/>
                  <a:pt x="49" y="44"/>
                  <a:pt x="49" y="44"/>
                </a:cubicBezTo>
                <a:cubicBezTo>
                  <a:pt x="50" y="44"/>
                  <a:pt x="50" y="45"/>
                  <a:pt x="50" y="46"/>
                </a:cubicBezTo>
                <a:cubicBezTo>
                  <a:pt x="48" y="56"/>
                  <a:pt x="48" y="56"/>
                  <a:pt x="48" y="56"/>
                </a:cubicBezTo>
                <a:cubicBezTo>
                  <a:pt x="55" y="62"/>
                  <a:pt x="55" y="62"/>
                  <a:pt x="55" y="62"/>
                </a:cubicBezTo>
                <a:cubicBezTo>
                  <a:pt x="60" y="63"/>
                  <a:pt x="65" y="64"/>
                  <a:pt x="67" y="63"/>
                </a:cubicBezTo>
                <a:cubicBezTo>
                  <a:pt x="67" y="63"/>
                  <a:pt x="68" y="63"/>
                  <a:pt x="69" y="63"/>
                </a:cubicBezTo>
                <a:cubicBezTo>
                  <a:pt x="71" y="63"/>
                  <a:pt x="72" y="62"/>
                  <a:pt x="73" y="62"/>
                </a:cubicBezTo>
                <a:cubicBezTo>
                  <a:pt x="74" y="61"/>
                  <a:pt x="74" y="61"/>
                  <a:pt x="74" y="60"/>
                </a:cubicBezTo>
                <a:cubicBezTo>
                  <a:pt x="74" y="60"/>
                  <a:pt x="74" y="60"/>
                  <a:pt x="75" y="59"/>
                </a:cubicBezTo>
                <a:cubicBezTo>
                  <a:pt x="76" y="56"/>
                  <a:pt x="76" y="56"/>
                  <a:pt x="76" y="56"/>
                </a:cubicBezTo>
                <a:cubicBezTo>
                  <a:pt x="76" y="55"/>
                  <a:pt x="77" y="54"/>
                  <a:pt x="78" y="54"/>
                </a:cubicBezTo>
                <a:cubicBezTo>
                  <a:pt x="80" y="54"/>
                  <a:pt x="80" y="54"/>
                  <a:pt x="80" y="54"/>
                </a:cubicBezTo>
                <a:cubicBezTo>
                  <a:pt x="83" y="52"/>
                  <a:pt x="83" y="52"/>
                  <a:pt x="83" y="52"/>
                </a:cubicBezTo>
                <a:cubicBezTo>
                  <a:pt x="83" y="52"/>
                  <a:pt x="83" y="52"/>
                  <a:pt x="83" y="51"/>
                </a:cubicBezTo>
                <a:cubicBezTo>
                  <a:pt x="82" y="50"/>
                  <a:pt x="81" y="50"/>
                  <a:pt x="79" y="49"/>
                </a:cubicBezTo>
                <a:cubicBezTo>
                  <a:pt x="78" y="48"/>
                  <a:pt x="76" y="48"/>
                  <a:pt x="76" y="46"/>
                </a:cubicBezTo>
                <a:cubicBezTo>
                  <a:pt x="75" y="46"/>
                  <a:pt x="75" y="46"/>
                  <a:pt x="73" y="44"/>
                </a:cubicBezTo>
                <a:cubicBezTo>
                  <a:pt x="73" y="44"/>
                  <a:pt x="73" y="44"/>
                  <a:pt x="73" y="44"/>
                </a:cubicBezTo>
                <a:cubicBezTo>
                  <a:pt x="72" y="44"/>
                  <a:pt x="72" y="44"/>
                  <a:pt x="71" y="44"/>
                </a:cubicBezTo>
                <a:cubicBezTo>
                  <a:pt x="71" y="43"/>
                  <a:pt x="70" y="42"/>
                  <a:pt x="70" y="42"/>
                </a:cubicBezTo>
                <a:cubicBezTo>
                  <a:pt x="70" y="41"/>
                  <a:pt x="70" y="39"/>
                  <a:pt x="77" y="34"/>
                </a:cubicBezTo>
                <a:cubicBezTo>
                  <a:pt x="78" y="34"/>
                  <a:pt x="78" y="34"/>
                  <a:pt x="79" y="34"/>
                </a:cubicBezTo>
                <a:cubicBezTo>
                  <a:pt x="88" y="38"/>
                  <a:pt x="88" y="38"/>
                  <a:pt x="88" y="38"/>
                </a:cubicBezTo>
                <a:cubicBezTo>
                  <a:pt x="90" y="38"/>
                  <a:pt x="90" y="38"/>
                  <a:pt x="90" y="38"/>
                </a:cubicBezTo>
                <a:cubicBezTo>
                  <a:pt x="90" y="38"/>
                  <a:pt x="96" y="39"/>
                  <a:pt x="100" y="39"/>
                </a:cubicBezTo>
                <a:cubicBezTo>
                  <a:pt x="100" y="39"/>
                  <a:pt x="101" y="39"/>
                  <a:pt x="102" y="39"/>
                </a:cubicBezTo>
                <a:cubicBezTo>
                  <a:pt x="104" y="38"/>
                  <a:pt x="105" y="38"/>
                  <a:pt x="106" y="38"/>
                </a:cubicBezTo>
                <a:cubicBezTo>
                  <a:pt x="109" y="38"/>
                  <a:pt x="110" y="41"/>
                  <a:pt x="111" y="42"/>
                </a:cubicBezTo>
                <a:cubicBezTo>
                  <a:pt x="117" y="44"/>
                  <a:pt x="117" y="44"/>
                  <a:pt x="117" y="44"/>
                </a:cubicBezTo>
                <a:cubicBezTo>
                  <a:pt x="117" y="44"/>
                  <a:pt x="117" y="44"/>
                  <a:pt x="118" y="45"/>
                </a:cubicBezTo>
                <a:cubicBezTo>
                  <a:pt x="119" y="47"/>
                  <a:pt x="119" y="47"/>
                  <a:pt x="119" y="47"/>
                </a:cubicBezTo>
                <a:cubicBezTo>
                  <a:pt x="121" y="46"/>
                  <a:pt x="122" y="47"/>
                  <a:pt x="123" y="48"/>
                </a:cubicBezTo>
                <a:cubicBezTo>
                  <a:pt x="126" y="50"/>
                  <a:pt x="127" y="58"/>
                  <a:pt x="127" y="59"/>
                </a:cubicBezTo>
                <a:cubicBezTo>
                  <a:pt x="126" y="71"/>
                  <a:pt x="126" y="71"/>
                  <a:pt x="126" y="71"/>
                </a:cubicBezTo>
                <a:cubicBezTo>
                  <a:pt x="128" y="74"/>
                  <a:pt x="131" y="77"/>
                  <a:pt x="132" y="78"/>
                </a:cubicBezTo>
                <a:cubicBezTo>
                  <a:pt x="133" y="78"/>
                  <a:pt x="135" y="78"/>
                  <a:pt x="139" y="83"/>
                </a:cubicBezTo>
                <a:cubicBezTo>
                  <a:pt x="140" y="83"/>
                  <a:pt x="141" y="83"/>
                  <a:pt x="142" y="83"/>
                </a:cubicBezTo>
                <a:cubicBezTo>
                  <a:pt x="142" y="84"/>
                  <a:pt x="143" y="84"/>
                  <a:pt x="144" y="84"/>
                </a:cubicBezTo>
                <a:cubicBezTo>
                  <a:pt x="144" y="83"/>
                  <a:pt x="145" y="83"/>
                  <a:pt x="145" y="82"/>
                </a:cubicBezTo>
                <a:cubicBezTo>
                  <a:pt x="145" y="82"/>
                  <a:pt x="145" y="81"/>
                  <a:pt x="145" y="81"/>
                </a:cubicBezTo>
                <a:cubicBezTo>
                  <a:pt x="145" y="80"/>
                  <a:pt x="144" y="78"/>
                  <a:pt x="145" y="76"/>
                </a:cubicBezTo>
                <a:cubicBezTo>
                  <a:pt x="146" y="75"/>
                  <a:pt x="146" y="72"/>
                  <a:pt x="146" y="72"/>
                </a:cubicBezTo>
                <a:cubicBezTo>
                  <a:pt x="146" y="71"/>
                  <a:pt x="146" y="71"/>
                  <a:pt x="146" y="71"/>
                </a:cubicBezTo>
                <a:cubicBezTo>
                  <a:pt x="146" y="71"/>
                  <a:pt x="147" y="69"/>
                  <a:pt x="147" y="67"/>
                </a:cubicBezTo>
                <a:cubicBezTo>
                  <a:pt x="146" y="68"/>
                  <a:pt x="145" y="67"/>
                  <a:pt x="144" y="66"/>
                </a:cubicBezTo>
                <a:cubicBezTo>
                  <a:pt x="144" y="65"/>
                  <a:pt x="144" y="64"/>
                  <a:pt x="147" y="62"/>
                </a:cubicBezTo>
                <a:cubicBezTo>
                  <a:pt x="151" y="59"/>
                  <a:pt x="154" y="57"/>
                  <a:pt x="156" y="55"/>
                </a:cubicBezTo>
                <a:cubicBezTo>
                  <a:pt x="154" y="53"/>
                  <a:pt x="154" y="53"/>
                  <a:pt x="154" y="53"/>
                </a:cubicBezTo>
                <a:cubicBezTo>
                  <a:pt x="153" y="53"/>
                  <a:pt x="153" y="53"/>
                  <a:pt x="153" y="53"/>
                </a:cubicBezTo>
                <a:cubicBezTo>
                  <a:pt x="151" y="53"/>
                  <a:pt x="151" y="53"/>
                  <a:pt x="151" y="53"/>
                </a:cubicBezTo>
                <a:cubicBezTo>
                  <a:pt x="150" y="53"/>
                  <a:pt x="150" y="53"/>
                  <a:pt x="150" y="53"/>
                </a:cubicBezTo>
                <a:cubicBezTo>
                  <a:pt x="143" y="50"/>
                  <a:pt x="143" y="50"/>
                  <a:pt x="143" y="50"/>
                </a:cubicBezTo>
                <a:cubicBezTo>
                  <a:pt x="116" y="31"/>
                  <a:pt x="116" y="31"/>
                  <a:pt x="116" y="31"/>
                </a:cubicBezTo>
                <a:cubicBezTo>
                  <a:pt x="112" y="29"/>
                  <a:pt x="112" y="29"/>
                  <a:pt x="112" y="29"/>
                </a:cubicBezTo>
                <a:cubicBezTo>
                  <a:pt x="98" y="17"/>
                  <a:pt x="98" y="17"/>
                  <a:pt x="98" y="17"/>
                </a:cubicBezTo>
                <a:cubicBezTo>
                  <a:pt x="96" y="14"/>
                  <a:pt x="96" y="14"/>
                  <a:pt x="96" y="14"/>
                </a:cubicBezTo>
                <a:cubicBezTo>
                  <a:pt x="92" y="8"/>
                  <a:pt x="92" y="8"/>
                  <a:pt x="92" y="8"/>
                </a:cubicBezTo>
                <a:cubicBezTo>
                  <a:pt x="87" y="2"/>
                  <a:pt x="87" y="2"/>
                  <a:pt x="87" y="2"/>
                </a:cubicBezTo>
                <a:cubicBezTo>
                  <a:pt x="85" y="0"/>
                  <a:pt x="85" y="0"/>
                  <a:pt x="85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2" y="0"/>
                  <a:pt x="82" y="0"/>
                  <a:pt x="82" y="0"/>
                </a:cubicBezTo>
                <a:cubicBezTo>
                  <a:pt x="66" y="5"/>
                  <a:pt x="66" y="5"/>
                  <a:pt x="66" y="5"/>
                </a:cubicBezTo>
                <a:cubicBezTo>
                  <a:pt x="43" y="9"/>
                  <a:pt x="43" y="9"/>
                  <a:pt x="43" y="9"/>
                </a:cubicBezTo>
                <a:cubicBezTo>
                  <a:pt x="26" y="10"/>
                  <a:pt x="26" y="10"/>
                  <a:pt x="26" y="10"/>
                </a:cubicBezTo>
                <a:cubicBezTo>
                  <a:pt x="26" y="19"/>
                  <a:pt x="26" y="19"/>
                  <a:pt x="26" y="19"/>
                </a:cubicBezTo>
                <a:cubicBezTo>
                  <a:pt x="26" y="20"/>
                  <a:pt x="26" y="20"/>
                  <a:pt x="26" y="20"/>
                </a:cubicBezTo>
                <a:cubicBezTo>
                  <a:pt x="24" y="22"/>
                  <a:pt x="24" y="22"/>
                  <a:pt x="24" y="22"/>
                </a:cubicBezTo>
                <a:cubicBezTo>
                  <a:pt x="23" y="23"/>
                  <a:pt x="23" y="23"/>
                  <a:pt x="23" y="23"/>
                </a:cubicBezTo>
                <a:cubicBezTo>
                  <a:pt x="23" y="24"/>
                  <a:pt x="23" y="24"/>
                  <a:pt x="23" y="25"/>
                </a:cubicBezTo>
                <a:cubicBezTo>
                  <a:pt x="23" y="26"/>
                  <a:pt x="22" y="27"/>
                  <a:pt x="20" y="27"/>
                </a:cubicBezTo>
                <a:cubicBezTo>
                  <a:pt x="18" y="27"/>
                  <a:pt x="17" y="27"/>
                  <a:pt x="16" y="27"/>
                </a:cubicBezTo>
                <a:cubicBezTo>
                  <a:pt x="15" y="28"/>
                  <a:pt x="13" y="27"/>
                  <a:pt x="12" y="27"/>
                </a:cubicBezTo>
                <a:cubicBezTo>
                  <a:pt x="10" y="27"/>
                  <a:pt x="10" y="27"/>
                  <a:pt x="10" y="27"/>
                </a:cubicBezTo>
                <a:cubicBezTo>
                  <a:pt x="10" y="27"/>
                  <a:pt x="10" y="27"/>
                  <a:pt x="9" y="27"/>
                </a:cubicBezTo>
                <a:cubicBezTo>
                  <a:pt x="9" y="28"/>
                  <a:pt x="8" y="28"/>
                  <a:pt x="8" y="28"/>
                </a:cubicBezTo>
                <a:cubicBezTo>
                  <a:pt x="7" y="29"/>
                  <a:pt x="7" y="30"/>
                  <a:pt x="6" y="31"/>
                </a:cubicBezTo>
                <a:cubicBezTo>
                  <a:pt x="5" y="31"/>
                  <a:pt x="5" y="31"/>
                  <a:pt x="5" y="31"/>
                </a:cubicBezTo>
                <a:cubicBezTo>
                  <a:pt x="5" y="32"/>
                  <a:pt x="5" y="32"/>
                  <a:pt x="5" y="32"/>
                </a:cubicBezTo>
                <a:cubicBezTo>
                  <a:pt x="5" y="33"/>
                  <a:pt x="4" y="34"/>
                  <a:pt x="4" y="34"/>
                </a:cubicBezTo>
                <a:cubicBezTo>
                  <a:pt x="2" y="36"/>
                  <a:pt x="2" y="36"/>
                  <a:pt x="2" y="36"/>
                </a:cubicBezTo>
                <a:cubicBezTo>
                  <a:pt x="2" y="43"/>
                  <a:pt x="2" y="43"/>
                  <a:pt x="2" y="43"/>
                </a:cubicBezTo>
                <a:cubicBezTo>
                  <a:pt x="2" y="44"/>
                  <a:pt x="1" y="45"/>
                  <a:pt x="0" y="45"/>
                </a:cubicBezTo>
                <a:cubicBezTo>
                  <a:pt x="0" y="47"/>
                  <a:pt x="0" y="47"/>
                  <a:pt x="0" y="47"/>
                </a:cubicBezTo>
                <a:cubicBezTo>
                  <a:pt x="1" y="49"/>
                  <a:pt x="1" y="49"/>
                  <a:pt x="1" y="49"/>
                </a:cubicBezTo>
                <a:cubicBezTo>
                  <a:pt x="2" y="48"/>
                  <a:pt x="2" y="47"/>
                  <a:pt x="3" y="47"/>
                </a:cubicBezTo>
                <a:cubicBezTo>
                  <a:pt x="7" y="47"/>
                  <a:pt x="7" y="47"/>
                  <a:pt x="7" y="47"/>
                </a:cubicBezTo>
                <a:cubicBezTo>
                  <a:pt x="7" y="47"/>
                  <a:pt x="7" y="47"/>
                  <a:pt x="7" y="48"/>
                </a:cubicBezTo>
                <a:cubicBezTo>
                  <a:pt x="13" y="49"/>
                  <a:pt x="13" y="49"/>
                  <a:pt x="13" y="49"/>
                </a:cubicBezTo>
                <a:cubicBezTo>
                  <a:pt x="17" y="52"/>
                  <a:pt x="17" y="52"/>
                  <a:pt x="17" y="52"/>
                </a:cubicBezTo>
                <a:cubicBezTo>
                  <a:pt x="18" y="52"/>
                  <a:pt x="18" y="53"/>
                  <a:pt x="18" y="54"/>
                </a:cubicBezTo>
                <a:cubicBezTo>
                  <a:pt x="18" y="60"/>
                  <a:pt x="18" y="60"/>
                  <a:pt x="18" y="60"/>
                </a:cubicBezTo>
                <a:cubicBezTo>
                  <a:pt x="19" y="60"/>
                  <a:pt x="19" y="60"/>
                  <a:pt x="19" y="60"/>
                </a:cubicBezTo>
                <a:cubicBezTo>
                  <a:pt x="20" y="60"/>
                  <a:pt x="23" y="58"/>
                  <a:pt x="25" y="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7" name="Freeform 98">
            <a:extLst>
              <a:ext uri="{FF2B5EF4-FFF2-40B4-BE49-F238E27FC236}">
                <a16:creationId xmlns:a16="http://schemas.microsoft.com/office/drawing/2014/main" id="{ADE11247-9A0A-4B43-9384-A2FA9A24CF79}"/>
              </a:ext>
            </a:extLst>
          </p:cNvPr>
          <p:cNvSpPr>
            <a:spLocks/>
          </p:cNvSpPr>
          <p:nvPr/>
        </p:nvSpPr>
        <p:spPr bwMode="auto">
          <a:xfrm>
            <a:off x="5951682" y="4019079"/>
            <a:ext cx="435108" cy="512763"/>
          </a:xfrm>
          <a:custGeom>
            <a:avLst/>
            <a:gdLst>
              <a:gd name="T0" fmla="*/ 178 w 180"/>
              <a:gd name="T1" fmla="*/ 186 h 230"/>
              <a:gd name="T2" fmla="*/ 155 w 180"/>
              <a:gd name="T3" fmla="*/ 170 h 230"/>
              <a:gd name="T4" fmla="*/ 133 w 180"/>
              <a:gd name="T5" fmla="*/ 166 h 230"/>
              <a:gd name="T6" fmla="*/ 131 w 180"/>
              <a:gd name="T7" fmla="*/ 163 h 230"/>
              <a:gd name="T8" fmla="*/ 171 w 180"/>
              <a:gd name="T9" fmla="*/ 113 h 230"/>
              <a:gd name="T10" fmla="*/ 177 w 180"/>
              <a:gd name="T11" fmla="*/ 109 h 230"/>
              <a:gd name="T12" fmla="*/ 177 w 180"/>
              <a:gd name="T13" fmla="*/ 85 h 230"/>
              <a:gd name="T14" fmla="*/ 162 w 180"/>
              <a:gd name="T15" fmla="*/ 46 h 230"/>
              <a:gd name="T16" fmla="*/ 145 w 180"/>
              <a:gd name="T17" fmla="*/ 20 h 230"/>
              <a:gd name="T18" fmla="*/ 136 w 180"/>
              <a:gd name="T19" fmla="*/ 42 h 230"/>
              <a:gd name="T20" fmla="*/ 128 w 180"/>
              <a:gd name="T21" fmla="*/ 49 h 230"/>
              <a:gd name="T22" fmla="*/ 110 w 180"/>
              <a:gd name="T23" fmla="*/ 34 h 230"/>
              <a:gd name="T24" fmla="*/ 105 w 180"/>
              <a:gd name="T25" fmla="*/ 13 h 230"/>
              <a:gd name="T26" fmla="*/ 92 w 180"/>
              <a:gd name="T27" fmla="*/ 4 h 230"/>
              <a:gd name="T28" fmla="*/ 74 w 180"/>
              <a:gd name="T29" fmla="*/ 4 h 230"/>
              <a:gd name="T30" fmla="*/ 68 w 180"/>
              <a:gd name="T31" fmla="*/ 7 h 230"/>
              <a:gd name="T32" fmla="*/ 68 w 180"/>
              <a:gd name="T33" fmla="*/ 20 h 230"/>
              <a:gd name="T34" fmla="*/ 57 w 180"/>
              <a:gd name="T35" fmla="*/ 29 h 230"/>
              <a:gd name="T36" fmla="*/ 31 w 180"/>
              <a:gd name="T37" fmla="*/ 19 h 230"/>
              <a:gd name="T38" fmla="*/ 15 w 180"/>
              <a:gd name="T39" fmla="*/ 20 h 230"/>
              <a:gd name="T40" fmla="*/ 1 w 180"/>
              <a:gd name="T41" fmla="*/ 35 h 230"/>
              <a:gd name="T42" fmla="*/ 9 w 180"/>
              <a:gd name="T43" fmla="*/ 52 h 230"/>
              <a:gd name="T44" fmla="*/ 13 w 180"/>
              <a:gd name="T45" fmla="*/ 71 h 230"/>
              <a:gd name="T46" fmla="*/ 14 w 180"/>
              <a:gd name="T47" fmla="*/ 81 h 230"/>
              <a:gd name="T48" fmla="*/ 25 w 180"/>
              <a:gd name="T49" fmla="*/ 76 h 230"/>
              <a:gd name="T50" fmla="*/ 30 w 180"/>
              <a:gd name="T51" fmla="*/ 85 h 230"/>
              <a:gd name="T52" fmla="*/ 19 w 180"/>
              <a:gd name="T53" fmla="*/ 91 h 230"/>
              <a:gd name="T54" fmla="*/ 14 w 180"/>
              <a:gd name="T55" fmla="*/ 95 h 230"/>
              <a:gd name="T56" fmla="*/ 19 w 180"/>
              <a:gd name="T57" fmla="*/ 116 h 230"/>
              <a:gd name="T58" fmla="*/ 19 w 180"/>
              <a:gd name="T59" fmla="*/ 129 h 230"/>
              <a:gd name="T60" fmla="*/ 12 w 180"/>
              <a:gd name="T61" fmla="*/ 135 h 230"/>
              <a:gd name="T62" fmla="*/ 13 w 180"/>
              <a:gd name="T63" fmla="*/ 150 h 230"/>
              <a:gd name="T64" fmla="*/ 13 w 180"/>
              <a:gd name="T65" fmla="*/ 161 h 230"/>
              <a:gd name="T66" fmla="*/ 14 w 180"/>
              <a:gd name="T67" fmla="*/ 171 h 230"/>
              <a:gd name="T68" fmla="*/ 19 w 180"/>
              <a:gd name="T69" fmla="*/ 178 h 230"/>
              <a:gd name="T70" fmla="*/ 27 w 180"/>
              <a:gd name="T71" fmla="*/ 182 h 230"/>
              <a:gd name="T72" fmla="*/ 31 w 180"/>
              <a:gd name="T73" fmla="*/ 200 h 230"/>
              <a:gd name="T74" fmla="*/ 39 w 180"/>
              <a:gd name="T75" fmla="*/ 202 h 230"/>
              <a:gd name="T76" fmla="*/ 54 w 180"/>
              <a:gd name="T77" fmla="*/ 207 h 230"/>
              <a:gd name="T78" fmla="*/ 62 w 180"/>
              <a:gd name="T79" fmla="*/ 210 h 230"/>
              <a:gd name="T80" fmla="*/ 70 w 180"/>
              <a:gd name="T81" fmla="*/ 221 h 230"/>
              <a:gd name="T82" fmla="*/ 58 w 180"/>
              <a:gd name="T83" fmla="*/ 225 h 230"/>
              <a:gd name="T84" fmla="*/ 68 w 180"/>
              <a:gd name="T85" fmla="*/ 227 h 230"/>
              <a:gd name="T86" fmla="*/ 76 w 180"/>
              <a:gd name="T87" fmla="*/ 224 h 230"/>
              <a:gd name="T88" fmla="*/ 88 w 180"/>
              <a:gd name="T89" fmla="*/ 220 h 230"/>
              <a:gd name="T90" fmla="*/ 96 w 180"/>
              <a:gd name="T91" fmla="*/ 225 h 230"/>
              <a:gd name="T92" fmla="*/ 108 w 180"/>
              <a:gd name="T93" fmla="*/ 222 h 230"/>
              <a:gd name="T94" fmla="*/ 125 w 180"/>
              <a:gd name="T95" fmla="*/ 222 h 230"/>
              <a:gd name="T96" fmla="*/ 135 w 180"/>
              <a:gd name="T97" fmla="*/ 226 h 230"/>
              <a:gd name="T98" fmla="*/ 138 w 180"/>
              <a:gd name="T99" fmla="*/ 227 h 230"/>
              <a:gd name="T100" fmla="*/ 144 w 180"/>
              <a:gd name="T101" fmla="*/ 220 h 230"/>
              <a:gd name="T102" fmla="*/ 147 w 180"/>
              <a:gd name="T103" fmla="*/ 206 h 230"/>
              <a:gd name="T104" fmla="*/ 161 w 180"/>
              <a:gd name="T105" fmla="*/ 204 h 230"/>
              <a:gd name="T106" fmla="*/ 174 w 180"/>
              <a:gd name="T107" fmla="*/ 200 h 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80" h="230">
                <a:moveTo>
                  <a:pt x="179" y="193"/>
                </a:moveTo>
                <a:cubicBezTo>
                  <a:pt x="179" y="192"/>
                  <a:pt x="179" y="192"/>
                  <a:pt x="179" y="191"/>
                </a:cubicBezTo>
                <a:cubicBezTo>
                  <a:pt x="179" y="190"/>
                  <a:pt x="179" y="190"/>
                  <a:pt x="179" y="190"/>
                </a:cubicBezTo>
                <a:cubicBezTo>
                  <a:pt x="178" y="187"/>
                  <a:pt x="178" y="187"/>
                  <a:pt x="178" y="187"/>
                </a:cubicBezTo>
                <a:cubicBezTo>
                  <a:pt x="178" y="187"/>
                  <a:pt x="178" y="187"/>
                  <a:pt x="178" y="186"/>
                </a:cubicBezTo>
                <a:cubicBezTo>
                  <a:pt x="168" y="185"/>
                  <a:pt x="168" y="185"/>
                  <a:pt x="168" y="185"/>
                </a:cubicBezTo>
                <a:cubicBezTo>
                  <a:pt x="166" y="185"/>
                  <a:pt x="166" y="185"/>
                  <a:pt x="166" y="185"/>
                </a:cubicBezTo>
                <a:cubicBezTo>
                  <a:pt x="163" y="182"/>
                  <a:pt x="163" y="182"/>
                  <a:pt x="163" y="182"/>
                </a:cubicBezTo>
                <a:cubicBezTo>
                  <a:pt x="161" y="178"/>
                  <a:pt x="161" y="178"/>
                  <a:pt x="161" y="178"/>
                </a:cubicBezTo>
                <a:cubicBezTo>
                  <a:pt x="155" y="170"/>
                  <a:pt x="155" y="170"/>
                  <a:pt x="155" y="170"/>
                </a:cubicBezTo>
                <a:cubicBezTo>
                  <a:pt x="154" y="168"/>
                  <a:pt x="154" y="168"/>
                  <a:pt x="154" y="168"/>
                </a:cubicBezTo>
                <a:cubicBezTo>
                  <a:pt x="142" y="163"/>
                  <a:pt x="142" y="163"/>
                  <a:pt x="142" y="163"/>
                </a:cubicBezTo>
                <a:cubicBezTo>
                  <a:pt x="140" y="163"/>
                  <a:pt x="140" y="163"/>
                  <a:pt x="140" y="163"/>
                </a:cubicBezTo>
                <a:cubicBezTo>
                  <a:pt x="137" y="164"/>
                  <a:pt x="137" y="164"/>
                  <a:pt x="137" y="164"/>
                </a:cubicBezTo>
                <a:cubicBezTo>
                  <a:pt x="133" y="166"/>
                  <a:pt x="133" y="166"/>
                  <a:pt x="133" y="166"/>
                </a:cubicBezTo>
                <a:cubicBezTo>
                  <a:pt x="131" y="167"/>
                  <a:pt x="131" y="167"/>
                  <a:pt x="131" y="167"/>
                </a:cubicBezTo>
                <a:cubicBezTo>
                  <a:pt x="130" y="167"/>
                  <a:pt x="130" y="167"/>
                  <a:pt x="130" y="167"/>
                </a:cubicBezTo>
                <a:cubicBezTo>
                  <a:pt x="129" y="167"/>
                  <a:pt x="129" y="167"/>
                  <a:pt x="129" y="167"/>
                </a:cubicBezTo>
                <a:cubicBezTo>
                  <a:pt x="129" y="166"/>
                  <a:pt x="129" y="166"/>
                  <a:pt x="129" y="166"/>
                </a:cubicBezTo>
                <a:cubicBezTo>
                  <a:pt x="131" y="163"/>
                  <a:pt x="131" y="163"/>
                  <a:pt x="131" y="163"/>
                </a:cubicBezTo>
                <a:cubicBezTo>
                  <a:pt x="133" y="160"/>
                  <a:pt x="133" y="160"/>
                  <a:pt x="133" y="160"/>
                </a:cubicBezTo>
                <a:cubicBezTo>
                  <a:pt x="151" y="135"/>
                  <a:pt x="151" y="135"/>
                  <a:pt x="151" y="135"/>
                </a:cubicBezTo>
                <a:cubicBezTo>
                  <a:pt x="153" y="132"/>
                  <a:pt x="153" y="132"/>
                  <a:pt x="153" y="132"/>
                </a:cubicBezTo>
                <a:cubicBezTo>
                  <a:pt x="168" y="117"/>
                  <a:pt x="168" y="117"/>
                  <a:pt x="168" y="117"/>
                </a:cubicBezTo>
                <a:cubicBezTo>
                  <a:pt x="171" y="113"/>
                  <a:pt x="171" y="113"/>
                  <a:pt x="171" y="113"/>
                </a:cubicBezTo>
                <a:cubicBezTo>
                  <a:pt x="173" y="112"/>
                  <a:pt x="173" y="112"/>
                  <a:pt x="173" y="112"/>
                </a:cubicBezTo>
                <a:cubicBezTo>
                  <a:pt x="174" y="112"/>
                  <a:pt x="174" y="112"/>
                  <a:pt x="174" y="112"/>
                </a:cubicBezTo>
                <a:cubicBezTo>
                  <a:pt x="176" y="112"/>
                  <a:pt x="176" y="112"/>
                  <a:pt x="176" y="112"/>
                </a:cubicBezTo>
                <a:cubicBezTo>
                  <a:pt x="177" y="110"/>
                  <a:pt x="177" y="110"/>
                  <a:pt x="177" y="110"/>
                </a:cubicBezTo>
                <a:cubicBezTo>
                  <a:pt x="177" y="109"/>
                  <a:pt x="177" y="109"/>
                  <a:pt x="177" y="109"/>
                </a:cubicBezTo>
                <a:cubicBezTo>
                  <a:pt x="177" y="107"/>
                  <a:pt x="177" y="107"/>
                  <a:pt x="177" y="107"/>
                </a:cubicBezTo>
                <a:cubicBezTo>
                  <a:pt x="178" y="95"/>
                  <a:pt x="178" y="95"/>
                  <a:pt x="178" y="95"/>
                </a:cubicBezTo>
                <a:cubicBezTo>
                  <a:pt x="178" y="92"/>
                  <a:pt x="178" y="92"/>
                  <a:pt x="178" y="92"/>
                </a:cubicBezTo>
                <a:cubicBezTo>
                  <a:pt x="178" y="89"/>
                  <a:pt x="178" y="89"/>
                  <a:pt x="178" y="89"/>
                </a:cubicBezTo>
                <a:cubicBezTo>
                  <a:pt x="177" y="85"/>
                  <a:pt x="177" y="85"/>
                  <a:pt x="177" y="85"/>
                </a:cubicBezTo>
                <a:cubicBezTo>
                  <a:pt x="177" y="83"/>
                  <a:pt x="177" y="83"/>
                  <a:pt x="177" y="83"/>
                </a:cubicBezTo>
                <a:cubicBezTo>
                  <a:pt x="174" y="74"/>
                  <a:pt x="174" y="74"/>
                  <a:pt x="174" y="74"/>
                </a:cubicBezTo>
                <a:cubicBezTo>
                  <a:pt x="174" y="73"/>
                  <a:pt x="174" y="73"/>
                  <a:pt x="174" y="73"/>
                </a:cubicBezTo>
                <a:cubicBezTo>
                  <a:pt x="163" y="48"/>
                  <a:pt x="163" y="48"/>
                  <a:pt x="163" y="48"/>
                </a:cubicBezTo>
                <a:cubicBezTo>
                  <a:pt x="162" y="46"/>
                  <a:pt x="162" y="46"/>
                  <a:pt x="162" y="46"/>
                </a:cubicBezTo>
                <a:cubicBezTo>
                  <a:pt x="157" y="36"/>
                  <a:pt x="157" y="36"/>
                  <a:pt x="157" y="36"/>
                </a:cubicBezTo>
                <a:cubicBezTo>
                  <a:pt x="152" y="29"/>
                  <a:pt x="152" y="29"/>
                  <a:pt x="152" y="29"/>
                </a:cubicBezTo>
                <a:cubicBezTo>
                  <a:pt x="150" y="27"/>
                  <a:pt x="149" y="25"/>
                  <a:pt x="148" y="23"/>
                </a:cubicBezTo>
                <a:cubicBezTo>
                  <a:pt x="148" y="23"/>
                  <a:pt x="147" y="23"/>
                  <a:pt x="147" y="23"/>
                </a:cubicBezTo>
                <a:cubicBezTo>
                  <a:pt x="147" y="23"/>
                  <a:pt x="145" y="22"/>
                  <a:pt x="145" y="20"/>
                </a:cubicBezTo>
                <a:cubicBezTo>
                  <a:pt x="143" y="22"/>
                  <a:pt x="140" y="24"/>
                  <a:pt x="137" y="27"/>
                </a:cubicBezTo>
                <a:cubicBezTo>
                  <a:pt x="137" y="27"/>
                  <a:pt x="138" y="28"/>
                  <a:pt x="138" y="28"/>
                </a:cubicBezTo>
                <a:cubicBezTo>
                  <a:pt x="138" y="31"/>
                  <a:pt x="137" y="33"/>
                  <a:pt x="137" y="33"/>
                </a:cubicBezTo>
                <a:cubicBezTo>
                  <a:pt x="137" y="35"/>
                  <a:pt x="137" y="38"/>
                  <a:pt x="136" y="40"/>
                </a:cubicBezTo>
                <a:cubicBezTo>
                  <a:pt x="136" y="40"/>
                  <a:pt x="136" y="41"/>
                  <a:pt x="136" y="42"/>
                </a:cubicBezTo>
                <a:cubicBezTo>
                  <a:pt x="136" y="43"/>
                  <a:pt x="137" y="45"/>
                  <a:pt x="135" y="47"/>
                </a:cubicBezTo>
                <a:cubicBezTo>
                  <a:pt x="136" y="47"/>
                  <a:pt x="136" y="48"/>
                  <a:pt x="136" y="48"/>
                </a:cubicBezTo>
                <a:cubicBezTo>
                  <a:pt x="136" y="49"/>
                  <a:pt x="135" y="50"/>
                  <a:pt x="134" y="50"/>
                </a:cubicBezTo>
                <a:cubicBezTo>
                  <a:pt x="134" y="50"/>
                  <a:pt x="133" y="50"/>
                  <a:pt x="132" y="50"/>
                </a:cubicBezTo>
                <a:cubicBezTo>
                  <a:pt x="131" y="50"/>
                  <a:pt x="129" y="50"/>
                  <a:pt x="128" y="49"/>
                </a:cubicBezTo>
                <a:cubicBezTo>
                  <a:pt x="127" y="49"/>
                  <a:pt x="126" y="49"/>
                  <a:pt x="126" y="49"/>
                </a:cubicBezTo>
                <a:cubicBezTo>
                  <a:pt x="126" y="49"/>
                  <a:pt x="125" y="49"/>
                  <a:pt x="125" y="49"/>
                </a:cubicBezTo>
                <a:cubicBezTo>
                  <a:pt x="125" y="49"/>
                  <a:pt x="124" y="49"/>
                  <a:pt x="124" y="49"/>
                </a:cubicBezTo>
                <a:cubicBezTo>
                  <a:pt x="122" y="47"/>
                  <a:pt x="120" y="45"/>
                  <a:pt x="119" y="44"/>
                </a:cubicBezTo>
                <a:cubicBezTo>
                  <a:pt x="118" y="44"/>
                  <a:pt x="115" y="43"/>
                  <a:pt x="110" y="34"/>
                </a:cubicBezTo>
                <a:cubicBezTo>
                  <a:pt x="110" y="34"/>
                  <a:pt x="109" y="34"/>
                  <a:pt x="109" y="33"/>
                </a:cubicBezTo>
                <a:cubicBezTo>
                  <a:pt x="110" y="22"/>
                  <a:pt x="110" y="22"/>
                  <a:pt x="110" y="22"/>
                </a:cubicBezTo>
                <a:cubicBezTo>
                  <a:pt x="110" y="19"/>
                  <a:pt x="109" y="15"/>
                  <a:pt x="108" y="13"/>
                </a:cubicBezTo>
                <a:cubicBezTo>
                  <a:pt x="108" y="14"/>
                  <a:pt x="107" y="14"/>
                  <a:pt x="107" y="14"/>
                </a:cubicBezTo>
                <a:cubicBezTo>
                  <a:pt x="106" y="14"/>
                  <a:pt x="105" y="14"/>
                  <a:pt x="105" y="13"/>
                </a:cubicBezTo>
                <a:cubicBezTo>
                  <a:pt x="102" y="10"/>
                  <a:pt x="102" y="10"/>
                  <a:pt x="102" y="10"/>
                </a:cubicBezTo>
                <a:cubicBezTo>
                  <a:pt x="96" y="8"/>
                  <a:pt x="96" y="8"/>
                  <a:pt x="96" y="8"/>
                </a:cubicBezTo>
                <a:cubicBezTo>
                  <a:pt x="95" y="8"/>
                  <a:pt x="95" y="7"/>
                  <a:pt x="95" y="7"/>
                </a:cubicBezTo>
                <a:cubicBezTo>
                  <a:pt x="94" y="6"/>
                  <a:pt x="93" y="4"/>
                  <a:pt x="92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0" y="6"/>
                  <a:pt x="89" y="7"/>
                  <a:pt x="88" y="6"/>
                </a:cubicBezTo>
                <a:cubicBezTo>
                  <a:pt x="87" y="6"/>
                  <a:pt x="87" y="5"/>
                  <a:pt x="86" y="5"/>
                </a:cubicBezTo>
                <a:cubicBezTo>
                  <a:pt x="82" y="5"/>
                  <a:pt x="77" y="4"/>
                  <a:pt x="77" y="4"/>
                </a:cubicBezTo>
                <a:cubicBezTo>
                  <a:pt x="75" y="4"/>
                  <a:pt x="75" y="4"/>
                  <a:pt x="75" y="4"/>
                </a:cubicBezTo>
                <a:cubicBezTo>
                  <a:pt x="74" y="4"/>
                  <a:pt x="74" y="4"/>
                  <a:pt x="74" y="4"/>
                </a:cubicBezTo>
                <a:cubicBezTo>
                  <a:pt x="65" y="0"/>
                  <a:pt x="65" y="0"/>
                  <a:pt x="65" y="0"/>
                </a:cubicBezTo>
                <a:cubicBezTo>
                  <a:pt x="64" y="1"/>
                  <a:pt x="63" y="2"/>
                  <a:pt x="62" y="3"/>
                </a:cubicBezTo>
                <a:cubicBezTo>
                  <a:pt x="62" y="3"/>
                  <a:pt x="62" y="3"/>
                  <a:pt x="63" y="3"/>
                </a:cubicBezTo>
                <a:cubicBezTo>
                  <a:pt x="65" y="5"/>
                  <a:pt x="65" y="5"/>
                  <a:pt x="66" y="7"/>
                </a:cubicBezTo>
                <a:cubicBezTo>
                  <a:pt x="67" y="7"/>
                  <a:pt x="67" y="7"/>
                  <a:pt x="68" y="7"/>
                </a:cubicBezTo>
                <a:cubicBezTo>
                  <a:pt x="70" y="8"/>
                  <a:pt x="72" y="9"/>
                  <a:pt x="73" y="11"/>
                </a:cubicBezTo>
                <a:cubicBezTo>
                  <a:pt x="74" y="13"/>
                  <a:pt x="75" y="14"/>
                  <a:pt x="74" y="16"/>
                </a:cubicBezTo>
                <a:cubicBezTo>
                  <a:pt x="74" y="16"/>
                  <a:pt x="74" y="16"/>
                  <a:pt x="73" y="17"/>
                </a:cubicBezTo>
                <a:cubicBezTo>
                  <a:pt x="69" y="20"/>
                  <a:pt x="69" y="20"/>
                  <a:pt x="69" y="20"/>
                </a:cubicBezTo>
                <a:cubicBezTo>
                  <a:pt x="69" y="20"/>
                  <a:pt x="69" y="20"/>
                  <a:pt x="68" y="20"/>
                </a:cubicBezTo>
                <a:cubicBezTo>
                  <a:pt x="66" y="20"/>
                  <a:pt x="66" y="20"/>
                  <a:pt x="66" y="20"/>
                </a:cubicBezTo>
                <a:cubicBezTo>
                  <a:pt x="66" y="22"/>
                  <a:pt x="66" y="22"/>
                  <a:pt x="66" y="22"/>
                </a:cubicBezTo>
                <a:cubicBezTo>
                  <a:pt x="65" y="24"/>
                  <a:pt x="65" y="25"/>
                  <a:pt x="64" y="26"/>
                </a:cubicBezTo>
                <a:cubicBezTo>
                  <a:pt x="64" y="26"/>
                  <a:pt x="63" y="26"/>
                  <a:pt x="63" y="26"/>
                </a:cubicBezTo>
                <a:cubicBezTo>
                  <a:pt x="62" y="28"/>
                  <a:pt x="59" y="28"/>
                  <a:pt x="57" y="29"/>
                </a:cubicBezTo>
                <a:cubicBezTo>
                  <a:pt x="56" y="29"/>
                  <a:pt x="55" y="29"/>
                  <a:pt x="55" y="29"/>
                </a:cubicBezTo>
                <a:cubicBezTo>
                  <a:pt x="52" y="30"/>
                  <a:pt x="43" y="29"/>
                  <a:pt x="41" y="28"/>
                </a:cubicBezTo>
                <a:cubicBezTo>
                  <a:pt x="40" y="28"/>
                  <a:pt x="40" y="28"/>
                  <a:pt x="40" y="28"/>
                </a:cubicBezTo>
                <a:cubicBezTo>
                  <a:pt x="31" y="20"/>
                  <a:pt x="31" y="20"/>
                  <a:pt x="31" y="20"/>
                </a:cubicBezTo>
                <a:cubicBezTo>
                  <a:pt x="31" y="20"/>
                  <a:pt x="31" y="19"/>
                  <a:pt x="31" y="19"/>
                </a:cubicBezTo>
                <a:cubicBezTo>
                  <a:pt x="33" y="9"/>
                  <a:pt x="33" y="9"/>
                  <a:pt x="33" y="9"/>
                </a:cubicBezTo>
                <a:cubicBezTo>
                  <a:pt x="29" y="9"/>
                  <a:pt x="29" y="9"/>
                  <a:pt x="29" y="9"/>
                </a:cubicBezTo>
                <a:cubicBezTo>
                  <a:pt x="26" y="9"/>
                  <a:pt x="26" y="9"/>
                  <a:pt x="26" y="9"/>
                </a:cubicBezTo>
                <a:cubicBezTo>
                  <a:pt x="23" y="11"/>
                  <a:pt x="23" y="11"/>
                  <a:pt x="23" y="11"/>
                </a:cubicBezTo>
                <a:cubicBezTo>
                  <a:pt x="15" y="20"/>
                  <a:pt x="15" y="20"/>
                  <a:pt x="15" y="20"/>
                </a:cubicBezTo>
                <a:cubicBezTo>
                  <a:pt x="13" y="22"/>
                  <a:pt x="9" y="26"/>
                  <a:pt x="7" y="26"/>
                </a:cubicBezTo>
                <a:cubicBezTo>
                  <a:pt x="6" y="26"/>
                  <a:pt x="6" y="26"/>
                  <a:pt x="6" y="26"/>
                </a:cubicBezTo>
                <a:cubicBezTo>
                  <a:pt x="5" y="28"/>
                  <a:pt x="2" y="32"/>
                  <a:pt x="2" y="32"/>
                </a:cubicBezTo>
                <a:cubicBezTo>
                  <a:pt x="0" y="34"/>
                  <a:pt x="0" y="34"/>
                  <a:pt x="0" y="34"/>
                </a:cubicBezTo>
                <a:cubicBezTo>
                  <a:pt x="1" y="35"/>
                  <a:pt x="1" y="35"/>
                  <a:pt x="1" y="35"/>
                </a:cubicBezTo>
                <a:cubicBezTo>
                  <a:pt x="6" y="38"/>
                  <a:pt x="6" y="38"/>
                  <a:pt x="6" y="38"/>
                </a:cubicBezTo>
                <a:cubicBezTo>
                  <a:pt x="6" y="38"/>
                  <a:pt x="7" y="39"/>
                  <a:pt x="7" y="40"/>
                </a:cubicBezTo>
                <a:cubicBezTo>
                  <a:pt x="7" y="49"/>
                  <a:pt x="7" y="49"/>
                  <a:pt x="7" y="49"/>
                </a:cubicBezTo>
                <a:cubicBezTo>
                  <a:pt x="8" y="50"/>
                  <a:pt x="8" y="50"/>
                  <a:pt x="8" y="50"/>
                </a:cubicBezTo>
                <a:cubicBezTo>
                  <a:pt x="9" y="51"/>
                  <a:pt x="9" y="51"/>
                  <a:pt x="9" y="52"/>
                </a:cubicBezTo>
                <a:cubicBezTo>
                  <a:pt x="9" y="54"/>
                  <a:pt x="9" y="54"/>
                  <a:pt x="9" y="54"/>
                </a:cubicBezTo>
                <a:cubicBezTo>
                  <a:pt x="12" y="56"/>
                  <a:pt x="12" y="56"/>
                  <a:pt x="12" y="56"/>
                </a:cubicBezTo>
                <a:cubicBezTo>
                  <a:pt x="13" y="56"/>
                  <a:pt x="13" y="57"/>
                  <a:pt x="13" y="58"/>
                </a:cubicBezTo>
                <a:cubicBezTo>
                  <a:pt x="13" y="70"/>
                  <a:pt x="13" y="70"/>
                  <a:pt x="13" y="70"/>
                </a:cubicBezTo>
                <a:cubicBezTo>
                  <a:pt x="13" y="71"/>
                  <a:pt x="13" y="71"/>
                  <a:pt x="13" y="71"/>
                </a:cubicBezTo>
                <a:cubicBezTo>
                  <a:pt x="10" y="73"/>
                  <a:pt x="10" y="73"/>
                  <a:pt x="10" y="73"/>
                </a:cubicBezTo>
                <a:cubicBezTo>
                  <a:pt x="10" y="74"/>
                  <a:pt x="10" y="74"/>
                  <a:pt x="10" y="74"/>
                </a:cubicBezTo>
                <a:cubicBezTo>
                  <a:pt x="10" y="75"/>
                  <a:pt x="11" y="78"/>
                  <a:pt x="11" y="80"/>
                </a:cubicBezTo>
                <a:cubicBezTo>
                  <a:pt x="12" y="81"/>
                  <a:pt x="12" y="81"/>
                  <a:pt x="12" y="81"/>
                </a:cubicBezTo>
                <a:cubicBezTo>
                  <a:pt x="12" y="81"/>
                  <a:pt x="13" y="81"/>
                  <a:pt x="14" y="81"/>
                </a:cubicBezTo>
                <a:cubicBezTo>
                  <a:pt x="15" y="80"/>
                  <a:pt x="16" y="79"/>
                  <a:pt x="17" y="78"/>
                </a:cubicBezTo>
                <a:cubicBezTo>
                  <a:pt x="18" y="78"/>
                  <a:pt x="19" y="78"/>
                  <a:pt x="20" y="78"/>
                </a:cubicBezTo>
                <a:cubicBezTo>
                  <a:pt x="20" y="78"/>
                  <a:pt x="20" y="78"/>
                  <a:pt x="21" y="78"/>
                </a:cubicBezTo>
                <a:cubicBezTo>
                  <a:pt x="22" y="78"/>
                  <a:pt x="23" y="77"/>
                  <a:pt x="24" y="76"/>
                </a:cubicBezTo>
                <a:cubicBezTo>
                  <a:pt x="25" y="76"/>
                  <a:pt x="25" y="76"/>
                  <a:pt x="25" y="76"/>
                </a:cubicBezTo>
                <a:cubicBezTo>
                  <a:pt x="27" y="76"/>
                  <a:pt x="27" y="76"/>
                  <a:pt x="27" y="76"/>
                </a:cubicBezTo>
                <a:cubicBezTo>
                  <a:pt x="27" y="75"/>
                  <a:pt x="28" y="74"/>
                  <a:pt x="29" y="75"/>
                </a:cubicBezTo>
                <a:cubicBezTo>
                  <a:pt x="30" y="75"/>
                  <a:pt x="31" y="75"/>
                  <a:pt x="32" y="77"/>
                </a:cubicBezTo>
                <a:cubicBezTo>
                  <a:pt x="33" y="81"/>
                  <a:pt x="32" y="83"/>
                  <a:pt x="32" y="84"/>
                </a:cubicBezTo>
                <a:cubicBezTo>
                  <a:pt x="32" y="84"/>
                  <a:pt x="31" y="85"/>
                  <a:pt x="30" y="85"/>
                </a:cubicBezTo>
                <a:cubicBezTo>
                  <a:pt x="27" y="85"/>
                  <a:pt x="27" y="85"/>
                  <a:pt x="27" y="85"/>
                </a:cubicBezTo>
                <a:cubicBezTo>
                  <a:pt x="26" y="85"/>
                  <a:pt x="24" y="85"/>
                  <a:pt x="24" y="86"/>
                </a:cubicBezTo>
                <a:cubicBezTo>
                  <a:pt x="24" y="87"/>
                  <a:pt x="24" y="87"/>
                  <a:pt x="24" y="87"/>
                </a:cubicBezTo>
                <a:cubicBezTo>
                  <a:pt x="23" y="87"/>
                  <a:pt x="23" y="87"/>
                  <a:pt x="23" y="88"/>
                </a:cubicBezTo>
                <a:cubicBezTo>
                  <a:pt x="19" y="91"/>
                  <a:pt x="19" y="91"/>
                  <a:pt x="19" y="91"/>
                </a:cubicBezTo>
                <a:cubicBezTo>
                  <a:pt x="18" y="91"/>
                  <a:pt x="18" y="92"/>
                  <a:pt x="17" y="92"/>
                </a:cubicBezTo>
                <a:cubicBezTo>
                  <a:pt x="15" y="92"/>
                  <a:pt x="15" y="92"/>
                  <a:pt x="15" y="92"/>
                </a:cubicBezTo>
                <a:cubicBezTo>
                  <a:pt x="15" y="92"/>
                  <a:pt x="14" y="93"/>
                  <a:pt x="13" y="94"/>
                </a:cubicBezTo>
                <a:cubicBezTo>
                  <a:pt x="12" y="95"/>
                  <a:pt x="12" y="95"/>
                  <a:pt x="11" y="95"/>
                </a:cubicBezTo>
                <a:cubicBezTo>
                  <a:pt x="14" y="95"/>
                  <a:pt x="14" y="95"/>
                  <a:pt x="14" y="95"/>
                </a:cubicBezTo>
                <a:cubicBezTo>
                  <a:pt x="15" y="94"/>
                  <a:pt x="16" y="94"/>
                  <a:pt x="17" y="94"/>
                </a:cubicBezTo>
                <a:cubicBezTo>
                  <a:pt x="18" y="94"/>
                  <a:pt x="19" y="95"/>
                  <a:pt x="19" y="97"/>
                </a:cubicBezTo>
                <a:cubicBezTo>
                  <a:pt x="19" y="100"/>
                  <a:pt x="20" y="102"/>
                  <a:pt x="20" y="102"/>
                </a:cubicBezTo>
                <a:cubicBezTo>
                  <a:pt x="19" y="109"/>
                  <a:pt x="19" y="109"/>
                  <a:pt x="19" y="109"/>
                </a:cubicBezTo>
                <a:cubicBezTo>
                  <a:pt x="19" y="116"/>
                  <a:pt x="19" y="116"/>
                  <a:pt x="19" y="116"/>
                </a:cubicBezTo>
                <a:cubicBezTo>
                  <a:pt x="20" y="117"/>
                  <a:pt x="21" y="118"/>
                  <a:pt x="22" y="119"/>
                </a:cubicBezTo>
                <a:cubicBezTo>
                  <a:pt x="22" y="119"/>
                  <a:pt x="22" y="119"/>
                  <a:pt x="22" y="120"/>
                </a:cubicBezTo>
                <a:cubicBezTo>
                  <a:pt x="22" y="125"/>
                  <a:pt x="22" y="125"/>
                  <a:pt x="22" y="125"/>
                </a:cubicBezTo>
                <a:cubicBezTo>
                  <a:pt x="22" y="125"/>
                  <a:pt x="22" y="126"/>
                  <a:pt x="22" y="127"/>
                </a:cubicBezTo>
                <a:cubicBezTo>
                  <a:pt x="22" y="128"/>
                  <a:pt x="21" y="129"/>
                  <a:pt x="19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14" y="131"/>
                  <a:pt x="14" y="131"/>
                  <a:pt x="14" y="131"/>
                </a:cubicBezTo>
                <a:cubicBezTo>
                  <a:pt x="14" y="131"/>
                  <a:pt x="14" y="131"/>
                  <a:pt x="13" y="131"/>
                </a:cubicBezTo>
                <a:cubicBezTo>
                  <a:pt x="12" y="132"/>
                  <a:pt x="12" y="133"/>
                  <a:pt x="12" y="133"/>
                </a:cubicBezTo>
                <a:cubicBezTo>
                  <a:pt x="12" y="133"/>
                  <a:pt x="12" y="134"/>
                  <a:pt x="12" y="135"/>
                </a:cubicBezTo>
                <a:cubicBezTo>
                  <a:pt x="8" y="138"/>
                  <a:pt x="7" y="138"/>
                  <a:pt x="6" y="139"/>
                </a:cubicBezTo>
                <a:cubicBezTo>
                  <a:pt x="10" y="141"/>
                  <a:pt x="10" y="142"/>
                  <a:pt x="10" y="143"/>
                </a:cubicBezTo>
                <a:cubicBezTo>
                  <a:pt x="10" y="144"/>
                  <a:pt x="11" y="145"/>
                  <a:pt x="12" y="146"/>
                </a:cubicBezTo>
                <a:cubicBezTo>
                  <a:pt x="12" y="146"/>
                  <a:pt x="12" y="146"/>
                  <a:pt x="12" y="147"/>
                </a:cubicBezTo>
                <a:cubicBezTo>
                  <a:pt x="13" y="150"/>
                  <a:pt x="13" y="150"/>
                  <a:pt x="13" y="150"/>
                </a:cubicBezTo>
                <a:cubicBezTo>
                  <a:pt x="13" y="150"/>
                  <a:pt x="13" y="150"/>
                  <a:pt x="13" y="151"/>
                </a:cubicBezTo>
                <a:cubicBezTo>
                  <a:pt x="13" y="153"/>
                  <a:pt x="13" y="153"/>
                  <a:pt x="13" y="153"/>
                </a:cubicBezTo>
                <a:cubicBezTo>
                  <a:pt x="14" y="153"/>
                  <a:pt x="15" y="154"/>
                  <a:pt x="16" y="155"/>
                </a:cubicBezTo>
                <a:cubicBezTo>
                  <a:pt x="16" y="156"/>
                  <a:pt x="16" y="156"/>
                  <a:pt x="16" y="157"/>
                </a:cubicBezTo>
                <a:cubicBezTo>
                  <a:pt x="16" y="158"/>
                  <a:pt x="14" y="160"/>
                  <a:pt x="13" y="161"/>
                </a:cubicBezTo>
                <a:cubicBezTo>
                  <a:pt x="13" y="161"/>
                  <a:pt x="12" y="162"/>
                  <a:pt x="12" y="163"/>
                </a:cubicBezTo>
                <a:cubicBezTo>
                  <a:pt x="12" y="165"/>
                  <a:pt x="12" y="165"/>
                  <a:pt x="12" y="165"/>
                </a:cubicBezTo>
                <a:cubicBezTo>
                  <a:pt x="12" y="169"/>
                  <a:pt x="12" y="169"/>
                  <a:pt x="12" y="169"/>
                </a:cubicBezTo>
                <a:cubicBezTo>
                  <a:pt x="13" y="170"/>
                  <a:pt x="13" y="170"/>
                  <a:pt x="13" y="170"/>
                </a:cubicBezTo>
                <a:cubicBezTo>
                  <a:pt x="13" y="171"/>
                  <a:pt x="14" y="171"/>
                  <a:pt x="14" y="171"/>
                </a:cubicBezTo>
                <a:cubicBezTo>
                  <a:pt x="15" y="171"/>
                  <a:pt x="15" y="171"/>
                  <a:pt x="15" y="171"/>
                </a:cubicBezTo>
                <a:cubicBezTo>
                  <a:pt x="16" y="172"/>
                  <a:pt x="16" y="172"/>
                  <a:pt x="16" y="172"/>
                </a:cubicBezTo>
                <a:cubicBezTo>
                  <a:pt x="18" y="174"/>
                  <a:pt x="18" y="174"/>
                  <a:pt x="18" y="174"/>
                </a:cubicBezTo>
                <a:cubicBezTo>
                  <a:pt x="18" y="174"/>
                  <a:pt x="19" y="174"/>
                  <a:pt x="19" y="175"/>
                </a:cubicBezTo>
                <a:cubicBezTo>
                  <a:pt x="19" y="178"/>
                  <a:pt x="19" y="178"/>
                  <a:pt x="19" y="178"/>
                </a:cubicBezTo>
                <a:cubicBezTo>
                  <a:pt x="20" y="178"/>
                  <a:pt x="20" y="178"/>
                  <a:pt x="20" y="178"/>
                </a:cubicBezTo>
                <a:cubicBezTo>
                  <a:pt x="21" y="178"/>
                  <a:pt x="21" y="178"/>
                  <a:pt x="21" y="178"/>
                </a:cubicBezTo>
                <a:cubicBezTo>
                  <a:pt x="24" y="180"/>
                  <a:pt x="24" y="180"/>
                  <a:pt x="24" y="180"/>
                </a:cubicBezTo>
                <a:cubicBezTo>
                  <a:pt x="25" y="180"/>
                  <a:pt x="25" y="180"/>
                  <a:pt x="25" y="180"/>
                </a:cubicBezTo>
                <a:cubicBezTo>
                  <a:pt x="26" y="180"/>
                  <a:pt x="26" y="181"/>
                  <a:pt x="27" y="182"/>
                </a:cubicBezTo>
                <a:cubicBezTo>
                  <a:pt x="27" y="187"/>
                  <a:pt x="27" y="187"/>
                  <a:pt x="27" y="187"/>
                </a:cubicBezTo>
                <a:cubicBezTo>
                  <a:pt x="27" y="192"/>
                  <a:pt x="27" y="192"/>
                  <a:pt x="27" y="192"/>
                </a:cubicBezTo>
                <a:cubicBezTo>
                  <a:pt x="28" y="196"/>
                  <a:pt x="28" y="196"/>
                  <a:pt x="28" y="196"/>
                </a:cubicBezTo>
                <a:cubicBezTo>
                  <a:pt x="29" y="199"/>
                  <a:pt x="29" y="199"/>
                  <a:pt x="29" y="199"/>
                </a:cubicBezTo>
                <a:cubicBezTo>
                  <a:pt x="29" y="199"/>
                  <a:pt x="30" y="199"/>
                  <a:pt x="31" y="200"/>
                </a:cubicBezTo>
                <a:cubicBezTo>
                  <a:pt x="32" y="200"/>
                  <a:pt x="32" y="200"/>
                  <a:pt x="32" y="200"/>
                </a:cubicBezTo>
                <a:cubicBezTo>
                  <a:pt x="32" y="200"/>
                  <a:pt x="32" y="200"/>
                  <a:pt x="33" y="200"/>
                </a:cubicBezTo>
                <a:cubicBezTo>
                  <a:pt x="34" y="201"/>
                  <a:pt x="34" y="201"/>
                  <a:pt x="34" y="201"/>
                </a:cubicBezTo>
                <a:cubicBezTo>
                  <a:pt x="35" y="201"/>
                  <a:pt x="37" y="202"/>
                  <a:pt x="38" y="202"/>
                </a:cubicBezTo>
                <a:cubicBezTo>
                  <a:pt x="39" y="202"/>
                  <a:pt x="39" y="202"/>
                  <a:pt x="39" y="202"/>
                </a:cubicBezTo>
                <a:cubicBezTo>
                  <a:pt x="40" y="201"/>
                  <a:pt x="42" y="202"/>
                  <a:pt x="43" y="202"/>
                </a:cubicBezTo>
                <a:cubicBezTo>
                  <a:pt x="44" y="202"/>
                  <a:pt x="44" y="202"/>
                  <a:pt x="44" y="203"/>
                </a:cubicBezTo>
                <a:cubicBezTo>
                  <a:pt x="47" y="205"/>
                  <a:pt x="47" y="205"/>
                  <a:pt x="47" y="205"/>
                </a:cubicBezTo>
                <a:cubicBezTo>
                  <a:pt x="52" y="205"/>
                  <a:pt x="52" y="205"/>
                  <a:pt x="52" y="205"/>
                </a:cubicBezTo>
                <a:cubicBezTo>
                  <a:pt x="53" y="205"/>
                  <a:pt x="54" y="206"/>
                  <a:pt x="54" y="207"/>
                </a:cubicBezTo>
                <a:cubicBezTo>
                  <a:pt x="54" y="208"/>
                  <a:pt x="54" y="208"/>
                  <a:pt x="54" y="208"/>
                </a:cubicBezTo>
                <a:cubicBezTo>
                  <a:pt x="55" y="208"/>
                  <a:pt x="55" y="208"/>
                  <a:pt x="55" y="208"/>
                </a:cubicBezTo>
                <a:cubicBezTo>
                  <a:pt x="55" y="208"/>
                  <a:pt x="57" y="209"/>
                  <a:pt x="58" y="210"/>
                </a:cubicBezTo>
                <a:cubicBezTo>
                  <a:pt x="59" y="210"/>
                  <a:pt x="59" y="210"/>
                  <a:pt x="59" y="210"/>
                </a:cubicBezTo>
                <a:cubicBezTo>
                  <a:pt x="60" y="211"/>
                  <a:pt x="61" y="210"/>
                  <a:pt x="62" y="210"/>
                </a:cubicBezTo>
                <a:cubicBezTo>
                  <a:pt x="63" y="210"/>
                  <a:pt x="65" y="209"/>
                  <a:pt x="66" y="210"/>
                </a:cubicBezTo>
                <a:cubicBezTo>
                  <a:pt x="68" y="209"/>
                  <a:pt x="70" y="210"/>
                  <a:pt x="71" y="211"/>
                </a:cubicBezTo>
                <a:cubicBezTo>
                  <a:pt x="72" y="214"/>
                  <a:pt x="72" y="215"/>
                  <a:pt x="71" y="216"/>
                </a:cubicBezTo>
                <a:cubicBezTo>
                  <a:pt x="72" y="218"/>
                  <a:pt x="72" y="219"/>
                  <a:pt x="72" y="219"/>
                </a:cubicBezTo>
                <a:cubicBezTo>
                  <a:pt x="72" y="220"/>
                  <a:pt x="71" y="221"/>
                  <a:pt x="70" y="221"/>
                </a:cubicBezTo>
                <a:cubicBezTo>
                  <a:pt x="70" y="221"/>
                  <a:pt x="69" y="221"/>
                  <a:pt x="68" y="221"/>
                </a:cubicBezTo>
                <a:cubicBezTo>
                  <a:pt x="68" y="221"/>
                  <a:pt x="66" y="222"/>
                  <a:pt x="65" y="221"/>
                </a:cubicBezTo>
                <a:cubicBezTo>
                  <a:pt x="64" y="222"/>
                  <a:pt x="64" y="223"/>
                  <a:pt x="63" y="223"/>
                </a:cubicBezTo>
                <a:cubicBezTo>
                  <a:pt x="63" y="224"/>
                  <a:pt x="62" y="224"/>
                  <a:pt x="62" y="224"/>
                </a:cubicBezTo>
                <a:cubicBezTo>
                  <a:pt x="61" y="225"/>
                  <a:pt x="60" y="226"/>
                  <a:pt x="58" y="225"/>
                </a:cubicBezTo>
                <a:cubicBezTo>
                  <a:pt x="57" y="225"/>
                  <a:pt x="57" y="225"/>
                  <a:pt x="57" y="225"/>
                </a:cubicBezTo>
                <a:cubicBezTo>
                  <a:pt x="57" y="226"/>
                  <a:pt x="57" y="226"/>
                  <a:pt x="57" y="226"/>
                </a:cubicBezTo>
                <a:cubicBezTo>
                  <a:pt x="58" y="226"/>
                  <a:pt x="59" y="226"/>
                  <a:pt x="60" y="226"/>
                </a:cubicBezTo>
                <a:cubicBezTo>
                  <a:pt x="60" y="227"/>
                  <a:pt x="62" y="227"/>
                  <a:pt x="63" y="226"/>
                </a:cubicBezTo>
                <a:cubicBezTo>
                  <a:pt x="63" y="226"/>
                  <a:pt x="65" y="226"/>
                  <a:pt x="68" y="227"/>
                </a:cubicBezTo>
                <a:cubicBezTo>
                  <a:pt x="71" y="228"/>
                  <a:pt x="71" y="228"/>
                  <a:pt x="71" y="228"/>
                </a:cubicBezTo>
                <a:cubicBezTo>
                  <a:pt x="72" y="228"/>
                  <a:pt x="72" y="228"/>
                  <a:pt x="72" y="228"/>
                </a:cubicBezTo>
                <a:cubicBezTo>
                  <a:pt x="73" y="229"/>
                  <a:pt x="73" y="229"/>
                  <a:pt x="73" y="229"/>
                </a:cubicBezTo>
                <a:cubicBezTo>
                  <a:pt x="74" y="227"/>
                  <a:pt x="75" y="226"/>
                  <a:pt x="76" y="225"/>
                </a:cubicBezTo>
                <a:cubicBezTo>
                  <a:pt x="76" y="224"/>
                  <a:pt x="76" y="224"/>
                  <a:pt x="76" y="224"/>
                </a:cubicBezTo>
                <a:cubicBezTo>
                  <a:pt x="76" y="223"/>
                  <a:pt x="76" y="223"/>
                  <a:pt x="77" y="222"/>
                </a:cubicBezTo>
                <a:cubicBezTo>
                  <a:pt x="77" y="222"/>
                  <a:pt x="79" y="222"/>
                  <a:pt x="81" y="221"/>
                </a:cubicBezTo>
                <a:cubicBezTo>
                  <a:pt x="82" y="221"/>
                  <a:pt x="82" y="221"/>
                  <a:pt x="82" y="221"/>
                </a:cubicBezTo>
                <a:cubicBezTo>
                  <a:pt x="83" y="220"/>
                  <a:pt x="83" y="220"/>
                  <a:pt x="84" y="220"/>
                </a:cubicBezTo>
                <a:cubicBezTo>
                  <a:pt x="86" y="220"/>
                  <a:pt x="87" y="220"/>
                  <a:pt x="88" y="220"/>
                </a:cubicBezTo>
                <a:cubicBezTo>
                  <a:pt x="89" y="220"/>
                  <a:pt x="89" y="220"/>
                  <a:pt x="89" y="220"/>
                </a:cubicBezTo>
                <a:cubicBezTo>
                  <a:pt x="91" y="220"/>
                  <a:pt x="91" y="220"/>
                  <a:pt x="91" y="220"/>
                </a:cubicBezTo>
                <a:cubicBezTo>
                  <a:pt x="92" y="220"/>
                  <a:pt x="93" y="221"/>
                  <a:pt x="93" y="222"/>
                </a:cubicBezTo>
                <a:cubicBezTo>
                  <a:pt x="94" y="223"/>
                  <a:pt x="94" y="223"/>
                  <a:pt x="94" y="223"/>
                </a:cubicBezTo>
                <a:cubicBezTo>
                  <a:pt x="96" y="225"/>
                  <a:pt x="96" y="225"/>
                  <a:pt x="96" y="225"/>
                </a:cubicBezTo>
                <a:cubicBezTo>
                  <a:pt x="97" y="225"/>
                  <a:pt x="97" y="225"/>
                  <a:pt x="97" y="225"/>
                </a:cubicBezTo>
                <a:cubicBezTo>
                  <a:pt x="100" y="222"/>
                  <a:pt x="100" y="222"/>
                  <a:pt x="100" y="222"/>
                </a:cubicBezTo>
                <a:cubicBezTo>
                  <a:pt x="101" y="222"/>
                  <a:pt x="101" y="222"/>
                  <a:pt x="102" y="222"/>
                </a:cubicBezTo>
                <a:cubicBezTo>
                  <a:pt x="107" y="222"/>
                  <a:pt x="107" y="222"/>
                  <a:pt x="107" y="222"/>
                </a:cubicBezTo>
                <a:cubicBezTo>
                  <a:pt x="108" y="222"/>
                  <a:pt x="108" y="222"/>
                  <a:pt x="108" y="222"/>
                </a:cubicBezTo>
                <a:cubicBezTo>
                  <a:pt x="111" y="222"/>
                  <a:pt x="111" y="222"/>
                  <a:pt x="111" y="222"/>
                </a:cubicBezTo>
                <a:cubicBezTo>
                  <a:pt x="112" y="223"/>
                  <a:pt x="116" y="222"/>
                  <a:pt x="117" y="222"/>
                </a:cubicBezTo>
                <a:cubicBezTo>
                  <a:pt x="118" y="222"/>
                  <a:pt x="118" y="222"/>
                  <a:pt x="118" y="222"/>
                </a:cubicBezTo>
                <a:cubicBezTo>
                  <a:pt x="121" y="222"/>
                  <a:pt x="121" y="222"/>
                  <a:pt x="121" y="222"/>
                </a:cubicBezTo>
                <a:cubicBezTo>
                  <a:pt x="125" y="222"/>
                  <a:pt x="125" y="222"/>
                  <a:pt x="125" y="222"/>
                </a:cubicBezTo>
                <a:cubicBezTo>
                  <a:pt x="126" y="222"/>
                  <a:pt x="126" y="222"/>
                  <a:pt x="126" y="222"/>
                </a:cubicBezTo>
                <a:cubicBezTo>
                  <a:pt x="126" y="221"/>
                  <a:pt x="126" y="221"/>
                  <a:pt x="126" y="221"/>
                </a:cubicBezTo>
                <a:cubicBezTo>
                  <a:pt x="130" y="221"/>
                  <a:pt x="130" y="221"/>
                  <a:pt x="130" y="221"/>
                </a:cubicBezTo>
                <a:cubicBezTo>
                  <a:pt x="131" y="221"/>
                  <a:pt x="131" y="221"/>
                  <a:pt x="132" y="222"/>
                </a:cubicBezTo>
                <a:cubicBezTo>
                  <a:pt x="135" y="226"/>
                  <a:pt x="135" y="226"/>
                  <a:pt x="135" y="226"/>
                </a:cubicBezTo>
                <a:cubicBezTo>
                  <a:pt x="135" y="227"/>
                  <a:pt x="135" y="227"/>
                  <a:pt x="135" y="227"/>
                </a:cubicBezTo>
                <a:cubicBezTo>
                  <a:pt x="135" y="229"/>
                  <a:pt x="135" y="229"/>
                  <a:pt x="135" y="229"/>
                </a:cubicBezTo>
                <a:cubicBezTo>
                  <a:pt x="137" y="230"/>
                  <a:pt x="137" y="230"/>
                  <a:pt x="137" y="230"/>
                </a:cubicBezTo>
                <a:cubicBezTo>
                  <a:pt x="137" y="229"/>
                  <a:pt x="138" y="228"/>
                  <a:pt x="138" y="228"/>
                </a:cubicBezTo>
                <a:cubicBezTo>
                  <a:pt x="138" y="227"/>
                  <a:pt x="138" y="227"/>
                  <a:pt x="138" y="227"/>
                </a:cubicBezTo>
                <a:cubicBezTo>
                  <a:pt x="137" y="226"/>
                  <a:pt x="136" y="226"/>
                  <a:pt x="137" y="224"/>
                </a:cubicBezTo>
                <a:cubicBezTo>
                  <a:pt x="137" y="224"/>
                  <a:pt x="137" y="223"/>
                  <a:pt x="139" y="222"/>
                </a:cubicBezTo>
                <a:cubicBezTo>
                  <a:pt x="140" y="222"/>
                  <a:pt x="141" y="222"/>
                  <a:pt x="141" y="221"/>
                </a:cubicBezTo>
                <a:cubicBezTo>
                  <a:pt x="142" y="221"/>
                  <a:pt x="142" y="221"/>
                  <a:pt x="143" y="221"/>
                </a:cubicBezTo>
                <a:cubicBezTo>
                  <a:pt x="144" y="220"/>
                  <a:pt x="144" y="220"/>
                  <a:pt x="144" y="220"/>
                </a:cubicBezTo>
                <a:cubicBezTo>
                  <a:pt x="145" y="218"/>
                  <a:pt x="146" y="217"/>
                  <a:pt x="146" y="216"/>
                </a:cubicBezTo>
                <a:cubicBezTo>
                  <a:pt x="146" y="215"/>
                  <a:pt x="145" y="214"/>
                  <a:pt x="145" y="214"/>
                </a:cubicBezTo>
                <a:cubicBezTo>
                  <a:pt x="145" y="213"/>
                  <a:pt x="145" y="212"/>
                  <a:pt x="145" y="211"/>
                </a:cubicBezTo>
                <a:cubicBezTo>
                  <a:pt x="144" y="211"/>
                  <a:pt x="143" y="210"/>
                  <a:pt x="143" y="208"/>
                </a:cubicBezTo>
                <a:cubicBezTo>
                  <a:pt x="144" y="206"/>
                  <a:pt x="146" y="206"/>
                  <a:pt x="147" y="206"/>
                </a:cubicBezTo>
                <a:cubicBezTo>
                  <a:pt x="153" y="205"/>
                  <a:pt x="153" y="205"/>
                  <a:pt x="153" y="205"/>
                </a:cubicBezTo>
                <a:cubicBezTo>
                  <a:pt x="153" y="205"/>
                  <a:pt x="154" y="205"/>
                  <a:pt x="154" y="206"/>
                </a:cubicBezTo>
                <a:cubicBezTo>
                  <a:pt x="154" y="206"/>
                  <a:pt x="154" y="206"/>
                  <a:pt x="155" y="206"/>
                </a:cubicBezTo>
                <a:cubicBezTo>
                  <a:pt x="157" y="206"/>
                  <a:pt x="159" y="205"/>
                  <a:pt x="160" y="205"/>
                </a:cubicBezTo>
                <a:cubicBezTo>
                  <a:pt x="161" y="204"/>
                  <a:pt x="161" y="204"/>
                  <a:pt x="161" y="204"/>
                </a:cubicBezTo>
                <a:cubicBezTo>
                  <a:pt x="162" y="203"/>
                  <a:pt x="163" y="202"/>
                  <a:pt x="165" y="202"/>
                </a:cubicBezTo>
                <a:cubicBezTo>
                  <a:pt x="168" y="202"/>
                  <a:pt x="168" y="202"/>
                  <a:pt x="168" y="202"/>
                </a:cubicBezTo>
                <a:cubicBezTo>
                  <a:pt x="169" y="202"/>
                  <a:pt x="169" y="202"/>
                  <a:pt x="169" y="202"/>
                </a:cubicBezTo>
                <a:cubicBezTo>
                  <a:pt x="170" y="202"/>
                  <a:pt x="171" y="202"/>
                  <a:pt x="171" y="203"/>
                </a:cubicBezTo>
                <a:cubicBezTo>
                  <a:pt x="173" y="201"/>
                  <a:pt x="174" y="200"/>
                  <a:pt x="174" y="200"/>
                </a:cubicBezTo>
                <a:cubicBezTo>
                  <a:pt x="174" y="199"/>
                  <a:pt x="175" y="199"/>
                  <a:pt x="176" y="198"/>
                </a:cubicBezTo>
                <a:cubicBezTo>
                  <a:pt x="179" y="197"/>
                  <a:pt x="179" y="197"/>
                  <a:pt x="179" y="197"/>
                </a:cubicBezTo>
                <a:cubicBezTo>
                  <a:pt x="179" y="196"/>
                  <a:pt x="179" y="195"/>
                  <a:pt x="179" y="194"/>
                </a:cubicBezTo>
                <a:cubicBezTo>
                  <a:pt x="180" y="193"/>
                  <a:pt x="180" y="193"/>
                  <a:pt x="179" y="19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8" name="Freeform 99">
            <a:extLst>
              <a:ext uri="{FF2B5EF4-FFF2-40B4-BE49-F238E27FC236}">
                <a16:creationId xmlns:a16="http://schemas.microsoft.com/office/drawing/2014/main" id="{14FA388E-B321-4B46-919F-3FC3102127C5}"/>
              </a:ext>
            </a:extLst>
          </p:cNvPr>
          <p:cNvSpPr>
            <a:spLocks/>
          </p:cNvSpPr>
          <p:nvPr/>
        </p:nvSpPr>
        <p:spPr bwMode="auto">
          <a:xfrm>
            <a:off x="6078948" y="5239866"/>
            <a:ext cx="316442" cy="166688"/>
          </a:xfrm>
          <a:custGeom>
            <a:avLst/>
            <a:gdLst>
              <a:gd name="T0" fmla="*/ 126 w 131"/>
              <a:gd name="T1" fmla="*/ 25 h 75"/>
              <a:gd name="T2" fmla="*/ 110 w 131"/>
              <a:gd name="T3" fmla="*/ 27 h 75"/>
              <a:gd name="T4" fmla="*/ 107 w 131"/>
              <a:gd name="T5" fmla="*/ 26 h 75"/>
              <a:gd name="T6" fmla="*/ 95 w 131"/>
              <a:gd name="T7" fmla="*/ 22 h 75"/>
              <a:gd name="T8" fmla="*/ 91 w 131"/>
              <a:gd name="T9" fmla="*/ 14 h 75"/>
              <a:gd name="T10" fmla="*/ 87 w 131"/>
              <a:gd name="T11" fmla="*/ 18 h 75"/>
              <a:gd name="T12" fmla="*/ 73 w 131"/>
              <a:gd name="T13" fmla="*/ 14 h 75"/>
              <a:gd name="T14" fmla="*/ 67 w 131"/>
              <a:gd name="T15" fmla="*/ 14 h 75"/>
              <a:gd name="T16" fmla="*/ 56 w 131"/>
              <a:gd name="T17" fmla="*/ 7 h 75"/>
              <a:gd name="T18" fmla="*/ 50 w 131"/>
              <a:gd name="T19" fmla="*/ 8 h 75"/>
              <a:gd name="T20" fmla="*/ 47 w 131"/>
              <a:gd name="T21" fmla="*/ 11 h 75"/>
              <a:gd name="T22" fmla="*/ 40 w 131"/>
              <a:gd name="T23" fmla="*/ 10 h 75"/>
              <a:gd name="T24" fmla="*/ 35 w 131"/>
              <a:gd name="T25" fmla="*/ 2 h 75"/>
              <a:gd name="T26" fmla="*/ 32 w 131"/>
              <a:gd name="T27" fmla="*/ 3 h 75"/>
              <a:gd name="T28" fmla="*/ 26 w 131"/>
              <a:gd name="T29" fmla="*/ 0 h 75"/>
              <a:gd name="T30" fmla="*/ 20 w 131"/>
              <a:gd name="T31" fmla="*/ 2 h 75"/>
              <a:gd name="T32" fmla="*/ 20 w 131"/>
              <a:gd name="T33" fmla="*/ 10 h 75"/>
              <a:gd name="T34" fmla="*/ 18 w 131"/>
              <a:gd name="T35" fmla="*/ 13 h 75"/>
              <a:gd name="T36" fmla="*/ 16 w 131"/>
              <a:gd name="T37" fmla="*/ 13 h 75"/>
              <a:gd name="T38" fmla="*/ 11 w 131"/>
              <a:gd name="T39" fmla="*/ 18 h 75"/>
              <a:gd name="T40" fmla="*/ 0 w 131"/>
              <a:gd name="T41" fmla="*/ 19 h 75"/>
              <a:gd name="T42" fmla="*/ 1 w 131"/>
              <a:gd name="T43" fmla="*/ 21 h 75"/>
              <a:gd name="T44" fmla="*/ 9 w 131"/>
              <a:gd name="T45" fmla="*/ 24 h 75"/>
              <a:gd name="T46" fmla="*/ 12 w 131"/>
              <a:gd name="T47" fmla="*/ 29 h 75"/>
              <a:gd name="T48" fmla="*/ 16 w 131"/>
              <a:gd name="T49" fmla="*/ 40 h 75"/>
              <a:gd name="T50" fmla="*/ 16 w 131"/>
              <a:gd name="T51" fmla="*/ 48 h 75"/>
              <a:gd name="T52" fmla="*/ 17 w 131"/>
              <a:gd name="T53" fmla="*/ 52 h 75"/>
              <a:gd name="T54" fmla="*/ 10 w 131"/>
              <a:gd name="T55" fmla="*/ 55 h 75"/>
              <a:gd name="T56" fmla="*/ 5 w 131"/>
              <a:gd name="T57" fmla="*/ 54 h 75"/>
              <a:gd name="T58" fmla="*/ 0 w 131"/>
              <a:gd name="T59" fmla="*/ 58 h 75"/>
              <a:gd name="T60" fmla="*/ 2 w 131"/>
              <a:gd name="T61" fmla="*/ 67 h 75"/>
              <a:gd name="T62" fmla="*/ 5 w 131"/>
              <a:gd name="T63" fmla="*/ 72 h 75"/>
              <a:gd name="T64" fmla="*/ 9 w 131"/>
              <a:gd name="T65" fmla="*/ 74 h 75"/>
              <a:gd name="T66" fmla="*/ 12 w 131"/>
              <a:gd name="T67" fmla="*/ 74 h 75"/>
              <a:gd name="T68" fmla="*/ 19 w 131"/>
              <a:gd name="T69" fmla="*/ 71 h 75"/>
              <a:gd name="T70" fmla="*/ 27 w 131"/>
              <a:gd name="T71" fmla="*/ 67 h 75"/>
              <a:gd name="T72" fmla="*/ 33 w 131"/>
              <a:gd name="T73" fmla="*/ 65 h 75"/>
              <a:gd name="T74" fmla="*/ 40 w 131"/>
              <a:gd name="T75" fmla="*/ 61 h 75"/>
              <a:gd name="T76" fmla="*/ 51 w 131"/>
              <a:gd name="T77" fmla="*/ 59 h 75"/>
              <a:gd name="T78" fmla="*/ 56 w 131"/>
              <a:gd name="T79" fmla="*/ 58 h 75"/>
              <a:gd name="T80" fmla="*/ 58 w 131"/>
              <a:gd name="T81" fmla="*/ 57 h 75"/>
              <a:gd name="T82" fmla="*/ 63 w 131"/>
              <a:gd name="T83" fmla="*/ 56 h 75"/>
              <a:gd name="T84" fmla="*/ 67 w 131"/>
              <a:gd name="T85" fmla="*/ 56 h 75"/>
              <a:gd name="T86" fmla="*/ 73 w 131"/>
              <a:gd name="T87" fmla="*/ 56 h 75"/>
              <a:gd name="T88" fmla="*/ 78 w 131"/>
              <a:gd name="T89" fmla="*/ 54 h 75"/>
              <a:gd name="T90" fmla="*/ 99 w 131"/>
              <a:gd name="T91" fmla="*/ 54 h 75"/>
              <a:gd name="T92" fmla="*/ 104 w 131"/>
              <a:gd name="T93" fmla="*/ 54 h 75"/>
              <a:gd name="T94" fmla="*/ 106 w 131"/>
              <a:gd name="T95" fmla="*/ 53 h 75"/>
              <a:gd name="T96" fmla="*/ 116 w 131"/>
              <a:gd name="T97" fmla="*/ 52 h 75"/>
              <a:gd name="T98" fmla="*/ 112 w 131"/>
              <a:gd name="T99" fmla="*/ 52 h 75"/>
              <a:gd name="T100" fmla="*/ 124 w 131"/>
              <a:gd name="T101" fmla="*/ 50 h 75"/>
              <a:gd name="T102" fmla="*/ 125 w 131"/>
              <a:gd name="T103" fmla="*/ 52 h 75"/>
              <a:gd name="T104" fmla="*/ 129 w 131"/>
              <a:gd name="T105" fmla="*/ 52 h 75"/>
              <a:gd name="T106" fmla="*/ 130 w 131"/>
              <a:gd name="T107" fmla="*/ 34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31" h="75">
                <a:moveTo>
                  <a:pt x="130" y="34"/>
                </a:moveTo>
                <a:cubicBezTo>
                  <a:pt x="126" y="25"/>
                  <a:pt x="126" y="25"/>
                  <a:pt x="126" y="25"/>
                </a:cubicBezTo>
                <a:cubicBezTo>
                  <a:pt x="120" y="18"/>
                  <a:pt x="120" y="18"/>
                  <a:pt x="120" y="18"/>
                </a:cubicBezTo>
                <a:cubicBezTo>
                  <a:pt x="110" y="27"/>
                  <a:pt x="110" y="27"/>
                  <a:pt x="110" y="27"/>
                </a:cubicBezTo>
                <a:cubicBezTo>
                  <a:pt x="109" y="27"/>
                  <a:pt x="109" y="27"/>
                  <a:pt x="108" y="27"/>
                </a:cubicBezTo>
                <a:cubicBezTo>
                  <a:pt x="107" y="27"/>
                  <a:pt x="107" y="27"/>
                  <a:pt x="107" y="26"/>
                </a:cubicBezTo>
                <a:cubicBezTo>
                  <a:pt x="103" y="20"/>
                  <a:pt x="103" y="20"/>
                  <a:pt x="103" y="20"/>
                </a:cubicBezTo>
                <a:cubicBezTo>
                  <a:pt x="95" y="22"/>
                  <a:pt x="95" y="22"/>
                  <a:pt x="95" y="22"/>
                </a:cubicBezTo>
                <a:cubicBezTo>
                  <a:pt x="94" y="22"/>
                  <a:pt x="93" y="22"/>
                  <a:pt x="93" y="21"/>
                </a:cubicBezTo>
                <a:cubicBezTo>
                  <a:pt x="91" y="14"/>
                  <a:pt x="91" y="14"/>
                  <a:pt x="91" y="14"/>
                </a:cubicBezTo>
                <a:cubicBezTo>
                  <a:pt x="89" y="14"/>
                  <a:pt x="89" y="14"/>
                  <a:pt x="89" y="14"/>
                </a:cubicBezTo>
                <a:cubicBezTo>
                  <a:pt x="87" y="18"/>
                  <a:pt x="87" y="18"/>
                  <a:pt x="87" y="18"/>
                </a:cubicBezTo>
                <a:cubicBezTo>
                  <a:pt x="86" y="19"/>
                  <a:pt x="85" y="19"/>
                  <a:pt x="84" y="19"/>
                </a:cubicBezTo>
                <a:cubicBezTo>
                  <a:pt x="73" y="14"/>
                  <a:pt x="73" y="14"/>
                  <a:pt x="73" y="14"/>
                </a:cubicBezTo>
                <a:cubicBezTo>
                  <a:pt x="68" y="14"/>
                  <a:pt x="68" y="14"/>
                  <a:pt x="68" y="14"/>
                </a:cubicBezTo>
                <a:cubicBezTo>
                  <a:pt x="68" y="14"/>
                  <a:pt x="67" y="14"/>
                  <a:pt x="67" y="14"/>
                </a:cubicBezTo>
                <a:cubicBezTo>
                  <a:pt x="59" y="8"/>
                  <a:pt x="59" y="8"/>
                  <a:pt x="59" y="8"/>
                </a:cubicBezTo>
                <a:cubicBezTo>
                  <a:pt x="56" y="7"/>
                  <a:pt x="56" y="7"/>
                  <a:pt x="56" y="7"/>
                </a:cubicBezTo>
                <a:cubicBezTo>
                  <a:pt x="55" y="7"/>
                  <a:pt x="53" y="7"/>
                  <a:pt x="53" y="8"/>
                </a:cubicBezTo>
                <a:cubicBezTo>
                  <a:pt x="50" y="8"/>
                  <a:pt x="50" y="8"/>
                  <a:pt x="50" y="8"/>
                </a:cubicBezTo>
                <a:cubicBezTo>
                  <a:pt x="49" y="10"/>
                  <a:pt x="49" y="10"/>
                  <a:pt x="49" y="10"/>
                </a:cubicBezTo>
                <a:cubicBezTo>
                  <a:pt x="49" y="11"/>
                  <a:pt x="48" y="11"/>
                  <a:pt x="47" y="11"/>
                </a:cubicBezTo>
                <a:cubicBezTo>
                  <a:pt x="42" y="11"/>
                  <a:pt x="42" y="11"/>
                  <a:pt x="42" y="11"/>
                </a:cubicBezTo>
                <a:cubicBezTo>
                  <a:pt x="41" y="11"/>
                  <a:pt x="41" y="11"/>
                  <a:pt x="40" y="10"/>
                </a:cubicBezTo>
                <a:cubicBezTo>
                  <a:pt x="38" y="6"/>
                  <a:pt x="38" y="6"/>
                  <a:pt x="38" y="6"/>
                </a:cubicBezTo>
                <a:cubicBezTo>
                  <a:pt x="37" y="4"/>
                  <a:pt x="36" y="2"/>
                  <a:pt x="35" y="2"/>
                </a:cubicBezTo>
                <a:cubicBezTo>
                  <a:pt x="35" y="2"/>
                  <a:pt x="34" y="3"/>
                  <a:pt x="33" y="3"/>
                </a:cubicBezTo>
                <a:cubicBezTo>
                  <a:pt x="32" y="3"/>
                  <a:pt x="32" y="3"/>
                  <a:pt x="32" y="3"/>
                </a:cubicBezTo>
                <a:cubicBezTo>
                  <a:pt x="30" y="3"/>
                  <a:pt x="29" y="1"/>
                  <a:pt x="28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20" y="2"/>
                  <a:pt x="20" y="2"/>
                  <a:pt x="20" y="2"/>
                </a:cubicBezTo>
                <a:cubicBezTo>
                  <a:pt x="21" y="3"/>
                  <a:pt x="21" y="5"/>
                  <a:pt x="20" y="8"/>
                </a:cubicBezTo>
                <a:cubicBezTo>
                  <a:pt x="20" y="9"/>
                  <a:pt x="20" y="10"/>
                  <a:pt x="20" y="10"/>
                </a:cubicBezTo>
                <a:cubicBezTo>
                  <a:pt x="20" y="11"/>
                  <a:pt x="20" y="11"/>
                  <a:pt x="20" y="12"/>
                </a:cubicBezTo>
                <a:cubicBezTo>
                  <a:pt x="20" y="13"/>
                  <a:pt x="19" y="14"/>
                  <a:pt x="18" y="13"/>
                </a:cubicBezTo>
                <a:cubicBezTo>
                  <a:pt x="17" y="13"/>
                  <a:pt x="17" y="13"/>
                  <a:pt x="17" y="13"/>
                </a:cubicBezTo>
                <a:cubicBezTo>
                  <a:pt x="16" y="13"/>
                  <a:pt x="16" y="13"/>
                  <a:pt x="16" y="13"/>
                </a:cubicBezTo>
                <a:cubicBezTo>
                  <a:pt x="15" y="14"/>
                  <a:pt x="13" y="15"/>
                  <a:pt x="12" y="17"/>
                </a:cubicBezTo>
                <a:cubicBezTo>
                  <a:pt x="11" y="18"/>
                  <a:pt x="11" y="18"/>
                  <a:pt x="11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21"/>
                  <a:pt x="0" y="21"/>
                  <a:pt x="0" y="21"/>
                </a:cubicBezTo>
                <a:cubicBezTo>
                  <a:pt x="1" y="21"/>
                  <a:pt x="1" y="21"/>
                  <a:pt x="1" y="21"/>
                </a:cubicBezTo>
                <a:cubicBezTo>
                  <a:pt x="2" y="21"/>
                  <a:pt x="2" y="21"/>
                  <a:pt x="2" y="21"/>
                </a:cubicBezTo>
                <a:cubicBezTo>
                  <a:pt x="9" y="24"/>
                  <a:pt x="9" y="24"/>
                  <a:pt x="9" y="24"/>
                </a:cubicBezTo>
                <a:cubicBezTo>
                  <a:pt x="9" y="24"/>
                  <a:pt x="9" y="25"/>
                  <a:pt x="10" y="25"/>
                </a:cubicBezTo>
                <a:cubicBezTo>
                  <a:pt x="10" y="27"/>
                  <a:pt x="11" y="29"/>
                  <a:pt x="12" y="29"/>
                </a:cubicBezTo>
                <a:cubicBezTo>
                  <a:pt x="14" y="30"/>
                  <a:pt x="14" y="33"/>
                  <a:pt x="14" y="34"/>
                </a:cubicBezTo>
                <a:cubicBezTo>
                  <a:pt x="16" y="40"/>
                  <a:pt x="16" y="40"/>
                  <a:pt x="16" y="40"/>
                </a:cubicBezTo>
                <a:cubicBezTo>
                  <a:pt x="16" y="47"/>
                  <a:pt x="16" y="47"/>
                  <a:pt x="16" y="47"/>
                </a:cubicBezTo>
                <a:cubicBezTo>
                  <a:pt x="16" y="47"/>
                  <a:pt x="16" y="47"/>
                  <a:pt x="16" y="48"/>
                </a:cubicBezTo>
                <a:cubicBezTo>
                  <a:pt x="17" y="48"/>
                  <a:pt x="18" y="48"/>
                  <a:pt x="18" y="48"/>
                </a:cubicBezTo>
                <a:cubicBezTo>
                  <a:pt x="19" y="50"/>
                  <a:pt x="18" y="51"/>
                  <a:pt x="17" y="52"/>
                </a:cubicBezTo>
                <a:cubicBezTo>
                  <a:pt x="15" y="54"/>
                  <a:pt x="12" y="55"/>
                  <a:pt x="11" y="55"/>
                </a:cubicBezTo>
                <a:cubicBezTo>
                  <a:pt x="10" y="55"/>
                  <a:pt x="10" y="55"/>
                  <a:pt x="10" y="55"/>
                </a:cubicBezTo>
                <a:cubicBezTo>
                  <a:pt x="9" y="57"/>
                  <a:pt x="7" y="55"/>
                  <a:pt x="6" y="55"/>
                </a:cubicBezTo>
                <a:cubicBezTo>
                  <a:pt x="5" y="54"/>
                  <a:pt x="5" y="54"/>
                  <a:pt x="5" y="54"/>
                </a:cubicBezTo>
                <a:cubicBezTo>
                  <a:pt x="3" y="55"/>
                  <a:pt x="3" y="55"/>
                  <a:pt x="3" y="55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62"/>
                  <a:pt x="0" y="62"/>
                  <a:pt x="0" y="62"/>
                </a:cubicBezTo>
                <a:cubicBezTo>
                  <a:pt x="1" y="65"/>
                  <a:pt x="2" y="67"/>
                  <a:pt x="2" y="67"/>
                </a:cubicBezTo>
                <a:cubicBezTo>
                  <a:pt x="2" y="72"/>
                  <a:pt x="2" y="72"/>
                  <a:pt x="2" y="72"/>
                </a:cubicBezTo>
                <a:cubicBezTo>
                  <a:pt x="5" y="72"/>
                  <a:pt x="5" y="72"/>
                  <a:pt x="5" y="72"/>
                </a:cubicBezTo>
                <a:cubicBezTo>
                  <a:pt x="6" y="72"/>
                  <a:pt x="6" y="72"/>
                  <a:pt x="7" y="72"/>
                </a:cubicBezTo>
                <a:cubicBezTo>
                  <a:pt x="9" y="74"/>
                  <a:pt x="9" y="74"/>
                  <a:pt x="9" y="74"/>
                </a:cubicBezTo>
                <a:cubicBezTo>
                  <a:pt x="9" y="74"/>
                  <a:pt x="9" y="74"/>
                  <a:pt x="10" y="74"/>
                </a:cubicBezTo>
                <a:cubicBezTo>
                  <a:pt x="11" y="73"/>
                  <a:pt x="12" y="74"/>
                  <a:pt x="12" y="74"/>
                </a:cubicBezTo>
                <a:cubicBezTo>
                  <a:pt x="13" y="75"/>
                  <a:pt x="14" y="75"/>
                  <a:pt x="15" y="74"/>
                </a:cubicBezTo>
                <a:cubicBezTo>
                  <a:pt x="17" y="73"/>
                  <a:pt x="18" y="72"/>
                  <a:pt x="19" y="71"/>
                </a:cubicBezTo>
                <a:cubicBezTo>
                  <a:pt x="21" y="69"/>
                  <a:pt x="22" y="68"/>
                  <a:pt x="25" y="68"/>
                </a:cubicBezTo>
                <a:cubicBezTo>
                  <a:pt x="25" y="68"/>
                  <a:pt x="26" y="68"/>
                  <a:pt x="27" y="67"/>
                </a:cubicBezTo>
                <a:cubicBezTo>
                  <a:pt x="28" y="67"/>
                  <a:pt x="29" y="67"/>
                  <a:pt x="30" y="66"/>
                </a:cubicBezTo>
                <a:cubicBezTo>
                  <a:pt x="32" y="66"/>
                  <a:pt x="33" y="66"/>
                  <a:pt x="33" y="65"/>
                </a:cubicBezTo>
                <a:cubicBezTo>
                  <a:pt x="34" y="65"/>
                  <a:pt x="34" y="65"/>
                  <a:pt x="35" y="64"/>
                </a:cubicBezTo>
                <a:cubicBezTo>
                  <a:pt x="36" y="64"/>
                  <a:pt x="38" y="63"/>
                  <a:pt x="40" y="61"/>
                </a:cubicBezTo>
                <a:cubicBezTo>
                  <a:pt x="40" y="61"/>
                  <a:pt x="43" y="59"/>
                  <a:pt x="47" y="59"/>
                </a:cubicBezTo>
                <a:cubicBezTo>
                  <a:pt x="51" y="59"/>
                  <a:pt x="51" y="59"/>
                  <a:pt x="51" y="59"/>
                </a:cubicBezTo>
                <a:cubicBezTo>
                  <a:pt x="51" y="60"/>
                  <a:pt x="52" y="60"/>
                  <a:pt x="53" y="59"/>
                </a:cubicBezTo>
                <a:cubicBezTo>
                  <a:pt x="54" y="59"/>
                  <a:pt x="55" y="59"/>
                  <a:pt x="56" y="58"/>
                </a:cubicBezTo>
                <a:cubicBezTo>
                  <a:pt x="57" y="58"/>
                  <a:pt x="57" y="58"/>
                  <a:pt x="58" y="58"/>
                </a:cubicBezTo>
                <a:cubicBezTo>
                  <a:pt x="58" y="57"/>
                  <a:pt x="58" y="57"/>
                  <a:pt x="58" y="57"/>
                </a:cubicBezTo>
                <a:cubicBezTo>
                  <a:pt x="58" y="56"/>
                  <a:pt x="59" y="56"/>
                  <a:pt x="61" y="56"/>
                </a:cubicBezTo>
                <a:cubicBezTo>
                  <a:pt x="62" y="56"/>
                  <a:pt x="62" y="56"/>
                  <a:pt x="63" y="56"/>
                </a:cubicBezTo>
                <a:cubicBezTo>
                  <a:pt x="64" y="56"/>
                  <a:pt x="64" y="56"/>
                  <a:pt x="65" y="56"/>
                </a:cubicBezTo>
                <a:cubicBezTo>
                  <a:pt x="66" y="55"/>
                  <a:pt x="67" y="56"/>
                  <a:pt x="67" y="56"/>
                </a:cubicBezTo>
                <a:cubicBezTo>
                  <a:pt x="67" y="56"/>
                  <a:pt x="67" y="56"/>
                  <a:pt x="68" y="56"/>
                </a:cubicBezTo>
                <a:cubicBezTo>
                  <a:pt x="70" y="55"/>
                  <a:pt x="72" y="55"/>
                  <a:pt x="73" y="56"/>
                </a:cubicBezTo>
                <a:cubicBezTo>
                  <a:pt x="73" y="56"/>
                  <a:pt x="73" y="56"/>
                  <a:pt x="74" y="56"/>
                </a:cubicBezTo>
                <a:cubicBezTo>
                  <a:pt x="75" y="55"/>
                  <a:pt x="76" y="55"/>
                  <a:pt x="78" y="54"/>
                </a:cubicBezTo>
                <a:cubicBezTo>
                  <a:pt x="82" y="53"/>
                  <a:pt x="86" y="54"/>
                  <a:pt x="87" y="54"/>
                </a:cubicBezTo>
                <a:cubicBezTo>
                  <a:pt x="99" y="54"/>
                  <a:pt x="99" y="54"/>
                  <a:pt x="99" y="54"/>
                </a:cubicBezTo>
                <a:cubicBezTo>
                  <a:pt x="99" y="54"/>
                  <a:pt x="100" y="54"/>
                  <a:pt x="101" y="54"/>
                </a:cubicBezTo>
                <a:cubicBezTo>
                  <a:pt x="103" y="54"/>
                  <a:pt x="103" y="54"/>
                  <a:pt x="104" y="54"/>
                </a:cubicBezTo>
                <a:cubicBezTo>
                  <a:pt x="104" y="54"/>
                  <a:pt x="104" y="54"/>
                  <a:pt x="105" y="54"/>
                </a:cubicBezTo>
                <a:cubicBezTo>
                  <a:pt x="105" y="54"/>
                  <a:pt x="106" y="54"/>
                  <a:pt x="106" y="53"/>
                </a:cubicBezTo>
                <a:cubicBezTo>
                  <a:pt x="109" y="53"/>
                  <a:pt x="109" y="53"/>
                  <a:pt x="109" y="53"/>
                </a:cubicBezTo>
                <a:cubicBezTo>
                  <a:pt x="116" y="52"/>
                  <a:pt x="116" y="52"/>
                  <a:pt x="116" y="52"/>
                </a:cubicBezTo>
                <a:cubicBezTo>
                  <a:pt x="115" y="52"/>
                  <a:pt x="115" y="52"/>
                  <a:pt x="115" y="52"/>
                </a:cubicBezTo>
                <a:cubicBezTo>
                  <a:pt x="115" y="52"/>
                  <a:pt x="114" y="52"/>
                  <a:pt x="112" y="52"/>
                </a:cubicBezTo>
                <a:cubicBezTo>
                  <a:pt x="114" y="51"/>
                  <a:pt x="114" y="51"/>
                  <a:pt x="114" y="51"/>
                </a:cubicBezTo>
                <a:cubicBezTo>
                  <a:pt x="124" y="50"/>
                  <a:pt x="124" y="50"/>
                  <a:pt x="124" y="50"/>
                </a:cubicBezTo>
                <a:cubicBezTo>
                  <a:pt x="124" y="51"/>
                  <a:pt x="124" y="51"/>
                  <a:pt x="125" y="51"/>
                </a:cubicBezTo>
                <a:cubicBezTo>
                  <a:pt x="125" y="51"/>
                  <a:pt x="125" y="51"/>
                  <a:pt x="125" y="52"/>
                </a:cubicBezTo>
                <a:cubicBezTo>
                  <a:pt x="126" y="52"/>
                  <a:pt x="126" y="52"/>
                  <a:pt x="126" y="52"/>
                </a:cubicBezTo>
                <a:cubicBezTo>
                  <a:pt x="128" y="52"/>
                  <a:pt x="129" y="52"/>
                  <a:pt x="129" y="52"/>
                </a:cubicBezTo>
                <a:cubicBezTo>
                  <a:pt x="131" y="43"/>
                  <a:pt x="131" y="43"/>
                  <a:pt x="131" y="43"/>
                </a:cubicBezTo>
                <a:lnTo>
                  <a:pt x="130" y="3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9" name="Freeform 100">
            <a:extLst>
              <a:ext uri="{FF2B5EF4-FFF2-40B4-BE49-F238E27FC236}">
                <a16:creationId xmlns:a16="http://schemas.microsoft.com/office/drawing/2014/main" id="{61FB0FD2-579D-4C79-993E-9AAA05D7F5BF}"/>
              </a:ext>
            </a:extLst>
          </p:cNvPr>
          <p:cNvSpPr>
            <a:spLocks/>
          </p:cNvSpPr>
          <p:nvPr/>
        </p:nvSpPr>
        <p:spPr bwMode="auto">
          <a:xfrm>
            <a:off x="6170096" y="5109691"/>
            <a:ext cx="268288" cy="179388"/>
          </a:xfrm>
          <a:custGeom>
            <a:avLst/>
            <a:gdLst>
              <a:gd name="T0" fmla="*/ 22 w 111"/>
              <a:gd name="T1" fmla="*/ 62 h 80"/>
              <a:gd name="T2" fmla="*/ 25 w 111"/>
              <a:gd name="T3" fmla="*/ 64 h 80"/>
              <a:gd name="T4" fmla="*/ 35 w 111"/>
              <a:gd name="T5" fmla="*/ 68 h 80"/>
              <a:gd name="T6" fmla="*/ 46 w 111"/>
              <a:gd name="T7" fmla="*/ 72 h 80"/>
              <a:gd name="T8" fmla="*/ 49 w 111"/>
              <a:gd name="T9" fmla="*/ 68 h 80"/>
              <a:gd name="T10" fmla="*/ 56 w 111"/>
              <a:gd name="T11" fmla="*/ 70 h 80"/>
              <a:gd name="T12" fmla="*/ 65 w 111"/>
              <a:gd name="T13" fmla="*/ 74 h 80"/>
              <a:gd name="T14" fmla="*/ 71 w 111"/>
              <a:gd name="T15" fmla="*/ 80 h 80"/>
              <a:gd name="T16" fmla="*/ 83 w 111"/>
              <a:gd name="T17" fmla="*/ 72 h 80"/>
              <a:gd name="T18" fmla="*/ 96 w 111"/>
              <a:gd name="T19" fmla="*/ 67 h 80"/>
              <a:gd name="T20" fmla="*/ 106 w 111"/>
              <a:gd name="T21" fmla="*/ 42 h 80"/>
              <a:gd name="T22" fmla="*/ 106 w 111"/>
              <a:gd name="T23" fmla="*/ 42 h 80"/>
              <a:gd name="T24" fmla="*/ 106 w 111"/>
              <a:gd name="T25" fmla="*/ 41 h 80"/>
              <a:gd name="T26" fmla="*/ 108 w 111"/>
              <a:gd name="T27" fmla="*/ 12 h 80"/>
              <a:gd name="T28" fmla="*/ 100 w 111"/>
              <a:gd name="T29" fmla="*/ 4 h 80"/>
              <a:gd name="T30" fmla="*/ 88 w 111"/>
              <a:gd name="T31" fmla="*/ 17 h 80"/>
              <a:gd name="T32" fmla="*/ 73 w 111"/>
              <a:gd name="T33" fmla="*/ 15 h 80"/>
              <a:gd name="T34" fmla="*/ 67 w 111"/>
              <a:gd name="T35" fmla="*/ 7 h 80"/>
              <a:gd name="T36" fmla="*/ 50 w 111"/>
              <a:gd name="T37" fmla="*/ 0 h 80"/>
              <a:gd name="T38" fmla="*/ 42 w 111"/>
              <a:gd name="T39" fmla="*/ 3 h 80"/>
              <a:gd name="T40" fmla="*/ 28 w 111"/>
              <a:gd name="T41" fmla="*/ 9 h 80"/>
              <a:gd name="T42" fmla="*/ 5 w 111"/>
              <a:gd name="T43" fmla="*/ 13 h 80"/>
              <a:gd name="T44" fmla="*/ 1 w 111"/>
              <a:gd name="T45" fmla="*/ 15 h 80"/>
              <a:gd name="T46" fmla="*/ 4 w 111"/>
              <a:gd name="T47" fmla="*/ 20 h 80"/>
              <a:gd name="T48" fmla="*/ 7 w 111"/>
              <a:gd name="T49" fmla="*/ 21 h 80"/>
              <a:gd name="T50" fmla="*/ 9 w 111"/>
              <a:gd name="T51" fmla="*/ 28 h 80"/>
              <a:gd name="T52" fmla="*/ 11 w 111"/>
              <a:gd name="T53" fmla="*/ 43 h 80"/>
              <a:gd name="T54" fmla="*/ 3 w 111"/>
              <a:gd name="T55" fmla="*/ 51 h 80"/>
              <a:gd name="T56" fmla="*/ 4 w 111"/>
              <a:gd name="T57" fmla="*/ 62 h 80"/>
              <a:gd name="T58" fmla="*/ 8 w 111"/>
              <a:gd name="T59" fmla="*/ 65 h 80"/>
              <a:gd name="T60" fmla="*/ 11 w 111"/>
              <a:gd name="T61" fmla="*/ 62 h 80"/>
              <a:gd name="T62" fmla="*/ 16 w 111"/>
              <a:gd name="T63" fmla="*/ 61 h 80"/>
              <a:gd name="T64" fmla="*/ 19 w 111"/>
              <a:gd name="T65" fmla="*/ 6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11" h="80">
                <a:moveTo>
                  <a:pt x="19" y="60"/>
                </a:moveTo>
                <a:cubicBezTo>
                  <a:pt x="22" y="62"/>
                  <a:pt x="22" y="62"/>
                  <a:pt x="22" y="62"/>
                </a:cubicBezTo>
                <a:cubicBezTo>
                  <a:pt x="23" y="62"/>
                  <a:pt x="23" y="62"/>
                  <a:pt x="24" y="63"/>
                </a:cubicBezTo>
                <a:cubicBezTo>
                  <a:pt x="25" y="64"/>
                  <a:pt x="25" y="64"/>
                  <a:pt x="25" y="64"/>
                </a:cubicBezTo>
                <a:cubicBezTo>
                  <a:pt x="31" y="68"/>
                  <a:pt x="31" y="68"/>
                  <a:pt x="31" y="68"/>
                </a:cubicBezTo>
                <a:cubicBezTo>
                  <a:pt x="35" y="68"/>
                  <a:pt x="35" y="68"/>
                  <a:pt x="35" y="68"/>
                </a:cubicBezTo>
                <a:cubicBezTo>
                  <a:pt x="35" y="68"/>
                  <a:pt x="35" y="68"/>
                  <a:pt x="36" y="68"/>
                </a:cubicBezTo>
                <a:cubicBezTo>
                  <a:pt x="46" y="72"/>
                  <a:pt x="46" y="72"/>
                  <a:pt x="46" y="72"/>
                </a:cubicBezTo>
                <a:cubicBezTo>
                  <a:pt x="48" y="69"/>
                  <a:pt x="48" y="69"/>
                  <a:pt x="48" y="69"/>
                </a:cubicBezTo>
                <a:cubicBezTo>
                  <a:pt x="48" y="69"/>
                  <a:pt x="49" y="68"/>
                  <a:pt x="49" y="68"/>
                </a:cubicBezTo>
                <a:cubicBezTo>
                  <a:pt x="54" y="68"/>
                  <a:pt x="54" y="68"/>
                  <a:pt x="54" y="68"/>
                </a:cubicBezTo>
                <a:cubicBezTo>
                  <a:pt x="55" y="68"/>
                  <a:pt x="56" y="69"/>
                  <a:pt x="56" y="70"/>
                </a:cubicBezTo>
                <a:cubicBezTo>
                  <a:pt x="58" y="76"/>
                  <a:pt x="58" y="76"/>
                  <a:pt x="58" y="76"/>
                </a:cubicBezTo>
                <a:cubicBezTo>
                  <a:pt x="65" y="74"/>
                  <a:pt x="65" y="74"/>
                  <a:pt x="65" y="74"/>
                </a:cubicBezTo>
                <a:cubicBezTo>
                  <a:pt x="66" y="73"/>
                  <a:pt x="67" y="74"/>
                  <a:pt x="67" y="74"/>
                </a:cubicBezTo>
                <a:cubicBezTo>
                  <a:pt x="71" y="80"/>
                  <a:pt x="71" y="80"/>
                  <a:pt x="71" y="80"/>
                </a:cubicBezTo>
                <a:cubicBezTo>
                  <a:pt x="80" y="72"/>
                  <a:pt x="80" y="72"/>
                  <a:pt x="80" y="72"/>
                </a:cubicBezTo>
                <a:cubicBezTo>
                  <a:pt x="81" y="71"/>
                  <a:pt x="82" y="71"/>
                  <a:pt x="83" y="72"/>
                </a:cubicBezTo>
                <a:cubicBezTo>
                  <a:pt x="86" y="75"/>
                  <a:pt x="86" y="75"/>
                  <a:pt x="86" y="75"/>
                </a:cubicBezTo>
                <a:cubicBezTo>
                  <a:pt x="96" y="67"/>
                  <a:pt x="96" y="67"/>
                  <a:pt x="96" y="67"/>
                </a:cubicBezTo>
                <a:cubicBezTo>
                  <a:pt x="107" y="53"/>
                  <a:pt x="107" y="53"/>
                  <a:pt x="107" y="53"/>
                </a:cubicBezTo>
                <a:cubicBezTo>
                  <a:pt x="106" y="42"/>
                  <a:pt x="106" y="42"/>
                  <a:pt x="106" y="42"/>
                </a:cubicBezTo>
                <a:cubicBezTo>
                  <a:pt x="106" y="42"/>
                  <a:pt x="106" y="42"/>
                  <a:pt x="106" y="42"/>
                </a:cubicBezTo>
                <a:cubicBezTo>
                  <a:pt x="106" y="42"/>
                  <a:pt x="106" y="42"/>
                  <a:pt x="106" y="42"/>
                </a:cubicBezTo>
                <a:cubicBezTo>
                  <a:pt x="106" y="42"/>
                  <a:pt x="106" y="42"/>
                  <a:pt x="106" y="41"/>
                </a:cubicBezTo>
                <a:cubicBezTo>
                  <a:pt x="106" y="41"/>
                  <a:pt x="106" y="41"/>
                  <a:pt x="106" y="41"/>
                </a:cubicBezTo>
                <a:cubicBezTo>
                  <a:pt x="107" y="38"/>
                  <a:pt x="110" y="23"/>
                  <a:pt x="111" y="16"/>
                </a:cubicBezTo>
                <a:cubicBezTo>
                  <a:pt x="108" y="12"/>
                  <a:pt x="108" y="12"/>
                  <a:pt x="108" y="12"/>
                </a:cubicBezTo>
                <a:cubicBezTo>
                  <a:pt x="105" y="7"/>
                  <a:pt x="105" y="7"/>
                  <a:pt x="105" y="7"/>
                </a:cubicBezTo>
                <a:cubicBezTo>
                  <a:pt x="100" y="4"/>
                  <a:pt x="100" y="4"/>
                  <a:pt x="100" y="4"/>
                </a:cubicBezTo>
                <a:cubicBezTo>
                  <a:pt x="96" y="7"/>
                  <a:pt x="96" y="7"/>
                  <a:pt x="96" y="7"/>
                </a:cubicBezTo>
                <a:cubicBezTo>
                  <a:pt x="88" y="17"/>
                  <a:pt x="88" y="17"/>
                  <a:pt x="88" y="17"/>
                </a:cubicBezTo>
                <a:cubicBezTo>
                  <a:pt x="87" y="18"/>
                  <a:pt x="86" y="18"/>
                  <a:pt x="86" y="18"/>
                </a:cubicBezTo>
                <a:cubicBezTo>
                  <a:pt x="73" y="15"/>
                  <a:pt x="73" y="15"/>
                  <a:pt x="73" y="15"/>
                </a:cubicBezTo>
                <a:cubicBezTo>
                  <a:pt x="73" y="15"/>
                  <a:pt x="73" y="15"/>
                  <a:pt x="72" y="15"/>
                </a:cubicBezTo>
                <a:cubicBezTo>
                  <a:pt x="67" y="7"/>
                  <a:pt x="67" y="7"/>
                  <a:pt x="67" y="7"/>
                </a:cubicBezTo>
                <a:cubicBezTo>
                  <a:pt x="56" y="2"/>
                  <a:pt x="56" y="2"/>
                  <a:pt x="56" y="2"/>
                </a:cubicBezTo>
                <a:cubicBezTo>
                  <a:pt x="50" y="0"/>
                  <a:pt x="50" y="0"/>
                  <a:pt x="50" y="0"/>
                </a:cubicBezTo>
                <a:cubicBezTo>
                  <a:pt x="43" y="2"/>
                  <a:pt x="43" y="2"/>
                  <a:pt x="43" y="2"/>
                </a:cubicBezTo>
                <a:cubicBezTo>
                  <a:pt x="42" y="3"/>
                  <a:pt x="42" y="3"/>
                  <a:pt x="42" y="3"/>
                </a:cubicBezTo>
                <a:cubicBezTo>
                  <a:pt x="40" y="5"/>
                  <a:pt x="33" y="8"/>
                  <a:pt x="28" y="9"/>
                </a:cubicBezTo>
                <a:cubicBezTo>
                  <a:pt x="28" y="9"/>
                  <a:pt x="28" y="9"/>
                  <a:pt x="28" y="9"/>
                </a:cubicBezTo>
                <a:cubicBezTo>
                  <a:pt x="15" y="9"/>
                  <a:pt x="15" y="9"/>
                  <a:pt x="15" y="9"/>
                </a:cubicBezTo>
                <a:cubicBezTo>
                  <a:pt x="5" y="13"/>
                  <a:pt x="5" y="13"/>
                  <a:pt x="5" y="13"/>
                </a:cubicBezTo>
                <a:cubicBezTo>
                  <a:pt x="5" y="13"/>
                  <a:pt x="5" y="13"/>
                  <a:pt x="5" y="13"/>
                </a:cubicBezTo>
                <a:cubicBezTo>
                  <a:pt x="5" y="13"/>
                  <a:pt x="4" y="14"/>
                  <a:pt x="1" y="15"/>
                </a:cubicBezTo>
                <a:cubicBezTo>
                  <a:pt x="2" y="15"/>
                  <a:pt x="2" y="16"/>
                  <a:pt x="1" y="16"/>
                </a:cubicBezTo>
                <a:cubicBezTo>
                  <a:pt x="2" y="17"/>
                  <a:pt x="4" y="20"/>
                  <a:pt x="4" y="20"/>
                </a:cubicBezTo>
                <a:cubicBezTo>
                  <a:pt x="5" y="20"/>
                  <a:pt x="5" y="20"/>
                  <a:pt x="5" y="20"/>
                </a:cubicBezTo>
                <a:cubicBezTo>
                  <a:pt x="6" y="20"/>
                  <a:pt x="6" y="21"/>
                  <a:pt x="7" y="21"/>
                </a:cubicBezTo>
                <a:cubicBezTo>
                  <a:pt x="9" y="27"/>
                  <a:pt x="9" y="27"/>
                  <a:pt x="9" y="27"/>
                </a:cubicBezTo>
                <a:cubicBezTo>
                  <a:pt x="9" y="27"/>
                  <a:pt x="9" y="27"/>
                  <a:pt x="9" y="28"/>
                </a:cubicBezTo>
                <a:cubicBezTo>
                  <a:pt x="9" y="41"/>
                  <a:pt x="9" y="41"/>
                  <a:pt x="9" y="41"/>
                </a:cubicBezTo>
                <a:cubicBezTo>
                  <a:pt x="10" y="41"/>
                  <a:pt x="11" y="42"/>
                  <a:pt x="11" y="43"/>
                </a:cubicBezTo>
                <a:cubicBezTo>
                  <a:pt x="12" y="45"/>
                  <a:pt x="9" y="46"/>
                  <a:pt x="8" y="47"/>
                </a:cubicBezTo>
                <a:cubicBezTo>
                  <a:pt x="4" y="49"/>
                  <a:pt x="3" y="51"/>
                  <a:pt x="3" y="51"/>
                </a:cubicBezTo>
                <a:cubicBezTo>
                  <a:pt x="0" y="57"/>
                  <a:pt x="0" y="57"/>
                  <a:pt x="0" y="57"/>
                </a:cubicBezTo>
                <a:cubicBezTo>
                  <a:pt x="2" y="58"/>
                  <a:pt x="3" y="61"/>
                  <a:pt x="4" y="62"/>
                </a:cubicBezTo>
                <a:cubicBezTo>
                  <a:pt x="5" y="65"/>
                  <a:pt x="5" y="65"/>
                  <a:pt x="5" y="65"/>
                </a:cubicBezTo>
                <a:cubicBezTo>
                  <a:pt x="8" y="65"/>
                  <a:pt x="8" y="65"/>
                  <a:pt x="8" y="65"/>
                </a:cubicBezTo>
                <a:cubicBezTo>
                  <a:pt x="10" y="63"/>
                  <a:pt x="10" y="63"/>
                  <a:pt x="10" y="63"/>
                </a:cubicBezTo>
                <a:cubicBezTo>
                  <a:pt x="11" y="62"/>
                  <a:pt x="11" y="62"/>
                  <a:pt x="11" y="62"/>
                </a:cubicBezTo>
                <a:cubicBezTo>
                  <a:pt x="11" y="62"/>
                  <a:pt x="12" y="62"/>
                  <a:pt x="13" y="62"/>
                </a:cubicBezTo>
                <a:cubicBezTo>
                  <a:pt x="14" y="62"/>
                  <a:pt x="15" y="61"/>
                  <a:pt x="16" y="61"/>
                </a:cubicBezTo>
                <a:cubicBezTo>
                  <a:pt x="16" y="61"/>
                  <a:pt x="16" y="61"/>
                  <a:pt x="16" y="60"/>
                </a:cubicBezTo>
                <a:cubicBezTo>
                  <a:pt x="17" y="59"/>
                  <a:pt x="18" y="59"/>
                  <a:pt x="19" y="6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0" name="Freeform 101">
            <a:extLst>
              <a:ext uri="{FF2B5EF4-FFF2-40B4-BE49-F238E27FC236}">
                <a16:creationId xmlns:a16="http://schemas.microsoft.com/office/drawing/2014/main" id="{7EE70F30-E03B-46ED-84C3-7050B540935F}"/>
              </a:ext>
            </a:extLst>
          </p:cNvPr>
          <p:cNvSpPr>
            <a:spLocks/>
          </p:cNvSpPr>
          <p:nvPr/>
        </p:nvSpPr>
        <p:spPr bwMode="auto">
          <a:xfrm>
            <a:off x="6342076" y="4823941"/>
            <a:ext cx="454025" cy="374650"/>
          </a:xfrm>
          <a:custGeom>
            <a:avLst/>
            <a:gdLst>
              <a:gd name="T0" fmla="*/ 26 w 188"/>
              <a:gd name="T1" fmla="*/ 45 h 168"/>
              <a:gd name="T2" fmla="*/ 29 w 188"/>
              <a:gd name="T3" fmla="*/ 60 h 168"/>
              <a:gd name="T4" fmla="*/ 44 w 188"/>
              <a:gd name="T5" fmla="*/ 62 h 168"/>
              <a:gd name="T6" fmla="*/ 43 w 188"/>
              <a:gd name="T7" fmla="*/ 73 h 168"/>
              <a:gd name="T8" fmla="*/ 40 w 188"/>
              <a:gd name="T9" fmla="*/ 82 h 168"/>
              <a:gd name="T10" fmla="*/ 25 w 188"/>
              <a:gd name="T11" fmla="*/ 94 h 168"/>
              <a:gd name="T12" fmla="*/ 9 w 188"/>
              <a:gd name="T13" fmla="*/ 112 h 168"/>
              <a:gd name="T14" fmla="*/ 4 w 188"/>
              <a:gd name="T15" fmla="*/ 140 h 168"/>
              <a:gd name="T16" fmla="*/ 23 w 188"/>
              <a:gd name="T17" fmla="*/ 132 h 168"/>
              <a:gd name="T18" fmla="*/ 36 w 188"/>
              <a:gd name="T19" fmla="*/ 132 h 168"/>
              <a:gd name="T20" fmla="*/ 43 w 188"/>
              <a:gd name="T21" fmla="*/ 143 h 168"/>
              <a:gd name="T22" fmla="*/ 40 w 188"/>
              <a:gd name="T23" fmla="*/ 168 h 168"/>
              <a:gd name="T24" fmla="*/ 53 w 188"/>
              <a:gd name="T25" fmla="*/ 161 h 168"/>
              <a:gd name="T26" fmla="*/ 55 w 188"/>
              <a:gd name="T27" fmla="*/ 159 h 168"/>
              <a:gd name="T28" fmla="*/ 65 w 188"/>
              <a:gd name="T29" fmla="*/ 148 h 168"/>
              <a:gd name="T30" fmla="*/ 114 w 188"/>
              <a:gd name="T31" fmla="*/ 139 h 168"/>
              <a:gd name="T32" fmla="*/ 127 w 188"/>
              <a:gd name="T33" fmla="*/ 129 h 168"/>
              <a:gd name="T34" fmla="*/ 139 w 188"/>
              <a:gd name="T35" fmla="*/ 116 h 168"/>
              <a:gd name="T36" fmla="*/ 139 w 188"/>
              <a:gd name="T37" fmla="*/ 89 h 168"/>
              <a:gd name="T38" fmla="*/ 136 w 188"/>
              <a:gd name="T39" fmla="*/ 83 h 168"/>
              <a:gd name="T40" fmla="*/ 130 w 188"/>
              <a:gd name="T41" fmla="*/ 82 h 168"/>
              <a:gd name="T42" fmla="*/ 119 w 188"/>
              <a:gd name="T43" fmla="*/ 89 h 168"/>
              <a:gd name="T44" fmla="*/ 100 w 188"/>
              <a:gd name="T45" fmla="*/ 88 h 168"/>
              <a:gd name="T46" fmla="*/ 106 w 188"/>
              <a:gd name="T47" fmla="*/ 86 h 168"/>
              <a:gd name="T48" fmla="*/ 125 w 188"/>
              <a:gd name="T49" fmla="*/ 77 h 168"/>
              <a:gd name="T50" fmla="*/ 125 w 188"/>
              <a:gd name="T51" fmla="*/ 73 h 168"/>
              <a:gd name="T52" fmla="*/ 135 w 188"/>
              <a:gd name="T53" fmla="*/ 66 h 168"/>
              <a:gd name="T54" fmla="*/ 146 w 188"/>
              <a:gd name="T55" fmla="*/ 66 h 168"/>
              <a:gd name="T56" fmla="*/ 150 w 188"/>
              <a:gd name="T57" fmla="*/ 72 h 168"/>
              <a:gd name="T58" fmla="*/ 160 w 188"/>
              <a:gd name="T59" fmla="*/ 72 h 168"/>
              <a:gd name="T60" fmla="*/ 173 w 188"/>
              <a:gd name="T61" fmla="*/ 66 h 168"/>
              <a:gd name="T62" fmla="*/ 180 w 188"/>
              <a:gd name="T63" fmla="*/ 58 h 168"/>
              <a:gd name="T64" fmla="*/ 188 w 188"/>
              <a:gd name="T65" fmla="*/ 44 h 168"/>
              <a:gd name="T66" fmla="*/ 185 w 188"/>
              <a:gd name="T67" fmla="*/ 42 h 168"/>
              <a:gd name="T68" fmla="*/ 184 w 188"/>
              <a:gd name="T69" fmla="*/ 45 h 168"/>
              <a:gd name="T70" fmla="*/ 182 w 188"/>
              <a:gd name="T71" fmla="*/ 48 h 168"/>
              <a:gd name="T72" fmla="*/ 173 w 188"/>
              <a:gd name="T73" fmla="*/ 45 h 168"/>
              <a:gd name="T74" fmla="*/ 177 w 188"/>
              <a:gd name="T75" fmla="*/ 32 h 168"/>
              <a:gd name="T76" fmla="*/ 172 w 188"/>
              <a:gd name="T77" fmla="*/ 32 h 168"/>
              <a:gd name="T78" fmla="*/ 164 w 188"/>
              <a:gd name="T79" fmla="*/ 31 h 168"/>
              <a:gd name="T80" fmla="*/ 155 w 188"/>
              <a:gd name="T81" fmla="*/ 31 h 168"/>
              <a:gd name="T82" fmla="*/ 144 w 188"/>
              <a:gd name="T83" fmla="*/ 31 h 168"/>
              <a:gd name="T84" fmla="*/ 141 w 188"/>
              <a:gd name="T85" fmla="*/ 29 h 168"/>
              <a:gd name="T86" fmla="*/ 132 w 188"/>
              <a:gd name="T87" fmla="*/ 26 h 168"/>
              <a:gd name="T88" fmla="*/ 123 w 188"/>
              <a:gd name="T89" fmla="*/ 24 h 168"/>
              <a:gd name="T90" fmla="*/ 116 w 188"/>
              <a:gd name="T91" fmla="*/ 26 h 168"/>
              <a:gd name="T92" fmla="*/ 109 w 188"/>
              <a:gd name="T93" fmla="*/ 28 h 168"/>
              <a:gd name="T94" fmla="*/ 101 w 188"/>
              <a:gd name="T95" fmla="*/ 28 h 168"/>
              <a:gd name="T96" fmla="*/ 92 w 188"/>
              <a:gd name="T97" fmla="*/ 22 h 168"/>
              <a:gd name="T98" fmla="*/ 90 w 188"/>
              <a:gd name="T99" fmla="*/ 17 h 168"/>
              <a:gd name="T100" fmla="*/ 86 w 188"/>
              <a:gd name="T101" fmla="*/ 11 h 168"/>
              <a:gd name="T102" fmla="*/ 85 w 188"/>
              <a:gd name="T103" fmla="*/ 1 h 168"/>
              <a:gd name="T104" fmla="*/ 78 w 188"/>
              <a:gd name="T105" fmla="*/ 0 h 168"/>
              <a:gd name="T106" fmla="*/ 69 w 188"/>
              <a:gd name="T107" fmla="*/ 3 h 168"/>
              <a:gd name="T108" fmla="*/ 61 w 188"/>
              <a:gd name="T109" fmla="*/ 8 h 168"/>
              <a:gd name="T110" fmla="*/ 48 w 188"/>
              <a:gd name="T111" fmla="*/ 5 h 168"/>
              <a:gd name="T112" fmla="*/ 36 w 188"/>
              <a:gd name="T113" fmla="*/ 10 h 168"/>
              <a:gd name="T114" fmla="*/ 21 w 188"/>
              <a:gd name="T115" fmla="*/ 8 h 168"/>
              <a:gd name="T116" fmla="*/ 9 w 188"/>
              <a:gd name="T117" fmla="*/ 8 h 168"/>
              <a:gd name="T118" fmla="*/ 10 w 188"/>
              <a:gd name="T119" fmla="*/ 15 h 168"/>
              <a:gd name="T120" fmla="*/ 12 w 188"/>
              <a:gd name="T121" fmla="*/ 21 h 168"/>
              <a:gd name="T122" fmla="*/ 26 w 188"/>
              <a:gd name="T123" fmla="*/ 37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88" h="168">
                <a:moveTo>
                  <a:pt x="26" y="37"/>
                </a:moveTo>
                <a:cubicBezTo>
                  <a:pt x="26" y="38"/>
                  <a:pt x="26" y="39"/>
                  <a:pt x="25" y="39"/>
                </a:cubicBezTo>
                <a:cubicBezTo>
                  <a:pt x="25" y="40"/>
                  <a:pt x="25" y="43"/>
                  <a:pt x="26" y="45"/>
                </a:cubicBezTo>
                <a:cubicBezTo>
                  <a:pt x="26" y="45"/>
                  <a:pt x="26" y="45"/>
                  <a:pt x="26" y="46"/>
                </a:cubicBezTo>
                <a:cubicBezTo>
                  <a:pt x="26" y="52"/>
                  <a:pt x="26" y="52"/>
                  <a:pt x="26" y="52"/>
                </a:cubicBezTo>
                <a:cubicBezTo>
                  <a:pt x="29" y="60"/>
                  <a:pt x="29" y="60"/>
                  <a:pt x="29" y="60"/>
                </a:cubicBezTo>
                <a:cubicBezTo>
                  <a:pt x="32" y="58"/>
                  <a:pt x="32" y="58"/>
                  <a:pt x="32" y="58"/>
                </a:cubicBezTo>
                <a:cubicBezTo>
                  <a:pt x="33" y="57"/>
                  <a:pt x="37" y="55"/>
                  <a:pt x="39" y="56"/>
                </a:cubicBezTo>
                <a:cubicBezTo>
                  <a:pt x="41" y="57"/>
                  <a:pt x="43" y="61"/>
                  <a:pt x="44" y="62"/>
                </a:cubicBezTo>
                <a:cubicBezTo>
                  <a:pt x="44" y="62"/>
                  <a:pt x="44" y="63"/>
                  <a:pt x="44" y="63"/>
                </a:cubicBezTo>
                <a:cubicBezTo>
                  <a:pt x="44" y="71"/>
                  <a:pt x="44" y="71"/>
                  <a:pt x="44" y="71"/>
                </a:cubicBezTo>
                <a:cubicBezTo>
                  <a:pt x="44" y="72"/>
                  <a:pt x="44" y="72"/>
                  <a:pt x="43" y="73"/>
                </a:cubicBezTo>
                <a:cubicBezTo>
                  <a:pt x="40" y="75"/>
                  <a:pt x="40" y="75"/>
                  <a:pt x="40" y="75"/>
                </a:cubicBezTo>
                <a:cubicBezTo>
                  <a:pt x="40" y="81"/>
                  <a:pt x="40" y="81"/>
                  <a:pt x="40" y="81"/>
                </a:cubicBezTo>
                <a:cubicBezTo>
                  <a:pt x="40" y="81"/>
                  <a:pt x="40" y="82"/>
                  <a:pt x="40" y="82"/>
                </a:cubicBezTo>
                <a:cubicBezTo>
                  <a:pt x="34" y="89"/>
                  <a:pt x="34" y="89"/>
                  <a:pt x="34" y="89"/>
                </a:cubicBezTo>
                <a:cubicBezTo>
                  <a:pt x="34" y="90"/>
                  <a:pt x="33" y="90"/>
                  <a:pt x="33" y="90"/>
                </a:cubicBezTo>
                <a:cubicBezTo>
                  <a:pt x="25" y="94"/>
                  <a:pt x="25" y="94"/>
                  <a:pt x="25" y="94"/>
                </a:cubicBezTo>
                <a:cubicBezTo>
                  <a:pt x="20" y="98"/>
                  <a:pt x="20" y="98"/>
                  <a:pt x="20" y="98"/>
                </a:cubicBezTo>
                <a:cubicBezTo>
                  <a:pt x="10" y="105"/>
                  <a:pt x="10" y="105"/>
                  <a:pt x="10" y="105"/>
                </a:cubicBezTo>
                <a:cubicBezTo>
                  <a:pt x="10" y="107"/>
                  <a:pt x="10" y="111"/>
                  <a:pt x="9" y="112"/>
                </a:cubicBezTo>
                <a:cubicBezTo>
                  <a:pt x="8" y="114"/>
                  <a:pt x="5" y="120"/>
                  <a:pt x="3" y="123"/>
                </a:cubicBezTo>
                <a:cubicBezTo>
                  <a:pt x="0" y="134"/>
                  <a:pt x="0" y="134"/>
                  <a:pt x="0" y="134"/>
                </a:cubicBezTo>
                <a:cubicBezTo>
                  <a:pt x="4" y="140"/>
                  <a:pt x="4" y="140"/>
                  <a:pt x="4" y="140"/>
                </a:cubicBezTo>
                <a:cubicBezTo>
                  <a:pt x="14" y="142"/>
                  <a:pt x="14" y="142"/>
                  <a:pt x="14" y="142"/>
                </a:cubicBezTo>
                <a:cubicBezTo>
                  <a:pt x="22" y="133"/>
                  <a:pt x="22" y="133"/>
                  <a:pt x="22" y="133"/>
                </a:cubicBezTo>
                <a:cubicBezTo>
                  <a:pt x="23" y="132"/>
                  <a:pt x="23" y="132"/>
                  <a:pt x="23" y="132"/>
                </a:cubicBezTo>
                <a:cubicBezTo>
                  <a:pt x="28" y="128"/>
                  <a:pt x="28" y="128"/>
                  <a:pt x="28" y="128"/>
                </a:cubicBezTo>
                <a:cubicBezTo>
                  <a:pt x="29" y="128"/>
                  <a:pt x="30" y="128"/>
                  <a:pt x="30" y="128"/>
                </a:cubicBezTo>
                <a:cubicBezTo>
                  <a:pt x="36" y="132"/>
                  <a:pt x="36" y="132"/>
                  <a:pt x="36" y="132"/>
                </a:cubicBezTo>
                <a:cubicBezTo>
                  <a:pt x="37" y="132"/>
                  <a:pt x="37" y="132"/>
                  <a:pt x="37" y="133"/>
                </a:cubicBezTo>
                <a:cubicBezTo>
                  <a:pt x="40" y="138"/>
                  <a:pt x="40" y="138"/>
                  <a:pt x="40" y="138"/>
                </a:cubicBezTo>
                <a:cubicBezTo>
                  <a:pt x="43" y="143"/>
                  <a:pt x="43" y="143"/>
                  <a:pt x="43" y="143"/>
                </a:cubicBezTo>
                <a:cubicBezTo>
                  <a:pt x="44" y="143"/>
                  <a:pt x="44" y="144"/>
                  <a:pt x="44" y="144"/>
                </a:cubicBezTo>
                <a:cubicBezTo>
                  <a:pt x="44" y="145"/>
                  <a:pt x="41" y="160"/>
                  <a:pt x="40" y="168"/>
                </a:cubicBezTo>
                <a:cubicBezTo>
                  <a:pt x="40" y="168"/>
                  <a:pt x="40" y="168"/>
                  <a:pt x="40" y="168"/>
                </a:cubicBezTo>
                <a:cubicBezTo>
                  <a:pt x="45" y="161"/>
                  <a:pt x="45" y="161"/>
                  <a:pt x="45" y="161"/>
                </a:cubicBezTo>
                <a:cubicBezTo>
                  <a:pt x="46" y="160"/>
                  <a:pt x="47" y="160"/>
                  <a:pt x="47" y="160"/>
                </a:cubicBezTo>
                <a:cubicBezTo>
                  <a:pt x="53" y="161"/>
                  <a:pt x="53" y="161"/>
                  <a:pt x="53" y="161"/>
                </a:cubicBezTo>
                <a:cubicBezTo>
                  <a:pt x="53" y="159"/>
                  <a:pt x="53" y="159"/>
                  <a:pt x="53" y="159"/>
                </a:cubicBezTo>
                <a:cubicBezTo>
                  <a:pt x="54" y="159"/>
                  <a:pt x="55" y="159"/>
                  <a:pt x="55" y="159"/>
                </a:cubicBezTo>
                <a:cubicBezTo>
                  <a:pt x="55" y="159"/>
                  <a:pt x="55" y="159"/>
                  <a:pt x="55" y="159"/>
                </a:cubicBezTo>
                <a:cubicBezTo>
                  <a:pt x="57" y="157"/>
                  <a:pt x="57" y="157"/>
                  <a:pt x="57" y="157"/>
                </a:cubicBezTo>
                <a:cubicBezTo>
                  <a:pt x="63" y="149"/>
                  <a:pt x="63" y="149"/>
                  <a:pt x="63" y="149"/>
                </a:cubicBezTo>
                <a:cubicBezTo>
                  <a:pt x="65" y="148"/>
                  <a:pt x="65" y="148"/>
                  <a:pt x="65" y="148"/>
                </a:cubicBezTo>
                <a:cubicBezTo>
                  <a:pt x="93" y="140"/>
                  <a:pt x="93" y="140"/>
                  <a:pt x="93" y="140"/>
                </a:cubicBezTo>
                <a:cubicBezTo>
                  <a:pt x="112" y="139"/>
                  <a:pt x="112" y="139"/>
                  <a:pt x="112" y="139"/>
                </a:cubicBezTo>
                <a:cubicBezTo>
                  <a:pt x="114" y="139"/>
                  <a:pt x="114" y="139"/>
                  <a:pt x="114" y="139"/>
                </a:cubicBezTo>
                <a:cubicBezTo>
                  <a:pt x="116" y="138"/>
                  <a:pt x="116" y="138"/>
                  <a:pt x="116" y="138"/>
                </a:cubicBezTo>
                <a:cubicBezTo>
                  <a:pt x="118" y="137"/>
                  <a:pt x="118" y="137"/>
                  <a:pt x="118" y="137"/>
                </a:cubicBezTo>
                <a:cubicBezTo>
                  <a:pt x="127" y="129"/>
                  <a:pt x="127" y="129"/>
                  <a:pt x="127" y="129"/>
                </a:cubicBezTo>
                <a:cubicBezTo>
                  <a:pt x="130" y="126"/>
                  <a:pt x="130" y="126"/>
                  <a:pt x="130" y="126"/>
                </a:cubicBezTo>
                <a:cubicBezTo>
                  <a:pt x="134" y="122"/>
                  <a:pt x="134" y="122"/>
                  <a:pt x="134" y="122"/>
                </a:cubicBezTo>
                <a:cubicBezTo>
                  <a:pt x="139" y="116"/>
                  <a:pt x="139" y="116"/>
                  <a:pt x="139" y="116"/>
                </a:cubicBezTo>
                <a:cubicBezTo>
                  <a:pt x="140" y="114"/>
                  <a:pt x="140" y="114"/>
                  <a:pt x="140" y="114"/>
                </a:cubicBezTo>
                <a:cubicBezTo>
                  <a:pt x="139" y="94"/>
                  <a:pt x="139" y="94"/>
                  <a:pt x="139" y="94"/>
                </a:cubicBezTo>
                <a:cubicBezTo>
                  <a:pt x="139" y="89"/>
                  <a:pt x="139" y="89"/>
                  <a:pt x="139" y="89"/>
                </a:cubicBezTo>
                <a:cubicBezTo>
                  <a:pt x="138" y="86"/>
                  <a:pt x="138" y="86"/>
                  <a:pt x="138" y="86"/>
                </a:cubicBezTo>
                <a:cubicBezTo>
                  <a:pt x="137" y="84"/>
                  <a:pt x="137" y="84"/>
                  <a:pt x="137" y="84"/>
                </a:cubicBezTo>
                <a:cubicBezTo>
                  <a:pt x="136" y="83"/>
                  <a:pt x="136" y="83"/>
                  <a:pt x="136" y="83"/>
                </a:cubicBezTo>
                <a:cubicBezTo>
                  <a:pt x="134" y="82"/>
                  <a:pt x="134" y="82"/>
                  <a:pt x="134" y="82"/>
                </a:cubicBezTo>
                <a:cubicBezTo>
                  <a:pt x="132" y="81"/>
                  <a:pt x="132" y="81"/>
                  <a:pt x="132" y="81"/>
                </a:cubicBezTo>
                <a:cubicBezTo>
                  <a:pt x="130" y="82"/>
                  <a:pt x="130" y="82"/>
                  <a:pt x="130" y="82"/>
                </a:cubicBezTo>
                <a:cubicBezTo>
                  <a:pt x="124" y="85"/>
                  <a:pt x="124" y="85"/>
                  <a:pt x="124" y="85"/>
                </a:cubicBezTo>
                <a:cubicBezTo>
                  <a:pt x="120" y="88"/>
                  <a:pt x="120" y="88"/>
                  <a:pt x="120" y="88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08" y="91"/>
                  <a:pt x="108" y="91"/>
                  <a:pt x="108" y="91"/>
                </a:cubicBezTo>
                <a:cubicBezTo>
                  <a:pt x="100" y="89"/>
                  <a:pt x="100" y="89"/>
                  <a:pt x="100" y="89"/>
                </a:cubicBezTo>
                <a:cubicBezTo>
                  <a:pt x="100" y="88"/>
                  <a:pt x="100" y="88"/>
                  <a:pt x="100" y="88"/>
                </a:cubicBezTo>
                <a:cubicBezTo>
                  <a:pt x="101" y="87"/>
                  <a:pt x="101" y="87"/>
                  <a:pt x="101" y="87"/>
                </a:cubicBezTo>
                <a:cubicBezTo>
                  <a:pt x="102" y="86"/>
                  <a:pt x="102" y="86"/>
                  <a:pt x="102" y="86"/>
                </a:cubicBezTo>
                <a:cubicBezTo>
                  <a:pt x="106" y="86"/>
                  <a:pt x="106" y="86"/>
                  <a:pt x="106" y="86"/>
                </a:cubicBezTo>
                <a:cubicBezTo>
                  <a:pt x="120" y="82"/>
                  <a:pt x="120" y="82"/>
                  <a:pt x="120" y="82"/>
                </a:cubicBezTo>
                <a:cubicBezTo>
                  <a:pt x="121" y="81"/>
                  <a:pt x="121" y="81"/>
                  <a:pt x="121" y="81"/>
                </a:cubicBezTo>
                <a:cubicBezTo>
                  <a:pt x="125" y="77"/>
                  <a:pt x="125" y="77"/>
                  <a:pt x="125" y="77"/>
                </a:cubicBezTo>
                <a:cubicBezTo>
                  <a:pt x="125" y="76"/>
                  <a:pt x="125" y="76"/>
                  <a:pt x="125" y="76"/>
                </a:cubicBezTo>
                <a:cubicBezTo>
                  <a:pt x="125" y="75"/>
                  <a:pt x="125" y="75"/>
                  <a:pt x="125" y="75"/>
                </a:cubicBezTo>
                <a:cubicBezTo>
                  <a:pt x="125" y="73"/>
                  <a:pt x="125" y="73"/>
                  <a:pt x="125" y="73"/>
                </a:cubicBezTo>
                <a:cubicBezTo>
                  <a:pt x="125" y="72"/>
                  <a:pt x="125" y="72"/>
                  <a:pt x="125" y="72"/>
                </a:cubicBezTo>
                <a:cubicBezTo>
                  <a:pt x="133" y="67"/>
                  <a:pt x="133" y="67"/>
                  <a:pt x="133" y="67"/>
                </a:cubicBezTo>
                <a:cubicBezTo>
                  <a:pt x="135" y="66"/>
                  <a:pt x="135" y="66"/>
                  <a:pt x="135" y="66"/>
                </a:cubicBezTo>
                <a:cubicBezTo>
                  <a:pt x="143" y="64"/>
                  <a:pt x="143" y="64"/>
                  <a:pt x="143" y="64"/>
                </a:cubicBezTo>
                <a:cubicBezTo>
                  <a:pt x="144" y="65"/>
                  <a:pt x="144" y="65"/>
                  <a:pt x="144" y="65"/>
                </a:cubicBezTo>
                <a:cubicBezTo>
                  <a:pt x="146" y="66"/>
                  <a:pt x="146" y="66"/>
                  <a:pt x="146" y="66"/>
                </a:cubicBezTo>
                <a:cubicBezTo>
                  <a:pt x="148" y="68"/>
                  <a:pt x="148" y="68"/>
                  <a:pt x="148" y="68"/>
                </a:cubicBezTo>
                <a:cubicBezTo>
                  <a:pt x="149" y="72"/>
                  <a:pt x="149" y="72"/>
                  <a:pt x="149" y="72"/>
                </a:cubicBezTo>
                <a:cubicBezTo>
                  <a:pt x="150" y="72"/>
                  <a:pt x="150" y="72"/>
                  <a:pt x="150" y="72"/>
                </a:cubicBezTo>
                <a:cubicBezTo>
                  <a:pt x="150" y="73"/>
                  <a:pt x="150" y="73"/>
                  <a:pt x="150" y="73"/>
                </a:cubicBezTo>
                <a:cubicBezTo>
                  <a:pt x="152" y="73"/>
                  <a:pt x="152" y="73"/>
                  <a:pt x="152" y="73"/>
                </a:cubicBezTo>
                <a:cubicBezTo>
                  <a:pt x="160" y="72"/>
                  <a:pt x="160" y="72"/>
                  <a:pt x="160" y="72"/>
                </a:cubicBezTo>
                <a:cubicBezTo>
                  <a:pt x="164" y="71"/>
                  <a:pt x="164" y="71"/>
                  <a:pt x="164" y="71"/>
                </a:cubicBezTo>
                <a:cubicBezTo>
                  <a:pt x="170" y="68"/>
                  <a:pt x="170" y="68"/>
                  <a:pt x="170" y="68"/>
                </a:cubicBezTo>
                <a:cubicBezTo>
                  <a:pt x="173" y="66"/>
                  <a:pt x="173" y="66"/>
                  <a:pt x="173" y="66"/>
                </a:cubicBezTo>
                <a:cubicBezTo>
                  <a:pt x="175" y="63"/>
                  <a:pt x="175" y="63"/>
                  <a:pt x="175" y="63"/>
                </a:cubicBezTo>
                <a:cubicBezTo>
                  <a:pt x="177" y="61"/>
                  <a:pt x="177" y="61"/>
                  <a:pt x="177" y="61"/>
                </a:cubicBezTo>
                <a:cubicBezTo>
                  <a:pt x="180" y="58"/>
                  <a:pt x="180" y="58"/>
                  <a:pt x="180" y="58"/>
                </a:cubicBezTo>
                <a:cubicBezTo>
                  <a:pt x="186" y="50"/>
                  <a:pt x="186" y="50"/>
                  <a:pt x="186" y="50"/>
                </a:cubicBezTo>
                <a:cubicBezTo>
                  <a:pt x="188" y="46"/>
                  <a:pt x="188" y="46"/>
                  <a:pt x="188" y="46"/>
                </a:cubicBezTo>
                <a:cubicBezTo>
                  <a:pt x="188" y="44"/>
                  <a:pt x="188" y="44"/>
                  <a:pt x="188" y="44"/>
                </a:cubicBezTo>
                <a:cubicBezTo>
                  <a:pt x="187" y="43"/>
                  <a:pt x="187" y="43"/>
                  <a:pt x="187" y="43"/>
                </a:cubicBezTo>
                <a:cubicBezTo>
                  <a:pt x="186" y="42"/>
                  <a:pt x="186" y="42"/>
                  <a:pt x="186" y="42"/>
                </a:cubicBezTo>
                <a:cubicBezTo>
                  <a:pt x="185" y="42"/>
                  <a:pt x="185" y="42"/>
                  <a:pt x="185" y="42"/>
                </a:cubicBezTo>
                <a:cubicBezTo>
                  <a:pt x="184" y="42"/>
                  <a:pt x="184" y="42"/>
                  <a:pt x="184" y="42"/>
                </a:cubicBezTo>
                <a:cubicBezTo>
                  <a:pt x="183" y="43"/>
                  <a:pt x="183" y="43"/>
                  <a:pt x="183" y="43"/>
                </a:cubicBezTo>
                <a:cubicBezTo>
                  <a:pt x="184" y="45"/>
                  <a:pt x="184" y="45"/>
                  <a:pt x="184" y="45"/>
                </a:cubicBezTo>
                <a:cubicBezTo>
                  <a:pt x="183" y="46"/>
                  <a:pt x="183" y="46"/>
                  <a:pt x="183" y="46"/>
                </a:cubicBezTo>
                <a:cubicBezTo>
                  <a:pt x="183" y="47"/>
                  <a:pt x="183" y="47"/>
                  <a:pt x="183" y="47"/>
                </a:cubicBezTo>
                <a:cubicBezTo>
                  <a:pt x="182" y="48"/>
                  <a:pt x="182" y="48"/>
                  <a:pt x="182" y="48"/>
                </a:cubicBezTo>
                <a:cubicBezTo>
                  <a:pt x="180" y="48"/>
                  <a:pt x="180" y="48"/>
                  <a:pt x="180" y="48"/>
                </a:cubicBezTo>
                <a:cubicBezTo>
                  <a:pt x="174" y="46"/>
                  <a:pt x="174" y="46"/>
                  <a:pt x="174" y="46"/>
                </a:cubicBezTo>
                <a:cubicBezTo>
                  <a:pt x="173" y="45"/>
                  <a:pt x="173" y="45"/>
                  <a:pt x="173" y="45"/>
                </a:cubicBezTo>
                <a:cubicBezTo>
                  <a:pt x="173" y="44"/>
                  <a:pt x="173" y="44"/>
                  <a:pt x="173" y="44"/>
                </a:cubicBezTo>
                <a:cubicBezTo>
                  <a:pt x="178" y="31"/>
                  <a:pt x="178" y="31"/>
                  <a:pt x="178" y="31"/>
                </a:cubicBezTo>
                <a:cubicBezTo>
                  <a:pt x="177" y="32"/>
                  <a:pt x="177" y="32"/>
                  <a:pt x="177" y="32"/>
                </a:cubicBezTo>
                <a:cubicBezTo>
                  <a:pt x="174" y="31"/>
                  <a:pt x="174" y="31"/>
                  <a:pt x="174" y="31"/>
                </a:cubicBezTo>
                <a:cubicBezTo>
                  <a:pt x="174" y="31"/>
                  <a:pt x="174" y="31"/>
                  <a:pt x="173" y="31"/>
                </a:cubicBezTo>
                <a:cubicBezTo>
                  <a:pt x="173" y="32"/>
                  <a:pt x="172" y="32"/>
                  <a:pt x="172" y="32"/>
                </a:cubicBezTo>
                <a:cubicBezTo>
                  <a:pt x="171" y="32"/>
                  <a:pt x="171" y="32"/>
                  <a:pt x="170" y="31"/>
                </a:cubicBezTo>
                <a:cubicBezTo>
                  <a:pt x="168" y="31"/>
                  <a:pt x="168" y="31"/>
                  <a:pt x="167" y="31"/>
                </a:cubicBezTo>
                <a:cubicBezTo>
                  <a:pt x="166" y="31"/>
                  <a:pt x="165" y="32"/>
                  <a:pt x="164" y="31"/>
                </a:cubicBezTo>
                <a:cubicBezTo>
                  <a:pt x="163" y="31"/>
                  <a:pt x="163" y="31"/>
                  <a:pt x="162" y="31"/>
                </a:cubicBezTo>
                <a:cubicBezTo>
                  <a:pt x="162" y="31"/>
                  <a:pt x="161" y="31"/>
                  <a:pt x="160" y="31"/>
                </a:cubicBezTo>
                <a:cubicBezTo>
                  <a:pt x="158" y="31"/>
                  <a:pt x="155" y="31"/>
                  <a:pt x="155" y="31"/>
                </a:cubicBezTo>
                <a:cubicBezTo>
                  <a:pt x="154" y="31"/>
                  <a:pt x="154" y="31"/>
                  <a:pt x="153" y="31"/>
                </a:cubicBezTo>
                <a:cubicBezTo>
                  <a:pt x="151" y="31"/>
                  <a:pt x="149" y="31"/>
                  <a:pt x="149" y="31"/>
                </a:cubicBezTo>
                <a:cubicBezTo>
                  <a:pt x="148" y="31"/>
                  <a:pt x="146" y="32"/>
                  <a:pt x="144" y="31"/>
                </a:cubicBezTo>
                <a:cubicBezTo>
                  <a:pt x="144" y="31"/>
                  <a:pt x="144" y="30"/>
                  <a:pt x="143" y="30"/>
                </a:cubicBezTo>
                <a:cubicBezTo>
                  <a:pt x="142" y="30"/>
                  <a:pt x="142" y="30"/>
                  <a:pt x="142" y="30"/>
                </a:cubicBezTo>
                <a:cubicBezTo>
                  <a:pt x="142" y="30"/>
                  <a:pt x="141" y="30"/>
                  <a:pt x="141" y="29"/>
                </a:cubicBezTo>
                <a:cubicBezTo>
                  <a:pt x="141" y="30"/>
                  <a:pt x="141" y="30"/>
                  <a:pt x="141" y="30"/>
                </a:cubicBezTo>
                <a:cubicBezTo>
                  <a:pt x="138" y="32"/>
                  <a:pt x="136" y="30"/>
                  <a:pt x="135" y="29"/>
                </a:cubicBezTo>
                <a:cubicBezTo>
                  <a:pt x="132" y="26"/>
                  <a:pt x="132" y="26"/>
                  <a:pt x="132" y="26"/>
                </a:cubicBezTo>
                <a:cubicBezTo>
                  <a:pt x="126" y="24"/>
                  <a:pt x="126" y="24"/>
                  <a:pt x="126" y="24"/>
                </a:cubicBezTo>
                <a:cubicBezTo>
                  <a:pt x="125" y="24"/>
                  <a:pt x="125" y="24"/>
                  <a:pt x="125" y="24"/>
                </a:cubicBezTo>
                <a:cubicBezTo>
                  <a:pt x="125" y="24"/>
                  <a:pt x="124" y="24"/>
                  <a:pt x="123" y="24"/>
                </a:cubicBezTo>
                <a:cubicBezTo>
                  <a:pt x="121" y="25"/>
                  <a:pt x="121" y="25"/>
                  <a:pt x="121" y="25"/>
                </a:cubicBezTo>
                <a:cubicBezTo>
                  <a:pt x="120" y="25"/>
                  <a:pt x="120" y="25"/>
                  <a:pt x="120" y="25"/>
                </a:cubicBezTo>
                <a:cubicBezTo>
                  <a:pt x="120" y="25"/>
                  <a:pt x="119" y="25"/>
                  <a:pt x="116" y="26"/>
                </a:cubicBezTo>
                <a:cubicBezTo>
                  <a:pt x="112" y="27"/>
                  <a:pt x="112" y="27"/>
                  <a:pt x="112" y="27"/>
                </a:cubicBezTo>
                <a:cubicBezTo>
                  <a:pt x="112" y="28"/>
                  <a:pt x="112" y="28"/>
                  <a:pt x="112" y="28"/>
                </a:cubicBezTo>
                <a:cubicBezTo>
                  <a:pt x="109" y="28"/>
                  <a:pt x="109" y="28"/>
                  <a:pt x="109" y="28"/>
                </a:cubicBezTo>
                <a:cubicBezTo>
                  <a:pt x="105" y="28"/>
                  <a:pt x="105" y="28"/>
                  <a:pt x="105" y="28"/>
                </a:cubicBezTo>
                <a:cubicBezTo>
                  <a:pt x="104" y="28"/>
                  <a:pt x="103" y="28"/>
                  <a:pt x="103" y="28"/>
                </a:cubicBezTo>
                <a:cubicBezTo>
                  <a:pt x="101" y="28"/>
                  <a:pt x="101" y="28"/>
                  <a:pt x="101" y="28"/>
                </a:cubicBezTo>
                <a:cubicBezTo>
                  <a:pt x="100" y="28"/>
                  <a:pt x="100" y="28"/>
                  <a:pt x="99" y="28"/>
                </a:cubicBezTo>
                <a:cubicBezTo>
                  <a:pt x="99" y="28"/>
                  <a:pt x="98" y="27"/>
                  <a:pt x="96" y="25"/>
                </a:cubicBezTo>
                <a:cubicBezTo>
                  <a:pt x="94" y="24"/>
                  <a:pt x="92" y="22"/>
                  <a:pt x="92" y="22"/>
                </a:cubicBezTo>
                <a:cubicBezTo>
                  <a:pt x="92" y="19"/>
                  <a:pt x="92" y="19"/>
                  <a:pt x="92" y="19"/>
                </a:cubicBezTo>
                <a:cubicBezTo>
                  <a:pt x="92" y="18"/>
                  <a:pt x="91" y="18"/>
                  <a:pt x="91" y="17"/>
                </a:cubicBezTo>
                <a:cubicBezTo>
                  <a:pt x="90" y="17"/>
                  <a:pt x="90" y="17"/>
                  <a:pt x="90" y="17"/>
                </a:cubicBezTo>
                <a:cubicBezTo>
                  <a:pt x="87" y="14"/>
                  <a:pt x="87" y="14"/>
                  <a:pt x="87" y="14"/>
                </a:cubicBezTo>
                <a:cubicBezTo>
                  <a:pt x="86" y="14"/>
                  <a:pt x="86" y="13"/>
                  <a:pt x="86" y="12"/>
                </a:cubicBezTo>
                <a:cubicBezTo>
                  <a:pt x="86" y="12"/>
                  <a:pt x="86" y="12"/>
                  <a:pt x="86" y="11"/>
                </a:cubicBezTo>
                <a:cubicBezTo>
                  <a:pt x="85" y="10"/>
                  <a:pt x="85" y="8"/>
                  <a:pt x="86" y="6"/>
                </a:cubicBezTo>
                <a:cubicBezTo>
                  <a:pt x="86" y="5"/>
                  <a:pt x="86" y="5"/>
                  <a:pt x="86" y="5"/>
                </a:cubicBezTo>
                <a:cubicBezTo>
                  <a:pt x="85" y="4"/>
                  <a:pt x="85" y="2"/>
                  <a:pt x="85" y="1"/>
                </a:cubicBezTo>
                <a:cubicBezTo>
                  <a:pt x="84" y="1"/>
                  <a:pt x="84" y="1"/>
                  <a:pt x="83" y="1"/>
                </a:cubicBezTo>
                <a:cubicBezTo>
                  <a:pt x="82" y="0"/>
                  <a:pt x="82" y="0"/>
                  <a:pt x="82" y="0"/>
                </a:cubicBezTo>
                <a:cubicBezTo>
                  <a:pt x="78" y="0"/>
                  <a:pt x="78" y="0"/>
                  <a:pt x="78" y="0"/>
                </a:cubicBezTo>
                <a:cubicBezTo>
                  <a:pt x="76" y="2"/>
                  <a:pt x="76" y="2"/>
                  <a:pt x="76" y="2"/>
                </a:cubicBezTo>
                <a:cubicBezTo>
                  <a:pt x="75" y="3"/>
                  <a:pt x="75" y="3"/>
                  <a:pt x="74" y="3"/>
                </a:cubicBezTo>
                <a:cubicBezTo>
                  <a:pt x="69" y="3"/>
                  <a:pt x="69" y="3"/>
                  <a:pt x="69" y="3"/>
                </a:cubicBezTo>
                <a:cubicBezTo>
                  <a:pt x="63" y="5"/>
                  <a:pt x="63" y="5"/>
                  <a:pt x="63" y="5"/>
                </a:cubicBezTo>
                <a:cubicBezTo>
                  <a:pt x="63" y="6"/>
                  <a:pt x="63" y="6"/>
                  <a:pt x="63" y="6"/>
                </a:cubicBezTo>
                <a:cubicBezTo>
                  <a:pt x="63" y="7"/>
                  <a:pt x="62" y="8"/>
                  <a:pt x="61" y="8"/>
                </a:cubicBezTo>
                <a:cubicBezTo>
                  <a:pt x="54" y="8"/>
                  <a:pt x="54" y="8"/>
                  <a:pt x="54" y="8"/>
                </a:cubicBezTo>
                <a:cubicBezTo>
                  <a:pt x="53" y="8"/>
                  <a:pt x="51" y="8"/>
                  <a:pt x="49" y="6"/>
                </a:cubicBezTo>
                <a:cubicBezTo>
                  <a:pt x="48" y="6"/>
                  <a:pt x="48" y="5"/>
                  <a:pt x="48" y="5"/>
                </a:cubicBezTo>
                <a:cubicBezTo>
                  <a:pt x="45" y="5"/>
                  <a:pt x="41" y="6"/>
                  <a:pt x="39" y="6"/>
                </a:cubicBezTo>
                <a:cubicBezTo>
                  <a:pt x="37" y="9"/>
                  <a:pt x="37" y="9"/>
                  <a:pt x="37" y="9"/>
                </a:cubicBezTo>
                <a:cubicBezTo>
                  <a:pt x="37" y="10"/>
                  <a:pt x="37" y="10"/>
                  <a:pt x="36" y="10"/>
                </a:cubicBezTo>
                <a:cubicBezTo>
                  <a:pt x="29" y="13"/>
                  <a:pt x="29" y="13"/>
                  <a:pt x="29" y="13"/>
                </a:cubicBezTo>
                <a:cubicBezTo>
                  <a:pt x="29" y="14"/>
                  <a:pt x="28" y="14"/>
                  <a:pt x="27" y="13"/>
                </a:cubicBezTo>
                <a:cubicBezTo>
                  <a:pt x="21" y="8"/>
                  <a:pt x="21" y="8"/>
                  <a:pt x="21" y="8"/>
                </a:cubicBezTo>
                <a:cubicBezTo>
                  <a:pt x="21" y="8"/>
                  <a:pt x="21" y="8"/>
                  <a:pt x="20" y="7"/>
                </a:cubicBezTo>
                <a:cubicBezTo>
                  <a:pt x="10" y="7"/>
                  <a:pt x="10" y="7"/>
                  <a:pt x="10" y="7"/>
                </a:cubicBezTo>
                <a:cubicBezTo>
                  <a:pt x="10" y="7"/>
                  <a:pt x="10" y="7"/>
                  <a:pt x="9" y="8"/>
                </a:cubicBezTo>
                <a:cubicBezTo>
                  <a:pt x="9" y="12"/>
                  <a:pt x="9" y="12"/>
                  <a:pt x="9" y="12"/>
                </a:cubicBezTo>
                <a:cubicBezTo>
                  <a:pt x="9" y="13"/>
                  <a:pt x="10" y="13"/>
                  <a:pt x="10" y="14"/>
                </a:cubicBezTo>
                <a:cubicBezTo>
                  <a:pt x="10" y="15"/>
                  <a:pt x="10" y="15"/>
                  <a:pt x="10" y="15"/>
                </a:cubicBezTo>
                <a:cubicBezTo>
                  <a:pt x="10" y="16"/>
                  <a:pt x="11" y="16"/>
                  <a:pt x="11" y="16"/>
                </a:cubicBezTo>
                <a:cubicBezTo>
                  <a:pt x="11" y="17"/>
                  <a:pt x="11" y="17"/>
                  <a:pt x="11" y="17"/>
                </a:cubicBezTo>
                <a:cubicBezTo>
                  <a:pt x="11" y="17"/>
                  <a:pt x="11" y="19"/>
                  <a:pt x="12" y="21"/>
                </a:cubicBezTo>
                <a:cubicBezTo>
                  <a:pt x="11" y="21"/>
                  <a:pt x="11" y="21"/>
                  <a:pt x="11" y="21"/>
                </a:cubicBezTo>
                <a:cubicBezTo>
                  <a:pt x="20" y="28"/>
                  <a:pt x="20" y="28"/>
                  <a:pt x="20" y="28"/>
                </a:cubicBezTo>
                <a:cubicBezTo>
                  <a:pt x="22" y="30"/>
                  <a:pt x="26" y="34"/>
                  <a:pt x="26" y="37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1" name="Freeform 102">
            <a:extLst>
              <a:ext uri="{FF2B5EF4-FFF2-40B4-BE49-F238E27FC236}">
                <a16:creationId xmlns:a16="http://schemas.microsoft.com/office/drawing/2014/main" id="{54B765A8-1E75-41CE-81FF-D634AA1707D1}"/>
              </a:ext>
            </a:extLst>
          </p:cNvPr>
          <p:cNvSpPr>
            <a:spLocks/>
          </p:cNvSpPr>
          <p:nvPr/>
        </p:nvSpPr>
        <p:spPr bwMode="auto">
          <a:xfrm>
            <a:off x="6087546" y="4865219"/>
            <a:ext cx="350838" cy="269875"/>
          </a:xfrm>
          <a:custGeom>
            <a:avLst/>
            <a:gdLst>
              <a:gd name="T0" fmla="*/ 39 w 145"/>
              <a:gd name="T1" fmla="*/ 119 h 121"/>
              <a:gd name="T2" fmla="*/ 61 w 145"/>
              <a:gd name="T3" fmla="*/ 115 h 121"/>
              <a:gd name="T4" fmla="*/ 75 w 145"/>
              <a:gd name="T5" fmla="*/ 108 h 121"/>
              <a:gd name="T6" fmla="*/ 91 w 145"/>
              <a:gd name="T7" fmla="*/ 108 h 121"/>
              <a:gd name="T8" fmla="*/ 104 w 145"/>
              <a:gd name="T9" fmla="*/ 104 h 121"/>
              <a:gd name="T10" fmla="*/ 111 w 145"/>
              <a:gd name="T11" fmla="*/ 86 h 121"/>
              <a:gd name="T12" fmla="*/ 128 w 145"/>
              <a:gd name="T13" fmla="*/ 73 h 121"/>
              <a:gd name="T14" fmla="*/ 141 w 145"/>
              <a:gd name="T15" fmla="*/ 62 h 121"/>
              <a:gd name="T16" fmla="*/ 145 w 145"/>
              <a:gd name="T17" fmla="*/ 52 h 121"/>
              <a:gd name="T18" fmla="*/ 139 w 145"/>
              <a:gd name="T19" fmla="*/ 43 h 121"/>
              <a:gd name="T20" fmla="*/ 131 w 145"/>
              <a:gd name="T21" fmla="*/ 46 h 121"/>
              <a:gd name="T22" fmla="*/ 127 w 145"/>
              <a:gd name="T23" fmla="*/ 28 h 121"/>
              <a:gd name="T24" fmla="*/ 112 w 145"/>
              <a:gd name="T25" fmla="*/ 5 h 121"/>
              <a:gd name="T26" fmla="*/ 107 w 145"/>
              <a:gd name="T27" fmla="*/ 2 h 121"/>
              <a:gd name="T28" fmla="*/ 85 w 145"/>
              <a:gd name="T29" fmla="*/ 6 h 121"/>
              <a:gd name="T30" fmla="*/ 81 w 145"/>
              <a:gd name="T31" fmla="*/ 14 h 121"/>
              <a:gd name="T32" fmla="*/ 81 w 145"/>
              <a:gd name="T33" fmla="*/ 16 h 121"/>
              <a:gd name="T34" fmla="*/ 76 w 145"/>
              <a:gd name="T35" fmla="*/ 26 h 121"/>
              <a:gd name="T36" fmla="*/ 66 w 145"/>
              <a:gd name="T37" fmla="*/ 24 h 121"/>
              <a:gd name="T38" fmla="*/ 62 w 145"/>
              <a:gd name="T39" fmla="*/ 29 h 121"/>
              <a:gd name="T40" fmla="*/ 49 w 145"/>
              <a:gd name="T41" fmla="*/ 36 h 121"/>
              <a:gd name="T42" fmla="*/ 57 w 145"/>
              <a:gd name="T43" fmla="*/ 49 h 121"/>
              <a:gd name="T44" fmla="*/ 57 w 145"/>
              <a:gd name="T45" fmla="*/ 55 h 121"/>
              <a:gd name="T46" fmla="*/ 40 w 145"/>
              <a:gd name="T47" fmla="*/ 57 h 121"/>
              <a:gd name="T48" fmla="*/ 30 w 145"/>
              <a:gd name="T49" fmla="*/ 58 h 121"/>
              <a:gd name="T50" fmla="*/ 33 w 145"/>
              <a:gd name="T51" fmla="*/ 68 h 121"/>
              <a:gd name="T52" fmla="*/ 29 w 145"/>
              <a:gd name="T53" fmla="*/ 67 h 121"/>
              <a:gd name="T54" fmla="*/ 22 w 145"/>
              <a:gd name="T55" fmla="*/ 65 h 121"/>
              <a:gd name="T56" fmla="*/ 17 w 145"/>
              <a:gd name="T57" fmla="*/ 62 h 121"/>
              <a:gd name="T58" fmla="*/ 15 w 145"/>
              <a:gd name="T59" fmla="*/ 55 h 121"/>
              <a:gd name="T60" fmla="*/ 13 w 145"/>
              <a:gd name="T61" fmla="*/ 58 h 121"/>
              <a:gd name="T62" fmla="*/ 11 w 145"/>
              <a:gd name="T63" fmla="*/ 61 h 121"/>
              <a:gd name="T64" fmla="*/ 10 w 145"/>
              <a:gd name="T65" fmla="*/ 68 h 121"/>
              <a:gd name="T66" fmla="*/ 1 w 145"/>
              <a:gd name="T67" fmla="*/ 71 h 121"/>
              <a:gd name="T68" fmla="*/ 3 w 145"/>
              <a:gd name="T69" fmla="*/ 75 h 121"/>
              <a:gd name="T70" fmla="*/ 8 w 145"/>
              <a:gd name="T71" fmla="*/ 83 h 121"/>
              <a:gd name="T72" fmla="*/ 13 w 145"/>
              <a:gd name="T73" fmla="*/ 86 h 121"/>
              <a:gd name="T74" fmla="*/ 21 w 145"/>
              <a:gd name="T75" fmla="*/ 90 h 121"/>
              <a:gd name="T76" fmla="*/ 29 w 145"/>
              <a:gd name="T77" fmla="*/ 94 h 121"/>
              <a:gd name="T78" fmla="*/ 32 w 145"/>
              <a:gd name="T79" fmla="*/ 103 h 121"/>
              <a:gd name="T80" fmla="*/ 34 w 145"/>
              <a:gd name="T81" fmla="*/ 107 h 121"/>
              <a:gd name="T82" fmla="*/ 38 w 145"/>
              <a:gd name="T83" fmla="*/ 111 h 121"/>
              <a:gd name="T84" fmla="*/ 34 w 145"/>
              <a:gd name="T85" fmla="*/ 118 h 121"/>
              <a:gd name="T86" fmla="*/ 36 w 145"/>
              <a:gd name="T87" fmla="*/ 120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45" h="121">
                <a:moveTo>
                  <a:pt x="37" y="119"/>
                </a:moveTo>
                <a:cubicBezTo>
                  <a:pt x="38" y="119"/>
                  <a:pt x="38" y="118"/>
                  <a:pt x="39" y="118"/>
                </a:cubicBezTo>
                <a:cubicBezTo>
                  <a:pt x="39" y="119"/>
                  <a:pt x="39" y="119"/>
                  <a:pt x="39" y="119"/>
                </a:cubicBezTo>
                <a:cubicBezTo>
                  <a:pt x="48" y="115"/>
                  <a:pt x="48" y="115"/>
                  <a:pt x="48" y="115"/>
                </a:cubicBezTo>
                <a:cubicBezTo>
                  <a:pt x="48" y="115"/>
                  <a:pt x="48" y="115"/>
                  <a:pt x="49" y="115"/>
                </a:cubicBezTo>
                <a:cubicBezTo>
                  <a:pt x="61" y="115"/>
                  <a:pt x="61" y="115"/>
                  <a:pt x="61" y="115"/>
                </a:cubicBezTo>
                <a:cubicBezTo>
                  <a:pt x="66" y="113"/>
                  <a:pt x="72" y="112"/>
                  <a:pt x="72" y="111"/>
                </a:cubicBezTo>
                <a:cubicBezTo>
                  <a:pt x="74" y="109"/>
                  <a:pt x="74" y="109"/>
                  <a:pt x="74" y="109"/>
                </a:cubicBezTo>
                <a:cubicBezTo>
                  <a:pt x="74" y="109"/>
                  <a:pt x="75" y="108"/>
                  <a:pt x="75" y="108"/>
                </a:cubicBezTo>
                <a:cubicBezTo>
                  <a:pt x="84" y="106"/>
                  <a:pt x="84" y="106"/>
                  <a:pt x="84" y="106"/>
                </a:cubicBezTo>
                <a:cubicBezTo>
                  <a:pt x="84" y="106"/>
                  <a:pt x="85" y="106"/>
                  <a:pt x="85" y="106"/>
                </a:cubicBezTo>
                <a:cubicBezTo>
                  <a:pt x="91" y="108"/>
                  <a:pt x="91" y="108"/>
                  <a:pt x="91" y="108"/>
                </a:cubicBezTo>
                <a:cubicBezTo>
                  <a:pt x="91" y="108"/>
                  <a:pt x="91" y="108"/>
                  <a:pt x="91" y="108"/>
                </a:cubicBezTo>
                <a:cubicBezTo>
                  <a:pt x="102" y="113"/>
                  <a:pt x="102" y="113"/>
                  <a:pt x="102" y="113"/>
                </a:cubicBezTo>
                <a:cubicBezTo>
                  <a:pt x="104" y="104"/>
                  <a:pt x="104" y="104"/>
                  <a:pt x="104" y="104"/>
                </a:cubicBezTo>
                <a:cubicBezTo>
                  <a:pt x="104" y="104"/>
                  <a:pt x="104" y="103"/>
                  <a:pt x="104" y="103"/>
                </a:cubicBezTo>
                <a:cubicBezTo>
                  <a:pt x="105" y="103"/>
                  <a:pt x="109" y="94"/>
                  <a:pt x="110" y="92"/>
                </a:cubicBezTo>
                <a:cubicBezTo>
                  <a:pt x="111" y="92"/>
                  <a:pt x="111" y="88"/>
                  <a:pt x="111" y="86"/>
                </a:cubicBezTo>
                <a:cubicBezTo>
                  <a:pt x="111" y="85"/>
                  <a:pt x="111" y="85"/>
                  <a:pt x="112" y="84"/>
                </a:cubicBezTo>
                <a:cubicBezTo>
                  <a:pt x="123" y="77"/>
                  <a:pt x="123" y="77"/>
                  <a:pt x="123" y="77"/>
                </a:cubicBezTo>
                <a:cubicBezTo>
                  <a:pt x="128" y="73"/>
                  <a:pt x="128" y="73"/>
                  <a:pt x="128" y="73"/>
                </a:cubicBezTo>
                <a:cubicBezTo>
                  <a:pt x="128" y="72"/>
                  <a:pt x="128" y="72"/>
                  <a:pt x="128" y="72"/>
                </a:cubicBezTo>
                <a:cubicBezTo>
                  <a:pt x="136" y="68"/>
                  <a:pt x="136" y="68"/>
                  <a:pt x="136" y="68"/>
                </a:cubicBezTo>
                <a:cubicBezTo>
                  <a:pt x="141" y="62"/>
                  <a:pt x="141" y="62"/>
                  <a:pt x="141" y="62"/>
                </a:cubicBezTo>
                <a:cubicBezTo>
                  <a:pt x="141" y="56"/>
                  <a:pt x="141" y="56"/>
                  <a:pt x="141" y="56"/>
                </a:cubicBezTo>
                <a:cubicBezTo>
                  <a:pt x="141" y="56"/>
                  <a:pt x="142" y="55"/>
                  <a:pt x="142" y="55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45"/>
                  <a:pt x="145" y="45"/>
                  <a:pt x="145" y="45"/>
                </a:cubicBezTo>
                <a:cubicBezTo>
                  <a:pt x="144" y="44"/>
                  <a:pt x="143" y="42"/>
                  <a:pt x="143" y="42"/>
                </a:cubicBezTo>
                <a:cubicBezTo>
                  <a:pt x="142" y="42"/>
                  <a:pt x="141" y="42"/>
                  <a:pt x="139" y="43"/>
                </a:cubicBezTo>
                <a:cubicBezTo>
                  <a:pt x="134" y="47"/>
                  <a:pt x="134" y="47"/>
                  <a:pt x="134" y="47"/>
                </a:cubicBezTo>
                <a:cubicBezTo>
                  <a:pt x="134" y="47"/>
                  <a:pt x="133" y="47"/>
                  <a:pt x="132" y="47"/>
                </a:cubicBezTo>
                <a:cubicBezTo>
                  <a:pt x="132" y="47"/>
                  <a:pt x="131" y="46"/>
                  <a:pt x="131" y="46"/>
                </a:cubicBezTo>
                <a:cubicBezTo>
                  <a:pt x="127" y="35"/>
                  <a:pt x="127" y="35"/>
                  <a:pt x="127" y="35"/>
                </a:cubicBezTo>
                <a:cubicBezTo>
                  <a:pt x="127" y="34"/>
                  <a:pt x="127" y="34"/>
                  <a:pt x="127" y="34"/>
                </a:cubicBezTo>
                <a:cubicBezTo>
                  <a:pt x="127" y="28"/>
                  <a:pt x="127" y="28"/>
                  <a:pt x="127" y="28"/>
                </a:cubicBezTo>
                <a:cubicBezTo>
                  <a:pt x="126" y="26"/>
                  <a:pt x="125" y="21"/>
                  <a:pt x="127" y="19"/>
                </a:cubicBezTo>
                <a:cubicBezTo>
                  <a:pt x="127" y="18"/>
                  <a:pt x="125" y="15"/>
                  <a:pt x="122" y="14"/>
                </a:cubicBezTo>
                <a:cubicBezTo>
                  <a:pt x="112" y="5"/>
                  <a:pt x="112" y="5"/>
                  <a:pt x="112" y="5"/>
                </a:cubicBezTo>
                <a:cubicBezTo>
                  <a:pt x="111" y="4"/>
                  <a:pt x="111" y="4"/>
                  <a:pt x="111" y="3"/>
                </a:cubicBezTo>
                <a:cubicBezTo>
                  <a:pt x="108" y="3"/>
                  <a:pt x="108" y="3"/>
                  <a:pt x="108" y="3"/>
                </a:cubicBezTo>
                <a:cubicBezTo>
                  <a:pt x="108" y="3"/>
                  <a:pt x="107" y="3"/>
                  <a:pt x="107" y="2"/>
                </a:cubicBezTo>
                <a:cubicBezTo>
                  <a:pt x="107" y="2"/>
                  <a:pt x="105" y="1"/>
                  <a:pt x="103" y="0"/>
                </a:cubicBezTo>
                <a:cubicBezTo>
                  <a:pt x="99" y="0"/>
                  <a:pt x="96" y="1"/>
                  <a:pt x="95" y="2"/>
                </a:cubicBezTo>
                <a:cubicBezTo>
                  <a:pt x="94" y="3"/>
                  <a:pt x="87" y="6"/>
                  <a:pt x="85" y="6"/>
                </a:cubicBezTo>
                <a:cubicBezTo>
                  <a:pt x="85" y="6"/>
                  <a:pt x="85" y="6"/>
                  <a:pt x="84" y="6"/>
                </a:cubicBezTo>
                <a:cubicBezTo>
                  <a:pt x="82" y="12"/>
                  <a:pt x="82" y="12"/>
                  <a:pt x="82" y="12"/>
                </a:cubicBezTo>
                <a:cubicBezTo>
                  <a:pt x="82" y="13"/>
                  <a:pt x="81" y="13"/>
                  <a:pt x="81" y="14"/>
                </a:cubicBezTo>
                <a:cubicBezTo>
                  <a:pt x="80" y="14"/>
                  <a:pt x="80" y="14"/>
                  <a:pt x="80" y="14"/>
                </a:cubicBezTo>
                <a:cubicBezTo>
                  <a:pt x="80" y="15"/>
                  <a:pt x="80" y="15"/>
                  <a:pt x="80" y="15"/>
                </a:cubicBezTo>
                <a:cubicBezTo>
                  <a:pt x="81" y="15"/>
                  <a:pt x="81" y="16"/>
                  <a:pt x="81" y="16"/>
                </a:cubicBezTo>
                <a:cubicBezTo>
                  <a:pt x="83" y="18"/>
                  <a:pt x="82" y="20"/>
                  <a:pt x="82" y="21"/>
                </a:cubicBezTo>
                <a:cubicBezTo>
                  <a:pt x="82" y="22"/>
                  <a:pt x="82" y="22"/>
                  <a:pt x="81" y="23"/>
                </a:cubicBezTo>
                <a:cubicBezTo>
                  <a:pt x="81" y="25"/>
                  <a:pt x="78" y="25"/>
                  <a:pt x="76" y="26"/>
                </a:cubicBezTo>
                <a:cubicBezTo>
                  <a:pt x="76" y="26"/>
                  <a:pt x="76" y="26"/>
                  <a:pt x="75" y="25"/>
                </a:cubicBezTo>
                <a:cubicBezTo>
                  <a:pt x="71" y="24"/>
                  <a:pt x="71" y="24"/>
                  <a:pt x="71" y="24"/>
                </a:cubicBezTo>
                <a:cubicBezTo>
                  <a:pt x="66" y="24"/>
                  <a:pt x="66" y="24"/>
                  <a:pt x="66" y="24"/>
                </a:cubicBezTo>
                <a:cubicBezTo>
                  <a:pt x="66" y="25"/>
                  <a:pt x="65" y="26"/>
                  <a:pt x="64" y="27"/>
                </a:cubicBezTo>
                <a:cubicBezTo>
                  <a:pt x="63" y="28"/>
                  <a:pt x="63" y="28"/>
                  <a:pt x="63" y="28"/>
                </a:cubicBezTo>
                <a:cubicBezTo>
                  <a:pt x="63" y="28"/>
                  <a:pt x="62" y="28"/>
                  <a:pt x="62" y="29"/>
                </a:cubicBezTo>
                <a:cubicBezTo>
                  <a:pt x="61" y="30"/>
                  <a:pt x="59" y="30"/>
                  <a:pt x="58" y="30"/>
                </a:cubicBezTo>
                <a:cubicBezTo>
                  <a:pt x="58" y="31"/>
                  <a:pt x="57" y="32"/>
                  <a:pt x="57" y="33"/>
                </a:cubicBezTo>
                <a:cubicBezTo>
                  <a:pt x="55" y="36"/>
                  <a:pt x="52" y="37"/>
                  <a:pt x="49" y="36"/>
                </a:cubicBezTo>
                <a:cubicBezTo>
                  <a:pt x="49" y="38"/>
                  <a:pt x="49" y="38"/>
                  <a:pt x="49" y="38"/>
                </a:cubicBezTo>
                <a:cubicBezTo>
                  <a:pt x="50" y="39"/>
                  <a:pt x="51" y="41"/>
                  <a:pt x="53" y="44"/>
                </a:cubicBezTo>
                <a:cubicBezTo>
                  <a:pt x="55" y="46"/>
                  <a:pt x="56" y="47"/>
                  <a:pt x="57" y="49"/>
                </a:cubicBezTo>
                <a:cubicBezTo>
                  <a:pt x="57" y="49"/>
                  <a:pt x="58" y="50"/>
                  <a:pt x="58" y="51"/>
                </a:cubicBezTo>
                <a:cubicBezTo>
                  <a:pt x="59" y="53"/>
                  <a:pt x="60" y="54"/>
                  <a:pt x="59" y="55"/>
                </a:cubicBezTo>
                <a:cubicBezTo>
                  <a:pt x="58" y="56"/>
                  <a:pt x="58" y="56"/>
                  <a:pt x="57" y="55"/>
                </a:cubicBezTo>
                <a:cubicBezTo>
                  <a:pt x="56" y="57"/>
                  <a:pt x="53" y="59"/>
                  <a:pt x="53" y="59"/>
                </a:cubicBezTo>
                <a:cubicBezTo>
                  <a:pt x="50" y="61"/>
                  <a:pt x="48" y="60"/>
                  <a:pt x="46" y="59"/>
                </a:cubicBezTo>
                <a:cubicBezTo>
                  <a:pt x="40" y="57"/>
                  <a:pt x="40" y="57"/>
                  <a:pt x="40" y="57"/>
                </a:cubicBezTo>
                <a:cubicBezTo>
                  <a:pt x="37" y="55"/>
                  <a:pt x="37" y="55"/>
                  <a:pt x="37" y="55"/>
                </a:cubicBezTo>
                <a:cubicBezTo>
                  <a:pt x="29" y="55"/>
                  <a:pt x="29" y="55"/>
                  <a:pt x="29" y="55"/>
                </a:cubicBezTo>
                <a:cubicBezTo>
                  <a:pt x="30" y="58"/>
                  <a:pt x="30" y="58"/>
                  <a:pt x="30" y="58"/>
                </a:cubicBezTo>
                <a:cubicBezTo>
                  <a:pt x="32" y="61"/>
                  <a:pt x="32" y="61"/>
                  <a:pt x="32" y="61"/>
                </a:cubicBezTo>
                <a:cubicBezTo>
                  <a:pt x="34" y="65"/>
                  <a:pt x="34" y="65"/>
                  <a:pt x="34" y="66"/>
                </a:cubicBezTo>
                <a:cubicBezTo>
                  <a:pt x="34" y="67"/>
                  <a:pt x="34" y="67"/>
                  <a:pt x="33" y="68"/>
                </a:cubicBezTo>
                <a:cubicBezTo>
                  <a:pt x="33" y="68"/>
                  <a:pt x="33" y="68"/>
                  <a:pt x="32" y="68"/>
                </a:cubicBezTo>
                <a:cubicBezTo>
                  <a:pt x="32" y="68"/>
                  <a:pt x="32" y="68"/>
                  <a:pt x="31" y="68"/>
                </a:cubicBezTo>
                <a:cubicBezTo>
                  <a:pt x="29" y="67"/>
                  <a:pt x="29" y="67"/>
                  <a:pt x="29" y="67"/>
                </a:cubicBezTo>
                <a:cubicBezTo>
                  <a:pt x="28" y="66"/>
                  <a:pt x="26" y="67"/>
                  <a:pt x="24" y="67"/>
                </a:cubicBezTo>
                <a:cubicBezTo>
                  <a:pt x="24" y="67"/>
                  <a:pt x="23" y="67"/>
                  <a:pt x="22" y="67"/>
                </a:cubicBezTo>
                <a:cubicBezTo>
                  <a:pt x="22" y="66"/>
                  <a:pt x="22" y="66"/>
                  <a:pt x="22" y="65"/>
                </a:cubicBezTo>
                <a:cubicBezTo>
                  <a:pt x="22" y="64"/>
                  <a:pt x="22" y="64"/>
                  <a:pt x="22" y="64"/>
                </a:cubicBezTo>
                <a:cubicBezTo>
                  <a:pt x="19" y="64"/>
                  <a:pt x="19" y="64"/>
                  <a:pt x="19" y="64"/>
                </a:cubicBezTo>
                <a:cubicBezTo>
                  <a:pt x="18" y="64"/>
                  <a:pt x="17" y="63"/>
                  <a:pt x="17" y="62"/>
                </a:cubicBezTo>
                <a:cubicBezTo>
                  <a:pt x="17" y="60"/>
                  <a:pt x="17" y="60"/>
                  <a:pt x="17" y="60"/>
                </a:cubicBezTo>
                <a:cubicBezTo>
                  <a:pt x="15" y="56"/>
                  <a:pt x="15" y="56"/>
                  <a:pt x="15" y="56"/>
                </a:cubicBezTo>
                <a:cubicBezTo>
                  <a:pt x="15" y="55"/>
                  <a:pt x="15" y="55"/>
                  <a:pt x="15" y="55"/>
                </a:cubicBezTo>
                <a:cubicBezTo>
                  <a:pt x="13" y="55"/>
                  <a:pt x="13" y="55"/>
                  <a:pt x="13" y="55"/>
                </a:cubicBezTo>
                <a:cubicBezTo>
                  <a:pt x="13" y="56"/>
                  <a:pt x="13" y="56"/>
                  <a:pt x="13" y="56"/>
                </a:cubicBezTo>
                <a:cubicBezTo>
                  <a:pt x="13" y="58"/>
                  <a:pt x="13" y="58"/>
                  <a:pt x="13" y="58"/>
                </a:cubicBezTo>
                <a:cubicBezTo>
                  <a:pt x="13" y="59"/>
                  <a:pt x="13" y="59"/>
                  <a:pt x="12" y="59"/>
                </a:cubicBezTo>
                <a:cubicBezTo>
                  <a:pt x="11" y="60"/>
                  <a:pt x="11" y="60"/>
                  <a:pt x="11" y="60"/>
                </a:cubicBezTo>
                <a:cubicBezTo>
                  <a:pt x="11" y="61"/>
                  <a:pt x="11" y="61"/>
                  <a:pt x="11" y="61"/>
                </a:cubicBezTo>
                <a:cubicBezTo>
                  <a:pt x="12" y="63"/>
                  <a:pt x="12" y="64"/>
                  <a:pt x="11" y="65"/>
                </a:cubicBezTo>
                <a:cubicBezTo>
                  <a:pt x="12" y="65"/>
                  <a:pt x="12" y="66"/>
                  <a:pt x="12" y="67"/>
                </a:cubicBezTo>
                <a:cubicBezTo>
                  <a:pt x="11" y="67"/>
                  <a:pt x="10" y="68"/>
                  <a:pt x="10" y="68"/>
                </a:cubicBezTo>
                <a:cubicBezTo>
                  <a:pt x="8" y="69"/>
                  <a:pt x="8" y="68"/>
                  <a:pt x="7" y="68"/>
                </a:cubicBezTo>
                <a:cubicBezTo>
                  <a:pt x="7" y="69"/>
                  <a:pt x="6" y="69"/>
                  <a:pt x="5" y="69"/>
                </a:cubicBezTo>
                <a:cubicBezTo>
                  <a:pt x="4" y="70"/>
                  <a:pt x="2" y="71"/>
                  <a:pt x="1" y="71"/>
                </a:cubicBezTo>
                <a:cubicBezTo>
                  <a:pt x="0" y="72"/>
                  <a:pt x="0" y="72"/>
                  <a:pt x="0" y="72"/>
                </a:cubicBezTo>
                <a:cubicBezTo>
                  <a:pt x="2" y="75"/>
                  <a:pt x="2" y="75"/>
                  <a:pt x="2" y="75"/>
                </a:cubicBezTo>
                <a:cubicBezTo>
                  <a:pt x="2" y="75"/>
                  <a:pt x="2" y="75"/>
                  <a:pt x="3" y="75"/>
                </a:cubicBezTo>
                <a:cubicBezTo>
                  <a:pt x="4" y="75"/>
                  <a:pt x="4" y="75"/>
                  <a:pt x="4" y="75"/>
                </a:cubicBezTo>
                <a:cubicBezTo>
                  <a:pt x="6" y="75"/>
                  <a:pt x="6" y="77"/>
                  <a:pt x="7" y="78"/>
                </a:cubicBezTo>
                <a:cubicBezTo>
                  <a:pt x="7" y="80"/>
                  <a:pt x="8" y="82"/>
                  <a:pt x="8" y="83"/>
                </a:cubicBezTo>
                <a:cubicBezTo>
                  <a:pt x="8" y="83"/>
                  <a:pt x="9" y="84"/>
                  <a:pt x="9" y="85"/>
                </a:cubicBezTo>
                <a:cubicBezTo>
                  <a:pt x="10" y="85"/>
                  <a:pt x="10" y="85"/>
                  <a:pt x="11" y="86"/>
                </a:cubicBezTo>
                <a:cubicBezTo>
                  <a:pt x="12" y="85"/>
                  <a:pt x="13" y="86"/>
                  <a:pt x="13" y="86"/>
                </a:cubicBezTo>
                <a:cubicBezTo>
                  <a:pt x="15" y="87"/>
                  <a:pt x="16" y="88"/>
                  <a:pt x="16" y="88"/>
                </a:cubicBezTo>
                <a:cubicBezTo>
                  <a:pt x="19" y="88"/>
                  <a:pt x="19" y="88"/>
                  <a:pt x="19" y="88"/>
                </a:cubicBezTo>
                <a:cubicBezTo>
                  <a:pt x="20" y="88"/>
                  <a:pt x="21" y="89"/>
                  <a:pt x="21" y="90"/>
                </a:cubicBezTo>
                <a:cubicBezTo>
                  <a:pt x="23" y="90"/>
                  <a:pt x="23" y="90"/>
                  <a:pt x="23" y="90"/>
                </a:cubicBezTo>
                <a:cubicBezTo>
                  <a:pt x="24" y="90"/>
                  <a:pt x="24" y="90"/>
                  <a:pt x="25" y="90"/>
                </a:cubicBezTo>
                <a:cubicBezTo>
                  <a:pt x="28" y="91"/>
                  <a:pt x="29" y="93"/>
                  <a:pt x="29" y="94"/>
                </a:cubicBezTo>
                <a:cubicBezTo>
                  <a:pt x="32" y="98"/>
                  <a:pt x="32" y="98"/>
                  <a:pt x="32" y="98"/>
                </a:cubicBezTo>
                <a:cubicBezTo>
                  <a:pt x="32" y="98"/>
                  <a:pt x="32" y="98"/>
                  <a:pt x="32" y="99"/>
                </a:cubicBezTo>
                <a:cubicBezTo>
                  <a:pt x="32" y="99"/>
                  <a:pt x="32" y="102"/>
                  <a:pt x="32" y="103"/>
                </a:cubicBezTo>
                <a:cubicBezTo>
                  <a:pt x="32" y="103"/>
                  <a:pt x="32" y="104"/>
                  <a:pt x="31" y="105"/>
                </a:cubicBezTo>
                <a:cubicBezTo>
                  <a:pt x="33" y="107"/>
                  <a:pt x="33" y="107"/>
                  <a:pt x="33" y="107"/>
                </a:cubicBezTo>
                <a:cubicBezTo>
                  <a:pt x="34" y="107"/>
                  <a:pt x="34" y="107"/>
                  <a:pt x="34" y="107"/>
                </a:cubicBezTo>
                <a:cubicBezTo>
                  <a:pt x="34" y="107"/>
                  <a:pt x="35" y="107"/>
                  <a:pt x="35" y="108"/>
                </a:cubicBezTo>
                <a:cubicBezTo>
                  <a:pt x="38" y="110"/>
                  <a:pt x="38" y="110"/>
                  <a:pt x="38" y="110"/>
                </a:cubicBezTo>
                <a:cubicBezTo>
                  <a:pt x="38" y="111"/>
                  <a:pt x="38" y="111"/>
                  <a:pt x="38" y="111"/>
                </a:cubicBezTo>
                <a:cubicBezTo>
                  <a:pt x="38" y="113"/>
                  <a:pt x="38" y="113"/>
                  <a:pt x="38" y="113"/>
                </a:cubicBezTo>
                <a:cubicBezTo>
                  <a:pt x="38" y="114"/>
                  <a:pt x="38" y="114"/>
                  <a:pt x="38" y="115"/>
                </a:cubicBezTo>
                <a:cubicBezTo>
                  <a:pt x="34" y="118"/>
                  <a:pt x="34" y="118"/>
                  <a:pt x="34" y="118"/>
                </a:cubicBezTo>
                <a:cubicBezTo>
                  <a:pt x="34" y="120"/>
                  <a:pt x="34" y="120"/>
                  <a:pt x="34" y="120"/>
                </a:cubicBezTo>
                <a:cubicBezTo>
                  <a:pt x="34" y="120"/>
                  <a:pt x="34" y="120"/>
                  <a:pt x="34" y="121"/>
                </a:cubicBezTo>
                <a:cubicBezTo>
                  <a:pt x="36" y="120"/>
                  <a:pt x="36" y="120"/>
                  <a:pt x="36" y="120"/>
                </a:cubicBezTo>
                <a:cubicBezTo>
                  <a:pt x="37" y="119"/>
                  <a:pt x="37" y="119"/>
                  <a:pt x="37" y="1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2" name="Freeform 103">
            <a:extLst>
              <a:ext uri="{FF2B5EF4-FFF2-40B4-BE49-F238E27FC236}">
                <a16:creationId xmlns:a16="http://schemas.microsoft.com/office/drawing/2014/main" id="{C6751807-57D7-4F9B-B0F3-AB472CE3E1A8}"/>
              </a:ext>
            </a:extLst>
          </p:cNvPr>
          <p:cNvSpPr>
            <a:spLocks/>
          </p:cNvSpPr>
          <p:nvPr/>
        </p:nvSpPr>
        <p:spPr bwMode="auto">
          <a:xfrm>
            <a:off x="6385070" y="5158907"/>
            <a:ext cx="495300" cy="307975"/>
          </a:xfrm>
          <a:custGeom>
            <a:avLst/>
            <a:gdLst>
              <a:gd name="T0" fmla="*/ 196 w 205"/>
              <a:gd name="T1" fmla="*/ 13 h 138"/>
              <a:gd name="T2" fmla="*/ 143 w 205"/>
              <a:gd name="T3" fmla="*/ 25 h 138"/>
              <a:gd name="T4" fmla="*/ 135 w 205"/>
              <a:gd name="T5" fmla="*/ 30 h 138"/>
              <a:gd name="T6" fmla="*/ 116 w 205"/>
              <a:gd name="T7" fmla="*/ 31 h 138"/>
              <a:gd name="T8" fmla="*/ 101 w 205"/>
              <a:gd name="T9" fmla="*/ 28 h 138"/>
              <a:gd name="T10" fmla="*/ 112 w 205"/>
              <a:gd name="T11" fmla="*/ 28 h 138"/>
              <a:gd name="T12" fmla="*/ 125 w 205"/>
              <a:gd name="T13" fmla="*/ 25 h 138"/>
              <a:gd name="T14" fmla="*/ 125 w 205"/>
              <a:gd name="T15" fmla="*/ 21 h 138"/>
              <a:gd name="T16" fmla="*/ 117 w 205"/>
              <a:gd name="T17" fmla="*/ 13 h 138"/>
              <a:gd name="T18" fmla="*/ 93 w 205"/>
              <a:gd name="T19" fmla="*/ 9 h 138"/>
              <a:gd name="T20" fmla="*/ 87 w 205"/>
              <a:gd name="T21" fmla="*/ 18 h 138"/>
              <a:gd name="T22" fmla="*/ 88 w 205"/>
              <a:gd name="T23" fmla="*/ 22 h 138"/>
              <a:gd name="T24" fmla="*/ 86 w 205"/>
              <a:gd name="T25" fmla="*/ 25 h 138"/>
              <a:gd name="T26" fmla="*/ 73 w 205"/>
              <a:gd name="T27" fmla="*/ 27 h 138"/>
              <a:gd name="T28" fmla="*/ 63 w 205"/>
              <a:gd name="T29" fmla="*/ 20 h 138"/>
              <a:gd name="T30" fmla="*/ 87 w 205"/>
              <a:gd name="T31" fmla="*/ 11 h 138"/>
              <a:gd name="T32" fmla="*/ 89 w 205"/>
              <a:gd name="T33" fmla="*/ 8 h 138"/>
              <a:gd name="T34" fmla="*/ 88 w 205"/>
              <a:gd name="T35" fmla="*/ 5 h 138"/>
              <a:gd name="T36" fmla="*/ 69 w 205"/>
              <a:gd name="T37" fmla="*/ 0 h 138"/>
              <a:gd name="T38" fmla="*/ 59 w 205"/>
              <a:gd name="T39" fmla="*/ 0 h 138"/>
              <a:gd name="T40" fmla="*/ 49 w 205"/>
              <a:gd name="T41" fmla="*/ 3 h 138"/>
              <a:gd name="T42" fmla="*/ 38 w 205"/>
              <a:gd name="T43" fmla="*/ 14 h 138"/>
              <a:gd name="T44" fmla="*/ 25 w 205"/>
              <a:gd name="T45" fmla="*/ 21 h 138"/>
              <a:gd name="T46" fmla="*/ 22 w 205"/>
              <a:gd name="T47" fmla="*/ 31 h 138"/>
              <a:gd name="T48" fmla="*/ 10 w 205"/>
              <a:gd name="T49" fmla="*/ 48 h 138"/>
              <a:gd name="T50" fmla="*/ 3 w 205"/>
              <a:gd name="T51" fmla="*/ 59 h 138"/>
              <a:gd name="T52" fmla="*/ 8 w 205"/>
              <a:gd name="T53" fmla="*/ 78 h 138"/>
              <a:gd name="T54" fmla="*/ 6 w 205"/>
              <a:gd name="T55" fmla="*/ 88 h 138"/>
              <a:gd name="T56" fmla="*/ 16 w 205"/>
              <a:gd name="T57" fmla="*/ 89 h 138"/>
              <a:gd name="T58" fmla="*/ 28 w 205"/>
              <a:gd name="T59" fmla="*/ 89 h 138"/>
              <a:gd name="T60" fmla="*/ 40 w 205"/>
              <a:gd name="T61" fmla="*/ 90 h 138"/>
              <a:gd name="T62" fmla="*/ 43 w 205"/>
              <a:gd name="T63" fmla="*/ 95 h 138"/>
              <a:gd name="T64" fmla="*/ 40 w 205"/>
              <a:gd name="T65" fmla="*/ 99 h 138"/>
              <a:gd name="T66" fmla="*/ 47 w 205"/>
              <a:gd name="T67" fmla="*/ 102 h 138"/>
              <a:gd name="T68" fmla="*/ 57 w 205"/>
              <a:gd name="T69" fmla="*/ 109 h 138"/>
              <a:gd name="T70" fmla="*/ 63 w 205"/>
              <a:gd name="T71" fmla="*/ 115 h 138"/>
              <a:gd name="T72" fmla="*/ 78 w 205"/>
              <a:gd name="T73" fmla="*/ 113 h 138"/>
              <a:gd name="T74" fmla="*/ 84 w 205"/>
              <a:gd name="T75" fmla="*/ 113 h 138"/>
              <a:gd name="T76" fmla="*/ 93 w 205"/>
              <a:gd name="T77" fmla="*/ 117 h 138"/>
              <a:gd name="T78" fmla="*/ 104 w 205"/>
              <a:gd name="T79" fmla="*/ 118 h 138"/>
              <a:gd name="T80" fmla="*/ 107 w 205"/>
              <a:gd name="T81" fmla="*/ 129 h 138"/>
              <a:gd name="T82" fmla="*/ 113 w 205"/>
              <a:gd name="T83" fmla="*/ 129 h 138"/>
              <a:gd name="T84" fmla="*/ 121 w 205"/>
              <a:gd name="T85" fmla="*/ 135 h 138"/>
              <a:gd name="T86" fmla="*/ 138 w 205"/>
              <a:gd name="T87" fmla="*/ 132 h 138"/>
              <a:gd name="T88" fmla="*/ 138 w 205"/>
              <a:gd name="T89" fmla="*/ 119 h 138"/>
              <a:gd name="T90" fmla="*/ 146 w 205"/>
              <a:gd name="T91" fmla="*/ 107 h 138"/>
              <a:gd name="T92" fmla="*/ 156 w 205"/>
              <a:gd name="T93" fmla="*/ 98 h 138"/>
              <a:gd name="T94" fmla="*/ 167 w 205"/>
              <a:gd name="T95" fmla="*/ 97 h 138"/>
              <a:gd name="T96" fmla="*/ 193 w 205"/>
              <a:gd name="T97" fmla="*/ 82 h 138"/>
              <a:gd name="T98" fmla="*/ 200 w 205"/>
              <a:gd name="T99" fmla="*/ 74 h 138"/>
              <a:gd name="T100" fmla="*/ 202 w 205"/>
              <a:gd name="T101" fmla="*/ 62 h 138"/>
              <a:gd name="T102" fmla="*/ 204 w 205"/>
              <a:gd name="T103" fmla="*/ 26 h 138"/>
              <a:gd name="T104" fmla="*/ 205 w 205"/>
              <a:gd name="T105" fmla="*/ 18 h 138"/>
              <a:gd name="T106" fmla="*/ 205 w 205"/>
              <a:gd name="T107" fmla="*/ 13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05" h="138">
                <a:moveTo>
                  <a:pt x="204" y="12"/>
                </a:moveTo>
                <a:cubicBezTo>
                  <a:pt x="203" y="12"/>
                  <a:pt x="203" y="12"/>
                  <a:pt x="203" y="12"/>
                </a:cubicBezTo>
                <a:cubicBezTo>
                  <a:pt x="196" y="13"/>
                  <a:pt x="196" y="13"/>
                  <a:pt x="196" y="13"/>
                </a:cubicBezTo>
                <a:cubicBezTo>
                  <a:pt x="189" y="15"/>
                  <a:pt x="189" y="15"/>
                  <a:pt x="189" y="15"/>
                </a:cubicBezTo>
                <a:cubicBezTo>
                  <a:pt x="162" y="20"/>
                  <a:pt x="162" y="20"/>
                  <a:pt x="162" y="20"/>
                </a:cubicBezTo>
                <a:cubicBezTo>
                  <a:pt x="143" y="25"/>
                  <a:pt x="143" y="25"/>
                  <a:pt x="143" y="25"/>
                </a:cubicBezTo>
                <a:cubicBezTo>
                  <a:pt x="141" y="26"/>
                  <a:pt x="141" y="26"/>
                  <a:pt x="141" y="26"/>
                </a:cubicBezTo>
                <a:cubicBezTo>
                  <a:pt x="137" y="29"/>
                  <a:pt x="137" y="29"/>
                  <a:pt x="137" y="29"/>
                </a:cubicBezTo>
                <a:cubicBezTo>
                  <a:pt x="135" y="30"/>
                  <a:pt x="135" y="30"/>
                  <a:pt x="135" y="30"/>
                </a:cubicBezTo>
                <a:cubicBezTo>
                  <a:pt x="134" y="30"/>
                  <a:pt x="134" y="30"/>
                  <a:pt x="134" y="30"/>
                </a:cubicBezTo>
                <a:cubicBezTo>
                  <a:pt x="123" y="32"/>
                  <a:pt x="123" y="32"/>
                  <a:pt x="123" y="32"/>
                </a:cubicBezTo>
                <a:cubicBezTo>
                  <a:pt x="116" y="31"/>
                  <a:pt x="116" y="31"/>
                  <a:pt x="116" y="31"/>
                </a:cubicBezTo>
                <a:cubicBezTo>
                  <a:pt x="105" y="30"/>
                  <a:pt x="105" y="30"/>
                  <a:pt x="105" y="30"/>
                </a:cubicBezTo>
                <a:cubicBezTo>
                  <a:pt x="103" y="29"/>
                  <a:pt x="103" y="29"/>
                  <a:pt x="103" y="29"/>
                </a:cubicBezTo>
                <a:cubicBezTo>
                  <a:pt x="101" y="28"/>
                  <a:pt x="101" y="28"/>
                  <a:pt x="101" y="28"/>
                </a:cubicBezTo>
                <a:cubicBezTo>
                  <a:pt x="102" y="27"/>
                  <a:pt x="102" y="27"/>
                  <a:pt x="102" y="27"/>
                </a:cubicBezTo>
                <a:cubicBezTo>
                  <a:pt x="109" y="28"/>
                  <a:pt x="109" y="28"/>
                  <a:pt x="109" y="28"/>
                </a:cubicBezTo>
                <a:cubicBezTo>
                  <a:pt x="112" y="28"/>
                  <a:pt x="112" y="28"/>
                  <a:pt x="112" y="28"/>
                </a:cubicBezTo>
                <a:cubicBezTo>
                  <a:pt x="116" y="29"/>
                  <a:pt x="116" y="29"/>
                  <a:pt x="116" y="29"/>
                </a:cubicBezTo>
                <a:cubicBezTo>
                  <a:pt x="118" y="29"/>
                  <a:pt x="118" y="29"/>
                  <a:pt x="118" y="29"/>
                </a:cubicBezTo>
                <a:cubicBezTo>
                  <a:pt x="125" y="25"/>
                  <a:pt x="125" y="25"/>
                  <a:pt x="125" y="25"/>
                </a:cubicBezTo>
                <a:cubicBezTo>
                  <a:pt x="126" y="24"/>
                  <a:pt x="126" y="24"/>
                  <a:pt x="126" y="24"/>
                </a:cubicBezTo>
                <a:cubicBezTo>
                  <a:pt x="125" y="23"/>
                  <a:pt x="125" y="23"/>
                  <a:pt x="125" y="23"/>
                </a:cubicBezTo>
                <a:cubicBezTo>
                  <a:pt x="125" y="21"/>
                  <a:pt x="125" y="21"/>
                  <a:pt x="125" y="21"/>
                </a:cubicBezTo>
                <a:cubicBezTo>
                  <a:pt x="123" y="18"/>
                  <a:pt x="123" y="18"/>
                  <a:pt x="123" y="18"/>
                </a:cubicBezTo>
                <a:cubicBezTo>
                  <a:pt x="119" y="14"/>
                  <a:pt x="119" y="14"/>
                  <a:pt x="119" y="14"/>
                </a:cubicBezTo>
                <a:cubicBezTo>
                  <a:pt x="117" y="13"/>
                  <a:pt x="117" y="13"/>
                  <a:pt x="117" y="13"/>
                </a:cubicBezTo>
                <a:cubicBezTo>
                  <a:pt x="98" y="9"/>
                  <a:pt x="98" y="9"/>
                  <a:pt x="98" y="9"/>
                </a:cubicBezTo>
                <a:cubicBezTo>
                  <a:pt x="95" y="9"/>
                  <a:pt x="95" y="9"/>
                  <a:pt x="95" y="9"/>
                </a:cubicBezTo>
                <a:cubicBezTo>
                  <a:pt x="93" y="9"/>
                  <a:pt x="93" y="9"/>
                  <a:pt x="93" y="9"/>
                </a:cubicBezTo>
                <a:cubicBezTo>
                  <a:pt x="88" y="15"/>
                  <a:pt x="88" y="15"/>
                  <a:pt x="88" y="15"/>
                </a:cubicBezTo>
                <a:cubicBezTo>
                  <a:pt x="87" y="15"/>
                  <a:pt x="87" y="15"/>
                  <a:pt x="87" y="15"/>
                </a:cubicBezTo>
                <a:cubicBezTo>
                  <a:pt x="87" y="18"/>
                  <a:pt x="87" y="18"/>
                  <a:pt x="87" y="18"/>
                </a:cubicBezTo>
                <a:cubicBezTo>
                  <a:pt x="87" y="19"/>
                  <a:pt x="87" y="19"/>
                  <a:pt x="87" y="19"/>
                </a:cubicBezTo>
                <a:cubicBezTo>
                  <a:pt x="88" y="21"/>
                  <a:pt x="88" y="21"/>
                  <a:pt x="88" y="21"/>
                </a:cubicBezTo>
                <a:cubicBezTo>
                  <a:pt x="88" y="22"/>
                  <a:pt x="88" y="22"/>
                  <a:pt x="88" y="22"/>
                </a:cubicBezTo>
                <a:cubicBezTo>
                  <a:pt x="88" y="23"/>
                  <a:pt x="88" y="23"/>
                  <a:pt x="88" y="23"/>
                </a:cubicBezTo>
                <a:cubicBezTo>
                  <a:pt x="87" y="24"/>
                  <a:pt x="87" y="24"/>
                  <a:pt x="87" y="24"/>
                </a:cubicBezTo>
                <a:cubicBezTo>
                  <a:pt x="86" y="25"/>
                  <a:pt x="86" y="25"/>
                  <a:pt x="86" y="25"/>
                </a:cubicBezTo>
                <a:cubicBezTo>
                  <a:pt x="83" y="26"/>
                  <a:pt x="83" y="26"/>
                  <a:pt x="83" y="26"/>
                </a:cubicBezTo>
                <a:cubicBezTo>
                  <a:pt x="74" y="27"/>
                  <a:pt x="74" y="27"/>
                  <a:pt x="74" y="27"/>
                </a:cubicBezTo>
                <a:cubicBezTo>
                  <a:pt x="73" y="27"/>
                  <a:pt x="73" y="27"/>
                  <a:pt x="73" y="27"/>
                </a:cubicBezTo>
                <a:cubicBezTo>
                  <a:pt x="68" y="25"/>
                  <a:pt x="68" y="25"/>
                  <a:pt x="68" y="25"/>
                </a:cubicBezTo>
                <a:cubicBezTo>
                  <a:pt x="64" y="21"/>
                  <a:pt x="64" y="21"/>
                  <a:pt x="64" y="21"/>
                </a:cubicBezTo>
                <a:cubicBezTo>
                  <a:pt x="63" y="20"/>
                  <a:pt x="63" y="20"/>
                  <a:pt x="63" y="20"/>
                </a:cubicBezTo>
                <a:cubicBezTo>
                  <a:pt x="74" y="13"/>
                  <a:pt x="74" y="13"/>
                  <a:pt x="74" y="13"/>
                </a:cubicBezTo>
                <a:cubicBezTo>
                  <a:pt x="83" y="12"/>
                  <a:pt x="83" y="12"/>
                  <a:pt x="83" y="12"/>
                </a:cubicBezTo>
                <a:cubicBezTo>
                  <a:pt x="87" y="11"/>
                  <a:pt x="87" y="11"/>
                  <a:pt x="87" y="11"/>
                </a:cubicBezTo>
                <a:cubicBezTo>
                  <a:pt x="88" y="11"/>
                  <a:pt x="88" y="11"/>
                  <a:pt x="88" y="11"/>
                </a:cubicBezTo>
                <a:cubicBezTo>
                  <a:pt x="89" y="10"/>
                  <a:pt x="89" y="10"/>
                  <a:pt x="89" y="10"/>
                </a:cubicBezTo>
                <a:cubicBezTo>
                  <a:pt x="89" y="8"/>
                  <a:pt x="89" y="8"/>
                  <a:pt x="89" y="8"/>
                </a:cubicBezTo>
                <a:cubicBezTo>
                  <a:pt x="89" y="7"/>
                  <a:pt x="89" y="7"/>
                  <a:pt x="89" y="7"/>
                </a:cubicBezTo>
                <a:cubicBezTo>
                  <a:pt x="89" y="6"/>
                  <a:pt x="89" y="6"/>
                  <a:pt x="89" y="6"/>
                </a:cubicBezTo>
                <a:cubicBezTo>
                  <a:pt x="88" y="5"/>
                  <a:pt x="88" y="5"/>
                  <a:pt x="88" y="5"/>
                </a:cubicBezTo>
                <a:cubicBezTo>
                  <a:pt x="86" y="3"/>
                  <a:pt x="86" y="3"/>
                  <a:pt x="86" y="3"/>
                </a:cubicBezTo>
                <a:cubicBezTo>
                  <a:pt x="84" y="3"/>
                  <a:pt x="84" y="3"/>
                  <a:pt x="84" y="3"/>
                </a:cubicBezTo>
                <a:cubicBezTo>
                  <a:pt x="69" y="0"/>
                  <a:pt x="69" y="0"/>
                  <a:pt x="69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61" y="0"/>
                  <a:pt x="61" y="0"/>
                  <a:pt x="61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51" y="2"/>
                  <a:pt x="51" y="2"/>
                  <a:pt x="51" y="2"/>
                </a:cubicBezTo>
                <a:cubicBezTo>
                  <a:pt x="50" y="3"/>
                  <a:pt x="50" y="3"/>
                  <a:pt x="50" y="3"/>
                </a:cubicBezTo>
                <a:cubicBezTo>
                  <a:pt x="49" y="3"/>
                  <a:pt x="49" y="3"/>
                  <a:pt x="49" y="3"/>
                </a:cubicBezTo>
                <a:cubicBezTo>
                  <a:pt x="40" y="12"/>
                  <a:pt x="40" y="12"/>
                  <a:pt x="40" y="12"/>
                </a:cubicBezTo>
                <a:cubicBezTo>
                  <a:pt x="40" y="12"/>
                  <a:pt x="40" y="12"/>
                  <a:pt x="40" y="12"/>
                </a:cubicBezTo>
                <a:cubicBezTo>
                  <a:pt x="38" y="14"/>
                  <a:pt x="38" y="14"/>
                  <a:pt x="38" y="14"/>
                </a:cubicBezTo>
                <a:cubicBezTo>
                  <a:pt x="37" y="14"/>
                  <a:pt x="37" y="15"/>
                  <a:pt x="36" y="15"/>
                </a:cubicBezTo>
                <a:cubicBezTo>
                  <a:pt x="30" y="14"/>
                  <a:pt x="30" y="14"/>
                  <a:pt x="30" y="14"/>
                </a:cubicBezTo>
                <a:cubicBezTo>
                  <a:pt x="25" y="21"/>
                  <a:pt x="25" y="21"/>
                  <a:pt x="25" y="21"/>
                </a:cubicBezTo>
                <a:cubicBezTo>
                  <a:pt x="25" y="21"/>
                  <a:pt x="24" y="21"/>
                  <a:pt x="24" y="21"/>
                </a:cubicBezTo>
                <a:cubicBezTo>
                  <a:pt x="21" y="22"/>
                  <a:pt x="21" y="22"/>
                  <a:pt x="21" y="22"/>
                </a:cubicBezTo>
                <a:cubicBezTo>
                  <a:pt x="22" y="31"/>
                  <a:pt x="22" y="31"/>
                  <a:pt x="22" y="31"/>
                </a:cubicBezTo>
                <a:cubicBezTo>
                  <a:pt x="22" y="32"/>
                  <a:pt x="22" y="32"/>
                  <a:pt x="22" y="33"/>
                </a:cubicBezTo>
                <a:cubicBezTo>
                  <a:pt x="10" y="48"/>
                  <a:pt x="10" y="48"/>
                  <a:pt x="10" y="48"/>
                </a:cubicBezTo>
                <a:cubicBezTo>
                  <a:pt x="10" y="48"/>
                  <a:pt x="10" y="48"/>
                  <a:pt x="10" y="48"/>
                </a:cubicBezTo>
                <a:cubicBezTo>
                  <a:pt x="0" y="56"/>
                  <a:pt x="0" y="56"/>
                  <a:pt x="0" y="56"/>
                </a:cubicBezTo>
                <a:cubicBezTo>
                  <a:pt x="2" y="58"/>
                  <a:pt x="2" y="58"/>
                  <a:pt x="2" y="58"/>
                </a:cubicBezTo>
                <a:cubicBezTo>
                  <a:pt x="2" y="58"/>
                  <a:pt x="3" y="59"/>
                  <a:pt x="3" y="59"/>
                </a:cubicBezTo>
                <a:cubicBezTo>
                  <a:pt x="6" y="69"/>
                  <a:pt x="6" y="69"/>
                  <a:pt x="6" y="69"/>
                </a:cubicBezTo>
                <a:cubicBezTo>
                  <a:pt x="6" y="69"/>
                  <a:pt x="6" y="69"/>
                  <a:pt x="7" y="69"/>
                </a:cubicBezTo>
                <a:cubicBezTo>
                  <a:pt x="8" y="78"/>
                  <a:pt x="8" y="78"/>
                  <a:pt x="8" y="78"/>
                </a:cubicBezTo>
                <a:cubicBezTo>
                  <a:pt x="8" y="78"/>
                  <a:pt x="8" y="79"/>
                  <a:pt x="8" y="79"/>
                </a:cubicBezTo>
                <a:cubicBezTo>
                  <a:pt x="6" y="88"/>
                  <a:pt x="6" y="88"/>
                  <a:pt x="6" y="88"/>
                </a:cubicBezTo>
                <a:cubicBezTo>
                  <a:pt x="6" y="88"/>
                  <a:pt x="6" y="88"/>
                  <a:pt x="6" y="88"/>
                </a:cubicBezTo>
                <a:cubicBezTo>
                  <a:pt x="7" y="89"/>
                  <a:pt x="7" y="89"/>
                  <a:pt x="8" y="88"/>
                </a:cubicBezTo>
                <a:cubicBezTo>
                  <a:pt x="10" y="88"/>
                  <a:pt x="13" y="88"/>
                  <a:pt x="14" y="89"/>
                </a:cubicBezTo>
                <a:cubicBezTo>
                  <a:pt x="15" y="89"/>
                  <a:pt x="15" y="89"/>
                  <a:pt x="16" y="89"/>
                </a:cubicBezTo>
                <a:cubicBezTo>
                  <a:pt x="21" y="88"/>
                  <a:pt x="21" y="88"/>
                  <a:pt x="21" y="88"/>
                </a:cubicBezTo>
                <a:cubicBezTo>
                  <a:pt x="22" y="88"/>
                  <a:pt x="22" y="88"/>
                  <a:pt x="22" y="88"/>
                </a:cubicBezTo>
                <a:cubicBezTo>
                  <a:pt x="28" y="89"/>
                  <a:pt x="28" y="89"/>
                  <a:pt x="28" y="89"/>
                </a:cubicBezTo>
                <a:cubicBezTo>
                  <a:pt x="30" y="89"/>
                  <a:pt x="30" y="89"/>
                  <a:pt x="30" y="89"/>
                </a:cubicBezTo>
                <a:cubicBezTo>
                  <a:pt x="36" y="88"/>
                  <a:pt x="36" y="89"/>
                  <a:pt x="37" y="89"/>
                </a:cubicBezTo>
                <a:cubicBezTo>
                  <a:pt x="37" y="89"/>
                  <a:pt x="38" y="90"/>
                  <a:pt x="40" y="90"/>
                </a:cubicBezTo>
                <a:cubicBezTo>
                  <a:pt x="42" y="91"/>
                  <a:pt x="42" y="91"/>
                  <a:pt x="42" y="91"/>
                </a:cubicBezTo>
                <a:cubicBezTo>
                  <a:pt x="43" y="91"/>
                  <a:pt x="44" y="92"/>
                  <a:pt x="44" y="93"/>
                </a:cubicBezTo>
                <a:cubicBezTo>
                  <a:pt x="44" y="94"/>
                  <a:pt x="44" y="94"/>
                  <a:pt x="43" y="95"/>
                </a:cubicBezTo>
                <a:cubicBezTo>
                  <a:pt x="40" y="96"/>
                  <a:pt x="40" y="96"/>
                  <a:pt x="40" y="96"/>
                </a:cubicBezTo>
                <a:cubicBezTo>
                  <a:pt x="40" y="98"/>
                  <a:pt x="40" y="98"/>
                  <a:pt x="40" y="98"/>
                </a:cubicBezTo>
                <a:cubicBezTo>
                  <a:pt x="40" y="99"/>
                  <a:pt x="40" y="99"/>
                  <a:pt x="40" y="99"/>
                </a:cubicBezTo>
                <a:cubicBezTo>
                  <a:pt x="42" y="98"/>
                  <a:pt x="43" y="100"/>
                  <a:pt x="43" y="100"/>
                </a:cubicBezTo>
                <a:cubicBezTo>
                  <a:pt x="45" y="102"/>
                  <a:pt x="45" y="102"/>
                  <a:pt x="45" y="102"/>
                </a:cubicBezTo>
                <a:cubicBezTo>
                  <a:pt x="47" y="102"/>
                  <a:pt x="47" y="102"/>
                  <a:pt x="47" y="102"/>
                </a:cubicBezTo>
                <a:cubicBezTo>
                  <a:pt x="48" y="102"/>
                  <a:pt x="48" y="102"/>
                  <a:pt x="48" y="102"/>
                </a:cubicBezTo>
                <a:cubicBezTo>
                  <a:pt x="52" y="107"/>
                  <a:pt x="52" y="107"/>
                  <a:pt x="52" y="107"/>
                </a:cubicBezTo>
                <a:cubicBezTo>
                  <a:pt x="54" y="107"/>
                  <a:pt x="55" y="107"/>
                  <a:pt x="57" y="109"/>
                </a:cubicBezTo>
                <a:cubicBezTo>
                  <a:pt x="57" y="110"/>
                  <a:pt x="59" y="110"/>
                  <a:pt x="60" y="111"/>
                </a:cubicBezTo>
                <a:cubicBezTo>
                  <a:pt x="60" y="111"/>
                  <a:pt x="61" y="111"/>
                  <a:pt x="61" y="112"/>
                </a:cubicBezTo>
                <a:cubicBezTo>
                  <a:pt x="63" y="115"/>
                  <a:pt x="63" y="115"/>
                  <a:pt x="63" y="115"/>
                </a:cubicBezTo>
                <a:cubicBezTo>
                  <a:pt x="67" y="115"/>
                  <a:pt x="67" y="115"/>
                  <a:pt x="67" y="115"/>
                </a:cubicBezTo>
                <a:cubicBezTo>
                  <a:pt x="70" y="114"/>
                  <a:pt x="72" y="115"/>
                  <a:pt x="73" y="115"/>
                </a:cubicBezTo>
                <a:cubicBezTo>
                  <a:pt x="78" y="113"/>
                  <a:pt x="78" y="113"/>
                  <a:pt x="78" y="113"/>
                </a:cubicBezTo>
                <a:cubicBezTo>
                  <a:pt x="79" y="113"/>
                  <a:pt x="79" y="113"/>
                  <a:pt x="79" y="113"/>
                </a:cubicBezTo>
                <a:cubicBezTo>
                  <a:pt x="83" y="113"/>
                  <a:pt x="83" y="113"/>
                  <a:pt x="83" y="113"/>
                </a:cubicBezTo>
                <a:cubicBezTo>
                  <a:pt x="84" y="113"/>
                  <a:pt x="84" y="113"/>
                  <a:pt x="84" y="113"/>
                </a:cubicBezTo>
                <a:cubicBezTo>
                  <a:pt x="88" y="117"/>
                  <a:pt x="88" y="117"/>
                  <a:pt x="88" y="117"/>
                </a:cubicBezTo>
                <a:cubicBezTo>
                  <a:pt x="92" y="117"/>
                  <a:pt x="92" y="117"/>
                  <a:pt x="92" y="117"/>
                </a:cubicBezTo>
                <a:cubicBezTo>
                  <a:pt x="93" y="117"/>
                  <a:pt x="93" y="117"/>
                  <a:pt x="93" y="117"/>
                </a:cubicBezTo>
                <a:cubicBezTo>
                  <a:pt x="95" y="116"/>
                  <a:pt x="99" y="117"/>
                  <a:pt x="101" y="117"/>
                </a:cubicBezTo>
                <a:cubicBezTo>
                  <a:pt x="103" y="117"/>
                  <a:pt x="103" y="117"/>
                  <a:pt x="103" y="117"/>
                </a:cubicBezTo>
                <a:cubicBezTo>
                  <a:pt x="103" y="117"/>
                  <a:pt x="104" y="117"/>
                  <a:pt x="104" y="118"/>
                </a:cubicBezTo>
                <a:cubicBezTo>
                  <a:pt x="104" y="118"/>
                  <a:pt x="105" y="119"/>
                  <a:pt x="106" y="121"/>
                </a:cubicBezTo>
                <a:cubicBezTo>
                  <a:pt x="107" y="124"/>
                  <a:pt x="107" y="124"/>
                  <a:pt x="107" y="124"/>
                </a:cubicBezTo>
                <a:cubicBezTo>
                  <a:pt x="107" y="129"/>
                  <a:pt x="107" y="129"/>
                  <a:pt x="107" y="129"/>
                </a:cubicBezTo>
                <a:cubicBezTo>
                  <a:pt x="110" y="130"/>
                  <a:pt x="110" y="130"/>
                  <a:pt x="110" y="130"/>
                </a:cubicBezTo>
                <a:cubicBezTo>
                  <a:pt x="110" y="130"/>
                  <a:pt x="112" y="131"/>
                  <a:pt x="112" y="130"/>
                </a:cubicBezTo>
                <a:cubicBezTo>
                  <a:pt x="112" y="130"/>
                  <a:pt x="113" y="130"/>
                  <a:pt x="113" y="129"/>
                </a:cubicBezTo>
                <a:cubicBezTo>
                  <a:pt x="113" y="129"/>
                  <a:pt x="114" y="127"/>
                  <a:pt x="116" y="127"/>
                </a:cubicBezTo>
                <a:cubicBezTo>
                  <a:pt x="117" y="127"/>
                  <a:pt x="118" y="129"/>
                  <a:pt x="119" y="129"/>
                </a:cubicBezTo>
                <a:cubicBezTo>
                  <a:pt x="121" y="132"/>
                  <a:pt x="121" y="134"/>
                  <a:pt x="121" y="135"/>
                </a:cubicBezTo>
                <a:cubicBezTo>
                  <a:pt x="122" y="137"/>
                  <a:pt x="122" y="137"/>
                  <a:pt x="122" y="138"/>
                </a:cubicBezTo>
                <a:cubicBezTo>
                  <a:pt x="139" y="135"/>
                  <a:pt x="139" y="135"/>
                  <a:pt x="139" y="135"/>
                </a:cubicBezTo>
                <a:cubicBezTo>
                  <a:pt x="138" y="132"/>
                  <a:pt x="138" y="132"/>
                  <a:pt x="138" y="132"/>
                </a:cubicBezTo>
                <a:cubicBezTo>
                  <a:pt x="137" y="126"/>
                  <a:pt x="137" y="126"/>
                  <a:pt x="137" y="126"/>
                </a:cubicBezTo>
                <a:cubicBezTo>
                  <a:pt x="137" y="123"/>
                  <a:pt x="137" y="123"/>
                  <a:pt x="137" y="123"/>
                </a:cubicBezTo>
                <a:cubicBezTo>
                  <a:pt x="138" y="119"/>
                  <a:pt x="138" y="119"/>
                  <a:pt x="138" y="119"/>
                </a:cubicBezTo>
                <a:cubicBezTo>
                  <a:pt x="139" y="115"/>
                  <a:pt x="139" y="115"/>
                  <a:pt x="139" y="115"/>
                </a:cubicBezTo>
                <a:cubicBezTo>
                  <a:pt x="141" y="112"/>
                  <a:pt x="141" y="112"/>
                  <a:pt x="141" y="112"/>
                </a:cubicBezTo>
                <a:cubicBezTo>
                  <a:pt x="146" y="107"/>
                  <a:pt x="146" y="107"/>
                  <a:pt x="146" y="107"/>
                </a:cubicBezTo>
                <a:cubicBezTo>
                  <a:pt x="151" y="102"/>
                  <a:pt x="151" y="102"/>
                  <a:pt x="151" y="102"/>
                </a:cubicBezTo>
                <a:cubicBezTo>
                  <a:pt x="155" y="99"/>
                  <a:pt x="155" y="99"/>
                  <a:pt x="155" y="99"/>
                </a:cubicBezTo>
                <a:cubicBezTo>
                  <a:pt x="156" y="98"/>
                  <a:pt x="156" y="98"/>
                  <a:pt x="156" y="98"/>
                </a:cubicBezTo>
                <a:cubicBezTo>
                  <a:pt x="159" y="97"/>
                  <a:pt x="159" y="97"/>
                  <a:pt x="159" y="97"/>
                </a:cubicBezTo>
                <a:cubicBezTo>
                  <a:pt x="163" y="97"/>
                  <a:pt x="163" y="97"/>
                  <a:pt x="163" y="97"/>
                </a:cubicBezTo>
                <a:cubicBezTo>
                  <a:pt x="167" y="97"/>
                  <a:pt x="167" y="97"/>
                  <a:pt x="167" y="97"/>
                </a:cubicBezTo>
                <a:cubicBezTo>
                  <a:pt x="169" y="96"/>
                  <a:pt x="169" y="96"/>
                  <a:pt x="169" y="96"/>
                </a:cubicBezTo>
                <a:cubicBezTo>
                  <a:pt x="170" y="96"/>
                  <a:pt x="170" y="96"/>
                  <a:pt x="170" y="96"/>
                </a:cubicBezTo>
                <a:cubicBezTo>
                  <a:pt x="193" y="82"/>
                  <a:pt x="193" y="82"/>
                  <a:pt x="193" y="82"/>
                </a:cubicBezTo>
                <a:cubicBezTo>
                  <a:pt x="195" y="81"/>
                  <a:pt x="195" y="81"/>
                  <a:pt x="195" y="81"/>
                </a:cubicBezTo>
                <a:cubicBezTo>
                  <a:pt x="197" y="78"/>
                  <a:pt x="197" y="78"/>
                  <a:pt x="197" y="78"/>
                </a:cubicBezTo>
                <a:cubicBezTo>
                  <a:pt x="200" y="74"/>
                  <a:pt x="200" y="74"/>
                  <a:pt x="200" y="74"/>
                </a:cubicBezTo>
                <a:cubicBezTo>
                  <a:pt x="201" y="71"/>
                  <a:pt x="201" y="71"/>
                  <a:pt x="201" y="71"/>
                </a:cubicBezTo>
                <a:cubicBezTo>
                  <a:pt x="202" y="67"/>
                  <a:pt x="202" y="67"/>
                  <a:pt x="202" y="67"/>
                </a:cubicBezTo>
                <a:cubicBezTo>
                  <a:pt x="202" y="62"/>
                  <a:pt x="202" y="62"/>
                  <a:pt x="202" y="62"/>
                </a:cubicBezTo>
                <a:cubicBezTo>
                  <a:pt x="202" y="58"/>
                  <a:pt x="202" y="58"/>
                  <a:pt x="202" y="58"/>
                </a:cubicBezTo>
                <a:cubicBezTo>
                  <a:pt x="202" y="28"/>
                  <a:pt x="202" y="28"/>
                  <a:pt x="202" y="28"/>
                </a:cubicBezTo>
                <a:cubicBezTo>
                  <a:pt x="204" y="26"/>
                  <a:pt x="204" y="26"/>
                  <a:pt x="204" y="26"/>
                </a:cubicBezTo>
                <a:cubicBezTo>
                  <a:pt x="204" y="25"/>
                  <a:pt x="204" y="25"/>
                  <a:pt x="204" y="25"/>
                </a:cubicBezTo>
                <a:cubicBezTo>
                  <a:pt x="205" y="19"/>
                  <a:pt x="205" y="19"/>
                  <a:pt x="205" y="19"/>
                </a:cubicBezTo>
                <a:cubicBezTo>
                  <a:pt x="205" y="18"/>
                  <a:pt x="205" y="18"/>
                  <a:pt x="205" y="18"/>
                </a:cubicBezTo>
                <a:cubicBezTo>
                  <a:pt x="205" y="16"/>
                  <a:pt x="205" y="16"/>
                  <a:pt x="205" y="16"/>
                </a:cubicBezTo>
                <a:cubicBezTo>
                  <a:pt x="205" y="14"/>
                  <a:pt x="205" y="14"/>
                  <a:pt x="205" y="14"/>
                </a:cubicBezTo>
                <a:cubicBezTo>
                  <a:pt x="205" y="13"/>
                  <a:pt x="205" y="13"/>
                  <a:pt x="205" y="13"/>
                </a:cubicBezTo>
                <a:cubicBezTo>
                  <a:pt x="204" y="12"/>
                  <a:pt x="204" y="12"/>
                  <a:pt x="204" y="1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3" name="Freeform 104">
            <a:extLst>
              <a:ext uri="{FF2B5EF4-FFF2-40B4-BE49-F238E27FC236}">
                <a16:creationId xmlns:a16="http://schemas.microsoft.com/office/drawing/2014/main" id="{D542C01D-95E6-4085-BE00-288E4A85F81A}"/>
              </a:ext>
            </a:extLst>
          </p:cNvPr>
          <p:cNvSpPr>
            <a:spLocks/>
          </p:cNvSpPr>
          <p:nvPr/>
        </p:nvSpPr>
        <p:spPr bwMode="auto">
          <a:xfrm>
            <a:off x="5525175" y="4080994"/>
            <a:ext cx="354277" cy="455613"/>
          </a:xfrm>
          <a:custGeom>
            <a:avLst/>
            <a:gdLst>
              <a:gd name="T0" fmla="*/ 140 w 147"/>
              <a:gd name="T1" fmla="*/ 56 h 204"/>
              <a:gd name="T2" fmla="*/ 128 w 147"/>
              <a:gd name="T3" fmla="*/ 56 h 204"/>
              <a:gd name="T4" fmla="*/ 120 w 147"/>
              <a:gd name="T5" fmla="*/ 45 h 204"/>
              <a:gd name="T6" fmla="*/ 107 w 147"/>
              <a:gd name="T7" fmla="*/ 43 h 204"/>
              <a:gd name="T8" fmla="*/ 93 w 147"/>
              <a:gd name="T9" fmla="*/ 48 h 204"/>
              <a:gd name="T10" fmla="*/ 85 w 147"/>
              <a:gd name="T11" fmla="*/ 48 h 204"/>
              <a:gd name="T12" fmla="*/ 74 w 147"/>
              <a:gd name="T13" fmla="*/ 47 h 204"/>
              <a:gd name="T14" fmla="*/ 66 w 147"/>
              <a:gd name="T15" fmla="*/ 41 h 204"/>
              <a:gd name="T16" fmla="*/ 61 w 147"/>
              <a:gd name="T17" fmla="*/ 32 h 204"/>
              <a:gd name="T18" fmla="*/ 49 w 147"/>
              <a:gd name="T19" fmla="*/ 26 h 204"/>
              <a:gd name="T20" fmla="*/ 40 w 147"/>
              <a:gd name="T21" fmla="*/ 13 h 204"/>
              <a:gd name="T22" fmla="*/ 39 w 147"/>
              <a:gd name="T23" fmla="*/ 10 h 204"/>
              <a:gd name="T24" fmla="*/ 22 w 147"/>
              <a:gd name="T25" fmla="*/ 1 h 204"/>
              <a:gd name="T26" fmla="*/ 7 w 147"/>
              <a:gd name="T27" fmla="*/ 3 h 204"/>
              <a:gd name="T28" fmla="*/ 3 w 147"/>
              <a:gd name="T29" fmla="*/ 11 h 204"/>
              <a:gd name="T30" fmla="*/ 3 w 147"/>
              <a:gd name="T31" fmla="*/ 21 h 204"/>
              <a:gd name="T32" fmla="*/ 3 w 147"/>
              <a:gd name="T33" fmla="*/ 26 h 204"/>
              <a:gd name="T34" fmla="*/ 5 w 147"/>
              <a:gd name="T35" fmla="*/ 36 h 204"/>
              <a:gd name="T36" fmla="*/ 15 w 147"/>
              <a:gd name="T37" fmla="*/ 44 h 204"/>
              <a:gd name="T38" fmla="*/ 16 w 147"/>
              <a:gd name="T39" fmla="*/ 57 h 204"/>
              <a:gd name="T40" fmla="*/ 19 w 147"/>
              <a:gd name="T41" fmla="*/ 69 h 204"/>
              <a:gd name="T42" fmla="*/ 21 w 147"/>
              <a:gd name="T43" fmla="*/ 77 h 204"/>
              <a:gd name="T44" fmla="*/ 26 w 147"/>
              <a:gd name="T45" fmla="*/ 79 h 204"/>
              <a:gd name="T46" fmla="*/ 35 w 147"/>
              <a:gd name="T47" fmla="*/ 83 h 204"/>
              <a:gd name="T48" fmla="*/ 39 w 147"/>
              <a:gd name="T49" fmla="*/ 88 h 204"/>
              <a:gd name="T50" fmla="*/ 43 w 147"/>
              <a:gd name="T51" fmla="*/ 97 h 204"/>
              <a:gd name="T52" fmla="*/ 46 w 147"/>
              <a:gd name="T53" fmla="*/ 104 h 204"/>
              <a:gd name="T54" fmla="*/ 49 w 147"/>
              <a:gd name="T55" fmla="*/ 120 h 204"/>
              <a:gd name="T56" fmla="*/ 50 w 147"/>
              <a:gd name="T57" fmla="*/ 129 h 204"/>
              <a:gd name="T58" fmla="*/ 43 w 147"/>
              <a:gd name="T59" fmla="*/ 138 h 204"/>
              <a:gd name="T60" fmla="*/ 42 w 147"/>
              <a:gd name="T61" fmla="*/ 146 h 204"/>
              <a:gd name="T62" fmla="*/ 40 w 147"/>
              <a:gd name="T63" fmla="*/ 156 h 204"/>
              <a:gd name="T64" fmla="*/ 52 w 147"/>
              <a:gd name="T65" fmla="*/ 162 h 204"/>
              <a:gd name="T66" fmla="*/ 59 w 147"/>
              <a:gd name="T67" fmla="*/ 164 h 204"/>
              <a:gd name="T68" fmla="*/ 69 w 147"/>
              <a:gd name="T69" fmla="*/ 164 h 204"/>
              <a:gd name="T70" fmla="*/ 78 w 147"/>
              <a:gd name="T71" fmla="*/ 175 h 204"/>
              <a:gd name="T72" fmla="*/ 81 w 147"/>
              <a:gd name="T73" fmla="*/ 185 h 204"/>
              <a:gd name="T74" fmla="*/ 69 w 147"/>
              <a:gd name="T75" fmla="*/ 187 h 204"/>
              <a:gd name="T76" fmla="*/ 63 w 147"/>
              <a:gd name="T77" fmla="*/ 193 h 204"/>
              <a:gd name="T78" fmla="*/ 66 w 147"/>
              <a:gd name="T79" fmla="*/ 198 h 204"/>
              <a:gd name="T80" fmla="*/ 72 w 147"/>
              <a:gd name="T81" fmla="*/ 204 h 204"/>
              <a:gd name="T82" fmla="*/ 83 w 147"/>
              <a:gd name="T83" fmla="*/ 202 h 204"/>
              <a:gd name="T84" fmla="*/ 89 w 147"/>
              <a:gd name="T85" fmla="*/ 188 h 204"/>
              <a:gd name="T86" fmla="*/ 100 w 147"/>
              <a:gd name="T87" fmla="*/ 185 h 204"/>
              <a:gd name="T88" fmla="*/ 106 w 147"/>
              <a:gd name="T89" fmla="*/ 180 h 204"/>
              <a:gd name="T90" fmla="*/ 111 w 147"/>
              <a:gd name="T91" fmla="*/ 169 h 204"/>
              <a:gd name="T92" fmla="*/ 120 w 147"/>
              <a:gd name="T93" fmla="*/ 165 h 204"/>
              <a:gd name="T94" fmla="*/ 125 w 147"/>
              <a:gd name="T95" fmla="*/ 164 h 204"/>
              <a:gd name="T96" fmla="*/ 132 w 147"/>
              <a:gd name="T97" fmla="*/ 158 h 204"/>
              <a:gd name="T98" fmla="*/ 128 w 147"/>
              <a:gd name="T99" fmla="*/ 144 h 204"/>
              <a:gd name="T100" fmla="*/ 126 w 147"/>
              <a:gd name="T101" fmla="*/ 132 h 204"/>
              <a:gd name="T102" fmla="*/ 119 w 147"/>
              <a:gd name="T103" fmla="*/ 121 h 204"/>
              <a:gd name="T104" fmla="*/ 119 w 147"/>
              <a:gd name="T105" fmla="*/ 113 h 204"/>
              <a:gd name="T106" fmla="*/ 123 w 147"/>
              <a:gd name="T107" fmla="*/ 107 h 204"/>
              <a:gd name="T108" fmla="*/ 124 w 147"/>
              <a:gd name="T109" fmla="*/ 89 h 204"/>
              <a:gd name="T110" fmla="*/ 129 w 147"/>
              <a:gd name="T111" fmla="*/ 86 h 204"/>
              <a:gd name="T112" fmla="*/ 140 w 147"/>
              <a:gd name="T113" fmla="*/ 80 h 204"/>
              <a:gd name="T114" fmla="*/ 138 w 147"/>
              <a:gd name="T115" fmla="*/ 70 h 204"/>
              <a:gd name="T116" fmla="*/ 143 w 147"/>
              <a:gd name="T117" fmla="*/ 64 h 204"/>
              <a:gd name="T118" fmla="*/ 147 w 147"/>
              <a:gd name="T119" fmla="*/ 58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47" h="204">
                <a:moveTo>
                  <a:pt x="145" y="56"/>
                </a:moveTo>
                <a:cubicBezTo>
                  <a:pt x="144" y="56"/>
                  <a:pt x="144" y="56"/>
                  <a:pt x="144" y="56"/>
                </a:cubicBezTo>
                <a:cubicBezTo>
                  <a:pt x="144" y="55"/>
                  <a:pt x="144" y="55"/>
                  <a:pt x="143" y="54"/>
                </a:cubicBezTo>
                <a:cubicBezTo>
                  <a:pt x="143" y="55"/>
                  <a:pt x="141" y="55"/>
                  <a:pt x="140" y="56"/>
                </a:cubicBezTo>
                <a:cubicBezTo>
                  <a:pt x="138" y="58"/>
                  <a:pt x="138" y="58"/>
                  <a:pt x="138" y="58"/>
                </a:cubicBezTo>
                <a:cubicBezTo>
                  <a:pt x="137" y="58"/>
                  <a:pt x="137" y="58"/>
                  <a:pt x="137" y="58"/>
                </a:cubicBezTo>
                <a:cubicBezTo>
                  <a:pt x="135" y="58"/>
                  <a:pt x="135" y="58"/>
                  <a:pt x="135" y="58"/>
                </a:cubicBezTo>
                <a:cubicBezTo>
                  <a:pt x="132" y="57"/>
                  <a:pt x="128" y="56"/>
                  <a:pt x="128" y="56"/>
                </a:cubicBezTo>
                <a:cubicBezTo>
                  <a:pt x="125" y="54"/>
                  <a:pt x="125" y="54"/>
                  <a:pt x="125" y="54"/>
                </a:cubicBezTo>
                <a:cubicBezTo>
                  <a:pt x="124" y="53"/>
                  <a:pt x="124" y="53"/>
                  <a:pt x="124" y="53"/>
                </a:cubicBezTo>
                <a:cubicBezTo>
                  <a:pt x="123" y="49"/>
                  <a:pt x="123" y="49"/>
                  <a:pt x="123" y="49"/>
                </a:cubicBezTo>
                <a:cubicBezTo>
                  <a:pt x="120" y="45"/>
                  <a:pt x="120" y="45"/>
                  <a:pt x="120" y="45"/>
                </a:cubicBezTo>
                <a:cubicBezTo>
                  <a:pt x="117" y="42"/>
                  <a:pt x="117" y="42"/>
                  <a:pt x="117" y="42"/>
                </a:cubicBezTo>
                <a:cubicBezTo>
                  <a:pt x="109" y="42"/>
                  <a:pt x="109" y="42"/>
                  <a:pt x="109" y="42"/>
                </a:cubicBezTo>
                <a:cubicBezTo>
                  <a:pt x="108" y="43"/>
                  <a:pt x="108" y="43"/>
                  <a:pt x="108" y="43"/>
                </a:cubicBezTo>
                <a:cubicBezTo>
                  <a:pt x="108" y="43"/>
                  <a:pt x="108" y="43"/>
                  <a:pt x="107" y="43"/>
                </a:cubicBezTo>
                <a:cubicBezTo>
                  <a:pt x="104" y="44"/>
                  <a:pt x="104" y="44"/>
                  <a:pt x="104" y="44"/>
                </a:cubicBezTo>
                <a:cubicBezTo>
                  <a:pt x="96" y="45"/>
                  <a:pt x="96" y="45"/>
                  <a:pt x="96" y="45"/>
                </a:cubicBezTo>
                <a:cubicBezTo>
                  <a:pt x="95" y="46"/>
                  <a:pt x="95" y="46"/>
                  <a:pt x="95" y="46"/>
                </a:cubicBezTo>
                <a:cubicBezTo>
                  <a:pt x="93" y="48"/>
                  <a:pt x="93" y="48"/>
                  <a:pt x="93" y="48"/>
                </a:cubicBezTo>
                <a:cubicBezTo>
                  <a:pt x="92" y="49"/>
                  <a:pt x="91" y="49"/>
                  <a:pt x="91" y="49"/>
                </a:cubicBezTo>
                <a:cubicBezTo>
                  <a:pt x="90" y="49"/>
                  <a:pt x="90" y="48"/>
                  <a:pt x="89" y="48"/>
                </a:cubicBezTo>
                <a:cubicBezTo>
                  <a:pt x="88" y="48"/>
                  <a:pt x="87" y="48"/>
                  <a:pt x="86" y="48"/>
                </a:cubicBezTo>
                <a:cubicBezTo>
                  <a:pt x="85" y="48"/>
                  <a:pt x="85" y="48"/>
                  <a:pt x="85" y="48"/>
                </a:cubicBezTo>
                <a:cubicBezTo>
                  <a:pt x="82" y="48"/>
                  <a:pt x="82" y="48"/>
                  <a:pt x="82" y="48"/>
                </a:cubicBezTo>
                <a:cubicBezTo>
                  <a:pt x="81" y="48"/>
                  <a:pt x="81" y="48"/>
                  <a:pt x="81" y="48"/>
                </a:cubicBezTo>
                <a:cubicBezTo>
                  <a:pt x="80" y="47"/>
                  <a:pt x="80" y="47"/>
                  <a:pt x="80" y="47"/>
                </a:cubicBezTo>
                <a:cubicBezTo>
                  <a:pt x="74" y="47"/>
                  <a:pt x="74" y="47"/>
                  <a:pt x="74" y="47"/>
                </a:cubicBezTo>
                <a:cubicBezTo>
                  <a:pt x="73" y="47"/>
                  <a:pt x="73" y="47"/>
                  <a:pt x="73" y="47"/>
                </a:cubicBezTo>
                <a:cubicBezTo>
                  <a:pt x="72" y="45"/>
                  <a:pt x="71" y="45"/>
                  <a:pt x="70" y="44"/>
                </a:cubicBezTo>
                <a:cubicBezTo>
                  <a:pt x="69" y="44"/>
                  <a:pt x="69" y="43"/>
                  <a:pt x="68" y="43"/>
                </a:cubicBezTo>
                <a:cubicBezTo>
                  <a:pt x="68" y="42"/>
                  <a:pt x="67" y="42"/>
                  <a:pt x="66" y="41"/>
                </a:cubicBezTo>
                <a:cubicBezTo>
                  <a:pt x="65" y="40"/>
                  <a:pt x="65" y="40"/>
                  <a:pt x="65" y="40"/>
                </a:cubicBezTo>
                <a:cubicBezTo>
                  <a:pt x="65" y="37"/>
                  <a:pt x="65" y="37"/>
                  <a:pt x="65" y="37"/>
                </a:cubicBezTo>
                <a:cubicBezTo>
                  <a:pt x="65" y="36"/>
                  <a:pt x="65" y="35"/>
                  <a:pt x="64" y="35"/>
                </a:cubicBezTo>
                <a:cubicBezTo>
                  <a:pt x="63" y="34"/>
                  <a:pt x="61" y="33"/>
                  <a:pt x="61" y="32"/>
                </a:cubicBezTo>
                <a:cubicBezTo>
                  <a:pt x="60" y="32"/>
                  <a:pt x="58" y="31"/>
                  <a:pt x="57" y="29"/>
                </a:cubicBezTo>
                <a:cubicBezTo>
                  <a:pt x="56" y="28"/>
                  <a:pt x="56" y="28"/>
                  <a:pt x="56" y="28"/>
                </a:cubicBezTo>
                <a:cubicBezTo>
                  <a:pt x="54" y="29"/>
                  <a:pt x="52" y="29"/>
                  <a:pt x="50" y="28"/>
                </a:cubicBezTo>
                <a:cubicBezTo>
                  <a:pt x="49" y="27"/>
                  <a:pt x="49" y="26"/>
                  <a:pt x="49" y="26"/>
                </a:cubicBezTo>
                <a:cubicBezTo>
                  <a:pt x="49" y="21"/>
                  <a:pt x="49" y="21"/>
                  <a:pt x="49" y="21"/>
                </a:cubicBezTo>
                <a:cubicBezTo>
                  <a:pt x="48" y="20"/>
                  <a:pt x="48" y="20"/>
                  <a:pt x="47" y="19"/>
                </a:cubicBezTo>
                <a:cubicBezTo>
                  <a:pt x="46" y="17"/>
                  <a:pt x="43" y="15"/>
                  <a:pt x="42" y="15"/>
                </a:cubicBezTo>
                <a:cubicBezTo>
                  <a:pt x="41" y="15"/>
                  <a:pt x="40" y="14"/>
                  <a:pt x="40" y="13"/>
                </a:cubicBezTo>
                <a:cubicBezTo>
                  <a:pt x="40" y="11"/>
                  <a:pt x="40" y="11"/>
                  <a:pt x="40" y="11"/>
                </a:cubicBezTo>
                <a:cubicBezTo>
                  <a:pt x="40" y="11"/>
                  <a:pt x="39" y="11"/>
                  <a:pt x="39" y="11"/>
                </a:cubicBezTo>
                <a:cubicBezTo>
                  <a:pt x="39" y="11"/>
                  <a:pt x="39" y="11"/>
                  <a:pt x="39" y="11"/>
                </a:cubicBezTo>
                <a:cubicBezTo>
                  <a:pt x="39" y="10"/>
                  <a:pt x="39" y="10"/>
                  <a:pt x="39" y="10"/>
                </a:cubicBezTo>
                <a:cubicBezTo>
                  <a:pt x="39" y="10"/>
                  <a:pt x="39" y="10"/>
                  <a:pt x="39" y="10"/>
                </a:cubicBezTo>
                <a:cubicBezTo>
                  <a:pt x="38" y="10"/>
                  <a:pt x="38" y="10"/>
                  <a:pt x="38" y="10"/>
                </a:cubicBezTo>
                <a:cubicBezTo>
                  <a:pt x="35" y="8"/>
                  <a:pt x="32" y="7"/>
                  <a:pt x="31" y="7"/>
                </a:cubicBezTo>
                <a:cubicBezTo>
                  <a:pt x="30" y="8"/>
                  <a:pt x="28" y="9"/>
                  <a:pt x="22" y="1"/>
                </a:cubicBezTo>
                <a:cubicBezTo>
                  <a:pt x="19" y="1"/>
                  <a:pt x="19" y="1"/>
                  <a:pt x="19" y="1"/>
                </a:cubicBezTo>
                <a:cubicBezTo>
                  <a:pt x="12" y="3"/>
                  <a:pt x="12" y="3"/>
                  <a:pt x="12" y="3"/>
                </a:cubicBezTo>
                <a:cubicBezTo>
                  <a:pt x="7" y="0"/>
                  <a:pt x="7" y="0"/>
                  <a:pt x="7" y="0"/>
                </a:cubicBezTo>
                <a:cubicBezTo>
                  <a:pt x="7" y="3"/>
                  <a:pt x="7" y="3"/>
                  <a:pt x="7" y="3"/>
                </a:cubicBezTo>
                <a:cubicBezTo>
                  <a:pt x="6" y="4"/>
                  <a:pt x="6" y="4"/>
                  <a:pt x="6" y="4"/>
                </a:cubicBezTo>
                <a:cubicBezTo>
                  <a:pt x="5" y="8"/>
                  <a:pt x="5" y="8"/>
                  <a:pt x="5" y="8"/>
                </a:cubicBezTo>
                <a:cubicBezTo>
                  <a:pt x="4" y="10"/>
                  <a:pt x="4" y="10"/>
                  <a:pt x="4" y="10"/>
                </a:cubicBezTo>
                <a:cubicBezTo>
                  <a:pt x="3" y="11"/>
                  <a:pt x="3" y="11"/>
                  <a:pt x="3" y="11"/>
                </a:cubicBezTo>
                <a:cubicBezTo>
                  <a:pt x="2" y="11"/>
                  <a:pt x="2" y="11"/>
                  <a:pt x="2" y="12"/>
                </a:cubicBezTo>
                <a:cubicBezTo>
                  <a:pt x="0" y="12"/>
                  <a:pt x="0" y="12"/>
                  <a:pt x="0" y="12"/>
                </a:cubicBezTo>
                <a:cubicBezTo>
                  <a:pt x="3" y="19"/>
                  <a:pt x="3" y="19"/>
                  <a:pt x="3" y="19"/>
                </a:cubicBezTo>
                <a:cubicBezTo>
                  <a:pt x="4" y="20"/>
                  <a:pt x="4" y="20"/>
                  <a:pt x="3" y="21"/>
                </a:cubicBezTo>
                <a:cubicBezTo>
                  <a:pt x="3" y="21"/>
                  <a:pt x="2" y="22"/>
                  <a:pt x="2" y="22"/>
                </a:cubicBezTo>
                <a:cubicBezTo>
                  <a:pt x="1" y="22"/>
                  <a:pt x="1" y="22"/>
                  <a:pt x="1" y="22"/>
                </a:cubicBezTo>
                <a:cubicBezTo>
                  <a:pt x="2" y="23"/>
                  <a:pt x="3" y="25"/>
                  <a:pt x="3" y="26"/>
                </a:cubicBezTo>
                <a:cubicBezTo>
                  <a:pt x="3" y="26"/>
                  <a:pt x="3" y="26"/>
                  <a:pt x="3" y="26"/>
                </a:cubicBezTo>
                <a:cubicBezTo>
                  <a:pt x="4" y="27"/>
                  <a:pt x="5" y="29"/>
                  <a:pt x="5" y="31"/>
                </a:cubicBezTo>
                <a:cubicBezTo>
                  <a:pt x="5" y="31"/>
                  <a:pt x="5" y="31"/>
                  <a:pt x="4" y="32"/>
                </a:cubicBezTo>
                <a:cubicBezTo>
                  <a:pt x="4" y="32"/>
                  <a:pt x="4" y="33"/>
                  <a:pt x="4" y="33"/>
                </a:cubicBezTo>
                <a:cubicBezTo>
                  <a:pt x="5" y="36"/>
                  <a:pt x="5" y="36"/>
                  <a:pt x="5" y="36"/>
                </a:cubicBezTo>
                <a:cubicBezTo>
                  <a:pt x="12" y="39"/>
                  <a:pt x="12" y="39"/>
                  <a:pt x="12" y="39"/>
                </a:cubicBezTo>
                <a:cubicBezTo>
                  <a:pt x="13" y="40"/>
                  <a:pt x="13" y="41"/>
                  <a:pt x="13" y="42"/>
                </a:cubicBezTo>
                <a:cubicBezTo>
                  <a:pt x="13" y="42"/>
                  <a:pt x="13" y="42"/>
                  <a:pt x="13" y="42"/>
                </a:cubicBezTo>
                <a:cubicBezTo>
                  <a:pt x="15" y="44"/>
                  <a:pt x="15" y="44"/>
                  <a:pt x="15" y="44"/>
                </a:cubicBezTo>
                <a:cubicBezTo>
                  <a:pt x="15" y="44"/>
                  <a:pt x="15" y="44"/>
                  <a:pt x="16" y="45"/>
                </a:cubicBezTo>
                <a:cubicBezTo>
                  <a:pt x="16" y="48"/>
                  <a:pt x="16" y="48"/>
                  <a:pt x="16" y="48"/>
                </a:cubicBezTo>
                <a:cubicBezTo>
                  <a:pt x="16" y="49"/>
                  <a:pt x="16" y="49"/>
                  <a:pt x="16" y="49"/>
                </a:cubicBezTo>
                <a:cubicBezTo>
                  <a:pt x="16" y="57"/>
                  <a:pt x="16" y="57"/>
                  <a:pt x="16" y="57"/>
                </a:cubicBezTo>
                <a:cubicBezTo>
                  <a:pt x="16" y="63"/>
                  <a:pt x="16" y="63"/>
                  <a:pt x="16" y="63"/>
                </a:cubicBezTo>
                <a:cubicBezTo>
                  <a:pt x="16" y="64"/>
                  <a:pt x="16" y="64"/>
                  <a:pt x="16" y="64"/>
                </a:cubicBezTo>
                <a:cubicBezTo>
                  <a:pt x="18" y="66"/>
                  <a:pt x="18" y="66"/>
                  <a:pt x="18" y="66"/>
                </a:cubicBezTo>
                <a:cubicBezTo>
                  <a:pt x="19" y="67"/>
                  <a:pt x="19" y="69"/>
                  <a:pt x="19" y="69"/>
                </a:cubicBezTo>
                <a:cubicBezTo>
                  <a:pt x="20" y="69"/>
                  <a:pt x="20" y="69"/>
                  <a:pt x="20" y="69"/>
                </a:cubicBezTo>
                <a:cubicBezTo>
                  <a:pt x="20" y="69"/>
                  <a:pt x="20" y="72"/>
                  <a:pt x="20" y="74"/>
                </a:cubicBezTo>
                <a:cubicBezTo>
                  <a:pt x="19" y="75"/>
                  <a:pt x="19" y="76"/>
                  <a:pt x="19" y="76"/>
                </a:cubicBezTo>
                <a:cubicBezTo>
                  <a:pt x="21" y="77"/>
                  <a:pt x="21" y="77"/>
                  <a:pt x="21" y="77"/>
                </a:cubicBezTo>
                <a:cubicBezTo>
                  <a:pt x="22" y="77"/>
                  <a:pt x="23" y="77"/>
                  <a:pt x="23" y="78"/>
                </a:cubicBezTo>
                <a:cubicBezTo>
                  <a:pt x="23" y="78"/>
                  <a:pt x="24" y="78"/>
                  <a:pt x="24" y="79"/>
                </a:cubicBezTo>
                <a:cubicBezTo>
                  <a:pt x="25" y="79"/>
                  <a:pt x="25" y="79"/>
                  <a:pt x="25" y="79"/>
                </a:cubicBezTo>
                <a:cubicBezTo>
                  <a:pt x="26" y="79"/>
                  <a:pt x="26" y="79"/>
                  <a:pt x="26" y="79"/>
                </a:cubicBezTo>
                <a:cubicBezTo>
                  <a:pt x="27" y="79"/>
                  <a:pt x="27" y="79"/>
                  <a:pt x="28" y="79"/>
                </a:cubicBezTo>
                <a:cubicBezTo>
                  <a:pt x="29" y="81"/>
                  <a:pt x="29" y="81"/>
                  <a:pt x="29" y="81"/>
                </a:cubicBezTo>
                <a:cubicBezTo>
                  <a:pt x="31" y="81"/>
                  <a:pt x="31" y="81"/>
                  <a:pt x="31" y="81"/>
                </a:cubicBezTo>
                <a:cubicBezTo>
                  <a:pt x="33" y="81"/>
                  <a:pt x="34" y="81"/>
                  <a:pt x="35" y="83"/>
                </a:cubicBezTo>
                <a:cubicBezTo>
                  <a:pt x="37" y="84"/>
                  <a:pt x="37" y="84"/>
                  <a:pt x="37" y="84"/>
                </a:cubicBezTo>
                <a:cubicBezTo>
                  <a:pt x="38" y="85"/>
                  <a:pt x="39" y="85"/>
                  <a:pt x="39" y="86"/>
                </a:cubicBezTo>
                <a:cubicBezTo>
                  <a:pt x="39" y="87"/>
                  <a:pt x="39" y="87"/>
                  <a:pt x="39" y="87"/>
                </a:cubicBezTo>
                <a:cubicBezTo>
                  <a:pt x="39" y="88"/>
                  <a:pt x="39" y="88"/>
                  <a:pt x="39" y="88"/>
                </a:cubicBezTo>
                <a:cubicBezTo>
                  <a:pt x="40" y="88"/>
                  <a:pt x="40" y="88"/>
                  <a:pt x="40" y="88"/>
                </a:cubicBezTo>
                <a:cubicBezTo>
                  <a:pt x="41" y="88"/>
                  <a:pt x="41" y="88"/>
                  <a:pt x="42" y="89"/>
                </a:cubicBezTo>
                <a:cubicBezTo>
                  <a:pt x="42" y="89"/>
                  <a:pt x="42" y="91"/>
                  <a:pt x="42" y="93"/>
                </a:cubicBezTo>
                <a:cubicBezTo>
                  <a:pt x="42" y="95"/>
                  <a:pt x="42" y="95"/>
                  <a:pt x="43" y="97"/>
                </a:cubicBezTo>
                <a:cubicBezTo>
                  <a:pt x="43" y="98"/>
                  <a:pt x="44" y="99"/>
                  <a:pt x="44" y="99"/>
                </a:cubicBezTo>
                <a:cubicBezTo>
                  <a:pt x="45" y="100"/>
                  <a:pt x="45" y="100"/>
                  <a:pt x="45" y="100"/>
                </a:cubicBezTo>
                <a:cubicBezTo>
                  <a:pt x="45" y="101"/>
                  <a:pt x="46" y="102"/>
                  <a:pt x="46" y="103"/>
                </a:cubicBezTo>
                <a:cubicBezTo>
                  <a:pt x="46" y="103"/>
                  <a:pt x="46" y="103"/>
                  <a:pt x="46" y="104"/>
                </a:cubicBezTo>
                <a:cubicBezTo>
                  <a:pt x="47" y="104"/>
                  <a:pt x="47" y="104"/>
                  <a:pt x="47" y="105"/>
                </a:cubicBezTo>
                <a:cubicBezTo>
                  <a:pt x="48" y="110"/>
                  <a:pt x="48" y="110"/>
                  <a:pt x="48" y="110"/>
                </a:cubicBezTo>
                <a:cubicBezTo>
                  <a:pt x="48" y="110"/>
                  <a:pt x="49" y="113"/>
                  <a:pt x="49" y="115"/>
                </a:cubicBezTo>
                <a:cubicBezTo>
                  <a:pt x="49" y="120"/>
                  <a:pt x="49" y="120"/>
                  <a:pt x="49" y="120"/>
                </a:cubicBezTo>
                <a:cubicBezTo>
                  <a:pt x="50" y="120"/>
                  <a:pt x="51" y="121"/>
                  <a:pt x="51" y="122"/>
                </a:cubicBezTo>
                <a:cubicBezTo>
                  <a:pt x="51" y="126"/>
                  <a:pt x="51" y="126"/>
                  <a:pt x="51" y="126"/>
                </a:cubicBezTo>
                <a:cubicBezTo>
                  <a:pt x="51" y="126"/>
                  <a:pt x="51" y="126"/>
                  <a:pt x="51" y="127"/>
                </a:cubicBezTo>
                <a:cubicBezTo>
                  <a:pt x="50" y="129"/>
                  <a:pt x="50" y="129"/>
                  <a:pt x="50" y="129"/>
                </a:cubicBezTo>
                <a:cubicBezTo>
                  <a:pt x="50" y="131"/>
                  <a:pt x="49" y="132"/>
                  <a:pt x="48" y="132"/>
                </a:cubicBezTo>
                <a:cubicBezTo>
                  <a:pt x="48" y="132"/>
                  <a:pt x="47" y="133"/>
                  <a:pt x="47" y="134"/>
                </a:cubicBezTo>
                <a:cubicBezTo>
                  <a:pt x="46" y="135"/>
                  <a:pt x="45" y="135"/>
                  <a:pt x="45" y="135"/>
                </a:cubicBezTo>
                <a:cubicBezTo>
                  <a:pt x="44" y="136"/>
                  <a:pt x="43" y="137"/>
                  <a:pt x="43" y="138"/>
                </a:cubicBezTo>
                <a:cubicBezTo>
                  <a:pt x="42" y="138"/>
                  <a:pt x="42" y="138"/>
                  <a:pt x="42" y="139"/>
                </a:cubicBezTo>
                <a:cubicBezTo>
                  <a:pt x="42" y="139"/>
                  <a:pt x="42" y="139"/>
                  <a:pt x="42" y="140"/>
                </a:cubicBezTo>
                <a:cubicBezTo>
                  <a:pt x="42" y="143"/>
                  <a:pt x="42" y="143"/>
                  <a:pt x="42" y="143"/>
                </a:cubicBezTo>
                <a:cubicBezTo>
                  <a:pt x="42" y="146"/>
                  <a:pt x="42" y="146"/>
                  <a:pt x="42" y="146"/>
                </a:cubicBezTo>
                <a:cubicBezTo>
                  <a:pt x="42" y="147"/>
                  <a:pt x="42" y="147"/>
                  <a:pt x="41" y="147"/>
                </a:cubicBezTo>
                <a:cubicBezTo>
                  <a:pt x="39" y="149"/>
                  <a:pt x="39" y="149"/>
                  <a:pt x="39" y="149"/>
                </a:cubicBezTo>
                <a:cubicBezTo>
                  <a:pt x="39" y="152"/>
                  <a:pt x="39" y="152"/>
                  <a:pt x="39" y="152"/>
                </a:cubicBezTo>
                <a:cubicBezTo>
                  <a:pt x="40" y="154"/>
                  <a:pt x="40" y="155"/>
                  <a:pt x="40" y="156"/>
                </a:cubicBezTo>
                <a:cubicBezTo>
                  <a:pt x="40" y="157"/>
                  <a:pt x="41" y="158"/>
                  <a:pt x="43" y="159"/>
                </a:cubicBezTo>
                <a:cubicBezTo>
                  <a:pt x="45" y="159"/>
                  <a:pt x="45" y="159"/>
                  <a:pt x="45" y="159"/>
                </a:cubicBezTo>
                <a:cubicBezTo>
                  <a:pt x="47" y="159"/>
                  <a:pt x="48" y="159"/>
                  <a:pt x="49" y="160"/>
                </a:cubicBezTo>
                <a:cubicBezTo>
                  <a:pt x="51" y="161"/>
                  <a:pt x="51" y="162"/>
                  <a:pt x="52" y="162"/>
                </a:cubicBezTo>
                <a:cubicBezTo>
                  <a:pt x="53" y="163"/>
                  <a:pt x="53" y="163"/>
                  <a:pt x="53" y="163"/>
                </a:cubicBezTo>
                <a:cubicBezTo>
                  <a:pt x="54" y="163"/>
                  <a:pt x="54" y="163"/>
                  <a:pt x="54" y="163"/>
                </a:cubicBezTo>
                <a:cubicBezTo>
                  <a:pt x="55" y="163"/>
                  <a:pt x="56" y="164"/>
                  <a:pt x="56" y="164"/>
                </a:cubicBezTo>
                <a:cubicBezTo>
                  <a:pt x="57" y="164"/>
                  <a:pt x="58" y="164"/>
                  <a:pt x="59" y="164"/>
                </a:cubicBezTo>
                <a:cubicBezTo>
                  <a:pt x="60" y="164"/>
                  <a:pt x="61" y="164"/>
                  <a:pt x="63" y="165"/>
                </a:cubicBezTo>
                <a:cubicBezTo>
                  <a:pt x="63" y="165"/>
                  <a:pt x="64" y="165"/>
                  <a:pt x="65" y="165"/>
                </a:cubicBezTo>
                <a:cubicBezTo>
                  <a:pt x="66" y="165"/>
                  <a:pt x="66" y="164"/>
                  <a:pt x="66" y="164"/>
                </a:cubicBezTo>
                <a:cubicBezTo>
                  <a:pt x="68" y="164"/>
                  <a:pt x="69" y="164"/>
                  <a:pt x="69" y="164"/>
                </a:cubicBezTo>
                <a:cubicBezTo>
                  <a:pt x="70" y="165"/>
                  <a:pt x="70" y="165"/>
                  <a:pt x="70" y="165"/>
                </a:cubicBezTo>
                <a:cubicBezTo>
                  <a:pt x="70" y="165"/>
                  <a:pt x="71" y="167"/>
                  <a:pt x="72" y="167"/>
                </a:cubicBezTo>
                <a:cubicBezTo>
                  <a:pt x="75" y="169"/>
                  <a:pt x="75" y="171"/>
                  <a:pt x="76" y="171"/>
                </a:cubicBezTo>
                <a:cubicBezTo>
                  <a:pt x="76" y="171"/>
                  <a:pt x="76" y="173"/>
                  <a:pt x="78" y="175"/>
                </a:cubicBezTo>
                <a:cubicBezTo>
                  <a:pt x="78" y="176"/>
                  <a:pt x="80" y="177"/>
                  <a:pt x="82" y="178"/>
                </a:cubicBezTo>
                <a:cubicBezTo>
                  <a:pt x="82" y="178"/>
                  <a:pt x="84" y="180"/>
                  <a:pt x="84" y="182"/>
                </a:cubicBezTo>
                <a:cubicBezTo>
                  <a:pt x="83" y="182"/>
                  <a:pt x="83" y="183"/>
                  <a:pt x="82" y="183"/>
                </a:cubicBezTo>
                <a:cubicBezTo>
                  <a:pt x="82" y="184"/>
                  <a:pt x="81" y="185"/>
                  <a:pt x="81" y="185"/>
                </a:cubicBezTo>
                <a:cubicBezTo>
                  <a:pt x="80" y="187"/>
                  <a:pt x="78" y="187"/>
                  <a:pt x="76" y="188"/>
                </a:cubicBezTo>
                <a:cubicBezTo>
                  <a:pt x="75" y="188"/>
                  <a:pt x="75" y="188"/>
                  <a:pt x="75" y="188"/>
                </a:cubicBezTo>
                <a:cubicBezTo>
                  <a:pt x="74" y="188"/>
                  <a:pt x="73" y="188"/>
                  <a:pt x="72" y="188"/>
                </a:cubicBezTo>
                <a:cubicBezTo>
                  <a:pt x="70" y="188"/>
                  <a:pt x="70" y="188"/>
                  <a:pt x="69" y="187"/>
                </a:cubicBezTo>
                <a:cubicBezTo>
                  <a:pt x="68" y="187"/>
                  <a:pt x="68" y="187"/>
                  <a:pt x="68" y="187"/>
                </a:cubicBezTo>
                <a:cubicBezTo>
                  <a:pt x="66" y="189"/>
                  <a:pt x="66" y="189"/>
                  <a:pt x="66" y="189"/>
                </a:cubicBezTo>
                <a:cubicBezTo>
                  <a:pt x="65" y="190"/>
                  <a:pt x="65" y="190"/>
                  <a:pt x="65" y="190"/>
                </a:cubicBezTo>
                <a:cubicBezTo>
                  <a:pt x="65" y="192"/>
                  <a:pt x="64" y="193"/>
                  <a:pt x="63" y="193"/>
                </a:cubicBezTo>
                <a:cubicBezTo>
                  <a:pt x="63" y="193"/>
                  <a:pt x="63" y="194"/>
                  <a:pt x="63" y="195"/>
                </a:cubicBezTo>
                <a:cubicBezTo>
                  <a:pt x="62" y="195"/>
                  <a:pt x="62" y="196"/>
                  <a:pt x="63" y="197"/>
                </a:cubicBezTo>
                <a:cubicBezTo>
                  <a:pt x="64" y="198"/>
                  <a:pt x="64" y="198"/>
                  <a:pt x="64" y="198"/>
                </a:cubicBezTo>
                <a:cubicBezTo>
                  <a:pt x="66" y="198"/>
                  <a:pt x="66" y="198"/>
                  <a:pt x="66" y="198"/>
                </a:cubicBezTo>
                <a:cubicBezTo>
                  <a:pt x="69" y="199"/>
                  <a:pt x="69" y="199"/>
                  <a:pt x="69" y="199"/>
                </a:cubicBezTo>
                <a:cubicBezTo>
                  <a:pt x="70" y="199"/>
                  <a:pt x="70" y="200"/>
                  <a:pt x="70" y="200"/>
                </a:cubicBezTo>
                <a:cubicBezTo>
                  <a:pt x="71" y="202"/>
                  <a:pt x="71" y="202"/>
                  <a:pt x="71" y="202"/>
                </a:cubicBezTo>
                <a:cubicBezTo>
                  <a:pt x="72" y="203"/>
                  <a:pt x="72" y="204"/>
                  <a:pt x="72" y="204"/>
                </a:cubicBezTo>
                <a:cubicBezTo>
                  <a:pt x="72" y="204"/>
                  <a:pt x="72" y="204"/>
                  <a:pt x="73" y="204"/>
                </a:cubicBezTo>
                <a:cubicBezTo>
                  <a:pt x="78" y="204"/>
                  <a:pt x="78" y="204"/>
                  <a:pt x="78" y="204"/>
                </a:cubicBezTo>
                <a:cubicBezTo>
                  <a:pt x="78" y="203"/>
                  <a:pt x="79" y="202"/>
                  <a:pt x="80" y="202"/>
                </a:cubicBezTo>
                <a:cubicBezTo>
                  <a:pt x="83" y="202"/>
                  <a:pt x="83" y="202"/>
                  <a:pt x="83" y="202"/>
                </a:cubicBezTo>
                <a:cubicBezTo>
                  <a:pt x="86" y="201"/>
                  <a:pt x="86" y="201"/>
                  <a:pt x="86" y="201"/>
                </a:cubicBezTo>
                <a:cubicBezTo>
                  <a:pt x="84" y="198"/>
                  <a:pt x="84" y="196"/>
                  <a:pt x="84" y="196"/>
                </a:cubicBezTo>
                <a:cubicBezTo>
                  <a:pt x="84" y="195"/>
                  <a:pt x="83" y="193"/>
                  <a:pt x="84" y="191"/>
                </a:cubicBezTo>
                <a:cubicBezTo>
                  <a:pt x="85" y="190"/>
                  <a:pt x="86" y="188"/>
                  <a:pt x="89" y="188"/>
                </a:cubicBezTo>
                <a:cubicBezTo>
                  <a:pt x="90" y="188"/>
                  <a:pt x="90" y="188"/>
                  <a:pt x="90" y="188"/>
                </a:cubicBezTo>
                <a:cubicBezTo>
                  <a:pt x="99" y="188"/>
                  <a:pt x="99" y="188"/>
                  <a:pt x="99" y="188"/>
                </a:cubicBezTo>
                <a:cubicBezTo>
                  <a:pt x="100" y="187"/>
                  <a:pt x="100" y="187"/>
                  <a:pt x="100" y="187"/>
                </a:cubicBezTo>
                <a:cubicBezTo>
                  <a:pt x="100" y="185"/>
                  <a:pt x="100" y="185"/>
                  <a:pt x="100" y="185"/>
                </a:cubicBezTo>
                <a:cubicBezTo>
                  <a:pt x="100" y="184"/>
                  <a:pt x="100" y="184"/>
                  <a:pt x="100" y="183"/>
                </a:cubicBezTo>
                <a:cubicBezTo>
                  <a:pt x="104" y="181"/>
                  <a:pt x="104" y="181"/>
                  <a:pt x="104" y="181"/>
                </a:cubicBezTo>
                <a:cubicBezTo>
                  <a:pt x="105" y="180"/>
                  <a:pt x="105" y="180"/>
                  <a:pt x="105" y="180"/>
                </a:cubicBezTo>
                <a:cubicBezTo>
                  <a:pt x="106" y="180"/>
                  <a:pt x="106" y="180"/>
                  <a:pt x="106" y="180"/>
                </a:cubicBezTo>
                <a:cubicBezTo>
                  <a:pt x="106" y="179"/>
                  <a:pt x="106" y="178"/>
                  <a:pt x="107" y="178"/>
                </a:cubicBezTo>
                <a:cubicBezTo>
                  <a:pt x="107" y="178"/>
                  <a:pt x="109" y="177"/>
                  <a:pt x="110" y="176"/>
                </a:cubicBezTo>
                <a:cubicBezTo>
                  <a:pt x="110" y="171"/>
                  <a:pt x="110" y="171"/>
                  <a:pt x="110" y="171"/>
                </a:cubicBezTo>
                <a:cubicBezTo>
                  <a:pt x="110" y="170"/>
                  <a:pt x="110" y="170"/>
                  <a:pt x="111" y="169"/>
                </a:cubicBezTo>
                <a:cubicBezTo>
                  <a:pt x="113" y="169"/>
                  <a:pt x="115" y="168"/>
                  <a:pt x="116" y="168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67"/>
                  <a:pt x="117" y="167"/>
                  <a:pt x="118" y="167"/>
                </a:cubicBezTo>
                <a:cubicBezTo>
                  <a:pt x="120" y="165"/>
                  <a:pt x="120" y="165"/>
                  <a:pt x="120" y="165"/>
                </a:cubicBezTo>
                <a:cubicBezTo>
                  <a:pt x="121" y="164"/>
                  <a:pt x="121" y="164"/>
                  <a:pt x="122" y="164"/>
                </a:cubicBezTo>
                <a:cubicBezTo>
                  <a:pt x="123" y="164"/>
                  <a:pt x="123" y="164"/>
                  <a:pt x="123" y="164"/>
                </a:cubicBezTo>
                <a:cubicBezTo>
                  <a:pt x="123" y="164"/>
                  <a:pt x="123" y="164"/>
                  <a:pt x="124" y="164"/>
                </a:cubicBezTo>
                <a:cubicBezTo>
                  <a:pt x="125" y="164"/>
                  <a:pt x="125" y="164"/>
                  <a:pt x="125" y="164"/>
                </a:cubicBezTo>
                <a:cubicBezTo>
                  <a:pt x="125" y="163"/>
                  <a:pt x="126" y="163"/>
                  <a:pt x="126" y="163"/>
                </a:cubicBezTo>
                <a:cubicBezTo>
                  <a:pt x="131" y="163"/>
                  <a:pt x="131" y="163"/>
                  <a:pt x="131" y="163"/>
                </a:cubicBezTo>
                <a:cubicBezTo>
                  <a:pt x="132" y="162"/>
                  <a:pt x="132" y="162"/>
                  <a:pt x="132" y="162"/>
                </a:cubicBezTo>
                <a:cubicBezTo>
                  <a:pt x="132" y="158"/>
                  <a:pt x="132" y="158"/>
                  <a:pt x="132" y="158"/>
                </a:cubicBezTo>
                <a:cubicBezTo>
                  <a:pt x="132" y="157"/>
                  <a:pt x="132" y="157"/>
                  <a:pt x="131" y="157"/>
                </a:cubicBezTo>
                <a:cubicBezTo>
                  <a:pt x="131" y="158"/>
                  <a:pt x="130" y="158"/>
                  <a:pt x="129" y="158"/>
                </a:cubicBezTo>
                <a:cubicBezTo>
                  <a:pt x="128" y="157"/>
                  <a:pt x="128" y="156"/>
                  <a:pt x="128" y="154"/>
                </a:cubicBezTo>
                <a:cubicBezTo>
                  <a:pt x="128" y="144"/>
                  <a:pt x="128" y="144"/>
                  <a:pt x="128" y="144"/>
                </a:cubicBezTo>
                <a:cubicBezTo>
                  <a:pt x="127" y="144"/>
                  <a:pt x="127" y="142"/>
                  <a:pt x="127" y="141"/>
                </a:cubicBezTo>
                <a:cubicBezTo>
                  <a:pt x="127" y="139"/>
                  <a:pt x="127" y="137"/>
                  <a:pt x="127" y="136"/>
                </a:cubicBezTo>
                <a:cubicBezTo>
                  <a:pt x="126" y="135"/>
                  <a:pt x="126" y="135"/>
                  <a:pt x="126" y="134"/>
                </a:cubicBezTo>
                <a:cubicBezTo>
                  <a:pt x="126" y="134"/>
                  <a:pt x="126" y="133"/>
                  <a:pt x="126" y="132"/>
                </a:cubicBezTo>
                <a:cubicBezTo>
                  <a:pt x="125" y="130"/>
                  <a:pt x="124" y="129"/>
                  <a:pt x="124" y="128"/>
                </a:cubicBezTo>
                <a:cubicBezTo>
                  <a:pt x="123" y="127"/>
                  <a:pt x="122" y="126"/>
                  <a:pt x="121" y="125"/>
                </a:cubicBezTo>
                <a:cubicBezTo>
                  <a:pt x="121" y="125"/>
                  <a:pt x="121" y="125"/>
                  <a:pt x="121" y="124"/>
                </a:cubicBezTo>
                <a:cubicBezTo>
                  <a:pt x="120" y="124"/>
                  <a:pt x="119" y="123"/>
                  <a:pt x="119" y="121"/>
                </a:cubicBezTo>
                <a:cubicBezTo>
                  <a:pt x="119" y="120"/>
                  <a:pt x="119" y="119"/>
                  <a:pt x="119" y="118"/>
                </a:cubicBezTo>
                <a:cubicBezTo>
                  <a:pt x="119" y="117"/>
                  <a:pt x="118" y="117"/>
                  <a:pt x="118" y="116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19" y="113"/>
                  <a:pt x="119" y="113"/>
                  <a:pt x="119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2" y="109"/>
                  <a:pt x="122" y="109"/>
                  <a:pt x="123" y="109"/>
                </a:cubicBezTo>
                <a:cubicBezTo>
                  <a:pt x="123" y="108"/>
                  <a:pt x="123" y="108"/>
                  <a:pt x="123" y="108"/>
                </a:cubicBezTo>
                <a:cubicBezTo>
                  <a:pt x="123" y="107"/>
                  <a:pt x="123" y="107"/>
                  <a:pt x="123" y="107"/>
                </a:cubicBezTo>
                <a:cubicBezTo>
                  <a:pt x="122" y="106"/>
                  <a:pt x="122" y="105"/>
                  <a:pt x="121" y="101"/>
                </a:cubicBezTo>
                <a:cubicBezTo>
                  <a:pt x="121" y="97"/>
                  <a:pt x="121" y="96"/>
                  <a:pt x="121" y="95"/>
                </a:cubicBezTo>
                <a:cubicBezTo>
                  <a:pt x="120" y="93"/>
                  <a:pt x="121" y="93"/>
                  <a:pt x="122" y="91"/>
                </a:cubicBezTo>
                <a:cubicBezTo>
                  <a:pt x="124" y="89"/>
                  <a:pt x="124" y="89"/>
                  <a:pt x="124" y="89"/>
                </a:cubicBezTo>
                <a:cubicBezTo>
                  <a:pt x="125" y="88"/>
                  <a:pt x="125" y="88"/>
                  <a:pt x="125" y="88"/>
                </a:cubicBezTo>
                <a:cubicBezTo>
                  <a:pt x="127" y="88"/>
                  <a:pt x="127" y="88"/>
                  <a:pt x="127" y="88"/>
                </a:cubicBezTo>
                <a:cubicBezTo>
                  <a:pt x="127" y="87"/>
                  <a:pt x="127" y="87"/>
                  <a:pt x="127" y="87"/>
                </a:cubicBezTo>
                <a:cubicBezTo>
                  <a:pt x="127" y="87"/>
                  <a:pt x="128" y="86"/>
                  <a:pt x="129" y="86"/>
                </a:cubicBezTo>
                <a:cubicBezTo>
                  <a:pt x="137" y="86"/>
                  <a:pt x="137" y="86"/>
                  <a:pt x="137" y="86"/>
                </a:cubicBezTo>
                <a:cubicBezTo>
                  <a:pt x="138" y="85"/>
                  <a:pt x="139" y="84"/>
                  <a:pt x="139" y="84"/>
                </a:cubicBezTo>
                <a:cubicBezTo>
                  <a:pt x="139" y="84"/>
                  <a:pt x="140" y="83"/>
                  <a:pt x="140" y="82"/>
                </a:cubicBezTo>
                <a:cubicBezTo>
                  <a:pt x="140" y="81"/>
                  <a:pt x="140" y="81"/>
                  <a:pt x="140" y="80"/>
                </a:cubicBezTo>
                <a:cubicBezTo>
                  <a:pt x="140" y="79"/>
                  <a:pt x="140" y="79"/>
                  <a:pt x="140" y="78"/>
                </a:cubicBezTo>
                <a:cubicBezTo>
                  <a:pt x="139" y="78"/>
                  <a:pt x="139" y="77"/>
                  <a:pt x="138" y="76"/>
                </a:cubicBezTo>
                <a:cubicBezTo>
                  <a:pt x="138" y="73"/>
                  <a:pt x="138" y="71"/>
                  <a:pt x="138" y="71"/>
                </a:cubicBezTo>
                <a:cubicBezTo>
                  <a:pt x="138" y="71"/>
                  <a:pt x="138" y="71"/>
                  <a:pt x="138" y="70"/>
                </a:cubicBezTo>
                <a:cubicBezTo>
                  <a:pt x="138" y="70"/>
                  <a:pt x="138" y="70"/>
                  <a:pt x="138" y="69"/>
                </a:cubicBezTo>
                <a:cubicBezTo>
                  <a:pt x="139" y="68"/>
                  <a:pt x="139" y="68"/>
                  <a:pt x="139" y="68"/>
                </a:cubicBezTo>
                <a:cubicBezTo>
                  <a:pt x="138" y="68"/>
                  <a:pt x="138" y="67"/>
                  <a:pt x="139" y="67"/>
                </a:cubicBezTo>
                <a:cubicBezTo>
                  <a:pt x="139" y="65"/>
                  <a:pt x="142" y="64"/>
                  <a:pt x="143" y="64"/>
                </a:cubicBezTo>
                <a:cubicBezTo>
                  <a:pt x="144" y="64"/>
                  <a:pt x="145" y="64"/>
                  <a:pt x="146" y="64"/>
                </a:cubicBezTo>
                <a:cubicBezTo>
                  <a:pt x="146" y="60"/>
                  <a:pt x="146" y="60"/>
                  <a:pt x="146" y="60"/>
                </a:cubicBezTo>
                <a:cubicBezTo>
                  <a:pt x="146" y="59"/>
                  <a:pt x="147" y="59"/>
                  <a:pt x="147" y="59"/>
                </a:cubicBezTo>
                <a:cubicBezTo>
                  <a:pt x="147" y="58"/>
                  <a:pt x="147" y="58"/>
                  <a:pt x="147" y="58"/>
                </a:cubicBezTo>
                <a:cubicBezTo>
                  <a:pt x="145" y="56"/>
                  <a:pt x="145" y="56"/>
                  <a:pt x="145" y="5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4" name="Freeform 105">
            <a:extLst>
              <a:ext uri="{FF2B5EF4-FFF2-40B4-BE49-F238E27FC236}">
                <a16:creationId xmlns:a16="http://schemas.microsoft.com/office/drawing/2014/main" id="{92557402-EEFC-49A5-8930-B21E454362FF}"/>
              </a:ext>
            </a:extLst>
          </p:cNvPr>
          <p:cNvSpPr>
            <a:spLocks/>
          </p:cNvSpPr>
          <p:nvPr/>
        </p:nvSpPr>
        <p:spPr bwMode="auto">
          <a:xfrm>
            <a:off x="5492500" y="3853982"/>
            <a:ext cx="307843" cy="238125"/>
          </a:xfrm>
          <a:custGeom>
            <a:avLst/>
            <a:gdLst>
              <a:gd name="T0" fmla="*/ 31 w 127"/>
              <a:gd name="T1" fmla="*/ 99 h 107"/>
              <a:gd name="T2" fmla="*/ 38 w 127"/>
              <a:gd name="T3" fmla="*/ 100 h 107"/>
              <a:gd name="T4" fmla="*/ 52 w 127"/>
              <a:gd name="T5" fmla="*/ 107 h 107"/>
              <a:gd name="T6" fmla="*/ 58 w 127"/>
              <a:gd name="T7" fmla="*/ 103 h 107"/>
              <a:gd name="T8" fmla="*/ 72 w 127"/>
              <a:gd name="T9" fmla="*/ 97 h 107"/>
              <a:gd name="T10" fmla="*/ 82 w 127"/>
              <a:gd name="T11" fmla="*/ 83 h 107"/>
              <a:gd name="T12" fmla="*/ 84 w 127"/>
              <a:gd name="T13" fmla="*/ 81 h 107"/>
              <a:gd name="T14" fmla="*/ 108 w 127"/>
              <a:gd name="T15" fmla="*/ 81 h 107"/>
              <a:gd name="T16" fmla="*/ 123 w 127"/>
              <a:gd name="T17" fmla="*/ 82 h 107"/>
              <a:gd name="T18" fmla="*/ 126 w 127"/>
              <a:gd name="T19" fmla="*/ 77 h 107"/>
              <a:gd name="T20" fmla="*/ 127 w 127"/>
              <a:gd name="T21" fmla="*/ 74 h 107"/>
              <a:gd name="T22" fmla="*/ 127 w 127"/>
              <a:gd name="T23" fmla="*/ 68 h 107"/>
              <a:gd name="T24" fmla="*/ 121 w 127"/>
              <a:gd name="T25" fmla="*/ 63 h 107"/>
              <a:gd name="T26" fmla="*/ 110 w 127"/>
              <a:gd name="T27" fmla="*/ 58 h 107"/>
              <a:gd name="T28" fmla="*/ 105 w 127"/>
              <a:gd name="T29" fmla="*/ 44 h 107"/>
              <a:gd name="T30" fmla="*/ 107 w 127"/>
              <a:gd name="T31" fmla="*/ 33 h 107"/>
              <a:gd name="T32" fmla="*/ 111 w 127"/>
              <a:gd name="T33" fmla="*/ 27 h 107"/>
              <a:gd name="T34" fmla="*/ 109 w 127"/>
              <a:gd name="T35" fmla="*/ 12 h 107"/>
              <a:gd name="T36" fmla="*/ 101 w 127"/>
              <a:gd name="T37" fmla="*/ 20 h 107"/>
              <a:gd name="T38" fmla="*/ 77 w 127"/>
              <a:gd name="T39" fmla="*/ 20 h 107"/>
              <a:gd name="T40" fmla="*/ 67 w 127"/>
              <a:gd name="T41" fmla="*/ 17 h 107"/>
              <a:gd name="T42" fmla="*/ 57 w 127"/>
              <a:gd name="T43" fmla="*/ 15 h 107"/>
              <a:gd name="T44" fmla="*/ 43 w 127"/>
              <a:gd name="T45" fmla="*/ 10 h 107"/>
              <a:gd name="T46" fmla="*/ 36 w 127"/>
              <a:gd name="T47" fmla="*/ 6 h 107"/>
              <a:gd name="T48" fmla="*/ 28 w 127"/>
              <a:gd name="T49" fmla="*/ 1 h 107"/>
              <a:gd name="T50" fmla="*/ 25 w 127"/>
              <a:gd name="T51" fmla="*/ 3 h 107"/>
              <a:gd name="T52" fmla="*/ 19 w 127"/>
              <a:gd name="T53" fmla="*/ 15 h 107"/>
              <a:gd name="T54" fmla="*/ 17 w 127"/>
              <a:gd name="T55" fmla="*/ 24 h 107"/>
              <a:gd name="T56" fmla="*/ 12 w 127"/>
              <a:gd name="T57" fmla="*/ 28 h 107"/>
              <a:gd name="T58" fmla="*/ 11 w 127"/>
              <a:gd name="T59" fmla="*/ 28 h 107"/>
              <a:gd name="T60" fmla="*/ 11 w 127"/>
              <a:gd name="T61" fmla="*/ 28 h 107"/>
              <a:gd name="T62" fmla="*/ 10 w 127"/>
              <a:gd name="T63" fmla="*/ 27 h 107"/>
              <a:gd name="T64" fmla="*/ 7 w 127"/>
              <a:gd name="T65" fmla="*/ 30 h 107"/>
              <a:gd name="T66" fmla="*/ 6 w 127"/>
              <a:gd name="T67" fmla="*/ 31 h 107"/>
              <a:gd name="T68" fmla="*/ 2 w 127"/>
              <a:gd name="T69" fmla="*/ 32 h 107"/>
              <a:gd name="T70" fmla="*/ 0 w 127"/>
              <a:gd name="T71" fmla="*/ 36 h 107"/>
              <a:gd name="T72" fmla="*/ 0 w 127"/>
              <a:gd name="T73" fmla="*/ 45 h 107"/>
              <a:gd name="T74" fmla="*/ 3 w 127"/>
              <a:gd name="T75" fmla="*/ 48 h 107"/>
              <a:gd name="T76" fmla="*/ 6 w 127"/>
              <a:gd name="T77" fmla="*/ 55 h 107"/>
              <a:gd name="T78" fmla="*/ 9 w 127"/>
              <a:gd name="T79" fmla="*/ 58 h 107"/>
              <a:gd name="T80" fmla="*/ 10 w 127"/>
              <a:gd name="T81" fmla="*/ 63 h 107"/>
              <a:gd name="T82" fmla="*/ 12 w 127"/>
              <a:gd name="T83" fmla="*/ 65 h 107"/>
              <a:gd name="T84" fmla="*/ 15 w 127"/>
              <a:gd name="T85" fmla="*/ 69 h 107"/>
              <a:gd name="T86" fmla="*/ 15 w 127"/>
              <a:gd name="T87" fmla="*/ 71 h 107"/>
              <a:gd name="T88" fmla="*/ 17 w 127"/>
              <a:gd name="T89" fmla="*/ 76 h 107"/>
              <a:gd name="T90" fmla="*/ 17 w 127"/>
              <a:gd name="T91" fmla="*/ 79 h 107"/>
              <a:gd name="T92" fmla="*/ 15 w 127"/>
              <a:gd name="T93" fmla="*/ 84 h 107"/>
              <a:gd name="T94" fmla="*/ 12 w 127"/>
              <a:gd name="T95" fmla="*/ 89 h 107"/>
              <a:gd name="T96" fmla="*/ 14 w 127"/>
              <a:gd name="T97" fmla="*/ 92 h 107"/>
              <a:gd name="T98" fmla="*/ 17 w 127"/>
              <a:gd name="T99" fmla="*/ 96 h 107"/>
              <a:gd name="T100" fmla="*/ 18 w 127"/>
              <a:gd name="T101" fmla="*/ 97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27" h="107">
                <a:moveTo>
                  <a:pt x="26" y="101"/>
                </a:moveTo>
                <a:cubicBezTo>
                  <a:pt x="31" y="99"/>
                  <a:pt x="31" y="99"/>
                  <a:pt x="31" y="99"/>
                </a:cubicBezTo>
                <a:cubicBezTo>
                  <a:pt x="37" y="99"/>
                  <a:pt x="37" y="99"/>
                  <a:pt x="37" y="99"/>
                </a:cubicBezTo>
                <a:cubicBezTo>
                  <a:pt x="38" y="100"/>
                  <a:pt x="38" y="100"/>
                  <a:pt x="38" y="100"/>
                </a:cubicBezTo>
                <a:cubicBezTo>
                  <a:pt x="39" y="103"/>
                  <a:pt x="41" y="105"/>
                  <a:pt x="42" y="106"/>
                </a:cubicBezTo>
                <a:cubicBezTo>
                  <a:pt x="45" y="105"/>
                  <a:pt x="49" y="106"/>
                  <a:pt x="52" y="107"/>
                </a:cubicBezTo>
                <a:cubicBezTo>
                  <a:pt x="52" y="107"/>
                  <a:pt x="52" y="107"/>
                  <a:pt x="52" y="107"/>
                </a:cubicBezTo>
                <a:cubicBezTo>
                  <a:pt x="54" y="107"/>
                  <a:pt x="58" y="106"/>
                  <a:pt x="58" y="103"/>
                </a:cubicBezTo>
                <a:cubicBezTo>
                  <a:pt x="58" y="103"/>
                  <a:pt x="58" y="103"/>
                  <a:pt x="58" y="103"/>
                </a:cubicBezTo>
                <a:cubicBezTo>
                  <a:pt x="64" y="101"/>
                  <a:pt x="71" y="98"/>
                  <a:pt x="72" y="97"/>
                </a:cubicBezTo>
                <a:cubicBezTo>
                  <a:pt x="74" y="95"/>
                  <a:pt x="80" y="94"/>
                  <a:pt x="83" y="93"/>
                </a:cubicBezTo>
                <a:cubicBezTo>
                  <a:pt x="82" y="83"/>
                  <a:pt x="82" y="83"/>
                  <a:pt x="82" y="83"/>
                </a:cubicBezTo>
                <a:cubicBezTo>
                  <a:pt x="82" y="82"/>
                  <a:pt x="82" y="82"/>
                  <a:pt x="83" y="81"/>
                </a:cubicBezTo>
                <a:cubicBezTo>
                  <a:pt x="83" y="81"/>
                  <a:pt x="83" y="81"/>
                  <a:pt x="84" y="81"/>
                </a:cubicBezTo>
                <a:cubicBezTo>
                  <a:pt x="101" y="81"/>
                  <a:pt x="101" y="81"/>
                  <a:pt x="101" y="81"/>
                </a:cubicBezTo>
                <a:cubicBezTo>
                  <a:pt x="108" y="81"/>
                  <a:pt x="108" y="81"/>
                  <a:pt x="108" y="81"/>
                </a:cubicBezTo>
                <a:cubicBezTo>
                  <a:pt x="123" y="82"/>
                  <a:pt x="123" y="82"/>
                  <a:pt x="123" y="82"/>
                </a:cubicBezTo>
                <a:cubicBezTo>
                  <a:pt x="123" y="82"/>
                  <a:pt x="123" y="82"/>
                  <a:pt x="123" y="82"/>
                </a:cubicBezTo>
                <a:cubicBezTo>
                  <a:pt x="123" y="82"/>
                  <a:pt x="123" y="82"/>
                  <a:pt x="123" y="82"/>
                </a:cubicBezTo>
                <a:cubicBezTo>
                  <a:pt x="124" y="80"/>
                  <a:pt x="125" y="78"/>
                  <a:pt x="126" y="77"/>
                </a:cubicBezTo>
                <a:cubicBezTo>
                  <a:pt x="125" y="76"/>
                  <a:pt x="126" y="75"/>
                  <a:pt x="126" y="75"/>
                </a:cubicBezTo>
                <a:cubicBezTo>
                  <a:pt x="127" y="74"/>
                  <a:pt x="127" y="74"/>
                  <a:pt x="127" y="74"/>
                </a:cubicBezTo>
                <a:cubicBezTo>
                  <a:pt x="127" y="73"/>
                  <a:pt x="127" y="73"/>
                  <a:pt x="127" y="73"/>
                </a:cubicBezTo>
                <a:cubicBezTo>
                  <a:pt x="127" y="72"/>
                  <a:pt x="126" y="70"/>
                  <a:pt x="127" y="68"/>
                </a:cubicBezTo>
                <a:cubicBezTo>
                  <a:pt x="126" y="67"/>
                  <a:pt x="123" y="65"/>
                  <a:pt x="122" y="64"/>
                </a:cubicBezTo>
                <a:cubicBezTo>
                  <a:pt x="122" y="64"/>
                  <a:pt x="121" y="63"/>
                  <a:pt x="121" y="63"/>
                </a:cubicBezTo>
                <a:cubicBezTo>
                  <a:pt x="120" y="62"/>
                  <a:pt x="117" y="61"/>
                  <a:pt x="116" y="60"/>
                </a:cubicBezTo>
                <a:cubicBezTo>
                  <a:pt x="110" y="58"/>
                  <a:pt x="110" y="58"/>
                  <a:pt x="110" y="58"/>
                </a:cubicBezTo>
                <a:cubicBezTo>
                  <a:pt x="106" y="50"/>
                  <a:pt x="106" y="50"/>
                  <a:pt x="106" y="50"/>
                </a:cubicBezTo>
                <a:cubicBezTo>
                  <a:pt x="106" y="48"/>
                  <a:pt x="105" y="45"/>
                  <a:pt x="105" y="44"/>
                </a:cubicBezTo>
                <a:cubicBezTo>
                  <a:pt x="104" y="43"/>
                  <a:pt x="104" y="42"/>
                  <a:pt x="106" y="37"/>
                </a:cubicBezTo>
                <a:cubicBezTo>
                  <a:pt x="106" y="36"/>
                  <a:pt x="107" y="34"/>
                  <a:pt x="107" y="33"/>
                </a:cubicBezTo>
                <a:cubicBezTo>
                  <a:pt x="107" y="31"/>
                  <a:pt x="108" y="30"/>
                  <a:pt x="109" y="29"/>
                </a:cubicBezTo>
                <a:cubicBezTo>
                  <a:pt x="109" y="29"/>
                  <a:pt x="110" y="28"/>
                  <a:pt x="111" y="27"/>
                </a:cubicBezTo>
                <a:cubicBezTo>
                  <a:pt x="111" y="26"/>
                  <a:pt x="112" y="21"/>
                  <a:pt x="112" y="13"/>
                </a:cubicBezTo>
                <a:cubicBezTo>
                  <a:pt x="111" y="13"/>
                  <a:pt x="110" y="13"/>
                  <a:pt x="109" y="12"/>
                </a:cubicBezTo>
                <a:cubicBezTo>
                  <a:pt x="102" y="20"/>
                  <a:pt x="102" y="20"/>
                  <a:pt x="102" y="20"/>
                </a:cubicBezTo>
                <a:cubicBezTo>
                  <a:pt x="101" y="20"/>
                  <a:pt x="101" y="20"/>
                  <a:pt x="101" y="20"/>
                </a:cubicBezTo>
                <a:cubicBezTo>
                  <a:pt x="96" y="20"/>
                  <a:pt x="86" y="20"/>
                  <a:pt x="84" y="20"/>
                </a:cubicBezTo>
                <a:cubicBezTo>
                  <a:pt x="82" y="20"/>
                  <a:pt x="78" y="20"/>
                  <a:pt x="77" y="20"/>
                </a:cubicBezTo>
                <a:cubicBezTo>
                  <a:pt x="74" y="18"/>
                  <a:pt x="70" y="17"/>
                  <a:pt x="69" y="17"/>
                </a:cubicBezTo>
                <a:cubicBezTo>
                  <a:pt x="67" y="17"/>
                  <a:pt x="67" y="17"/>
                  <a:pt x="67" y="17"/>
                </a:cubicBezTo>
                <a:cubicBezTo>
                  <a:pt x="65" y="17"/>
                  <a:pt x="61" y="16"/>
                  <a:pt x="60" y="16"/>
                </a:cubicBezTo>
                <a:cubicBezTo>
                  <a:pt x="57" y="15"/>
                  <a:pt x="57" y="15"/>
                  <a:pt x="57" y="15"/>
                </a:cubicBezTo>
                <a:cubicBezTo>
                  <a:pt x="49" y="12"/>
                  <a:pt x="49" y="12"/>
                  <a:pt x="49" y="12"/>
                </a:cubicBezTo>
                <a:cubicBezTo>
                  <a:pt x="43" y="10"/>
                  <a:pt x="43" y="10"/>
                  <a:pt x="43" y="10"/>
                </a:cubicBezTo>
                <a:cubicBezTo>
                  <a:pt x="36" y="8"/>
                  <a:pt x="36" y="8"/>
                  <a:pt x="36" y="8"/>
                </a:cubicBezTo>
                <a:cubicBezTo>
                  <a:pt x="36" y="6"/>
                  <a:pt x="36" y="6"/>
                  <a:pt x="36" y="6"/>
                </a:cubicBezTo>
                <a:cubicBezTo>
                  <a:pt x="33" y="3"/>
                  <a:pt x="31" y="1"/>
                  <a:pt x="31" y="0"/>
                </a:cubicBezTo>
                <a:cubicBezTo>
                  <a:pt x="30" y="0"/>
                  <a:pt x="29" y="1"/>
                  <a:pt x="28" y="1"/>
                </a:cubicBezTo>
                <a:cubicBezTo>
                  <a:pt x="28" y="1"/>
                  <a:pt x="28" y="1"/>
                  <a:pt x="28" y="1"/>
                </a:cubicBezTo>
                <a:cubicBezTo>
                  <a:pt x="25" y="3"/>
                  <a:pt x="25" y="3"/>
                  <a:pt x="25" y="3"/>
                </a:cubicBezTo>
                <a:cubicBezTo>
                  <a:pt x="24" y="6"/>
                  <a:pt x="23" y="10"/>
                  <a:pt x="23" y="10"/>
                </a:cubicBezTo>
                <a:cubicBezTo>
                  <a:pt x="23" y="13"/>
                  <a:pt x="21" y="14"/>
                  <a:pt x="19" y="15"/>
                </a:cubicBezTo>
                <a:cubicBezTo>
                  <a:pt x="19" y="18"/>
                  <a:pt x="19" y="18"/>
                  <a:pt x="19" y="18"/>
                </a:cubicBezTo>
                <a:cubicBezTo>
                  <a:pt x="19" y="18"/>
                  <a:pt x="18" y="20"/>
                  <a:pt x="17" y="24"/>
                </a:cubicBezTo>
                <a:cubicBezTo>
                  <a:pt x="16" y="27"/>
                  <a:pt x="14" y="28"/>
                  <a:pt x="12" y="28"/>
                </a:cubicBezTo>
                <a:cubicBezTo>
                  <a:pt x="12" y="28"/>
                  <a:pt x="12" y="28"/>
                  <a:pt x="12" y="28"/>
                </a:cubicBezTo>
                <a:cubicBezTo>
                  <a:pt x="12" y="28"/>
                  <a:pt x="12" y="28"/>
                  <a:pt x="12" y="28"/>
                </a:cubicBezTo>
                <a:cubicBezTo>
                  <a:pt x="12" y="28"/>
                  <a:pt x="12" y="28"/>
                  <a:pt x="11" y="28"/>
                </a:cubicBezTo>
                <a:cubicBezTo>
                  <a:pt x="11" y="28"/>
                  <a:pt x="11" y="28"/>
                  <a:pt x="11" y="28"/>
                </a:cubicBezTo>
                <a:cubicBezTo>
                  <a:pt x="11" y="28"/>
                  <a:pt x="11" y="28"/>
                  <a:pt x="11" y="28"/>
                </a:cubicBezTo>
                <a:cubicBezTo>
                  <a:pt x="11" y="28"/>
                  <a:pt x="11" y="28"/>
                  <a:pt x="11" y="28"/>
                </a:cubicBezTo>
                <a:cubicBezTo>
                  <a:pt x="10" y="28"/>
                  <a:pt x="10" y="28"/>
                  <a:pt x="10" y="27"/>
                </a:cubicBezTo>
                <a:cubicBezTo>
                  <a:pt x="9" y="29"/>
                  <a:pt x="9" y="29"/>
                  <a:pt x="9" y="29"/>
                </a:cubicBezTo>
                <a:cubicBezTo>
                  <a:pt x="8" y="30"/>
                  <a:pt x="8" y="30"/>
                  <a:pt x="7" y="30"/>
                </a:cubicBezTo>
                <a:cubicBezTo>
                  <a:pt x="6" y="30"/>
                  <a:pt x="6" y="30"/>
                  <a:pt x="6" y="30"/>
                </a:cubicBezTo>
                <a:cubicBezTo>
                  <a:pt x="6" y="31"/>
                  <a:pt x="6" y="31"/>
                  <a:pt x="6" y="31"/>
                </a:cubicBezTo>
                <a:cubicBezTo>
                  <a:pt x="5" y="32"/>
                  <a:pt x="5" y="32"/>
                  <a:pt x="4" y="32"/>
                </a:cubicBezTo>
                <a:cubicBezTo>
                  <a:pt x="2" y="32"/>
                  <a:pt x="2" y="32"/>
                  <a:pt x="2" y="32"/>
                </a:cubicBezTo>
                <a:cubicBezTo>
                  <a:pt x="0" y="34"/>
                  <a:pt x="0" y="34"/>
                  <a:pt x="0" y="34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5"/>
                  <a:pt x="0" y="45"/>
                  <a:pt x="0" y="45"/>
                </a:cubicBezTo>
                <a:cubicBezTo>
                  <a:pt x="2" y="46"/>
                  <a:pt x="2" y="46"/>
                  <a:pt x="2" y="46"/>
                </a:cubicBezTo>
                <a:cubicBezTo>
                  <a:pt x="2" y="47"/>
                  <a:pt x="3" y="47"/>
                  <a:pt x="3" y="48"/>
                </a:cubicBezTo>
                <a:cubicBezTo>
                  <a:pt x="3" y="49"/>
                  <a:pt x="4" y="52"/>
                  <a:pt x="5" y="55"/>
                </a:cubicBezTo>
                <a:cubicBezTo>
                  <a:pt x="6" y="55"/>
                  <a:pt x="6" y="55"/>
                  <a:pt x="6" y="55"/>
                </a:cubicBezTo>
                <a:cubicBezTo>
                  <a:pt x="7" y="55"/>
                  <a:pt x="7" y="55"/>
                  <a:pt x="7" y="56"/>
                </a:cubicBezTo>
                <a:cubicBezTo>
                  <a:pt x="9" y="58"/>
                  <a:pt x="9" y="58"/>
                  <a:pt x="9" y="58"/>
                </a:cubicBezTo>
                <a:cubicBezTo>
                  <a:pt x="9" y="58"/>
                  <a:pt x="10" y="58"/>
                  <a:pt x="10" y="59"/>
                </a:cubicBezTo>
                <a:cubicBezTo>
                  <a:pt x="10" y="63"/>
                  <a:pt x="10" y="63"/>
                  <a:pt x="10" y="63"/>
                </a:cubicBezTo>
                <a:cubicBezTo>
                  <a:pt x="12" y="64"/>
                  <a:pt x="12" y="64"/>
                  <a:pt x="12" y="64"/>
                </a:cubicBezTo>
                <a:cubicBezTo>
                  <a:pt x="12" y="65"/>
                  <a:pt x="12" y="65"/>
                  <a:pt x="12" y="65"/>
                </a:cubicBezTo>
                <a:cubicBezTo>
                  <a:pt x="13" y="67"/>
                  <a:pt x="13" y="67"/>
                  <a:pt x="13" y="67"/>
                </a:cubicBezTo>
                <a:cubicBezTo>
                  <a:pt x="15" y="69"/>
                  <a:pt x="15" y="69"/>
                  <a:pt x="15" y="69"/>
                </a:cubicBezTo>
                <a:cubicBezTo>
                  <a:pt x="15" y="70"/>
                  <a:pt x="15" y="70"/>
                  <a:pt x="15" y="70"/>
                </a:cubicBezTo>
                <a:cubicBezTo>
                  <a:pt x="15" y="71"/>
                  <a:pt x="15" y="71"/>
                  <a:pt x="15" y="71"/>
                </a:cubicBezTo>
                <a:cubicBezTo>
                  <a:pt x="17" y="75"/>
                  <a:pt x="17" y="75"/>
                  <a:pt x="17" y="75"/>
                </a:cubicBezTo>
                <a:cubicBezTo>
                  <a:pt x="17" y="76"/>
                  <a:pt x="17" y="76"/>
                  <a:pt x="17" y="76"/>
                </a:cubicBezTo>
                <a:cubicBezTo>
                  <a:pt x="17" y="78"/>
                  <a:pt x="17" y="78"/>
                  <a:pt x="17" y="78"/>
                </a:cubicBezTo>
                <a:cubicBezTo>
                  <a:pt x="17" y="79"/>
                  <a:pt x="17" y="79"/>
                  <a:pt x="17" y="79"/>
                </a:cubicBezTo>
                <a:cubicBezTo>
                  <a:pt x="16" y="83"/>
                  <a:pt x="16" y="83"/>
                  <a:pt x="16" y="83"/>
                </a:cubicBezTo>
                <a:cubicBezTo>
                  <a:pt x="16" y="83"/>
                  <a:pt x="15" y="83"/>
                  <a:pt x="15" y="84"/>
                </a:cubicBezTo>
                <a:cubicBezTo>
                  <a:pt x="13" y="86"/>
                  <a:pt x="12" y="87"/>
                  <a:pt x="12" y="88"/>
                </a:cubicBezTo>
                <a:cubicBezTo>
                  <a:pt x="12" y="89"/>
                  <a:pt x="12" y="89"/>
                  <a:pt x="12" y="89"/>
                </a:cubicBezTo>
                <a:cubicBezTo>
                  <a:pt x="13" y="89"/>
                  <a:pt x="13" y="90"/>
                  <a:pt x="14" y="91"/>
                </a:cubicBezTo>
                <a:cubicBezTo>
                  <a:pt x="14" y="92"/>
                  <a:pt x="14" y="92"/>
                  <a:pt x="14" y="92"/>
                </a:cubicBezTo>
                <a:cubicBezTo>
                  <a:pt x="17" y="95"/>
                  <a:pt x="17" y="95"/>
                  <a:pt x="17" y="95"/>
                </a:cubicBezTo>
                <a:cubicBezTo>
                  <a:pt x="17" y="96"/>
                  <a:pt x="17" y="96"/>
                  <a:pt x="17" y="96"/>
                </a:cubicBezTo>
                <a:cubicBezTo>
                  <a:pt x="17" y="97"/>
                  <a:pt x="18" y="97"/>
                  <a:pt x="18" y="97"/>
                </a:cubicBezTo>
                <a:cubicBezTo>
                  <a:pt x="18" y="97"/>
                  <a:pt x="18" y="97"/>
                  <a:pt x="18" y="97"/>
                </a:cubicBezTo>
                <a:lnTo>
                  <a:pt x="26" y="10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5" name="Freeform 106">
            <a:extLst>
              <a:ext uri="{FF2B5EF4-FFF2-40B4-BE49-F238E27FC236}">
                <a16:creationId xmlns:a16="http://schemas.microsoft.com/office/drawing/2014/main" id="{AB0D0DB9-9E1B-4292-BC8B-893CF21AFFE3}"/>
              </a:ext>
            </a:extLst>
          </p:cNvPr>
          <p:cNvSpPr>
            <a:spLocks/>
          </p:cNvSpPr>
          <p:nvPr/>
        </p:nvSpPr>
        <p:spPr bwMode="auto">
          <a:xfrm>
            <a:off x="5108985" y="4017491"/>
            <a:ext cx="208095" cy="171450"/>
          </a:xfrm>
          <a:custGeom>
            <a:avLst/>
            <a:gdLst>
              <a:gd name="T0" fmla="*/ 74 w 86"/>
              <a:gd name="T1" fmla="*/ 61 h 77"/>
              <a:gd name="T2" fmla="*/ 82 w 86"/>
              <a:gd name="T3" fmla="*/ 49 h 77"/>
              <a:gd name="T4" fmla="*/ 86 w 86"/>
              <a:gd name="T5" fmla="*/ 48 h 77"/>
              <a:gd name="T6" fmla="*/ 84 w 86"/>
              <a:gd name="T7" fmla="*/ 41 h 77"/>
              <a:gd name="T8" fmla="*/ 73 w 86"/>
              <a:gd name="T9" fmla="*/ 34 h 77"/>
              <a:gd name="T10" fmla="*/ 72 w 86"/>
              <a:gd name="T11" fmla="*/ 32 h 77"/>
              <a:gd name="T12" fmla="*/ 63 w 86"/>
              <a:gd name="T13" fmla="*/ 24 h 77"/>
              <a:gd name="T14" fmla="*/ 50 w 86"/>
              <a:gd name="T15" fmla="*/ 30 h 77"/>
              <a:gd name="T16" fmla="*/ 44 w 86"/>
              <a:gd name="T17" fmla="*/ 36 h 77"/>
              <a:gd name="T18" fmla="*/ 43 w 86"/>
              <a:gd name="T19" fmla="*/ 42 h 77"/>
              <a:gd name="T20" fmla="*/ 35 w 86"/>
              <a:gd name="T21" fmla="*/ 36 h 77"/>
              <a:gd name="T22" fmla="*/ 31 w 86"/>
              <a:gd name="T23" fmla="*/ 31 h 77"/>
              <a:gd name="T24" fmla="*/ 27 w 86"/>
              <a:gd name="T25" fmla="*/ 26 h 77"/>
              <a:gd name="T26" fmla="*/ 20 w 86"/>
              <a:gd name="T27" fmla="*/ 26 h 77"/>
              <a:gd name="T28" fmla="*/ 14 w 86"/>
              <a:gd name="T29" fmla="*/ 25 h 77"/>
              <a:gd name="T30" fmla="*/ 8 w 86"/>
              <a:gd name="T31" fmla="*/ 19 h 77"/>
              <a:gd name="T32" fmla="*/ 9 w 86"/>
              <a:gd name="T33" fmla="*/ 11 h 77"/>
              <a:gd name="T34" fmla="*/ 13 w 86"/>
              <a:gd name="T35" fmla="*/ 7 h 77"/>
              <a:gd name="T36" fmla="*/ 15 w 86"/>
              <a:gd name="T37" fmla="*/ 1 h 77"/>
              <a:gd name="T38" fmla="*/ 11 w 86"/>
              <a:gd name="T39" fmla="*/ 0 h 77"/>
              <a:gd name="T40" fmla="*/ 8 w 86"/>
              <a:gd name="T41" fmla="*/ 3 h 77"/>
              <a:gd name="T42" fmla="*/ 1 w 86"/>
              <a:gd name="T43" fmla="*/ 15 h 77"/>
              <a:gd name="T44" fmla="*/ 0 w 86"/>
              <a:gd name="T45" fmla="*/ 21 h 77"/>
              <a:gd name="T46" fmla="*/ 17 w 86"/>
              <a:gd name="T47" fmla="*/ 57 h 77"/>
              <a:gd name="T48" fmla="*/ 20 w 86"/>
              <a:gd name="T49" fmla="*/ 62 h 77"/>
              <a:gd name="T50" fmla="*/ 38 w 86"/>
              <a:gd name="T51" fmla="*/ 75 h 77"/>
              <a:gd name="T52" fmla="*/ 49 w 86"/>
              <a:gd name="T53" fmla="*/ 77 h 77"/>
              <a:gd name="T54" fmla="*/ 54 w 86"/>
              <a:gd name="T55" fmla="*/ 72 h 77"/>
              <a:gd name="T56" fmla="*/ 57 w 86"/>
              <a:gd name="T57" fmla="*/ 71 h 77"/>
              <a:gd name="T58" fmla="*/ 64 w 86"/>
              <a:gd name="T59" fmla="*/ 70 h 77"/>
              <a:gd name="T60" fmla="*/ 69 w 86"/>
              <a:gd name="T61" fmla="*/ 67 h 77"/>
              <a:gd name="T62" fmla="*/ 72 w 86"/>
              <a:gd name="T63" fmla="*/ 66 h 77"/>
              <a:gd name="T64" fmla="*/ 75 w 86"/>
              <a:gd name="T65" fmla="*/ 65 h 77"/>
              <a:gd name="T66" fmla="*/ 73 w 86"/>
              <a:gd name="T67" fmla="*/ 62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86" h="77">
                <a:moveTo>
                  <a:pt x="73" y="62"/>
                </a:moveTo>
                <a:cubicBezTo>
                  <a:pt x="73" y="62"/>
                  <a:pt x="73" y="61"/>
                  <a:pt x="74" y="61"/>
                </a:cubicBezTo>
                <a:cubicBezTo>
                  <a:pt x="81" y="56"/>
                  <a:pt x="81" y="56"/>
                  <a:pt x="81" y="56"/>
                </a:cubicBezTo>
                <a:cubicBezTo>
                  <a:pt x="80" y="51"/>
                  <a:pt x="81" y="50"/>
                  <a:pt x="82" y="49"/>
                </a:cubicBezTo>
                <a:cubicBezTo>
                  <a:pt x="82" y="49"/>
                  <a:pt x="83" y="49"/>
                  <a:pt x="84" y="49"/>
                </a:cubicBezTo>
                <a:cubicBezTo>
                  <a:pt x="84" y="49"/>
                  <a:pt x="85" y="49"/>
                  <a:pt x="86" y="48"/>
                </a:cubicBezTo>
                <a:cubicBezTo>
                  <a:pt x="86" y="46"/>
                  <a:pt x="86" y="46"/>
                  <a:pt x="86" y="46"/>
                </a:cubicBezTo>
                <a:cubicBezTo>
                  <a:pt x="84" y="41"/>
                  <a:pt x="84" y="41"/>
                  <a:pt x="84" y="41"/>
                </a:cubicBezTo>
                <a:cubicBezTo>
                  <a:pt x="74" y="36"/>
                  <a:pt x="74" y="36"/>
                  <a:pt x="74" y="36"/>
                </a:cubicBezTo>
                <a:cubicBezTo>
                  <a:pt x="73" y="35"/>
                  <a:pt x="73" y="35"/>
                  <a:pt x="73" y="34"/>
                </a:cubicBezTo>
                <a:cubicBezTo>
                  <a:pt x="73" y="32"/>
                  <a:pt x="73" y="32"/>
                  <a:pt x="73" y="32"/>
                </a:cubicBezTo>
                <a:cubicBezTo>
                  <a:pt x="72" y="32"/>
                  <a:pt x="72" y="32"/>
                  <a:pt x="72" y="32"/>
                </a:cubicBezTo>
                <a:cubicBezTo>
                  <a:pt x="69" y="28"/>
                  <a:pt x="69" y="28"/>
                  <a:pt x="69" y="28"/>
                </a:cubicBezTo>
                <a:cubicBezTo>
                  <a:pt x="63" y="24"/>
                  <a:pt x="63" y="24"/>
                  <a:pt x="63" y="24"/>
                </a:cubicBezTo>
                <a:cubicBezTo>
                  <a:pt x="61" y="25"/>
                  <a:pt x="61" y="25"/>
                  <a:pt x="61" y="25"/>
                </a:cubicBezTo>
                <a:cubicBezTo>
                  <a:pt x="50" y="30"/>
                  <a:pt x="50" y="30"/>
                  <a:pt x="50" y="30"/>
                </a:cubicBezTo>
                <a:cubicBezTo>
                  <a:pt x="47" y="33"/>
                  <a:pt x="47" y="33"/>
                  <a:pt x="47" y="33"/>
                </a:cubicBezTo>
                <a:cubicBezTo>
                  <a:pt x="45" y="35"/>
                  <a:pt x="45" y="36"/>
                  <a:pt x="44" y="36"/>
                </a:cubicBezTo>
                <a:cubicBezTo>
                  <a:pt x="44" y="37"/>
                  <a:pt x="44" y="39"/>
                  <a:pt x="44" y="40"/>
                </a:cubicBezTo>
                <a:cubicBezTo>
                  <a:pt x="44" y="41"/>
                  <a:pt x="44" y="41"/>
                  <a:pt x="43" y="42"/>
                </a:cubicBezTo>
                <a:cubicBezTo>
                  <a:pt x="42" y="42"/>
                  <a:pt x="41" y="42"/>
                  <a:pt x="41" y="42"/>
                </a:cubicBezTo>
                <a:cubicBezTo>
                  <a:pt x="35" y="36"/>
                  <a:pt x="35" y="36"/>
                  <a:pt x="35" y="36"/>
                </a:cubicBezTo>
                <a:cubicBezTo>
                  <a:pt x="35" y="36"/>
                  <a:pt x="34" y="36"/>
                  <a:pt x="34" y="36"/>
                </a:cubicBezTo>
                <a:cubicBezTo>
                  <a:pt x="31" y="31"/>
                  <a:pt x="31" y="31"/>
                  <a:pt x="31" y="31"/>
                </a:cubicBezTo>
                <a:cubicBezTo>
                  <a:pt x="30" y="29"/>
                  <a:pt x="29" y="27"/>
                  <a:pt x="28" y="25"/>
                </a:cubicBezTo>
                <a:cubicBezTo>
                  <a:pt x="27" y="25"/>
                  <a:pt x="27" y="26"/>
                  <a:pt x="27" y="26"/>
                </a:cubicBezTo>
                <a:cubicBezTo>
                  <a:pt x="25" y="26"/>
                  <a:pt x="23" y="25"/>
                  <a:pt x="21" y="24"/>
                </a:cubicBezTo>
                <a:cubicBezTo>
                  <a:pt x="20" y="26"/>
                  <a:pt x="20" y="26"/>
                  <a:pt x="20" y="26"/>
                </a:cubicBezTo>
                <a:cubicBezTo>
                  <a:pt x="19" y="26"/>
                  <a:pt x="18" y="27"/>
                  <a:pt x="18" y="26"/>
                </a:cubicBezTo>
                <a:cubicBezTo>
                  <a:pt x="14" y="25"/>
                  <a:pt x="14" y="25"/>
                  <a:pt x="14" y="25"/>
                </a:cubicBezTo>
                <a:cubicBezTo>
                  <a:pt x="14" y="25"/>
                  <a:pt x="13" y="25"/>
                  <a:pt x="13" y="25"/>
                </a:cubicBezTo>
                <a:cubicBezTo>
                  <a:pt x="8" y="19"/>
                  <a:pt x="8" y="19"/>
                  <a:pt x="8" y="19"/>
                </a:cubicBezTo>
                <a:cubicBezTo>
                  <a:pt x="8" y="19"/>
                  <a:pt x="7" y="18"/>
                  <a:pt x="8" y="17"/>
                </a:cubicBezTo>
                <a:cubicBezTo>
                  <a:pt x="9" y="11"/>
                  <a:pt x="9" y="11"/>
                  <a:pt x="9" y="11"/>
                </a:cubicBezTo>
                <a:cubicBezTo>
                  <a:pt x="9" y="11"/>
                  <a:pt x="9" y="11"/>
                  <a:pt x="9" y="11"/>
                </a:cubicBezTo>
                <a:cubicBezTo>
                  <a:pt x="10" y="10"/>
                  <a:pt x="11" y="8"/>
                  <a:pt x="13" y="7"/>
                </a:cubicBezTo>
                <a:cubicBezTo>
                  <a:pt x="12" y="6"/>
                  <a:pt x="12" y="5"/>
                  <a:pt x="13" y="4"/>
                </a:cubicBezTo>
                <a:cubicBezTo>
                  <a:pt x="15" y="1"/>
                  <a:pt x="15" y="1"/>
                  <a:pt x="15" y="1"/>
                </a:cubicBezTo>
                <a:cubicBezTo>
                  <a:pt x="13" y="0"/>
                  <a:pt x="13" y="0"/>
                  <a:pt x="13" y="0"/>
                </a:cubicBezTo>
                <a:cubicBezTo>
                  <a:pt x="11" y="0"/>
                  <a:pt x="11" y="0"/>
                  <a:pt x="11" y="0"/>
                </a:cubicBezTo>
                <a:cubicBezTo>
                  <a:pt x="11" y="0"/>
                  <a:pt x="10" y="0"/>
                  <a:pt x="10" y="0"/>
                </a:cubicBezTo>
                <a:cubicBezTo>
                  <a:pt x="8" y="3"/>
                  <a:pt x="8" y="3"/>
                  <a:pt x="8" y="3"/>
                </a:cubicBezTo>
                <a:cubicBezTo>
                  <a:pt x="6" y="6"/>
                  <a:pt x="6" y="6"/>
                  <a:pt x="6" y="6"/>
                </a:cubicBezTo>
                <a:cubicBezTo>
                  <a:pt x="1" y="15"/>
                  <a:pt x="1" y="15"/>
                  <a:pt x="1" y="15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22"/>
                  <a:pt x="0" y="22"/>
                  <a:pt x="0" y="22"/>
                </a:cubicBezTo>
                <a:cubicBezTo>
                  <a:pt x="17" y="57"/>
                  <a:pt x="17" y="57"/>
                  <a:pt x="17" y="57"/>
                </a:cubicBezTo>
                <a:cubicBezTo>
                  <a:pt x="19" y="60"/>
                  <a:pt x="19" y="60"/>
                  <a:pt x="19" y="60"/>
                </a:cubicBezTo>
                <a:cubicBezTo>
                  <a:pt x="20" y="62"/>
                  <a:pt x="20" y="62"/>
                  <a:pt x="20" y="62"/>
                </a:cubicBezTo>
                <a:cubicBezTo>
                  <a:pt x="22" y="65"/>
                  <a:pt x="22" y="65"/>
                  <a:pt x="22" y="65"/>
                </a:cubicBezTo>
                <a:cubicBezTo>
                  <a:pt x="38" y="75"/>
                  <a:pt x="38" y="75"/>
                  <a:pt x="38" y="75"/>
                </a:cubicBezTo>
                <a:cubicBezTo>
                  <a:pt x="40" y="76"/>
                  <a:pt x="40" y="76"/>
                  <a:pt x="40" y="76"/>
                </a:cubicBezTo>
                <a:cubicBezTo>
                  <a:pt x="49" y="77"/>
                  <a:pt x="49" y="77"/>
                  <a:pt x="49" y="77"/>
                </a:cubicBezTo>
                <a:cubicBezTo>
                  <a:pt x="51" y="76"/>
                  <a:pt x="51" y="76"/>
                  <a:pt x="51" y="76"/>
                </a:cubicBezTo>
                <a:cubicBezTo>
                  <a:pt x="54" y="72"/>
                  <a:pt x="54" y="72"/>
                  <a:pt x="54" y="72"/>
                </a:cubicBezTo>
                <a:cubicBezTo>
                  <a:pt x="56" y="71"/>
                  <a:pt x="56" y="71"/>
                  <a:pt x="56" y="71"/>
                </a:cubicBezTo>
                <a:cubicBezTo>
                  <a:pt x="57" y="71"/>
                  <a:pt x="57" y="71"/>
                  <a:pt x="57" y="71"/>
                </a:cubicBezTo>
                <a:cubicBezTo>
                  <a:pt x="61" y="70"/>
                  <a:pt x="61" y="70"/>
                  <a:pt x="61" y="70"/>
                </a:cubicBezTo>
                <a:cubicBezTo>
                  <a:pt x="64" y="70"/>
                  <a:pt x="64" y="70"/>
                  <a:pt x="64" y="70"/>
                </a:cubicBezTo>
                <a:cubicBezTo>
                  <a:pt x="66" y="69"/>
                  <a:pt x="66" y="69"/>
                  <a:pt x="66" y="69"/>
                </a:cubicBezTo>
                <a:cubicBezTo>
                  <a:pt x="69" y="67"/>
                  <a:pt x="69" y="67"/>
                  <a:pt x="69" y="67"/>
                </a:cubicBezTo>
                <a:cubicBezTo>
                  <a:pt x="71" y="66"/>
                  <a:pt x="71" y="66"/>
                  <a:pt x="71" y="66"/>
                </a:cubicBezTo>
                <a:cubicBezTo>
                  <a:pt x="71" y="66"/>
                  <a:pt x="71" y="66"/>
                  <a:pt x="72" y="66"/>
                </a:cubicBezTo>
                <a:cubicBezTo>
                  <a:pt x="75" y="65"/>
                  <a:pt x="75" y="65"/>
                  <a:pt x="75" y="65"/>
                </a:cubicBezTo>
                <a:cubicBezTo>
                  <a:pt x="75" y="65"/>
                  <a:pt x="75" y="65"/>
                  <a:pt x="75" y="65"/>
                </a:cubicBezTo>
                <a:cubicBezTo>
                  <a:pt x="74" y="64"/>
                  <a:pt x="74" y="64"/>
                  <a:pt x="74" y="64"/>
                </a:cubicBezTo>
                <a:cubicBezTo>
                  <a:pt x="73" y="64"/>
                  <a:pt x="73" y="63"/>
                  <a:pt x="73" y="6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6" name="Freeform 107">
            <a:extLst>
              <a:ext uri="{FF2B5EF4-FFF2-40B4-BE49-F238E27FC236}">
                <a16:creationId xmlns:a16="http://schemas.microsoft.com/office/drawing/2014/main" id="{867C8ACA-E026-411C-9A61-F97A98F678E1}"/>
              </a:ext>
            </a:extLst>
          </p:cNvPr>
          <p:cNvSpPr>
            <a:spLocks/>
          </p:cNvSpPr>
          <p:nvPr/>
        </p:nvSpPr>
        <p:spPr bwMode="auto">
          <a:xfrm>
            <a:off x="5131343" y="4111157"/>
            <a:ext cx="431668" cy="282575"/>
          </a:xfrm>
          <a:custGeom>
            <a:avLst/>
            <a:gdLst>
              <a:gd name="T0" fmla="*/ 175 w 179"/>
              <a:gd name="T1" fmla="*/ 45 h 127"/>
              <a:gd name="T2" fmla="*/ 174 w 179"/>
              <a:gd name="T3" fmla="*/ 32 h 127"/>
              <a:gd name="T4" fmla="*/ 168 w 179"/>
              <a:gd name="T5" fmla="*/ 30 h 127"/>
              <a:gd name="T6" fmla="*/ 163 w 179"/>
              <a:gd name="T7" fmla="*/ 23 h 127"/>
              <a:gd name="T8" fmla="*/ 161 w 179"/>
              <a:gd name="T9" fmla="*/ 16 h 127"/>
              <a:gd name="T10" fmla="*/ 155 w 179"/>
              <a:gd name="T11" fmla="*/ 12 h 127"/>
              <a:gd name="T12" fmla="*/ 146 w 179"/>
              <a:gd name="T13" fmla="*/ 18 h 127"/>
              <a:gd name="T14" fmla="*/ 136 w 179"/>
              <a:gd name="T15" fmla="*/ 18 h 127"/>
              <a:gd name="T16" fmla="*/ 126 w 179"/>
              <a:gd name="T17" fmla="*/ 11 h 127"/>
              <a:gd name="T18" fmla="*/ 116 w 179"/>
              <a:gd name="T19" fmla="*/ 12 h 127"/>
              <a:gd name="T20" fmla="*/ 113 w 179"/>
              <a:gd name="T21" fmla="*/ 15 h 127"/>
              <a:gd name="T22" fmla="*/ 103 w 179"/>
              <a:gd name="T23" fmla="*/ 10 h 127"/>
              <a:gd name="T24" fmla="*/ 93 w 179"/>
              <a:gd name="T25" fmla="*/ 5 h 127"/>
              <a:gd name="T26" fmla="*/ 76 w 179"/>
              <a:gd name="T27" fmla="*/ 11 h 127"/>
              <a:gd name="T28" fmla="*/ 72 w 179"/>
              <a:gd name="T29" fmla="*/ 22 h 127"/>
              <a:gd name="T30" fmla="*/ 70 w 179"/>
              <a:gd name="T31" fmla="*/ 28 h 127"/>
              <a:gd name="T32" fmla="*/ 58 w 179"/>
              <a:gd name="T33" fmla="*/ 30 h 127"/>
              <a:gd name="T34" fmla="*/ 49 w 179"/>
              <a:gd name="T35" fmla="*/ 33 h 127"/>
              <a:gd name="T36" fmla="*/ 39 w 179"/>
              <a:gd name="T37" fmla="*/ 45 h 127"/>
              <a:gd name="T38" fmla="*/ 33 w 179"/>
              <a:gd name="T39" fmla="*/ 48 h 127"/>
              <a:gd name="T40" fmla="*/ 5 w 179"/>
              <a:gd name="T41" fmla="*/ 55 h 127"/>
              <a:gd name="T42" fmla="*/ 4 w 179"/>
              <a:gd name="T43" fmla="*/ 56 h 127"/>
              <a:gd name="T44" fmla="*/ 15 w 179"/>
              <a:gd name="T45" fmla="*/ 62 h 127"/>
              <a:gd name="T46" fmla="*/ 20 w 179"/>
              <a:gd name="T47" fmla="*/ 77 h 127"/>
              <a:gd name="T48" fmla="*/ 13 w 179"/>
              <a:gd name="T49" fmla="*/ 81 h 127"/>
              <a:gd name="T50" fmla="*/ 20 w 179"/>
              <a:gd name="T51" fmla="*/ 85 h 127"/>
              <a:gd name="T52" fmla="*/ 28 w 179"/>
              <a:gd name="T53" fmla="*/ 96 h 127"/>
              <a:gd name="T54" fmla="*/ 33 w 179"/>
              <a:gd name="T55" fmla="*/ 115 h 127"/>
              <a:gd name="T56" fmla="*/ 46 w 179"/>
              <a:gd name="T57" fmla="*/ 117 h 127"/>
              <a:gd name="T58" fmla="*/ 54 w 179"/>
              <a:gd name="T59" fmla="*/ 120 h 127"/>
              <a:gd name="T60" fmla="*/ 77 w 179"/>
              <a:gd name="T61" fmla="*/ 124 h 127"/>
              <a:gd name="T62" fmla="*/ 82 w 179"/>
              <a:gd name="T63" fmla="*/ 127 h 127"/>
              <a:gd name="T64" fmla="*/ 95 w 179"/>
              <a:gd name="T65" fmla="*/ 125 h 127"/>
              <a:gd name="T66" fmla="*/ 98 w 179"/>
              <a:gd name="T67" fmla="*/ 122 h 127"/>
              <a:gd name="T68" fmla="*/ 102 w 179"/>
              <a:gd name="T69" fmla="*/ 119 h 127"/>
              <a:gd name="T70" fmla="*/ 110 w 179"/>
              <a:gd name="T71" fmla="*/ 114 h 127"/>
              <a:gd name="T72" fmla="*/ 110 w 179"/>
              <a:gd name="T73" fmla="*/ 109 h 127"/>
              <a:gd name="T74" fmla="*/ 109 w 179"/>
              <a:gd name="T75" fmla="*/ 103 h 127"/>
              <a:gd name="T76" fmla="*/ 122 w 179"/>
              <a:gd name="T77" fmla="*/ 100 h 127"/>
              <a:gd name="T78" fmla="*/ 123 w 179"/>
              <a:gd name="T79" fmla="*/ 95 h 127"/>
              <a:gd name="T80" fmla="*/ 130 w 179"/>
              <a:gd name="T81" fmla="*/ 96 h 127"/>
              <a:gd name="T82" fmla="*/ 136 w 179"/>
              <a:gd name="T83" fmla="*/ 87 h 127"/>
              <a:gd name="T84" fmla="*/ 145 w 179"/>
              <a:gd name="T85" fmla="*/ 79 h 127"/>
              <a:gd name="T86" fmla="*/ 149 w 179"/>
              <a:gd name="T87" fmla="*/ 73 h 127"/>
              <a:gd name="T88" fmla="*/ 155 w 179"/>
              <a:gd name="T89" fmla="*/ 74 h 127"/>
              <a:gd name="T90" fmla="*/ 163 w 179"/>
              <a:gd name="T91" fmla="*/ 71 h 127"/>
              <a:gd name="T92" fmla="*/ 171 w 179"/>
              <a:gd name="T93" fmla="*/ 69 h 127"/>
              <a:gd name="T94" fmla="*/ 177 w 179"/>
              <a:gd name="T95" fmla="*/ 65 h 127"/>
              <a:gd name="T96" fmla="*/ 179 w 179"/>
              <a:gd name="T97" fmla="*/ 6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79" h="127">
                <a:moveTo>
                  <a:pt x="177" y="55"/>
                </a:moveTo>
                <a:cubicBezTo>
                  <a:pt x="176" y="54"/>
                  <a:pt x="176" y="54"/>
                  <a:pt x="176" y="54"/>
                </a:cubicBezTo>
                <a:cubicBezTo>
                  <a:pt x="176" y="53"/>
                  <a:pt x="175" y="52"/>
                  <a:pt x="175" y="50"/>
                </a:cubicBezTo>
                <a:cubicBezTo>
                  <a:pt x="175" y="45"/>
                  <a:pt x="175" y="45"/>
                  <a:pt x="175" y="45"/>
                </a:cubicBezTo>
                <a:cubicBezTo>
                  <a:pt x="175" y="44"/>
                  <a:pt x="175" y="44"/>
                  <a:pt x="175" y="44"/>
                </a:cubicBezTo>
                <a:cubicBezTo>
                  <a:pt x="175" y="36"/>
                  <a:pt x="175" y="36"/>
                  <a:pt x="175" y="36"/>
                </a:cubicBezTo>
                <a:cubicBezTo>
                  <a:pt x="175" y="33"/>
                  <a:pt x="175" y="33"/>
                  <a:pt x="175" y="33"/>
                </a:cubicBezTo>
                <a:cubicBezTo>
                  <a:pt x="174" y="32"/>
                  <a:pt x="174" y="32"/>
                  <a:pt x="174" y="32"/>
                </a:cubicBezTo>
                <a:cubicBezTo>
                  <a:pt x="173" y="32"/>
                  <a:pt x="173" y="32"/>
                  <a:pt x="173" y="32"/>
                </a:cubicBezTo>
                <a:cubicBezTo>
                  <a:pt x="173" y="32"/>
                  <a:pt x="172" y="32"/>
                  <a:pt x="172" y="31"/>
                </a:cubicBezTo>
                <a:cubicBezTo>
                  <a:pt x="170" y="30"/>
                  <a:pt x="170" y="30"/>
                  <a:pt x="170" y="30"/>
                </a:cubicBezTo>
                <a:cubicBezTo>
                  <a:pt x="168" y="30"/>
                  <a:pt x="168" y="30"/>
                  <a:pt x="168" y="30"/>
                </a:cubicBezTo>
                <a:cubicBezTo>
                  <a:pt x="167" y="30"/>
                  <a:pt x="166" y="29"/>
                  <a:pt x="166" y="29"/>
                </a:cubicBezTo>
                <a:cubicBezTo>
                  <a:pt x="164" y="25"/>
                  <a:pt x="164" y="25"/>
                  <a:pt x="164" y="25"/>
                </a:cubicBezTo>
                <a:cubicBezTo>
                  <a:pt x="163" y="25"/>
                  <a:pt x="163" y="25"/>
                  <a:pt x="163" y="25"/>
                </a:cubicBezTo>
                <a:cubicBezTo>
                  <a:pt x="163" y="23"/>
                  <a:pt x="163" y="23"/>
                  <a:pt x="163" y="23"/>
                </a:cubicBezTo>
                <a:cubicBezTo>
                  <a:pt x="163" y="22"/>
                  <a:pt x="163" y="22"/>
                  <a:pt x="163" y="22"/>
                </a:cubicBezTo>
                <a:cubicBezTo>
                  <a:pt x="163" y="22"/>
                  <a:pt x="163" y="21"/>
                  <a:pt x="163" y="21"/>
                </a:cubicBezTo>
                <a:cubicBezTo>
                  <a:pt x="161" y="18"/>
                  <a:pt x="161" y="18"/>
                  <a:pt x="161" y="18"/>
                </a:cubicBezTo>
                <a:cubicBezTo>
                  <a:pt x="161" y="17"/>
                  <a:pt x="161" y="16"/>
                  <a:pt x="161" y="16"/>
                </a:cubicBezTo>
                <a:cubicBezTo>
                  <a:pt x="162" y="15"/>
                  <a:pt x="163" y="13"/>
                  <a:pt x="161" y="12"/>
                </a:cubicBezTo>
                <a:cubicBezTo>
                  <a:pt x="161" y="12"/>
                  <a:pt x="161" y="11"/>
                  <a:pt x="161" y="11"/>
                </a:cubicBezTo>
                <a:cubicBezTo>
                  <a:pt x="160" y="12"/>
                  <a:pt x="159" y="12"/>
                  <a:pt x="158" y="12"/>
                </a:cubicBezTo>
                <a:cubicBezTo>
                  <a:pt x="155" y="12"/>
                  <a:pt x="155" y="12"/>
                  <a:pt x="155" y="12"/>
                </a:cubicBezTo>
                <a:cubicBezTo>
                  <a:pt x="155" y="11"/>
                  <a:pt x="154" y="12"/>
                  <a:pt x="153" y="12"/>
                </a:cubicBezTo>
                <a:cubicBezTo>
                  <a:pt x="152" y="13"/>
                  <a:pt x="152" y="13"/>
                  <a:pt x="152" y="13"/>
                </a:cubicBezTo>
                <a:cubicBezTo>
                  <a:pt x="149" y="16"/>
                  <a:pt x="149" y="16"/>
                  <a:pt x="149" y="16"/>
                </a:cubicBezTo>
                <a:cubicBezTo>
                  <a:pt x="146" y="18"/>
                  <a:pt x="146" y="18"/>
                  <a:pt x="146" y="18"/>
                </a:cubicBezTo>
                <a:cubicBezTo>
                  <a:pt x="146" y="18"/>
                  <a:pt x="146" y="18"/>
                  <a:pt x="145" y="18"/>
                </a:cubicBezTo>
                <a:cubicBezTo>
                  <a:pt x="142" y="19"/>
                  <a:pt x="142" y="19"/>
                  <a:pt x="142" y="19"/>
                </a:cubicBezTo>
                <a:cubicBezTo>
                  <a:pt x="141" y="19"/>
                  <a:pt x="141" y="19"/>
                  <a:pt x="141" y="19"/>
                </a:cubicBezTo>
                <a:cubicBezTo>
                  <a:pt x="139" y="20"/>
                  <a:pt x="137" y="19"/>
                  <a:pt x="136" y="18"/>
                </a:cubicBezTo>
                <a:cubicBezTo>
                  <a:pt x="133" y="16"/>
                  <a:pt x="133" y="16"/>
                  <a:pt x="133" y="16"/>
                </a:cubicBezTo>
                <a:cubicBezTo>
                  <a:pt x="132" y="16"/>
                  <a:pt x="132" y="16"/>
                  <a:pt x="132" y="15"/>
                </a:cubicBezTo>
                <a:cubicBezTo>
                  <a:pt x="132" y="15"/>
                  <a:pt x="131" y="15"/>
                  <a:pt x="130" y="14"/>
                </a:cubicBezTo>
                <a:cubicBezTo>
                  <a:pt x="129" y="13"/>
                  <a:pt x="127" y="11"/>
                  <a:pt x="126" y="11"/>
                </a:cubicBezTo>
                <a:cubicBezTo>
                  <a:pt x="125" y="10"/>
                  <a:pt x="125" y="10"/>
                  <a:pt x="125" y="10"/>
                </a:cubicBezTo>
                <a:cubicBezTo>
                  <a:pt x="119" y="10"/>
                  <a:pt x="119" y="10"/>
                  <a:pt x="119" y="10"/>
                </a:cubicBezTo>
                <a:cubicBezTo>
                  <a:pt x="117" y="11"/>
                  <a:pt x="117" y="11"/>
                  <a:pt x="117" y="11"/>
                </a:cubicBezTo>
                <a:cubicBezTo>
                  <a:pt x="116" y="12"/>
                  <a:pt x="116" y="12"/>
                  <a:pt x="116" y="12"/>
                </a:cubicBezTo>
                <a:cubicBezTo>
                  <a:pt x="115" y="12"/>
                  <a:pt x="115" y="12"/>
                  <a:pt x="115" y="12"/>
                </a:cubicBezTo>
                <a:cubicBezTo>
                  <a:pt x="115" y="12"/>
                  <a:pt x="115" y="12"/>
                  <a:pt x="114" y="12"/>
                </a:cubicBezTo>
                <a:cubicBezTo>
                  <a:pt x="114" y="12"/>
                  <a:pt x="114" y="13"/>
                  <a:pt x="114" y="13"/>
                </a:cubicBezTo>
                <a:cubicBezTo>
                  <a:pt x="113" y="15"/>
                  <a:pt x="113" y="15"/>
                  <a:pt x="113" y="15"/>
                </a:cubicBezTo>
                <a:cubicBezTo>
                  <a:pt x="112" y="16"/>
                  <a:pt x="111" y="17"/>
                  <a:pt x="110" y="17"/>
                </a:cubicBezTo>
                <a:cubicBezTo>
                  <a:pt x="110" y="17"/>
                  <a:pt x="110" y="17"/>
                  <a:pt x="110" y="17"/>
                </a:cubicBezTo>
                <a:cubicBezTo>
                  <a:pt x="108" y="16"/>
                  <a:pt x="106" y="14"/>
                  <a:pt x="106" y="13"/>
                </a:cubicBezTo>
                <a:cubicBezTo>
                  <a:pt x="103" y="10"/>
                  <a:pt x="103" y="10"/>
                  <a:pt x="103" y="10"/>
                </a:cubicBezTo>
                <a:cubicBezTo>
                  <a:pt x="101" y="8"/>
                  <a:pt x="100" y="4"/>
                  <a:pt x="100" y="2"/>
                </a:cubicBezTo>
                <a:cubicBezTo>
                  <a:pt x="96" y="0"/>
                  <a:pt x="96" y="0"/>
                  <a:pt x="96" y="0"/>
                </a:cubicBezTo>
                <a:cubicBezTo>
                  <a:pt x="93" y="4"/>
                  <a:pt x="93" y="4"/>
                  <a:pt x="93" y="4"/>
                </a:cubicBezTo>
                <a:cubicBezTo>
                  <a:pt x="93" y="4"/>
                  <a:pt x="93" y="5"/>
                  <a:pt x="93" y="5"/>
                </a:cubicBezTo>
                <a:cubicBezTo>
                  <a:pt x="86" y="9"/>
                  <a:pt x="86" y="9"/>
                  <a:pt x="86" y="9"/>
                </a:cubicBezTo>
                <a:cubicBezTo>
                  <a:pt x="86" y="9"/>
                  <a:pt x="85" y="9"/>
                  <a:pt x="85" y="9"/>
                </a:cubicBezTo>
                <a:cubicBezTo>
                  <a:pt x="80" y="9"/>
                  <a:pt x="80" y="9"/>
                  <a:pt x="80" y="9"/>
                </a:cubicBezTo>
                <a:cubicBezTo>
                  <a:pt x="78" y="10"/>
                  <a:pt x="77" y="11"/>
                  <a:pt x="76" y="11"/>
                </a:cubicBezTo>
                <a:cubicBezTo>
                  <a:pt x="76" y="12"/>
                  <a:pt x="76" y="13"/>
                  <a:pt x="76" y="14"/>
                </a:cubicBezTo>
                <a:cubicBezTo>
                  <a:pt x="76" y="15"/>
                  <a:pt x="76" y="16"/>
                  <a:pt x="75" y="16"/>
                </a:cubicBezTo>
                <a:cubicBezTo>
                  <a:pt x="69" y="20"/>
                  <a:pt x="69" y="20"/>
                  <a:pt x="69" y="20"/>
                </a:cubicBezTo>
                <a:cubicBezTo>
                  <a:pt x="72" y="22"/>
                  <a:pt x="72" y="22"/>
                  <a:pt x="72" y="22"/>
                </a:cubicBezTo>
                <a:cubicBezTo>
                  <a:pt x="73" y="23"/>
                  <a:pt x="73" y="24"/>
                  <a:pt x="73" y="25"/>
                </a:cubicBezTo>
                <a:cubicBezTo>
                  <a:pt x="72" y="26"/>
                  <a:pt x="72" y="26"/>
                  <a:pt x="71" y="26"/>
                </a:cubicBezTo>
                <a:cubicBezTo>
                  <a:pt x="71" y="26"/>
                  <a:pt x="71" y="26"/>
                  <a:pt x="71" y="26"/>
                </a:cubicBezTo>
                <a:cubicBezTo>
                  <a:pt x="70" y="27"/>
                  <a:pt x="70" y="28"/>
                  <a:pt x="70" y="28"/>
                </a:cubicBezTo>
                <a:cubicBezTo>
                  <a:pt x="68" y="27"/>
                  <a:pt x="67" y="27"/>
                  <a:pt x="67" y="27"/>
                </a:cubicBezTo>
                <a:cubicBezTo>
                  <a:pt x="64" y="28"/>
                  <a:pt x="64" y="28"/>
                  <a:pt x="64" y="28"/>
                </a:cubicBezTo>
                <a:cubicBezTo>
                  <a:pt x="62" y="29"/>
                  <a:pt x="62" y="29"/>
                  <a:pt x="62" y="29"/>
                </a:cubicBezTo>
                <a:cubicBezTo>
                  <a:pt x="58" y="30"/>
                  <a:pt x="58" y="30"/>
                  <a:pt x="58" y="30"/>
                </a:cubicBezTo>
                <a:cubicBezTo>
                  <a:pt x="56" y="31"/>
                  <a:pt x="56" y="31"/>
                  <a:pt x="56" y="31"/>
                </a:cubicBezTo>
                <a:cubicBezTo>
                  <a:pt x="56" y="32"/>
                  <a:pt x="56" y="32"/>
                  <a:pt x="56" y="32"/>
                </a:cubicBezTo>
                <a:cubicBezTo>
                  <a:pt x="52" y="32"/>
                  <a:pt x="52" y="32"/>
                  <a:pt x="52" y="32"/>
                </a:cubicBezTo>
                <a:cubicBezTo>
                  <a:pt x="49" y="33"/>
                  <a:pt x="49" y="33"/>
                  <a:pt x="49" y="33"/>
                </a:cubicBezTo>
                <a:cubicBezTo>
                  <a:pt x="49" y="33"/>
                  <a:pt x="49" y="33"/>
                  <a:pt x="48" y="33"/>
                </a:cubicBezTo>
                <a:cubicBezTo>
                  <a:pt x="46" y="39"/>
                  <a:pt x="46" y="39"/>
                  <a:pt x="46" y="39"/>
                </a:cubicBezTo>
                <a:cubicBezTo>
                  <a:pt x="46" y="40"/>
                  <a:pt x="46" y="40"/>
                  <a:pt x="46" y="40"/>
                </a:cubicBezTo>
                <a:cubicBezTo>
                  <a:pt x="39" y="45"/>
                  <a:pt x="39" y="45"/>
                  <a:pt x="39" y="45"/>
                </a:cubicBezTo>
                <a:cubicBezTo>
                  <a:pt x="35" y="46"/>
                  <a:pt x="35" y="46"/>
                  <a:pt x="35" y="46"/>
                </a:cubicBezTo>
                <a:cubicBezTo>
                  <a:pt x="35" y="46"/>
                  <a:pt x="34" y="46"/>
                  <a:pt x="34" y="46"/>
                </a:cubicBezTo>
                <a:cubicBezTo>
                  <a:pt x="34" y="47"/>
                  <a:pt x="34" y="47"/>
                  <a:pt x="34" y="47"/>
                </a:cubicBezTo>
                <a:cubicBezTo>
                  <a:pt x="34" y="47"/>
                  <a:pt x="33" y="48"/>
                  <a:pt x="33" y="48"/>
                </a:cubicBezTo>
                <a:cubicBezTo>
                  <a:pt x="22" y="51"/>
                  <a:pt x="22" y="51"/>
                  <a:pt x="22" y="51"/>
                </a:cubicBezTo>
                <a:cubicBezTo>
                  <a:pt x="10" y="55"/>
                  <a:pt x="10" y="55"/>
                  <a:pt x="10" y="55"/>
                </a:cubicBezTo>
                <a:cubicBezTo>
                  <a:pt x="10" y="55"/>
                  <a:pt x="10" y="55"/>
                  <a:pt x="10" y="55"/>
                </a:cubicBezTo>
                <a:cubicBezTo>
                  <a:pt x="5" y="55"/>
                  <a:pt x="5" y="55"/>
                  <a:pt x="5" y="55"/>
                </a:cubicBezTo>
                <a:cubicBezTo>
                  <a:pt x="5" y="55"/>
                  <a:pt x="5" y="55"/>
                  <a:pt x="5" y="55"/>
                </a:cubicBezTo>
                <a:cubicBezTo>
                  <a:pt x="1" y="54"/>
                  <a:pt x="1" y="54"/>
                  <a:pt x="1" y="54"/>
                </a:cubicBezTo>
                <a:cubicBezTo>
                  <a:pt x="0" y="54"/>
                  <a:pt x="0" y="54"/>
                  <a:pt x="0" y="54"/>
                </a:cubicBezTo>
                <a:cubicBezTo>
                  <a:pt x="4" y="56"/>
                  <a:pt x="4" y="56"/>
                  <a:pt x="4" y="56"/>
                </a:cubicBezTo>
                <a:cubicBezTo>
                  <a:pt x="4" y="56"/>
                  <a:pt x="4" y="56"/>
                  <a:pt x="5" y="56"/>
                </a:cubicBezTo>
                <a:cubicBezTo>
                  <a:pt x="5" y="56"/>
                  <a:pt x="7" y="59"/>
                  <a:pt x="9" y="60"/>
                </a:cubicBezTo>
                <a:cubicBezTo>
                  <a:pt x="11" y="61"/>
                  <a:pt x="12" y="62"/>
                  <a:pt x="12" y="62"/>
                </a:cubicBezTo>
                <a:cubicBezTo>
                  <a:pt x="15" y="62"/>
                  <a:pt x="15" y="62"/>
                  <a:pt x="15" y="62"/>
                </a:cubicBezTo>
                <a:cubicBezTo>
                  <a:pt x="16" y="63"/>
                  <a:pt x="17" y="63"/>
                  <a:pt x="18" y="65"/>
                </a:cubicBezTo>
                <a:cubicBezTo>
                  <a:pt x="18" y="65"/>
                  <a:pt x="19" y="67"/>
                  <a:pt x="21" y="69"/>
                </a:cubicBezTo>
                <a:cubicBezTo>
                  <a:pt x="22" y="70"/>
                  <a:pt x="22" y="71"/>
                  <a:pt x="21" y="72"/>
                </a:cubicBezTo>
                <a:cubicBezTo>
                  <a:pt x="22" y="73"/>
                  <a:pt x="22" y="75"/>
                  <a:pt x="20" y="77"/>
                </a:cubicBezTo>
                <a:cubicBezTo>
                  <a:pt x="19" y="79"/>
                  <a:pt x="19" y="79"/>
                  <a:pt x="19" y="79"/>
                </a:cubicBezTo>
                <a:cubicBezTo>
                  <a:pt x="19" y="79"/>
                  <a:pt x="18" y="80"/>
                  <a:pt x="17" y="79"/>
                </a:cubicBezTo>
                <a:cubicBezTo>
                  <a:pt x="17" y="80"/>
                  <a:pt x="16" y="80"/>
                  <a:pt x="15" y="80"/>
                </a:cubicBezTo>
                <a:cubicBezTo>
                  <a:pt x="14" y="80"/>
                  <a:pt x="14" y="81"/>
                  <a:pt x="13" y="81"/>
                </a:cubicBezTo>
                <a:cubicBezTo>
                  <a:pt x="14" y="83"/>
                  <a:pt x="14" y="83"/>
                  <a:pt x="14" y="83"/>
                </a:cubicBezTo>
                <a:cubicBezTo>
                  <a:pt x="16" y="83"/>
                  <a:pt x="16" y="83"/>
                  <a:pt x="16" y="83"/>
                </a:cubicBezTo>
                <a:cubicBezTo>
                  <a:pt x="17" y="83"/>
                  <a:pt x="18" y="84"/>
                  <a:pt x="18" y="85"/>
                </a:cubicBezTo>
                <a:cubicBezTo>
                  <a:pt x="20" y="85"/>
                  <a:pt x="20" y="85"/>
                  <a:pt x="20" y="85"/>
                </a:cubicBezTo>
                <a:cubicBezTo>
                  <a:pt x="21" y="85"/>
                  <a:pt x="21" y="85"/>
                  <a:pt x="22" y="86"/>
                </a:cubicBezTo>
                <a:cubicBezTo>
                  <a:pt x="26" y="86"/>
                  <a:pt x="26" y="86"/>
                  <a:pt x="26" y="86"/>
                </a:cubicBezTo>
                <a:cubicBezTo>
                  <a:pt x="27" y="86"/>
                  <a:pt x="28" y="87"/>
                  <a:pt x="28" y="88"/>
                </a:cubicBezTo>
                <a:cubicBezTo>
                  <a:pt x="28" y="96"/>
                  <a:pt x="28" y="96"/>
                  <a:pt x="28" y="96"/>
                </a:cubicBezTo>
                <a:cubicBezTo>
                  <a:pt x="29" y="96"/>
                  <a:pt x="29" y="96"/>
                  <a:pt x="29" y="96"/>
                </a:cubicBezTo>
                <a:cubicBezTo>
                  <a:pt x="30" y="96"/>
                  <a:pt x="31" y="96"/>
                  <a:pt x="31" y="98"/>
                </a:cubicBezTo>
                <a:cubicBezTo>
                  <a:pt x="31" y="113"/>
                  <a:pt x="31" y="113"/>
                  <a:pt x="31" y="113"/>
                </a:cubicBezTo>
                <a:cubicBezTo>
                  <a:pt x="33" y="115"/>
                  <a:pt x="33" y="115"/>
                  <a:pt x="33" y="115"/>
                </a:cubicBezTo>
                <a:cubicBezTo>
                  <a:pt x="37" y="115"/>
                  <a:pt x="37" y="115"/>
                  <a:pt x="37" y="115"/>
                </a:cubicBezTo>
                <a:cubicBezTo>
                  <a:pt x="38" y="115"/>
                  <a:pt x="38" y="115"/>
                  <a:pt x="38" y="116"/>
                </a:cubicBezTo>
                <a:cubicBezTo>
                  <a:pt x="40" y="117"/>
                  <a:pt x="40" y="117"/>
                  <a:pt x="40" y="117"/>
                </a:cubicBezTo>
                <a:cubicBezTo>
                  <a:pt x="46" y="117"/>
                  <a:pt x="46" y="117"/>
                  <a:pt x="46" y="117"/>
                </a:cubicBezTo>
                <a:cubicBezTo>
                  <a:pt x="47" y="117"/>
                  <a:pt x="47" y="118"/>
                  <a:pt x="48" y="119"/>
                </a:cubicBezTo>
                <a:cubicBezTo>
                  <a:pt x="49" y="119"/>
                  <a:pt x="49" y="119"/>
                  <a:pt x="49" y="119"/>
                </a:cubicBezTo>
                <a:cubicBezTo>
                  <a:pt x="50" y="118"/>
                  <a:pt x="52" y="118"/>
                  <a:pt x="54" y="119"/>
                </a:cubicBezTo>
                <a:cubicBezTo>
                  <a:pt x="54" y="120"/>
                  <a:pt x="54" y="120"/>
                  <a:pt x="54" y="120"/>
                </a:cubicBezTo>
                <a:cubicBezTo>
                  <a:pt x="72" y="120"/>
                  <a:pt x="72" y="120"/>
                  <a:pt x="72" y="120"/>
                </a:cubicBezTo>
                <a:cubicBezTo>
                  <a:pt x="73" y="120"/>
                  <a:pt x="73" y="120"/>
                  <a:pt x="73" y="121"/>
                </a:cubicBezTo>
                <a:cubicBezTo>
                  <a:pt x="76" y="123"/>
                  <a:pt x="76" y="123"/>
                  <a:pt x="76" y="123"/>
                </a:cubicBezTo>
                <a:cubicBezTo>
                  <a:pt x="77" y="123"/>
                  <a:pt x="77" y="124"/>
                  <a:pt x="77" y="124"/>
                </a:cubicBezTo>
                <a:cubicBezTo>
                  <a:pt x="77" y="126"/>
                  <a:pt x="77" y="126"/>
                  <a:pt x="77" y="126"/>
                </a:cubicBezTo>
                <a:cubicBezTo>
                  <a:pt x="79" y="127"/>
                  <a:pt x="79" y="127"/>
                  <a:pt x="79" y="127"/>
                </a:cubicBezTo>
                <a:cubicBezTo>
                  <a:pt x="81" y="127"/>
                  <a:pt x="81" y="127"/>
                  <a:pt x="81" y="127"/>
                </a:cubicBezTo>
                <a:cubicBezTo>
                  <a:pt x="81" y="127"/>
                  <a:pt x="81" y="127"/>
                  <a:pt x="82" y="127"/>
                </a:cubicBezTo>
                <a:cubicBezTo>
                  <a:pt x="82" y="126"/>
                  <a:pt x="83" y="126"/>
                  <a:pt x="85" y="125"/>
                </a:cubicBezTo>
                <a:cubicBezTo>
                  <a:pt x="88" y="123"/>
                  <a:pt x="89" y="124"/>
                  <a:pt x="91" y="124"/>
                </a:cubicBezTo>
                <a:cubicBezTo>
                  <a:pt x="92" y="124"/>
                  <a:pt x="92" y="124"/>
                  <a:pt x="92" y="125"/>
                </a:cubicBezTo>
                <a:cubicBezTo>
                  <a:pt x="92" y="125"/>
                  <a:pt x="93" y="125"/>
                  <a:pt x="95" y="125"/>
                </a:cubicBezTo>
                <a:cubicBezTo>
                  <a:pt x="95" y="125"/>
                  <a:pt x="96" y="125"/>
                  <a:pt x="97" y="125"/>
                </a:cubicBezTo>
                <a:cubicBezTo>
                  <a:pt x="97" y="125"/>
                  <a:pt x="97" y="125"/>
                  <a:pt x="97" y="124"/>
                </a:cubicBezTo>
                <a:cubicBezTo>
                  <a:pt x="97" y="123"/>
                  <a:pt x="97" y="123"/>
                  <a:pt x="97" y="123"/>
                </a:cubicBezTo>
                <a:cubicBezTo>
                  <a:pt x="98" y="122"/>
                  <a:pt x="98" y="122"/>
                  <a:pt x="98" y="122"/>
                </a:cubicBezTo>
                <a:cubicBezTo>
                  <a:pt x="100" y="121"/>
                  <a:pt x="100" y="121"/>
                  <a:pt x="100" y="121"/>
                </a:cubicBezTo>
                <a:cubicBezTo>
                  <a:pt x="100" y="121"/>
                  <a:pt x="100" y="121"/>
                  <a:pt x="100" y="120"/>
                </a:cubicBezTo>
                <a:cubicBezTo>
                  <a:pt x="102" y="120"/>
                  <a:pt x="102" y="120"/>
                  <a:pt x="102" y="120"/>
                </a:cubicBezTo>
                <a:cubicBezTo>
                  <a:pt x="102" y="119"/>
                  <a:pt x="102" y="119"/>
                  <a:pt x="102" y="119"/>
                </a:cubicBezTo>
                <a:cubicBezTo>
                  <a:pt x="102" y="118"/>
                  <a:pt x="103" y="117"/>
                  <a:pt x="105" y="117"/>
                </a:cubicBezTo>
                <a:cubicBezTo>
                  <a:pt x="105" y="117"/>
                  <a:pt x="105" y="117"/>
                  <a:pt x="106" y="117"/>
                </a:cubicBezTo>
                <a:cubicBezTo>
                  <a:pt x="106" y="117"/>
                  <a:pt x="106" y="117"/>
                  <a:pt x="106" y="116"/>
                </a:cubicBezTo>
                <a:cubicBezTo>
                  <a:pt x="106" y="114"/>
                  <a:pt x="108" y="114"/>
                  <a:pt x="110" y="114"/>
                </a:cubicBezTo>
                <a:cubicBezTo>
                  <a:pt x="114" y="113"/>
                  <a:pt x="114" y="113"/>
                  <a:pt x="114" y="113"/>
                </a:cubicBezTo>
                <a:cubicBezTo>
                  <a:pt x="114" y="112"/>
                  <a:pt x="114" y="112"/>
                  <a:pt x="113" y="111"/>
                </a:cubicBezTo>
                <a:cubicBezTo>
                  <a:pt x="113" y="110"/>
                  <a:pt x="113" y="110"/>
                  <a:pt x="113" y="110"/>
                </a:cubicBezTo>
                <a:cubicBezTo>
                  <a:pt x="112" y="110"/>
                  <a:pt x="111" y="109"/>
                  <a:pt x="110" y="109"/>
                </a:cubicBezTo>
                <a:cubicBezTo>
                  <a:pt x="110" y="108"/>
                  <a:pt x="110" y="108"/>
                  <a:pt x="110" y="108"/>
                </a:cubicBezTo>
                <a:cubicBezTo>
                  <a:pt x="110" y="108"/>
                  <a:pt x="110" y="108"/>
                  <a:pt x="110" y="107"/>
                </a:cubicBezTo>
                <a:cubicBezTo>
                  <a:pt x="109" y="105"/>
                  <a:pt x="109" y="105"/>
                  <a:pt x="109" y="105"/>
                </a:cubicBezTo>
                <a:cubicBezTo>
                  <a:pt x="109" y="105"/>
                  <a:pt x="109" y="104"/>
                  <a:pt x="109" y="103"/>
                </a:cubicBezTo>
                <a:cubicBezTo>
                  <a:pt x="110" y="103"/>
                  <a:pt x="110" y="103"/>
                  <a:pt x="111" y="103"/>
                </a:cubicBezTo>
                <a:cubicBezTo>
                  <a:pt x="121" y="103"/>
                  <a:pt x="121" y="103"/>
                  <a:pt x="121" y="103"/>
                </a:cubicBezTo>
                <a:cubicBezTo>
                  <a:pt x="122" y="102"/>
                  <a:pt x="122" y="102"/>
                  <a:pt x="122" y="102"/>
                </a:cubicBezTo>
                <a:cubicBezTo>
                  <a:pt x="122" y="102"/>
                  <a:pt x="122" y="101"/>
                  <a:pt x="122" y="100"/>
                </a:cubicBezTo>
                <a:cubicBezTo>
                  <a:pt x="121" y="99"/>
                  <a:pt x="121" y="99"/>
                  <a:pt x="121" y="99"/>
                </a:cubicBezTo>
                <a:cubicBezTo>
                  <a:pt x="120" y="98"/>
                  <a:pt x="120" y="97"/>
                  <a:pt x="121" y="97"/>
                </a:cubicBezTo>
                <a:cubicBezTo>
                  <a:pt x="121" y="96"/>
                  <a:pt x="121" y="96"/>
                  <a:pt x="122" y="96"/>
                </a:cubicBezTo>
                <a:cubicBezTo>
                  <a:pt x="123" y="95"/>
                  <a:pt x="123" y="95"/>
                  <a:pt x="123" y="95"/>
                </a:cubicBezTo>
                <a:cubicBezTo>
                  <a:pt x="124" y="95"/>
                  <a:pt x="124" y="95"/>
                  <a:pt x="124" y="95"/>
                </a:cubicBezTo>
                <a:cubicBezTo>
                  <a:pt x="127" y="95"/>
                  <a:pt x="127" y="95"/>
                  <a:pt x="127" y="95"/>
                </a:cubicBezTo>
                <a:cubicBezTo>
                  <a:pt x="127" y="95"/>
                  <a:pt x="127" y="95"/>
                  <a:pt x="128" y="95"/>
                </a:cubicBezTo>
                <a:cubicBezTo>
                  <a:pt x="128" y="96"/>
                  <a:pt x="129" y="96"/>
                  <a:pt x="130" y="96"/>
                </a:cubicBezTo>
                <a:cubicBezTo>
                  <a:pt x="131" y="95"/>
                  <a:pt x="133" y="93"/>
                  <a:pt x="134" y="92"/>
                </a:cubicBezTo>
                <a:cubicBezTo>
                  <a:pt x="135" y="90"/>
                  <a:pt x="135" y="90"/>
                  <a:pt x="135" y="90"/>
                </a:cubicBezTo>
                <a:cubicBezTo>
                  <a:pt x="135" y="88"/>
                  <a:pt x="135" y="88"/>
                  <a:pt x="135" y="88"/>
                </a:cubicBezTo>
                <a:cubicBezTo>
                  <a:pt x="136" y="87"/>
                  <a:pt x="136" y="87"/>
                  <a:pt x="136" y="87"/>
                </a:cubicBezTo>
                <a:cubicBezTo>
                  <a:pt x="139" y="84"/>
                  <a:pt x="139" y="84"/>
                  <a:pt x="139" y="84"/>
                </a:cubicBezTo>
                <a:cubicBezTo>
                  <a:pt x="139" y="83"/>
                  <a:pt x="140" y="83"/>
                  <a:pt x="140" y="83"/>
                </a:cubicBezTo>
                <a:cubicBezTo>
                  <a:pt x="142" y="82"/>
                  <a:pt x="142" y="82"/>
                  <a:pt x="142" y="82"/>
                </a:cubicBezTo>
                <a:cubicBezTo>
                  <a:pt x="145" y="79"/>
                  <a:pt x="145" y="79"/>
                  <a:pt x="145" y="79"/>
                </a:cubicBezTo>
                <a:cubicBezTo>
                  <a:pt x="145" y="79"/>
                  <a:pt x="145" y="77"/>
                  <a:pt x="145" y="76"/>
                </a:cubicBezTo>
                <a:cubicBezTo>
                  <a:pt x="146" y="75"/>
                  <a:pt x="146" y="75"/>
                  <a:pt x="146" y="75"/>
                </a:cubicBezTo>
                <a:cubicBezTo>
                  <a:pt x="146" y="74"/>
                  <a:pt x="147" y="74"/>
                  <a:pt x="147" y="74"/>
                </a:cubicBezTo>
                <a:cubicBezTo>
                  <a:pt x="149" y="73"/>
                  <a:pt x="149" y="73"/>
                  <a:pt x="149" y="73"/>
                </a:cubicBezTo>
                <a:cubicBezTo>
                  <a:pt x="150" y="73"/>
                  <a:pt x="150" y="73"/>
                  <a:pt x="150" y="73"/>
                </a:cubicBezTo>
                <a:cubicBezTo>
                  <a:pt x="153" y="73"/>
                  <a:pt x="153" y="73"/>
                  <a:pt x="153" y="73"/>
                </a:cubicBezTo>
                <a:cubicBezTo>
                  <a:pt x="154" y="73"/>
                  <a:pt x="154" y="73"/>
                  <a:pt x="154" y="74"/>
                </a:cubicBezTo>
                <a:cubicBezTo>
                  <a:pt x="155" y="74"/>
                  <a:pt x="155" y="74"/>
                  <a:pt x="155" y="74"/>
                </a:cubicBezTo>
                <a:cubicBezTo>
                  <a:pt x="156" y="74"/>
                  <a:pt x="156" y="74"/>
                  <a:pt x="156" y="74"/>
                </a:cubicBezTo>
                <a:cubicBezTo>
                  <a:pt x="156" y="73"/>
                  <a:pt x="156" y="73"/>
                  <a:pt x="157" y="73"/>
                </a:cubicBezTo>
                <a:cubicBezTo>
                  <a:pt x="159" y="73"/>
                  <a:pt x="159" y="73"/>
                  <a:pt x="159" y="73"/>
                </a:cubicBezTo>
                <a:cubicBezTo>
                  <a:pt x="161" y="71"/>
                  <a:pt x="163" y="71"/>
                  <a:pt x="163" y="71"/>
                </a:cubicBezTo>
                <a:cubicBezTo>
                  <a:pt x="165" y="71"/>
                  <a:pt x="165" y="71"/>
                  <a:pt x="165" y="71"/>
                </a:cubicBezTo>
                <a:cubicBezTo>
                  <a:pt x="165" y="70"/>
                  <a:pt x="166" y="70"/>
                  <a:pt x="167" y="70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9"/>
                  <a:pt x="171" y="69"/>
                  <a:pt x="171" y="69"/>
                </a:cubicBezTo>
                <a:cubicBezTo>
                  <a:pt x="171" y="68"/>
                  <a:pt x="171" y="67"/>
                  <a:pt x="172" y="67"/>
                </a:cubicBezTo>
                <a:cubicBezTo>
                  <a:pt x="175" y="65"/>
                  <a:pt x="175" y="65"/>
                  <a:pt x="175" y="65"/>
                </a:cubicBezTo>
                <a:cubicBezTo>
                  <a:pt x="176" y="65"/>
                  <a:pt x="176" y="65"/>
                  <a:pt x="176" y="65"/>
                </a:cubicBezTo>
                <a:cubicBezTo>
                  <a:pt x="177" y="65"/>
                  <a:pt x="177" y="65"/>
                  <a:pt x="177" y="65"/>
                </a:cubicBezTo>
                <a:cubicBezTo>
                  <a:pt x="177" y="64"/>
                  <a:pt x="177" y="64"/>
                  <a:pt x="177" y="64"/>
                </a:cubicBezTo>
                <a:cubicBezTo>
                  <a:pt x="177" y="64"/>
                  <a:pt x="178" y="63"/>
                  <a:pt x="178" y="62"/>
                </a:cubicBezTo>
                <a:cubicBezTo>
                  <a:pt x="178" y="61"/>
                  <a:pt x="178" y="61"/>
                  <a:pt x="179" y="61"/>
                </a:cubicBezTo>
                <a:cubicBezTo>
                  <a:pt x="179" y="60"/>
                  <a:pt x="179" y="60"/>
                  <a:pt x="179" y="60"/>
                </a:cubicBezTo>
                <a:cubicBezTo>
                  <a:pt x="179" y="59"/>
                  <a:pt x="179" y="58"/>
                  <a:pt x="179" y="57"/>
                </a:cubicBezTo>
                <a:cubicBezTo>
                  <a:pt x="178" y="57"/>
                  <a:pt x="178" y="56"/>
                  <a:pt x="177" y="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Freeform 108">
            <a:extLst>
              <a:ext uri="{FF2B5EF4-FFF2-40B4-BE49-F238E27FC236}">
                <a16:creationId xmlns:a16="http://schemas.microsoft.com/office/drawing/2014/main" id="{892386CA-FB3C-4D1E-83F9-5E6F6BAF5688}"/>
              </a:ext>
            </a:extLst>
          </p:cNvPr>
          <p:cNvSpPr>
            <a:spLocks/>
          </p:cNvSpPr>
          <p:nvPr/>
        </p:nvSpPr>
        <p:spPr bwMode="auto">
          <a:xfrm>
            <a:off x="5121024" y="3695229"/>
            <a:ext cx="398992" cy="400050"/>
          </a:xfrm>
          <a:custGeom>
            <a:avLst/>
            <a:gdLst>
              <a:gd name="T0" fmla="*/ 84 w 165"/>
              <a:gd name="T1" fmla="*/ 156 h 179"/>
              <a:gd name="T2" fmla="*/ 97 w 165"/>
              <a:gd name="T3" fmla="*/ 143 h 179"/>
              <a:gd name="T4" fmla="*/ 113 w 165"/>
              <a:gd name="T5" fmla="*/ 137 h 179"/>
              <a:gd name="T6" fmla="*/ 126 w 165"/>
              <a:gd name="T7" fmla="*/ 136 h 179"/>
              <a:gd name="T8" fmla="*/ 144 w 165"/>
              <a:gd name="T9" fmla="*/ 136 h 179"/>
              <a:gd name="T10" fmla="*/ 151 w 165"/>
              <a:gd name="T11" fmla="*/ 134 h 179"/>
              <a:gd name="T12" fmla="*/ 154 w 165"/>
              <a:gd name="T13" fmla="*/ 128 h 179"/>
              <a:gd name="T14" fmla="*/ 151 w 165"/>
              <a:gd name="T15" fmla="*/ 119 h 179"/>
              <a:gd name="T16" fmla="*/ 150 w 165"/>
              <a:gd name="T17" fmla="*/ 106 h 179"/>
              <a:gd name="T18" fmla="*/ 153 w 165"/>
              <a:gd name="T19" fmla="*/ 100 h 179"/>
              <a:gd name="T20" fmla="*/ 157 w 165"/>
              <a:gd name="T21" fmla="*/ 98 h 179"/>
              <a:gd name="T22" fmla="*/ 161 w 165"/>
              <a:gd name="T23" fmla="*/ 95 h 179"/>
              <a:gd name="T24" fmla="*/ 162 w 165"/>
              <a:gd name="T25" fmla="*/ 92 h 179"/>
              <a:gd name="T26" fmla="*/ 156 w 165"/>
              <a:gd name="T27" fmla="*/ 87 h 179"/>
              <a:gd name="T28" fmla="*/ 152 w 165"/>
              <a:gd name="T29" fmla="*/ 84 h 179"/>
              <a:gd name="T30" fmla="*/ 142 w 165"/>
              <a:gd name="T31" fmla="*/ 85 h 179"/>
              <a:gd name="T32" fmla="*/ 128 w 165"/>
              <a:gd name="T33" fmla="*/ 84 h 179"/>
              <a:gd name="T34" fmla="*/ 110 w 165"/>
              <a:gd name="T35" fmla="*/ 87 h 179"/>
              <a:gd name="T36" fmla="*/ 105 w 165"/>
              <a:gd name="T37" fmla="*/ 96 h 179"/>
              <a:gd name="T38" fmla="*/ 99 w 165"/>
              <a:gd name="T39" fmla="*/ 94 h 179"/>
              <a:gd name="T40" fmla="*/ 96 w 165"/>
              <a:gd name="T41" fmla="*/ 88 h 179"/>
              <a:gd name="T42" fmla="*/ 91 w 165"/>
              <a:gd name="T43" fmla="*/ 84 h 179"/>
              <a:gd name="T44" fmla="*/ 85 w 165"/>
              <a:gd name="T45" fmla="*/ 80 h 179"/>
              <a:gd name="T46" fmla="*/ 87 w 165"/>
              <a:gd name="T47" fmla="*/ 73 h 179"/>
              <a:gd name="T48" fmla="*/ 75 w 165"/>
              <a:gd name="T49" fmla="*/ 72 h 179"/>
              <a:gd name="T50" fmla="*/ 67 w 165"/>
              <a:gd name="T51" fmla="*/ 68 h 179"/>
              <a:gd name="T52" fmla="*/ 75 w 165"/>
              <a:gd name="T53" fmla="*/ 62 h 179"/>
              <a:gd name="T54" fmla="*/ 77 w 165"/>
              <a:gd name="T55" fmla="*/ 59 h 179"/>
              <a:gd name="T56" fmla="*/ 81 w 165"/>
              <a:gd name="T57" fmla="*/ 47 h 179"/>
              <a:gd name="T58" fmla="*/ 91 w 165"/>
              <a:gd name="T59" fmla="*/ 43 h 179"/>
              <a:gd name="T60" fmla="*/ 97 w 165"/>
              <a:gd name="T61" fmla="*/ 39 h 179"/>
              <a:gd name="T62" fmla="*/ 95 w 165"/>
              <a:gd name="T63" fmla="*/ 35 h 179"/>
              <a:gd name="T64" fmla="*/ 89 w 165"/>
              <a:gd name="T65" fmla="*/ 32 h 179"/>
              <a:gd name="T66" fmla="*/ 85 w 165"/>
              <a:gd name="T67" fmla="*/ 27 h 179"/>
              <a:gd name="T68" fmla="*/ 81 w 165"/>
              <a:gd name="T69" fmla="*/ 24 h 179"/>
              <a:gd name="T70" fmla="*/ 80 w 165"/>
              <a:gd name="T71" fmla="*/ 17 h 179"/>
              <a:gd name="T72" fmla="*/ 87 w 165"/>
              <a:gd name="T73" fmla="*/ 11 h 179"/>
              <a:gd name="T74" fmla="*/ 93 w 165"/>
              <a:gd name="T75" fmla="*/ 4 h 179"/>
              <a:gd name="T76" fmla="*/ 95 w 165"/>
              <a:gd name="T77" fmla="*/ 0 h 179"/>
              <a:gd name="T78" fmla="*/ 86 w 165"/>
              <a:gd name="T79" fmla="*/ 6 h 179"/>
              <a:gd name="T80" fmla="*/ 77 w 165"/>
              <a:gd name="T81" fmla="*/ 10 h 179"/>
              <a:gd name="T82" fmla="*/ 72 w 165"/>
              <a:gd name="T83" fmla="*/ 10 h 179"/>
              <a:gd name="T84" fmla="*/ 68 w 165"/>
              <a:gd name="T85" fmla="*/ 12 h 179"/>
              <a:gd name="T86" fmla="*/ 55 w 165"/>
              <a:gd name="T87" fmla="*/ 12 h 179"/>
              <a:gd name="T88" fmla="*/ 44 w 165"/>
              <a:gd name="T89" fmla="*/ 12 h 179"/>
              <a:gd name="T90" fmla="*/ 36 w 165"/>
              <a:gd name="T91" fmla="*/ 13 h 179"/>
              <a:gd name="T92" fmla="*/ 22 w 165"/>
              <a:gd name="T93" fmla="*/ 65 h 179"/>
              <a:gd name="T94" fmla="*/ 2 w 165"/>
              <a:gd name="T95" fmla="*/ 71 h 179"/>
              <a:gd name="T96" fmla="*/ 0 w 165"/>
              <a:gd name="T97" fmla="*/ 103 h 179"/>
              <a:gd name="T98" fmla="*/ 1 w 165"/>
              <a:gd name="T99" fmla="*/ 113 h 179"/>
              <a:gd name="T100" fmla="*/ 6 w 165"/>
              <a:gd name="T101" fmla="*/ 119 h 179"/>
              <a:gd name="T102" fmla="*/ 10 w 165"/>
              <a:gd name="T103" fmla="*/ 141 h 179"/>
              <a:gd name="T104" fmla="*/ 12 w 165"/>
              <a:gd name="T105" fmla="*/ 149 h 179"/>
              <a:gd name="T106" fmla="*/ 8 w 165"/>
              <a:gd name="T107" fmla="*/ 157 h 179"/>
              <a:gd name="T108" fmla="*/ 13 w 165"/>
              <a:gd name="T109" fmla="*/ 166 h 179"/>
              <a:gd name="T110" fmla="*/ 17 w 165"/>
              <a:gd name="T111" fmla="*/ 163 h 179"/>
              <a:gd name="T112" fmla="*/ 29 w 165"/>
              <a:gd name="T113" fmla="*/ 173 h 179"/>
              <a:gd name="T114" fmla="*/ 36 w 165"/>
              <a:gd name="T115" fmla="*/ 177 h 179"/>
              <a:gd name="T116" fmla="*/ 42 w 165"/>
              <a:gd name="T117" fmla="*/ 171 h 179"/>
              <a:gd name="T118" fmla="*/ 58 w 165"/>
              <a:gd name="T119" fmla="*/ 164 h 179"/>
              <a:gd name="T120" fmla="*/ 66 w 165"/>
              <a:gd name="T121" fmla="*/ 169 h 179"/>
              <a:gd name="T122" fmla="*/ 73 w 165"/>
              <a:gd name="T123" fmla="*/ 162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65" h="179">
                <a:moveTo>
                  <a:pt x="73" y="162"/>
                </a:moveTo>
                <a:cubicBezTo>
                  <a:pt x="83" y="156"/>
                  <a:pt x="83" y="156"/>
                  <a:pt x="83" y="156"/>
                </a:cubicBezTo>
                <a:cubicBezTo>
                  <a:pt x="83" y="156"/>
                  <a:pt x="83" y="156"/>
                  <a:pt x="84" y="156"/>
                </a:cubicBezTo>
                <a:cubicBezTo>
                  <a:pt x="95" y="154"/>
                  <a:pt x="95" y="154"/>
                  <a:pt x="95" y="154"/>
                </a:cubicBezTo>
                <a:cubicBezTo>
                  <a:pt x="97" y="150"/>
                  <a:pt x="97" y="150"/>
                  <a:pt x="97" y="150"/>
                </a:cubicBezTo>
                <a:cubicBezTo>
                  <a:pt x="97" y="143"/>
                  <a:pt x="97" y="143"/>
                  <a:pt x="97" y="143"/>
                </a:cubicBezTo>
                <a:cubicBezTo>
                  <a:pt x="97" y="142"/>
                  <a:pt x="98" y="141"/>
                  <a:pt x="99" y="141"/>
                </a:cubicBezTo>
                <a:cubicBezTo>
                  <a:pt x="101" y="141"/>
                  <a:pt x="107" y="140"/>
                  <a:pt x="110" y="141"/>
                </a:cubicBezTo>
                <a:cubicBezTo>
                  <a:pt x="110" y="141"/>
                  <a:pt x="112" y="139"/>
                  <a:pt x="113" y="137"/>
                </a:cubicBezTo>
                <a:cubicBezTo>
                  <a:pt x="114" y="136"/>
                  <a:pt x="114" y="136"/>
                  <a:pt x="115" y="136"/>
                </a:cubicBezTo>
                <a:cubicBezTo>
                  <a:pt x="126" y="136"/>
                  <a:pt x="126" y="136"/>
                  <a:pt x="126" y="136"/>
                </a:cubicBezTo>
                <a:cubicBezTo>
                  <a:pt x="126" y="136"/>
                  <a:pt x="126" y="136"/>
                  <a:pt x="126" y="136"/>
                </a:cubicBezTo>
                <a:cubicBezTo>
                  <a:pt x="135" y="141"/>
                  <a:pt x="135" y="141"/>
                  <a:pt x="135" y="141"/>
                </a:cubicBezTo>
                <a:cubicBezTo>
                  <a:pt x="143" y="136"/>
                  <a:pt x="143" y="136"/>
                  <a:pt x="143" y="136"/>
                </a:cubicBezTo>
                <a:cubicBezTo>
                  <a:pt x="143" y="136"/>
                  <a:pt x="144" y="136"/>
                  <a:pt x="144" y="136"/>
                </a:cubicBezTo>
                <a:cubicBezTo>
                  <a:pt x="151" y="136"/>
                  <a:pt x="151" y="136"/>
                  <a:pt x="151" y="136"/>
                </a:cubicBezTo>
                <a:cubicBezTo>
                  <a:pt x="151" y="134"/>
                  <a:pt x="151" y="134"/>
                  <a:pt x="151" y="134"/>
                </a:cubicBezTo>
                <a:cubicBezTo>
                  <a:pt x="151" y="134"/>
                  <a:pt x="151" y="134"/>
                  <a:pt x="151" y="134"/>
                </a:cubicBezTo>
                <a:cubicBezTo>
                  <a:pt x="152" y="130"/>
                  <a:pt x="152" y="130"/>
                  <a:pt x="152" y="130"/>
                </a:cubicBezTo>
                <a:cubicBezTo>
                  <a:pt x="152" y="129"/>
                  <a:pt x="153" y="128"/>
                  <a:pt x="154" y="128"/>
                </a:cubicBezTo>
                <a:cubicBezTo>
                  <a:pt x="154" y="128"/>
                  <a:pt x="154" y="128"/>
                  <a:pt x="154" y="128"/>
                </a:cubicBezTo>
                <a:cubicBezTo>
                  <a:pt x="155" y="128"/>
                  <a:pt x="155" y="128"/>
                  <a:pt x="155" y="128"/>
                </a:cubicBezTo>
                <a:cubicBezTo>
                  <a:pt x="154" y="126"/>
                  <a:pt x="153" y="122"/>
                  <a:pt x="153" y="120"/>
                </a:cubicBezTo>
                <a:cubicBezTo>
                  <a:pt x="151" y="119"/>
                  <a:pt x="151" y="119"/>
                  <a:pt x="151" y="119"/>
                </a:cubicBezTo>
                <a:cubicBezTo>
                  <a:pt x="150" y="118"/>
                  <a:pt x="150" y="118"/>
                  <a:pt x="150" y="118"/>
                </a:cubicBezTo>
                <a:cubicBezTo>
                  <a:pt x="150" y="109"/>
                  <a:pt x="150" y="109"/>
                  <a:pt x="150" y="109"/>
                </a:cubicBezTo>
                <a:cubicBezTo>
                  <a:pt x="150" y="106"/>
                  <a:pt x="150" y="106"/>
                  <a:pt x="150" y="106"/>
                </a:cubicBezTo>
                <a:cubicBezTo>
                  <a:pt x="150" y="103"/>
                  <a:pt x="150" y="103"/>
                  <a:pt x="150" y="103"/>
                </a:cubicBezTo>
                <a:cubicBezTo>
                  <a:pt x="151" y="103"/>
                  <a:pt x="151" y="103"/>
                  <a:pt x="151" y="103"/>
                </a:cubicBezTo>
                <a:cubicBezTo>
                  <a:pt x="153" y="100"/>
                  <a:pt x="153" y="100"/>
                  <a:pt x="153" y="100"/>
                </a:cubicBezTo>
                <a:cubicBezTo>
                  <a:pt x="154" y="100"/>
                  <a:pt x="154" y="99"/>
                  <a:pt x="155" y="99"/>
                </a:cubicBezTo>
                <a:cubicBezTo>
                  <a:pt x="156" y="99"/>
                  <a:pt x="156" y="99"/>
                  <a:pt x="156" y="99"/>
                </a:cubicBezTo>
                <a:cubicBezTo>
                  <a:pt x="157" y="98"/>
                  <a:pt x="157" y="98"/>
                  <a:pt x="157" y="98"/>
                </a:cubicBezTo>
                <a:cubicBezTo>
                  <a:pt x="157" y="97"/>
                  <a:pt x="158" y="97"/>
                  <a:pt x="159" y="97"/>
                </a:cubicBezTo>
                <a:cubicBezTo>
                  <a:pt x="160" y="97"/>
                  <a:pt x="160" y="97"/>
                  <a:pt x="160" y="97"/>
                </a:cubicBezTo>
                <a:cubicBezTo>
                  <a:pt x="161" y="95"/>
                  <a:pt x="161" y="95"/>
                  <a:pt x="161" y="95"/>
                </a:cubicBezTo>
                <a:cubicBezTo>
                  <a:pt x="162" y="94"/>
                  <a:pt x="164" y="94"/>
                  <a:pt x="165" y="94"/>
                </a:cubicBezTo>
                <a:cubicBezTo>
                  <a:pt x="164" y="93"/>
                  <a:pt x="164" y="93"/>
                  <a:pt x="164" y="93"/>
                </a:cubicBezTo>
                <a:cubicBezTo>
                  <a:pt x="162" y="92"/>
                  <a:pt x="162" y="92"/>
                  <a:pt x="162" y="92"/>
                </a:cubicBezTo>
                <a:cubicBezTo>
                  <a:pt x="160" y="90"/>
                  <a:pt x="160" y="90"/>
                  <a:pt x="160" y="90"/>
                </a:cubicBezTo>
                <a:cubicBezTo>
                  <a:pt x="156" y="88"/>
                  <a:pt x="156" y="88"/>
                  <a:pt x="156" y="88"/>
                </a:cubicBezTo>
                <a:cubicBezTo>
                  <a:pt x="156" y="88"/>
                  <a:pt x="156" y="88"/>
                  <a:pt x="156" y="87"/>
                </a:cubicBezTo>
                <a:cubicBezTo>
                  <a:pt x="155" y="86"/>
                  <a:pt x="155" y="86"/>
                  <a:pt x="155" y="86"/>
                </a:cubicBezTo>
                <a:cubicBezTo>
                  <a:pt x="154" y="85"/>
                  <a:pt x="154" y="85"/>
                  <a:pt x="154" y="85"/>
                </a:cubicBezTo>
                <a:cubicBezTo>
                  <a:pt x="152" y="84"/>
                  <a:pt x="152" y="84"/>
                  <a:pt x="152" y="84"/>
                </a:cubicBezTo>
                <a:cubicBezTo>
                  <a:pt x="148" y="85"/>
                  <a:pt x="148" y="85"/>
                  <a:pt x="148" y="85"/>
                </a:cubicBezTo>
                <a:cubicBezTo>
                  <a:pt x="145" y="85"/>
                  <a:pt x="145" y="85"/>
                  <a:pt x="145" y="85"/>
                </a:cubicBezTo>
                <a:cubicBezTo>
                  <a:pt x="142" y="85"/>
                  <a:pt x="142" y="85"/>
                  <a:pt x="142" y="85"/>
                </a:cubicBezTo>
                <a:cubicBezTo>
                  <a:pt x="138" y="86"/>
                  <a:pt x="137" y="86"/>
                  <a:pt x="137" y="86"/>
                </a:cubicBezTo>
                <a:cubicBezTo>
                  <a:pt x="132" y="85"/>
                  <a:pt x="132" y="85"/>
                  <a:pt x="132" y="85"/>
                </a:cubicBezTo>
                <a:cubicBezTo>
                  <a:pt x="131" y="85"/>
                  <a:pt x="129" y="84"/>
                  <a:pt x="128" y="84"/>
                </a:cubicBezTo>
                <a:cubicBezTo>
                  <a:pt x="116" y="84"/>
                  <a:pt x="116" y="84"/>
                  <a:pt x="116" y="84"/>
                </a:cubicBezTo>
                <a:cubicBezTo>
                  <a:pt x="115" y="84"/>
                  <a:pt x="115" y="84"/>
                  <a:pt x="112" y="86"/>
                </a:cubicBezTo>
                <a:cubicBezTo>
                  <a:pt x="112" y="86"/>
                  <a:pt x="111" y="87"/>
                  <a:pt x="110" y="87"/>
                </a:cubicBezTo>
                <a:cubicBezTo>
                  <a:pt x="107" y="90"/>
                  <a:pt x="107" y="90"/>
                  <a:pt x="107" y="90"/>
                </a:cubicBezTo>
                <a:cubicBezTo>
                  <a:pt x="107" y="94"/>
                  <a:pt x="107" y="94"/>
                  <a:pt x="107" y="94"/>
                </a:cubicBezTo>
                <a:cubicBezTo>
                  <a:pt x="107" y="95"/>
                  <a:pt x="106" y="96"/>
                  <a:pt x="105" y="96"/>
                </a:cubicBezTo>
                <a:cubicBezTo>
                  <a:pt x="103" y="96"/>
                  <a:pt x="103" y="96"/>
                  <a:pt x="103" y="96"/>
                </a:cubicBezTo>
                <a:cubicBezTo>
                  <a:pt x="103" y="96"/>
                  <a:pt x="103" y="95"/>
                  <a:pt x="102" y="95"/>
                </a:cubicBezTo>
                <a:cubicBezTo>
                  <a:pt x="99" y="94"/>
                  <a:pt x="99" y="94"/>
                  <a:pt x="99" y="94"/>
                </a:cubicBezTo>
                <a:cubicBezTo>
                  <a:pt x="98" y="94"/>
                  <a:pt x="97" y="93"/>
                  <a:pt x="97" y="92"/>
                </a:cubicBezTo>
                <a:cubicBezTo>
                  <a:pt x="97" y="89"/>
                  <a:pt x="97" y="89"/>
                  <a:pt x="97" y="89"/>
                </a:cubicBezTo>
                <a:cubicBezTo>
                  <a:pt x="96" y="88"/>
                  <a:pt x="96" y="88"/>
                  <a:pt x="96" y="88"/>
                </a:cubicBezTo>
                <a:cubicBezTo>
                  <a:pt x="94" y="85"/>
                  <a:pt x="94" y="85"/>
                  <a:pt x="94" y="85"/>
                </a:cubicBezTo>
                <a:cubicBezTo>
                  <a:pt x="94" y="85"/>
                  <a:pt x="93" y="85"/>
                  <a:pt x="92" y="84"/>
                </a:cubicBezTo>
                <a:cubicBezTo>
                  <a:pt x="91" y="84"/>
                  <a:pt x="91" y="84"/>
                  <a:pt x="91" y="84"/>
                </a:cubicBezTo>
                <a:cubicBezTo>
                  <a:pt x="88" y="84"/>
                  <a:pt x="88" y="84"/>
                  <a:pt x="88" y="84"/>
                </a:cubicBezTo>
                <a:cubicBezTo>
                  <a:pt x="88" y="84"/>
                  <a:pt x="88" y="84"/>
                  <a:pt x="87" y="84"/>
                </a:cubicBezTo>
                <a:cubicBezTo>
                  <a:pt x="87" y="84"/>
                  <a:pt x="85" y="82"/>
                  <a:pt x="85" y="80"/>
                </a:cubicBezTo>
                <a:cubicBezTo>
                  <a:pt x="85" y="78"/>
                  <a:pt x="86" y="77"/>
                  <a:pt x="86" y="76"/>
                </a:cubicBezTo>
                <a:cubicBezTo>
                  <a:pt x="87" y="75"/>
                  <a:pt x="87" y="75"/>
                  <a:pt x="87" y="75"/>
                </a:cubicBezTo>
                <a:cubicBezTo>
                  <a:pt x="87" y="73"/>
                  <a:pt x="87" y="73"/>
                  <a:pt x="87" y="73"/>
                </a:cubicBezTo>
                <a:cubicBezTo>
                  <a:pt x="85" y="72"/>
                  <a:pt x="85" y="72"/>
                  <a:pt x="85" y="72"/>
                </a:cubicBezTo>
                <a:cubicBezTo>
                  <a:pt x="76" y="72"/>
                  <a:pt x="76" y="72"/>
                  <a:pt x="76" y="72"/>
                </a:cubicBezTo>
                <a:cubicBezTo>
                  <a:pt x="75" y="72"/>
                  <a:pt x="75" y="72"/>
                  <a:pt x="75" y="72"/>
                </a:cubicBezTo>
                <a:cubicBezTo>
                  <a:pt x="71" y="70"/>
                  <a:pt x="71" y="70"/>
                  <a:pt x="71" y="70"/>
                </a:cubicBezTo>
                <a:cubicBezTo>
                  <a:pt x="69" y="70"/>
                  <a:pt x="69" y="70"/>
                  <a:pt x="69" y="70"/>
                </a:cubicBezTo>
                <a:cubicBezTo>
                  <a:pt x="68" y="70"/>
                  <a:pt x="68" y="69"/>
                  <a:pt x="67" y="68"/>
                </a:cubicBezTo>
                <a:cubicBezTo>
                  <a:pt x="67" y="68"/>
                  <a:pt x="68" y="67"/>
                  <a:pt x="68" y="66"/>
                </a:cubicBezTo>
                <a:cubicBezTo>
                  <a:pt x="68" y="66"/>
                  <a:pt x="70" y="65"/>
                  <a:pt x="72" y="63"/>
                </a:cubicBezTo>
                <a:cubicBezTo>
                  <a:pt x="73" y="62"/>
                  <a:pt x="75" y="62"/>
                  <a:pt x="75" y="62"/>
                </a:cubicBezTo>
                <a:cubicBezTo>
                  <a:pt x="76" y="62"/>
                  <a:pt x="76" y="62"/>
                  <a:pt x="76" y="62"/>
                </a:cubicBezTo>
                <a:cubicBezTo>
                  <a:pt x="77" y="61"/>
                  <a:pt x="77" y="61"/>
                  <a:pt x="77" y="61"/>
                </a:cubicBezTo>
                <a:cubicBezTo>
                  <a:pt x="77" y="59"/>
                  <a:pt x="77" y="59"/>
                  <a:pt x="77" y="59"/>
                </a:cubicBezTo>
                <a:cubicBezTo>
                  <a:pt x="77" y="57"/>
                  <a:pt x="78" y="55"/>
                  <a:pt x="79" y="55"/>
                </a:cubicBezTo>
                <a:cubicBezTo>
                  <a:pt x="80" y="50"/>
                  <a:pt x="80" y="50"/>
                  <a:pt x="80" y="50"/>
                </a:cubicBezTo>
                <a:cubicBezTo>
                  <a:pt x="81" y="47"/>
                  <a:pt x="81" y="47"/>
                  <a:pt x="81" y="47"/>
                </a:cubicBezTo>
                <a:cubicBezTo>
                  <a:pt x="81" y="47"/>
                  <a:pt x="81" y="47"/>
                  <a:pt x="82" y="46"/>
                </a:cubicBezTo>
                <a:cubicBezTo>
                  <a:pt x="82" y="46"/>
                  <a:pt x="83" y="45"/>
                  <a:pt x="86" y="43"/>
                </a:cubicBezTo>
                <a:cubicBezTo>
                  <a:pt x="88" y="42"/>
                  <a:pt x="89" y="41"/>
                  <a:pt x="91" y="43"/>
                </a:cubicBezTo>
                <a:cubicBezTo>
                  <a:pt x="92" y="42"/>
                  <a:pt x="94" y="42"/>
                  <a:pt x="95" y="42"/>
                </a:cubicBezTo>
                <a:cubicBezTo>
                  <a:pt x="96" y="42"/>
                  <a:pt x="96" y="42"/>
                  <a:pt x="96" y="42"/>
                </a:cubicBezTo>
                <a:cubicBezTo>
                  <a:pt x="97" y="39"/>
                  <a:pt x="97" y="39"/>
                  <a:pt x="97" y="39"/>
                </a:cubicBezTo>
                <a:cubicBezTo>
                  <a:pt x="97" y="38"/>
                  <a:pt x="97" y="38"/>
                  <a:pt x="97" y="38"/>
                </a:cubicBezTo>
                <a:cubicBezTo>
                  <a:pt x="95" y="36"/>
                  <a:pt x="95" y="36"/>
                  <a:pt x="95" y="36"/>
                </a:cubicBezTo>
                <a:cubicBezTo>
                  <a:pt x="95" y="36"/>
                  <a:pt x="95" y="36"/>
                  <a:pt x="95" y="35"/>
                </a:cubicBezTo>
                <a:cubicBezTo>
                  <a:pt x="94" y="34"/>
                  <a:pt x="94" y="34"/>
                  <a:pt x="94" y="34"/>
                </a:cubicBezTo>
                <a:cubicBezTo>
                  <a:pt x="94" y="34"/>
                  <a:pt x="93" y="34"/>
                  <a:pt x="92" y="34"/>
                </a:cubicBezTo>
                <a:cubicBezTo>
                  <a:pt x="91" y="33"/>
                  <a:pt x="90" y="32"/>
                  <a:pt x="89" y="32"/>
                </a:cubicBezTo>
                <a:cubicBezTo>
                  <a:pt x="89" y="31"/>
                  <a:pt x="89" y="31"/>
                  <a:pt x="89" y="31"/>
                </a:cubicBezTo>
                <a:cubicBezTo>
                  <a:pt x="88" y="29"/>
                  <a:pt x="88" y="29"/>
                  <a:pt x="88" y="29"/>
                </a:cubicBezTo>
                <a:cubicBezTo>
                  <a:pt x="85" y="27"/>
                  <a:pt x="85" y="27"/>
                  <a:pt x="85" y="27"/>
                </a:cubicBezTo>
                <a:cubicBezTo>
                  <a:pt x="84" y="25"/>
                  <a:pt x="84" y="25"/>
                  <a:pt x="84" y="25"/>
                </a:cubicBezTo>
                <a:cubicBezTo>
                  <a:pt x="83" y="25"/>
                  <a:pt x="83" y="25"/>
                  <a:pt x="83" y="25"/>
                </a:cubicBezTo>
                <a:cubicBezTo>
                  <a:pt x="82" y="25"/>
                  <a:pt x="81" y="25"/>
                  <a:pt x="81" y="24"/>
                </a:cubicBezTo>
                <a:cubicBezTo>
                  <a:pt x="81" y="24"/>
                  <a:pt x="80" y="22"/>
                  <a:pt x="80" y="20"/>
                </a:cubicBezTo>
                <a:cubicBezTo>
                  <a:pt x="80" y="19"/>
                  <a:pt x="80" y="19"/>
                  <a:pt x="80" y="19"/>
                </a:cubicBezTo>
                <a:cubicBezTo>
                  <a:pt x="80" y="17"/>
                  <a:pt x="80" y="17"/>
                  <a:pt x="80" y="17"/>
                </a:cubicBezTo>
                <a:cubicBezTo>
                  <a:pt x="80" y="16"/>
                  <a:pt x="80" y="16"/>
                  <a:pt x="81" y="15"/>
                </a:cubicBezTo>
                <a:cubicBezTo>
                  <a:pt x="84" y="13"/>
                  <a:pt x="84" y="13"/>
                  <a:pt x="84" y="13"/>
                </a:cubicBezTo>
                <a:cubicBezTo>
                  <a:pt x="87" y="11"/>
                  <a:pt x="87" y="11"/>
                  <a:pt x="87" y="11"/>
                </a:cubicBezTo>
                <a:cubicBezTo>
                  <a:pt x="87" y="10"/>
                  <a:pt x="89" y="9"/>
                  <a:pt x="89" y="8"/>
                </a:cubicBezTo>
                <a:cubicBezTo>
                  <a:pt x="92" y="7"/>
                  <a:pt x="92" y="7"/>
                  <a:pt x="92" y="7"/>
                </a:cubicBezTo>
                <a:cubicBezTo>
                  <a:pt x="93" y="4"/>
                  <a:pt x="93" y="4"/>
                  <a:pt x="93" y="4"/>
                </a:cubicBezTo>
                <a:cubicBezTo>
                  <a:pt x="94" y="4"/>
                  <a:pt x="94" y="3"/>
                  <a:pt x="94" y="3"/>
                </a:cubicBezTo>
                <a:cubicBezTo>
                  <a:pt x="94" y="2"/>
                  <a:pt x="94" y="1"/>
                  <a:pt x="95" y="1"/>
                </a:cubicBezTo>
                <a:cubicBezTo>
                  <a:pt x="95" y="0"/>
                  <a:pt x="95" y="0"/>
                  <a:pt x="95" y="0"/>
                </a:cubicBezTo>
                <a:cubicBezTo>
                  <a:pt x="94" y="1"/>
                  <a:pt x="92" y="1"/>
                  <a:pt x="91" y="3"/>
                </a:cubicBezTo>
                <a:cubicBezTo>
                  <a:pt x="91" y="3"/>
                  <a:pt x="91" y="3"/>
                  <a:pt x="90" y="3"/>
                </a:cubicBezTo>
                <a:cubicBezTo>
                  <a:pt x="86" y="6"/>
                  <a:pt x="86" y="6"/>
                  <a:pt x="86" y="6"/>
                </a:cubicBezTo>
                <a:cubicBezTo>
                  <a:pt x="86" y="7"/>
                  <a:pt x="85" y="7"/>
                  <a:pt x="85" y="8"/>
                </a:cubicBezTo>
                <a:cubicBezTo>
                  <a:pt x="84" y="8"/>
                  <a:pt x="81" y="10"/>
                  <a:pt x="79" y="10"/>
                </a:cubicBezTo>
                <a:cubicBezTo>
                  <a:pt x="78" y="10"/>
                  <a:pt x="78" y="10"/>
                  <a:pt x="77" y="10"/>
                </a:cubicBezTo>
                <a:cubicBezTo>
                  <a:pt x="74" y="10"/>
                  <a:pt x="74" y="10"/>
                  <a:pt x="74" y="10"/>
                </a:cubicBezTo>
                <a:cubicBezTo>
                  <a:pt x="73" y="10"/>
                  <a:pt x="73" y="10"/>
                  <a:pt x="73" y="10"/>
                </a:cubicBezTo>
                <a:cubicBezTo>
                  <a:pt x="72" y="10"/>
                  <a:pt x="72" y="10"/>
                  <a:pt x="72" y="10"/>
                </a:cubicBezTo>
                <a:cubicBezTo>
                  <a:pt x="71" y="11"/>
                  <a:pt x="70" y="11"/>
                  <a:pt x="70" y="11"/>
                </a:cubicBezTo>
                <a:cubicBezTo>
                  <a:pt x="69" y="11"/>
                  <a:pt x="69" y="11"/>
                  <a:pt x="69" y="11"/>
                </a:cubicBezTo>
                <a:cubicBezTo>
                  <a:pt x="69" y="12"/>
                  <a:pt x="68" y="12"/>
                  <a:pt x="68" y="12"/>
                </a:cubicBezTo>
                <a:cubicBezTo>
                  <a:pt x="59" y="12"/>
                  <a:pt x="59" y="12"/>
                  <a:pt x="59" y="12"/>
                </a:cubicBezTo>
                <a:cubicBezTo>
                  <a:pt x="58" y="12"/>
                  <a:pt x="58" y="12"/>
                  <a:pt x="57" y="12"/>
                </a:cubicBezTo>
                <a:cubicBezTo>
                  <a:pt x="57" y="12"/>
                  <a:pt x="56" y="12"/>
                  <a:pt x="55" y="12"/>
                </a:cubicBezTo>
                <a:cubicBezTo>
                  <a:pt x="54" y="12"/>
                  <a:pt x="54" y="11"/>
                  <a:pt x="53" y="10"/>
                </a:cubicBezTo>
                <a:cubicBezTo>
                  <a:pt x="45" y="10"/>
                  <a:pt x="45" y="10"/>
                  <a:pt x="45" y="10"/>
                </a:cubicBezTo>
                <a:cubicBezTo>
                  <a:pt x="45" y="11"/>
                  <a:pt x="45" y="12"/>
                  <a:pt x="44" y="12"/>
                </a:cubicBezTo>
                <a:cubicBezTo>
                  <a:pt x="44" y="13"/>
                  <a:pt x="44" y="14"/>
                  <a:pt x="43" y="14"/>
                </a:cubicBezTo>
                <a:cubicBezTo>
                  <a:pt x="42" y="15"/>
                  <a:pt x="40" y="14"/>
                  <a:pt x="39" y="14"/>
                </a:cubicBezTo>
                <a:cubicBezTo>
                  <a:pt x="36" y="13"/>
                  <a:pt x="36" y="13"/>
                  <a:pt x="36" y="13"/>
                </a:cubicBezTo>
                <a:cubicBezTo>
                  <a:pt x="35" y="11"/>
                  <a:pt x="35" y="11"/>
                  <a:pt x="35" y="11"/>
                </a:cubicBezTo>
                <a:cubicBezTo>
                  <a:pt x="37" y="20"/>
                  <a:pt x="37" y="20"/>
                  <a:pt x="37" y="20"/>
                </a:cubicBezTo>
                <a:cubicBezTo>
                  <a:pt x="22" y="65"/>
                  <a:pt x="22" y="65"/>
                  <a:pt x="22" y="65"/>
                </a:cubicBezTo>
                <a:cubicBezTo>
                  <a:pt x="19" y="65"/>
                  <a:pt x="19" y="65"/>
                  <a:pt x="19" y="65"/>
                </a:cubicBezTo>
                <a:cubicBezTo>
                  <a:pt x="3" y="69"/>
                  <a:pt x="3" y="69"/>
                  <a:pt x="3" y="69"/>
                </a:cubicBezTo>
                <a:cubicBezTo>
                  <a:pt x="2" y="71"/>
                  <a:pt x="2" y="71"/>
                  <a:pt x="2" y="71"/>
                </a:cubicBezTo>
                <a:cubicBezTo>
                  <a:pt x="1" y="72"/>
                  <a:pt x="1" y="72"/>
                  <a:pt x="1" y="72"/>
                </a:cubicBezTo>
                <a:cubicBezTo>
                  <a:pt x="1" y="75"/>
                  <a:pt x="1" y="75"/>
                  <a:pt x="1" y="75"/>
                </a:cubicBezTo>
                <a:cubicBezTo>
                  <a:pt x="0" y="103"/>
                  <a:pt x="0" y="103"/>
                  <a:pt x="0" y="103"/>
                </a:cubicBezTo>
                <a:cubicBezTo>
                  <a:pt x="0" y="104"/>
                  <a:pt x="0" y="104"/>
                  <a:pt x="0" y="104"/>
                </a:cubicBezTo>
                <a:cubicBezTo>
                  <a:pt x="0" y="109"/>
                  <a:pt x="0" y="109"/>
                  <a:pt x="0" y="109"/>
                </a:cubicBezTo>
                <a:cubicBezTo>
                  <a:pt x="1" y="113"/>
                  <a:pt x="1" y="113"/>
                  <a:pt x="1" y="113"/>
                </a:cubicBezTo>
                <a:cubicBezTo>
                  <a:pt x="3" y="115"/>
                  <a:pt x="3" y="115"/>
                  <a:pt x="3" y="115"/>
                </a:cubicBezTo>
                <a:cubicBezTo>
                  <a:pt x="5" y="118"/>
                  <a:pt x="5" y="118"/>
                  <a:pt x="5" y="118"/>
                </a:cubicBezTo>
                <a:cubicBezTo>
                  <a:pt x="6" y="119"/>
                  <a:pt x="6" y="119"/>
                  <a:pt x="6" y="119"/>
                </a:cubicBezTo>
                <a:cubicBezTo>
                  <a:pt x="6" y="132"/>
                  <a:pt x="6" y="137"/>
                  <a:pt x="6" y="140"/>
                </a:cubicBezTo>
                <a:cubicBezTo>
                  <a:pt x="9" y="140"/>
                  <a:pt x="9" y="140"/>
                  <a:pt x="9" y="140"/>
                </a:cubicBezTo>
                <a:cubicBezTo>
                  <a:pt x="10" y="140"/>
                  <a:pt x="10" y="140"/>
                  <a:pt x="10" y="141"/>
                </a:cubicBezTo>
                <a:cubicBezTo>
                  <a:pt x="14" y="144"/>
                  <a:pt x="14" y="144"/>
                  <a:pt x="14" y="144"/>
                </a:cubicBezTo>
                <a:cubicBezTo>
                  <a:pt x="15" y="144"/>
                  <a:pt x="15" y="146"/>
                  <a:pt x="14" y="146"/>
                </a:cubicBezTo>
                <a:cubicBezTo>
                  <a:pt x="12" y="149"/>
                  <a:pt x="12" y="149"/>
                  <a:pt x="12" y="149"/>
                </a:cubicBezTo>
                <a:cubicBezTo>
                  <a:pt x="12" y="150"/>
                  <a:pt x="12" y="150"/>
                  <a:pt x="12" y="151"/>
                </a:cubicBezTo>
                <a:cubicBezTo>
                  <a:pt x="12" y="151"/>
                  <a:pt x="12" y="152"/>
                  <a:pt x="11" y="153"/>
                </a:cubicBezTo>
                <a:cubicBezTo>
                  <a:pt x="10" y="154"/>
                  <a:pt x="8" y="156"/>
                  <a:pt x="8" y="157"/>
                </a:cubicBezTo>
                <a:cubicBezTo>
                  <a:pt x="7" y="161"/>
                  <a:pt x="7" y="161"/>
                  <a:pt x="7" y="161"/>
                </a:cubicBezTo>
                <a:cubicBezTo>
                  <a:pt x="11" y="165"/>
                  <a:pt x="11" y="165"/>
                  <a:pt x="11" y="165"/>
                </a:cubicBezTo>
                <a:cubicBezTo>
                  <a:pt x="13" y="166"/>
                  <a:pt x="13" y="166"/>
                  <a:pt x="13" y="166"/>
                </a:cubicBezTo>
                <a:cubicBezTo>
                  <a:pt x="14" y="163"/>
                  <a:pt x="14" y="163"/>
                  <a:pt x="14" y="163"/>
                </a:cubicBezTo>
                <a:cubicBezTo>
                  <a:pt x="15" y="163"/>
                  <a:pt x="15" y="163"/>
                  <a:pt x="16" y="163"/>
                </a:cubicBezTo>
                <a:cubicBezTo>
                  <a:pt x="16" y="163"/>
                  <a:pt x="17" y="163"/>
                  <a:pt x="17" y="163"/>
                </a:cubicBezTo>
                <a:cubicBezTo>
                  <a:pt x="18" y="164"/>
                  <a:pt x="19" y="165"/>
                  <a:pt x="20" y="165"/>
                </a:cubicBezTo>
                <a:cubicBezTo>
                  <a:pt x="20" y="164"/>
                  <a:pt x="21" y="164"/>
                  <a:pt x="22" y="163"/>
                </a:cubicBezTo>
                <a:cubicBezTo>
                  <a:pt x="23" y="163"/>
                  <a:pt x="24" y="163"/>
                  <a:pt x="29" y="173"/>
                </a:cubicBezTo>
                <a:cubicBezTo>
                  <a:pt x="32" y="177"/>
                  <a:pt x="32" y="177"/>
                  <a:pt x="32" y="177"/>
                </a:cubicBezTo>
                <a:cubicBezTo>
                  <a:pt x="35" y="179"/>
                  <a:pt x="35" y="179"/>
                  <a:pt x="35" y="179"/>
                </a:cubicBezTo>
                <a:cubicBezTo>
                  <a:pt x="35" y="178"/>
                  <a:pt x="35" y="177"/>
                  <a:pt x="36" y="177"/>
                </a:cubicBezTo>
                <a:cubicBezTo>
                  <a:pt x="36" y="177"/>
                  <a:pt x="37" y="177"/>
                  <a:pt x="37" y="177"/>
                </a:cubicBezTo>
                <a:cubicBezTo>
                  <a:pt x="37" y="176"/>
                  <a:pt x="38" y="175"/>
                  <a:pt x="39" y="175"/>
                </a:cubicBezTo>
                <a:cubicBezTo>
                  <a:pt x="42" y="171"/>
                  <a:pt x="42" y="171"/>
                  <a:pt x="42" y="171"/>
                </a:cubicBezTo>
                <a:cubicBezTo>
                  <a:pt x="42" y="171"/>
                  <a:pt x="43" y="170"/>
                  <a:pt x="43" y="170"/>
                </a:cubicBezTo>
                <a:cubicBezTo>
                  <a:pt x="54" y="165"/>
                  <a:pt x="54" y="165"/>
                  <a:pt x="54" y="165"/>
                </a:cubicBezTo>
                <a:cubicBezTo>
                  <a:pt x="58" y="164"/>
                  <a:pt x="58" y="164"/>
                  <a:pt x="58" y="164"/>
                </a:cubicBezTo>
                <a:cubicBezTo>
                  <a:pt x="58" y="164"/>
                  <a:pt x="59" y="164"/>
                  <a:pt x="60" y="164"/>
                </a:cubicBezTo>
                <a:cubicBezTo>
                  <a:pt x="66" y="168"/>
                  <a:pt x="66" y="168"/>
                  <a:pt x="66" y="168"/>
                </a:cubicBezTo>
                <a:cubicBezTo>
                  <a:pt x="66" y="169"/>
                  <a:pt x="66" y="169"/>
                  <a:pt x="66" y="169"/>
                </a:cubicBezTo>
                <a:cubicBezTo>
                  <a:pt x="68" y="171"/>
                  <a:pt x="68" y="171"/>
                  <a:pt x="68" y="171"/>
                </a:cubicBezTo>
                <a:cubicBezTo>
                  <a:pt x="73" y="163"/>
                  <a:pt x="73" y="163"/>
                  <a:pt x="73" y="163"/>
                </a:cubicBezTo>
                <a:cubicBezTo>
                  <a:pt x="73" y="163"/>
                  <a:pt x="73" y="163"/>
                  <a:pt x="73" y="16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8" name="Freeform 109">
            <a:extLst>
              <a:ext uri="{FF2B5EF4-FFF2-40B4-BE49-F238E27FC236}">
                <a16:creationId xmlns:a16="http://schemas.microsoft.com/office/drawing/2014/main" id="{CCCD4732-52CE-42FA-A5D1-7070BC967AA0}"/>
              </a:ext>
            </a:extLst>
          </p:cNvPr>
          <p:cNvSpPr>
            <a:spLocks/>
          </p:cNvSpPr>
          <p:nvPr/>
        </p:nvSpPr>
        <p:spPr bwMode="auto">
          <a:xfrm>
            <a:off x="5294722" y="3990504"/>
            <a:ext cx="239052" cy="153988"/>
          </a:xfrm>
          <a:custGeom>
            <a:avLst/>
            <a:gdLst>
              <a:gd name="T0" fmla="*/ 83 w 99"/>
              <a:gd name="T1" fmla="*/ 0 h 69"/>
              <a:gd name="T2" fmla="*/ 83 w 99"/>
              <a:gd name="T3" fmla="*/ 6 h 69"/>
              <a:gd name="T4" fmla="*/ 72 w 99"/>
              <a:gd name="T5" fmla="*/ 8 h 69"/>
              <a:gd name="T6" fmla="*/ 62 w 99"/>
              <a:gd name="T7" fmla="*/ 13 h 69"/>
              <a:gd name="T8" fmla="*/ 44 w 99"/>
              <a:gd name="T9" fmla="*/ 8 h 69"/>
              <a:gd name="T10" fmla="*/ 29 w 99"/>
              <a:gd name="T11" fmla="*/ 13 h 69"/>
              <a:gd name="T12" fmla="*/ 29 w 99"/>
              <a:gd name="T13" fmla="*/ 20 h 69"/>
              <a:gd name="T14" fmla="*/ 25 w 99"/>
              <a:gd name="T15" fmla="*/ 26 h 69"/>
              <a:gd name="T16" fmla="*/ 4 w 99"/>
              <a:gd name="T17" fmla="*/ 34 h 69"/>
              <a:gd name="T18" fmla="*/ 0 w 99"/>
              <a:gd name="T19" fmla="*/ 42 h 69"/>
              <a:gd name="T20" fmla="*/ 8 w 99"/>
              <a:gd name="T21" fmla="*/ 48 h 69"/>
              <a:gd name="T22" fmla="*/ 10 w 99"/>
              <a:gd name="T23" fmla="*/ 50 h 69"/>
              <a:gd name="T24" fmla="*/ 13 w 99"/>
              <a:gd name="T25" fmla="*/ 53 h 69"/>
              <a:gd name="T26" fmla="*/ 14 w 99"/>
              <a:gd name="T27" fmla="*/ 58 h 69"/>
              <a:gd name="T28" fmla="*/ 13 w 99"/>
              <a:gd name="T29" fmla="*/ 59 h 69"/>
              <a:gd name="T30" fmla="*/ 22 w 99"/>
              <a:gd name="T31" fmla="*/ 55 h 69"/>
              <a:gd name="T32" fmla="*/ 29 w 99"/>
              <a:gd name="T33" fmla="*/ 49 h 69"/>
              <a:gd name="T34" fmla="*/ 36 w 99"/>
              <a:gd name="T35" fmla="*/ 55 h 69"/>
              <a:gd name="T36" fmla="*/ 39 w 99"/>
              <a:gd name="T37" fmla="*/ 63 h 69"/>
              <a:gd name="T38" fmla="*/ 46 w 99"/>
              <a:gd name="T39" fmla="*/ 62 h 69"/>
              <a:gd name="T40" fmla="*/ 51 w 99"/>
              <a:gd name="T41" fmla="*/ 60 h 69"/>
              <a:gd name="T42" fmla="*/ 60 w 99"/>
              <a:gd name="T43" fmla="*/ 61 h 69"/>
              <a:gd name="T44" fmla="*/ 65 w 99"/>
              <a:gd name="T45" fmla="*/ 65 h 69"/>
              <a:gd name="T46" fmla="*/ 70 w 99"/>
              <a:gd name="T47" fmla="*/ 69 h 69"/>
              <a:gd name="T48" fmla="*/ 72 w 99"/>
              <a:gd name="T49" fmla="*/ 69 h 69"/>
              <a:gd name="T50" fmla="*/ 79 w 99"/>
              <a:gd name="T51" fmla="*/ 67 h 69"/>
              <a:gd name="T52" fmla="*/ 81 w 99"/>
              <a:gd name="T53" fmla="*/ 63 h 69"/>
              <a:gd name="T54" fmla="*/ 86 w 99"/>
              <a:gd name="T55" fmla="*/ 62 h 69"/>
              <a:gd name="T56" fmla="*/ 89 w 99"/>
              <a:gd name="T57" fmla="*/ 62 h 69"/>
              <a:gd name="T58" fmla="*/ 88 w 99"/>
              <a:gd name="T59" fmla="*/ 56 h 69"/>
              <a:gd name="T60" fmla="*/ 85 w 99"/>
              <a:gd name="T61" fmla="*/ 54 h 69"/>
              <a:gd name="T62" fmla="*/ 85 w 99"/>
              <a:gd name="T63" fmla="*/ 50 h 69"/>
              <a:gd name="T64" fmla="*/ 91 w 99"/>
              <a:gd name="T65" fmla="*/ 49 h 69"/>
              <a:gd name="T66" fmla="*/ 95 w 99"/>
              <a:gd name="T67" fmla="*/ 49 h 69"/>
              <a:gd name="T68" fmla="*/ 96 w 99"/>
              <a:gd name="T69" fmla="*/ 47 h 69"/>
              <a:gd name="T70" fmla="*/ 98 w 99"/>
              <a:gd name="T71" fmla="*/ 43 h 69"/>
              <a:gd name="T72" fmla="*/ 97 w 99"/>
              <a:gd name="T73" fmla="*/ 41 h 69"/>
              <a:gd name="T74" fmla="*/ 92 w 99"/>
              <a:gd name="T75" fmla="*/ 33 h 69"/>
              <a:gd name="T76" fmla="*/ 91 w 99"/>
              <a:gd name="T77" fmla="*/ 30 h 69"/>
              <a:gd name="T78" fmla="*/ 90 w 99"/>
              <a:gd name="T79" fmla="*/ 26 h 69"/>
              <a:gd name="T80" fmla="*/ 95 w 99"/>
              <a:gd name="T81" fmla="*/ 17 h 69"/>
              <a:gd name="T82" fmla="*/ 93 w 99"/>
              <a:gd name="T83" fmla="*/ 12 h 69"/>
              <a:gd name="T84" fmla="*/ 93 w 99"/>
              <a:gd name="T85" fmla="*/ 10 h 69"/>
              <a:gd name="T86" fmla="*/ 90 w 99"/>
              <a:gd name="T87" fmla="*/ 6 h 69"/>
              <a:gd name="T88" fmla="*/ 88 w 99"/>
              <a:gd name="T89" fmla="*/ 3 h 69"/>
              <a:gd name="T90" fmla="*/ 87 w 99"/>
              <a:gd name="T91" fmla="*/ 0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99" h="69">
                <a:moveTo>
                  <a:pt x="87" y="0"/>
                </a:moveTo>
                <a:cubicBezTo>
                  <a:pt x="83" y="0"/>
                  <a:pt x="83" y="0"/>
                  <a:pt x="83" y="0"/>
                </a:cubicBezTo>
                <a:cubicBezTo>
                  <a:pt x="83" y="3"/>
                  <a:pt x="83" y="3"/>
                  <a:pt x="83" y="3"/>
                </a:cubicBezTo>
                <a:cubicBezTo>
                  <a:pt x="83" y="6"/>
                  <a:pt x="83" y="6"/>
                  <a:pt x="83" y="6"/>
                </a:cubicBezTo>
                <a:cubicBezTo>
                  <a:pt x="83" y="7"/>
                  <a:pt x="82" y="8"/>
                  <a:pt x="81" y="8"/>
                </a:cubicBezTo>
                <a:cubicBezTo>
                  <a:pt x="72" y="8"/>
                  <a:pt x="72" y="8"/>
                  <a:pt x="72" y="8"/>
                </a:cubicBezTo>
                <a:cubicBezTo>
                  <a:pt x="63" y="13"/>
                  <a:pt x="63" y="13"/>
                  <a:pt x="63" y="13"/>
                </a:cubicBezTo>
                <a:cubicBezTo>
                  <a:pt x="63" y="13"/>
                  <a:pt x="62" y="13"/>
                  <a:pt x="62" y="13"/>
                </a:cubicBezTo>
                <a:cubicBezTo>
                  <a:pt x="53" y="8"/>
                  <a:pt x="53" y="8"/>
                  <a:pt x="53" y="8"/>
                </a:cubicBezTo>
                <a:cubicBezTo>
                  <a:pt x="44" y="8"/>
                  <a:pt x="44" y="8"/>
                  <a:pt x="44" y="8"/>
                </a:cubicBezTo>
                <a:cubicBezTo>
                  <a:pt x="41" y="12"/>
                  <a:pt x="39" y="14"/>
                  <a:pt x="37" y="13"/>
                </a:cubicBezTo>
                <a:cubicBezTo>
                  <a:pt x="36" y="13"/>
                  <a:pt x="32" y="13"/>
                  <a:pt x="29" y="13"/>
                </a:cubicBezTo>
                <a:cubicBezTo>
                  <a:pt x="29" y="19"/>
                  <a:pt x="29" y="19"/>
                  <a:pt x="29" y="19"/>
                </a:cubicBezTo>
                <a:cubicBezTo>
                  <a:pt x="29" y="19"/>
                  <a:pt x="29" y="19"/>
                  <a:pt x="29" y="20"/>
                </a:cubicBezTo>
                <a:cubicBezTo>
                  <a:pt x="26" y="25"/>
                  <a:pt x="26" y="25"/>
                  <a:pt x="26" y="25"/>
                </a:cubicBezTo>
                <a:cubicBezTo>
                  <a:pt x="26" y="25"/>
                  <a:pt x="25" y="26"/>
                  <a:pt x="25" y="26"/>
                </a:cubicBezTo>
                <a:cubicBezTo>
                  <a:pt x="13" y="28"/>
                  <a:pt x="13" y="28"/>
                  <a:pt x="13" y="28"/>
                </a:cubicBezTo>
                <a:cubicBezTo>
                  <a:pt x="4" y="34"/>
                  <a:pt x="4" y="34"/>
                  <a:pt x="4" y="34"/>
                </a:cubicBezTo>
                <a:cubicBezTo>
                  <a:pt x="0" y="41"/>
                  <a:pt x="0" y="41"/>
                  <a:pt x="0" y="41"/>
                </a:cubicBezTo>
                <a:cubicBezTo>
                  <a:pt x="0" y="42"/>
                  <a:pt x="0" y="42"/>
                  <a:pt x="0" y="42"/>
                </a:cubicBezTo>
                <a:cubicBezTo>
                  <a:pt x="3" y="45"/>
                  <a:pt x="3" y="45"/>
                  <a:pt x="3" y="45"/>
                </a:cubicBezTo>
                <a:cubicBezTo>
                  <a:pt x="8" y="48"/>
                  <a:pt x="8" y="48"/>
                  <a:pt x="8" y="48"/>
                </a:cubicBezTo>
                <a:cubicBezTo>
                  <a:pt x="9" y="48"/>
                  <a:pt x="9" y="48"/>
                  <a:pt x="9" y="49"/>
                </a:cubicBezTo>
                <a:cubicBezTo>
                  <a:pt x="10" y="50"/>
                  <a:pt x="10" y="50"/>
                  <a:pt x="10" y="50"/>
                </a:cubicBezTo>
                <a:cubicBezTo>
                  <a:pt x="12" y="51"/>
                  <a:pt x="12" y="51"/>
                  <a:pt x="12" y="51"/>
                </a:cubicBezTo>
                <a:cubicBezTo>
                  <a:pt x="13" y="51"/>
                  <a:pt x="13" y="52"/>
                  <a:pt x="13" y="53"/>
                </a:cubicBezTo>
                <a:cubicBezTo>
                  <a:pt x="13" y="57"/>
                  <a:pt x="13" y="57"/>
                  <a:pt x="13" y="57"/>
                </a:cubicBezTo>
                <a:cubicBezTo>
                  <a:pt x="14" y="58"/>
                  <a:pt x="14" y="58"/>
                  <a:pt x="14" y="58"/>
                </a:cubicBezTo>
                <a:cubicBezTo>
                  <a:pt x="14" y="58"/>
                  <a:pt x="13" y="59"/>
                  <a:pt x="13" y="59"/>
                </a:cubicBezTo>
                <a:cubicBezTo>
                  <a:pt x="13" y="59"/>
                  <a:pt x="13" y="59"/>
                  <a:pt x="13" y="59"/>
                </a:cubicBezTo>
                <a:cubicBezTo>
                  <a:pt x="16" y="59"/>
                  <a:pt x="16" y="59"/>
                  <a:pt x="16" y="59"/>
                </a:cubicBezTo>
                <a:cubicBezTo>
                  <a:pt x="22" y="55"/>
                  <a:pt x="22" y="55"/>
                  <a:pt x="22" y="55"/>
                </a:cubicBezTo>
                <a:cubicBezTo>
                  <a:pt x="26" y="50"/>
                  <a:pt x="26" y="50"/>
                  <a:pt x="26" y="50"/>
                </a:cubicBezTo>
                <a:cubicBezTo>
                  <a:pt x="27" y="49"/>
                  <a:pt x="28" y="49"/>
                  <a:pt x="29" y="49"/>
                </a:cubicBezTo>
                <a:cubicBezTo>
                  <a:pt x="35" y="53"/>
                  <a:pt x="35" y="53"/>
                  <a:pt x="35" y="53"/>
                </a:cubicBezTo>
                <a:cubicBezTo>
                  <a:pt x="36" y="54"/>
                  <a:pt x="36" y="55"/>
                  <a:pt x="36" y="55"/>
                </a:cubicBezTo>
                <a:cubicBezTo>
                  <a:pt x="36" y="55"/>
                  <a:pt x="36" y="59"/>
                  <a:pt x="38" y="62"/>
                </a:cubicBezTo>
                <a:cubicBezTo>
                  <a:pt x="39" y="63"/>
                  <a:pt x="39" y="63"/>
                  <a:pt x="39" y="63"/>
                </a:cubicBezTo>
                <a:cubicBezTo>
                  <a:pt x="39" y="63"/>
                  <a:pt x="39" y="63"/>
                  <a:pt x="39" y="63"/>
                </a:cubicBezTo>
                <a:cubicBezTo>
                  <a:pt x="46" y="62"/>
                  <a:pt x="46" y="62"/>
                  <a:pt x="46" y="62"/>
                </a:cubicBezTo>
                <a:cubicBezTo>
                  <a:pt x="48" y="61"/>
                  <a:pt x="48" y="61"/>
                  <a:pt x="48" y="61"/>
                </a:cubicBezTo>
                <a:cubicBezTo>
                  <a:pt x="51" y="60"/>
                  <a:pt x="51" y="60"/>
                  <a:pt x="51" y="60"/>
                </a:cubicBezTo>
                <a:cubicBezTo>
                  <a:pt x="57" y="60"/>
                  <a:pt x="57" y="60"/>
                  <a:pt x="57" y="60"/>
                </a:cubicBezTo>
                <a:cubicBezTo>
                  <a:pt x="60" y="61"/>
                  <a:pt x="60" y="61"/>
                  <a:pt x="60" y="61"/>
                </a:cubicBezTo>
                <a:cubicBezTo>
                  <a:pt x="60" y="61"/>
                  <a:pt x="61" y="61"/>
                  <a:pt x="61" y="62"/>
                </a:cubicBezTo>
                <a:cubicBezTo>
                  <a:pt x="61" y="62"/>
                  <a:pt x="63" y="63"/>
                  <a:pt x="65" y="65"/>
                </a:cubicBezTo>
                <a:cubicBezTo>
                  <a:pt x="66" y="66"/>
                  <a:pt x="67" y="67"/>
                  <a:pt x="67" y="67"/>
                </a:cubicBezTo>
                <a:cubicBezTo>
                  <a:pt x="70" y="69"/>
                  <a:pt x="70" y="69"/>
                  <a:pt x="70" y="69"/>
                </a:cubicBezTo>
                <a:cubicBezTo>
                  <a:pt x="71" y="69"/>
                  <a:pt x="71" y="69"/>
                  <a:pt x="71" y="69"/>
                </a:cubicBezTo>
                <a:cubicBezTo>
                  <a:pt x="72" y="69"/>
                  <a:pt x="72" y="69"/>
                  <a:pt x="72" y="69"/>
                </a:cubicBezTo>
                <a:cubicBezTo>
                  <a:pt x="76" y="68"/>
                  <a:pt x="76" y="68"/>
                  <a:pt x="76" y="68"/>
                </a:cubicBezTo>
                <a:cubicBezTo>
                  <a:pt x="79" y="67"/>
                  <a:pt x="79" y="67"/>
                  <a:pt x="79" y="67"/>
                </a:cubicBezTo>
                <a:cubicBezTo>
                  <a:pt x="80" y="65"/>
                  <a:pt x="80" y="65"/>
                  <a:pt x="80" y="65"/>
                </a:cubicBezTo>
                <a:cubicBezTo>
                  <a:pt x="80" y="64"/>
                  <a:pt x="80" y="64"/>
                  <a:pt x="81" y="63"/>
                </a:cubicBezTo>
                <a:cubicBezTo>
                  <a:pt x="81" y="63"/>
                  <a:pt x="82" y="62"/>
                  <a:pt x="83" y="62"/>
                </a:cubicBezTo>
                <a:cubicBezTo>
                  <a:pt x="85" y="62"/>
                  <a:pt x="86" y="62"/>
                  <a:pt x="86" y="62"/>
                </a:cubicBezTo>
                <a:cubicBezTo>
                  <a:pt x="87" y="62"/>
                  <a:pt x="87" y="62"/>
                  <a:pt x="87" y="62"/>
                </a:cubicBezTo>
                <a:cubicBezTo>
                  <a:pt x="89" y="62"/>
                  <a:pt x="89" y="62"/>
                  <a:pt x="89" y="62"/>
                </a:cubicBezTo>
                <a:cubicBezTo>
                  <a:pt x="89" y="59"/>
                  <a:pt x="89" y="59"/>
                  <a:pt x="89" y="59"/>
                </a:cubicBezTo>
                <a:cubicBezTo>
                  <a:pt x="88" y="58"/>
                  <a:pt x="88" y="57"/>
                  <a:pt x="88" y="56"/>
                </a:cubicBezTo>
                <a:cubicBezTo>
                  <a:pt x="86" y="55"/>
                  <a:pt x="86" y="55"/>
                  <a:pt x="86" y="55"/>
                </a:cubicBezTo>
                <a:cubicBezTo>
                  <a:pt x="86" y="55"/>
                  <a:pt x="85" y="55"/>
                  <a:pt x="85" y="54"/>
                </a:cubicBezTo>
                <a:cubicBezTo>
                  <a:pt x="84" y="52"/>
                  <a:pt x="84" y="52"/>
                  <a:pt x="84" y="52"/>
                </a:cubicBezTo>
                <a:cubicBezTo>
                  <a:pt x="84" y="51"/>
                  <a:pt x="84" y="50"/>
                  <a:pt x="85" y="50"/>
                </a:cubicBezTo>
                <a:cubicBezTo>
                  <a:pt x="88" y="49"/>
                  <a:pt x="88" y="49"/>
                  <a:pt x="88" y="49"/>
                </a:cubicBezTo>
                <a:cubicBezTo>
                  <a:pt x="91" y="49"/>
                  <a:pt x="91" y="49"/>
                  <a:pt x="91" y="49"/>
                </a:cubicBezTo>
                <a:cubicBezTo>
                  <a:pt x="92" y="49"/>
                  <a:pt x="92" y="49"/>
                  <a:pt x="93" y="49"/>
                </a:cubicBezTo>
                <a:cubicBezTo>
                  <a:pt x="95" y="49"/>
                  <a:pt x="95" y="49"/>
                  <a:pt x="95" y="49"/>
                </a:cubicBezTo>
                <a:cubicBezTo>
                  <a:pt x="96" y="48"/>
                  <a:pt x="96" y="48"/>
                  <a:pt x="96" y="48"/>
                </a:cubicBezTo>
                <a:cubicBezTo>
                  <a:pt x="96" y="47"/>
                  <a:pt x="96" y="47"/>
                  <a:pt x="96" y="47"/>
                </a:cubicBezTo>
                <a:cubicBezTo>
                  <a:pt x="98" y="44"/>
                  <a:pt x="98" y="44"/>
                  <a:pt x="98" y="44"/>
                </a:cubicBezTo>
                <a:cubicBezTo>
                  <a:pt x="98" y="43"/>
                  <a:pt x="98" y="43"/>
                  <a:pt x="98" y="43"/>
                </a:cubicBezTo>
                <a:cubicBezTo>
                  <a:pt x="99" y="42"/>
                  <a:pt x="99" y="42"/>
                  <a:pt x="99" y="42"/>
                </a:cubicBezTo>
                <a:cubicBezTo>
                  <a:pt x="98" y="42"/>
                  <a:pt x="97" y="42"/>
                  <a:pt x="97" y="41"/>
                </a:cubicBezTo>
                <a:cubicBezTo>
                  <a:pt x="95" y="37"/>
                  <a:pt x="95" y="37"/>
                  <a:pt x="95" y="37"/>
                </a:cubicBezTo>
                <a:cubicBezTo>
                  <a:pt x="92" y="33"/>
                  <a:pt x="92" y="33"/>
                  <a:pt x="92" y="33"/>
                </a:cubicBezTo>
                <a:cubicBezTo>
                  <a:pt x="92" y="32"/>
                  <a:pt x="92" y="32"/>
                  <a:pt x="92" y="32"/>
                </a:cubicBezTo>
                <a:cubicBezTo>
                  <a:pt x="91" y="32"/>
                  <a:pt x="91" y="31"/>
                  <a:pt x="91" y="30"/>
                </a:cubicBezTo>
                <a:cubicBezTo>
                  <a:pt x="90" y="27"/>
                  <a:pt x="90" y="27"/>
                  <a:pt x="90" y="27"/>
                </a:cubicBezTo>
                <a:cubicBezTo>
                  <a:pt x="90" y="26"/>
                  <a:pt x="90" y="26"/>
                  <a:pt x="90" y="26"/>
                </a:cubicBezTo>
                <a:cubicBezTo>
                  <a:pt x="90" y="26"/>
                  <a:pt x="91" y="24"/>
                  <a:pt x="94" y="20"/>
                </a:cubicBezTo>
                <a:cubicBezTo>
                  <a:pt x="95" y="17"/>
                  <a:pt x="95" y="17"/>
                  <a:pt x="95" y="17"/>
                </a:cubicBezTo>
                <a:cubicBezTo>
                  <a:pt x="95" y="16"/>
                  <a:pt x="95" y="16"/>
                  <a:pt x="95" y="16"/>
                </a:cubicBezTo>
                <a:cubicBezTo>
                  <a:pt x="93" y="12"/>
                  <a:pt x="93" y="12"/>
                  <a:pt x="93" y="12"/>
                </a:cubicBezTo>
                <a:cubicBezTo>
                  <a:pt x="93" y="11"/>
                  <a:pt x="93" y="11"/>
                  <a:pt x="93" y="11"/>
                </a:cubicBezTo>
                <a:cubicBezTo>
                  <a:pt x="93" y="10"/>
                  <a:pt x="93" y="10"/>
                  <a:pt x="93" y="10"/>
                </a:cubicBezTo>
                <a:cubicBezTo>
                  <a:pt x="91" y="8"/>
                  <a:pt x="91" y="8"/>
                  <a:pt x="91" y="8"/>
                </a:cubicBezTo>
                <a:cubicBezTo>
                  <a:pt x="90" y="6"/>
                  <a:pt x="90" y="6"/>
                  <a:pt x="90" y="6"/>
                </a:cubicBezTo>
                <a:cubicBezTo>
                  <a:pt x="89" y="4"/>
                  <a:pt x="89" y="4"/>
                  <a:pt x="89" y="4"/>
                </a:cubicBezTo>
                <a:cubicBezTo>
                  <a:pt x="89" y="4"/>
                  <a:pt x="89" y="3"/>
                  <a:pt x="88" y="3"/>
                </a:cubicBezTo>
                <a:cubicBezTo>
                  <a:pt x="88" y="3"/>
                  <a:pt x="88" y="1"/>
                  <a:pt x="88" y="0"/>
                </a:cubicBezTo>
                <a:cubicBezTo>
                  <a:pt x="88" y="0"/>
                  <a:pt x="87" y="0"/>
                  <a:pt x="8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Freeform 110">
            <a:extLst>
              <a:ext uri="{FF2B5EF4-FFF2-40B4-BE49-F238E27FC236}">
                <a16:creationId xmlns:a16="http://schemas.microsoft.com/office/drawing/2014/main" id="{AD1FF405-20CC-4932-A7AD-76015CA4D0B1}"/>
              </a:ext>
            </a:extLst>
          </p:cNvPr>
          <p:cNvSpPr>
            <a:spLocks/>
          </p:cNvSpPr>
          <p:nvPr/>
        </p:nvSpPr>
        <p:spPr bwMode="auto">
          <a:xfrm>
            <a:off x="5587087" y="4531844"/>
            <a:ext cx="304404" cy="415925"/>
          </a:xfrm>
          <a:custGeom>
            <a:avLst/>
            <a:gdLst>
              <a:gd name="T0" fmla="*/ 115 w 126"/>
              <a:gd name="T1" fmla="*/ 72 h 186"/>
              <a:gd name="T2" fmla="*/ 105 w 126"/>
              <a:gd name="T3" fmla="*/ 65 h 186"/>
              <a:gd name="T4" fmla="*/ 95 w 126"/>
              <a:gd name="T5" fmla="*/ 58 h 186"/>
              <a:gd name="T6" fmla="*/ 85 w 126"/>
              <a:gd name="T7" fmla="*/ 50 h 186"/>
              <a:gd name="T8" fmla="*/ 75 w 126"/>
              <a:gd name="T9" fmla="*/ 45 h 186"/>
              <a:gd name="T10" fmla="*/ 63 w 126"/>
              <a:gd name="T11" fmla="*/ 35 h 186"/>
              <a:gd name="T12" fmla="*/ 61 w 126"/>
              <a:gd name="T13" fmla="*/ 22 h 186"/>
              <a:gd name="T14" fmla="*/ 63 w 126"/>
              <a:gd name="T15" fmla="*/ 16 h 186"/>
              <a:gd name="T16" fmla="*/ 55 w 126"/>
              <a:gd name="T17" fmla="*/ 10 h 186"/>
              <a:gd name="T18" fmla="*/ 46 w 126"/>
              <a:gd name="T19" fmla="*/ 6 h 186"/>
              <a:gd name="T20" fmla="*/ 39 w 126"/>
              <a:gd name="T21" fmla="*/ 0 h 186"/>
              <a:gd name="T22" fmla="*/ 8 w 126"/>
              <a:gd name="T23" fmla="*/ 12 h 186"/>
              <a:gd name="T24" fmla="*/ 61 w 126"/>
              <a:gd name="T25" fmla="*/ 47 h 186"/>
              <a:gd name="T26" fmla="*/ 58 w 126"/>
              <a:gd name="T27" fmla="*/ 62 h 186"/>
              <a:gd name="T28" fmla="*/ 40 w 126"/>
              <a:gd name="T29" fmla="*/ 76 h 186"/>
              <a:gd name="T30" fmla="*/ 23 w 126"/>
              <a:gd name="T31" fmla="*/ 74 h 186"/>
              <a:gd name="T32" fmla="*/ 15 w 126"/>
              <a:gd name="T33" fmla="*/ 79 h 186"/>
              <a:gd name="T34" fmla="*/ 12 w 126"/>
              <a:gd name="T35" fmla="*/ 92 h 186"/>
              <a:gd name="T36" fmla="*/ 14 w 126"/>
              <a:gd name="T37" fmla="*/ 99 h 186"/>
              <a:gd name="T38" fmla="*/ 24 w 126"/>
              <a:gd name="T39" fmla="*/ 108 h 186"/>
              <a:gd name="T40" fmla="*/ 10 w 126"/>
              <a:gd name="T41" fmla="*/ 108 h 186"/>
              <a:gd name="T42" fmla="*/ 0 w 126"/>
              <a:gd name="T43" fmla="*/ 108 h 186"/>
              <a:gd name="T44" fmla="*/ 2 w 126"/>
              <a:gd name="T45" fmla="*/ 117 h 186"/>
              <a:gd name="T46" fmla="*/ 6 w 126"/>
              <a:gd name="T47" fmla="*/ 126 h 186"/>
              <a:gd name="T48" fmla="*/ 3 w 126"/>
              <a:gd name="T49" fmla="*/ 133 h 186"/>
              <a:gd name="T50" fmla="*/ 5 w 126"/>
              <a:gd name="T51" fmla="*/ 143 h 186"/>
              <a:gd name="T52" fmla="*/ 18 w 126"/>
              <a:gd name="T53" fmla="*/ 142 h 186"/>
              <a:gd name="T54" fmla="*/ 24 w 126"/>
              <a:gd name="T55" fmla="*/ 145 h 186"/>
              <a:gd name="T56" fmla="*/ 31 w 126"/>
              <a:gd name="T57" fmla="*/ 144 h 186"/>
              <a:gd name="T58" fmla="*/ 40 w 126"/>
              <a:gd name="T59" fmla="*/ 145 h 186"/>
              <a:gd name="T60" fmla="*/ 47 w 126"/>
              <a:gd name="T61" fmla="*/ 144 h 186"/>
              <a:gd name="T62" fmla="*/ 56 w 126"/>
              <a:gd name="T63" fmla="*/ 143 h 186"/>
              <a:gd name="T64" fmla="*/ 56 w 126"/>
              <a:gd name="T65" fmla="*/ 151 h 186"/>
              <a:gd name="T66" fmla="*/ 54 w 126"/>
              <a:gd name="T67" fmla="*/ 154 h 186"/>
              <a:gd name="T68" fmla="*/ 54 w 126"/>
              <a:gd name="T69" fmla="*/ 163 h 186"/>
              <a:gd name="T70" fmla="*/ 56 w 126"/>
              <a:gd name="T71" fmla="*/ 170 h 186"/>
              <a:gd name="T72" fmla="*/ 56 w 126"/>
              <a:gd name="T73" fmla="*/ 183 h 186"/>
              <a:gd name="T74" fmla="*/ 60 w 126"/>
              <a:gd name="T75" fmla="*/ 186 h 186"/>
              <a:gd name="T76" fmla="*/ 67 w 126"/>
              <a:gd name="T77" fmla="*/ 181 h 186"/>
              <a:gd name="T78" fmla="*/ 70 w 126"/>
              <a:gd name="T79" fmla="*/ 171 h 186"/>
              <a:gd name="T80" fmla="*/ 71 w 126"/>
              <a:gd name="T81" fmla="*/ 163 h 186"/>
              <a:gd name="T82" fmla="*/ 78 w 126"/>
              <a:gd name="T83" fmla="*/ 155 h 186"/>
              <a:gd name="T84" fmla="*/ 90 w 126"/>
              <a:gd name="T85" fmla="*/ 151 h 186"/>
              <a:gd name="T86" fmla="*/ 98 w 126"/>
              <a:gd name="T87" fmla="*/ 156 h 186"/>
              <a:gd name="T88" fmla="*/ 99 w 126"/>
              <a:gd name="T89" fmla="*/ 144 h 186"/>
              <a:gd name="T90" fmla="*/ 102 w 126"/>
              <a:gd name="T91" fmla="*/ 137 h 186"/>
              <a:gd name="T92" fmla="*/ 114 w 126"/>
              <a:gd name="T93" fmla="*/ 136 h 186"/>
              <a:gd name="T94" fmla="*/ 111 w 126"/>
              <a:gd name="T95" fmla="*/ 130 h 186"/>
              <a:gd name="T96" fmla="*/ 106 w 126"/>
              <a:gd name="T97" fmla="*/ 122 h 186"/>
              <a:gd name="T98" fmla="*/ 116 w 126"/>
              <a:gd name="T99" fmla="*/ 118 h 186"/>
              <a:gd name="T100" fmla="*/ 118 w 126"/>
              <a:gd name="T101" fmla="*/ 114 h 186"/>
              <a:gd name="T102" fmla="*/ 117 w 126"/>
              <a:gd name="T103" fmla="*/ 105 h 186"/>
              <a:gd name="T104" fmla="*/ 114 w 126"/>
              <a:gd name="T105" fmla="*/ 96 h 186"/>
              <a:gd name="T106" fmla="*/ 125 w 126"/>
              <a:gd name="T107" fmla="*/ 92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26" h="186">
                <a:moveTo>
                  <a:pt x="123" y="84"/>
                </a:moveTo>
                <a:cubicBezTo>
                  <a:pt x="122" y="84"/>
                  <a:pt x="121" y="83"/>
                  <a:pt x="120" y="81"/>
                </a:cubicBezTo>
                <a:cubicBezTo>
                  <a:pt x="120" y="81"/>
                  <a:pt x="120" y="80"/>
                  <a:pt x="119" y="79"/>
                </a:cubicBezTo>
                <a:cubicBezTo>
                  <a:pt x="119" y="79"/>
                  <a:pt x="118" y="78"/>
                  <a:pt x="118" y="77"/>
                </a:cubicBezTo>
                <a:cubicBezTo>
                  <a:pt x="116" y="74"/>
                  <a:pt x="115" y="72"/>
                  <a:pt x="115" y="72"/>
                </a:cubicBezTo>
                <a:cubicBezTo>
                  <a:pt x="113" y="70"/>
                  <a:pt x="113" y="70"/>
                  <a:pt x="113" y="70"/>
                </a:cubicBezTo>
                <a:cubicBezTo>
                  <a:pt x="111" y="68"/>
                  <a:pt x="111" y="68"/>
                  <a:pt x="111" y="68"/>
                </a:cubicBezTo>
                <a:cubicBezTo>
                  <a:pt x="108" y="65"/>
                  <a:pt x="108" y="65"/>
                  <a:pt x="108" y="65"/>
                </a:cubicBezTo>
                <a:cubicBezTo>
                  <a:pt x="107" y="65"/>
                  <a:pt x="107" y="65"/>
                  <a:pt x="107" y="65"/>
                </a:cubicBezTo>
                <a:cubicBezTo>
                  <a:pt x="105" y="65"/>
                  <a:pt x="105" y="65"/>
                  <a:pt x="105" y="65"/>
                </a:cubicBezTo>
                <a:cubicBezTo>
                  <a:pt x="104" y="64"/>
                  <a:pt x="104" y="64"/>
                  <a:pt x="104" y="64"/>
                </a:cubicBezTo>
                <a:cubicBezTo>
                  <a:pt x="101" y="59"/>
                  <a:pt x="101" y="59"/>
                  <a:pt x="101" y="59"/>
                </a:cubicBezTo>
                <a:cubicBezTo>
                  <a:pt x="101" y="59"/>
                  <a:pt x="100" y="60"/>
                  <a:pt x="99" y="59"/>
                </a:cubicBezTo>
                <a:cubicBezTo>
                  <a:pt x="99" y="60"/>
                  <a:pt x="99" y="60"/>
                  <a:pt x="98" y="60"/>
                </a:cubicBezTo>
                <a:cubicBezTo>
                  <a:pt x="97" y="61"/>
                  <a:pt x="96" y="60"/>
                  <a:pt x="95" y="58"/>
                </a:cubicBezTo>
                <a:cubicBezTo>
                  <a:pt x="94" y="57"/>
                  <a:pt x="93" y="56"/>
                  <a:pt x="93" y="56"/>
                </a:cubicBezTo>
                <a:cubicBezTo>
                  <a:pt x="93" y="55"/>
                  <a:pt x="93" y="55"/>
                  <a:pt x="92" y="54"/>
                </a:cubicBezTo>
                <a:cubicBezTo>
                  <a:pt x="91" y="53"/>
                  <a:pt x="91" y="53"/>
                  <a:pt x="91" y="53"/>
                </a:cubicBezTo>
                <a:cubicBezTo>
                  <a:pt x="89" y="53"/>
                  <a:pt x="88" y="53"/>
                  <a:pt x="87" y="51"/>
                </a:cubicBezTo>
                <a:cubicBezTo>
                  <a:pt x="87" y="51"/>
                  <a:pt x="86" y="50"/>
                  <a:pt x="85" y="50"/>
                </a:cubicBezTo>
                <a:cubicBezTo>
                  <a:pt x="84" y="49"/>
                  <a:pt x="83" y="49"/>
                  <a:pt x="83" y="48"/>
                </a:cubicBezTo>
                <a:cubicBezTo>
                  <a:pt x="82" y="48"/>
                  <a:pt x="82" y="48"/>
                  <a:pt x="82" y="48"/>
                </a:cubicBezTo>
                <a:cubicBezTo>
                  <a:pt x="78" y="48"/>
                  <a:pt x="78" y="48"/>
                  <a:pt x="78" y="48"/>
                </a:cubicBezTo>
                <a:cubicBezTo>
                  <a:pt x="77" y="48"/>
                  <a:pt x="76" y="47"/>
                  <a:pt x="76" y="46"/>
                </a:cubicBezTo>
                <a:cubicBezTo>
                  <a:pt x="76" y="46"/>
                  <a:pt x="75" y="46"/>
                  <a:pt x="75" y="45"/>
                </a:cubicBezTo>
                <a:cubicBezTo>
                  <a:pt x="74" y="45"/>
                  <a:pt x="73" y="44"/>
                  <a:pt x="72" y="44"/>
                </a:cubicBezTo>
                <a:cubicBezTo>
                  <a:pt x="71" y="44"/>
                  <a:pt x="71" y="43"/>
                  <a:pt x="70" y="42"/>
                </a:cubicBezTo>
                <a:cubicBezTo>
                  <a:pt x="69" y="40"/>
                  <a:pt x="69" y="40"/>
                  <a:pt x="69" y="40"/>
                </a:cubicBezTo>
                <a:cubicBezTo>
                  <a:pt x="68" y="39"/>
                  <a:pt x="68" y="39"/>
                  <a:pt x="68" y="39"/>
                </a:cubicBezTo>
                <a:cubicBezTo>
                  <a:pt x="67" y="38"/>
                  <a:pt x="64" y="36"/>
                  <a:pt x="63" y="35"/>
                </a:cubicBezTo>
                <a:cubicBezTo>
                  <a:pt x="62" y="34"/>
                  <a:pt x="62" y="34"/>
                  <a:pt x="62" y="32"/>
                </a:cubicBezTo>
                <a:cubicBezTo>
                  <a:pt x="62" y="31"/>
                  <a:pt x="62" y="31"/>
                  <a:pt x="62" y="31"/>
                </a:cubicBezTo>
                <a:cubicBezTo>
                  <a:pt x="62" y="30"/>
                  <a:pt x="62" y="30"/>
                  <a:pt x="62" y="29"/>
                </a:cubicBezTo>
                <a:cubicBezTo>
                  <a:pt x="61" y="27"/>
                  <a:pt x="60" y="24"/>
                  <a:pt x="60" y="24"/>
                </a:cubicBezTo>
                <a:cubicBezTo>
                  <a:pt x="60" y="23"/>
                  <a:pt x="60" y="22"/>
                  <a:pt x="61" y="22"/>
                </a:cubicBezTo>
                <a:cubicBezTo>
                  <a:pt x="62" y="22"/>
                  <a:pt x="63" y="22"/>
                  <a:pt x="63" y="22"/>
                </a:cubicBezTo>
                <a:cubicBezTo>
                  <a:pt x="64" y="21"/>
                  <a:pt x="64" y="21"/>
                  <a:pt x="64" y="21"/>
                </a:cubicBezTo>
                <a:cubicBezTo>
                  <a:pt x="65" y="20"/>
                  <a:pt x="65" y="20"/>
                  <a:pt x="65" y="20"/>
                </a:cubicBezTo>
                <a:cubicBezTo>
                  <a:pt x="64" y="18"/>
                  <a:pt x="64" y="18"/>
                  <a:pt x="64" y="18"/>
                </a:cubicBezTo>
                <a:cubicBezTo>
                  <a:pt x="63" y="16"/>
                  <a:pt x="63" y="16"/>
                  <a:pt x="63" y="16"/>
                </a:cubicBezTo>
                <a:cubicBezTo>
                  <a:pt x="62" y="16"/>
                  <a:pt x="62" y="16"/>
                  <a:pt x="62" y="16"/>
                </a:cubicBezTo>
                <a:cubicBezTo>
                  <a:pt x="56" y="7"/>
                  <a:pt x="56" y="7"/>
                  <a:pt x="56" y="7"/>
                </a:cubicBezTo>
                <a:cubicBezTo>
                  <a:pt x="55" y="7"/>
                  <a:pt x="55" y="7"/>
                  <a:pt x="55" y="7"/>
                </a:cubicBezTo>
                <a:cubicBezTo>
                  <a:pt x="55" y="9"/>
                  <a:pt x="55" y="9"/>
                  <a:pt x="55" y="9"/>
                </a:cubicBezTo>
                <a:cubicBezTo>
                  <a:pt x="55" y="10"/>
                  <a:pt x="55" y="10"/>
                  <a:pt x="55" y="10"/>
                </a:cubicBezTo>
                <a:cubicBezTo>
                  <a:pt x="55" y="10"/>
                  <a:pt x="55" y="10"/>
                  <a:pt x="55" y="10"/>
                </a:cubicBezTo>
                <a:cubicBezTo>
                  <a:pt x="51" y="8"/>
                  <a:pt x="51" y="8"/>
                  <a:pt x="51" y="8"/>
                </a:cubicBezTo>
                <a:cubicBezTo>
                  <a:pt x="51" y="6"/>
                  <a:pt x="51" y="6"/>
                  <a:pt x="51" y="6"/>
                </a:cubicBezTo>
                <a:cubicBezTo>
                  <a:pt x="47" y="6"/>
                  <a:pt x="47" y="6"/>
                  <a:pt x="47" y="6"/>
                </a:cubicBezTo>
                <a:cubicBezTo>
                  <a:pt x="46" y="6"/>
                  <a:pt x="46" y="6"/>
                  <a:pt x="46" y="6"/>
                </a:cubicBezTo>
                <a:cubicBezTo>
                  <a:pt x="44" y="6"/>
                  <a:pt x="42" y="5"/>
                  <a:pt x="42" y="3"/>
                </a:cubicBezTo>
                <a:cubicBezTo>
                  <a:pt x="42" y="2"/>
                  <a:pt x="42" y="2"/>
                  <a:pt x="42" y="2"/>
                </a:cubicBezTo>
                <a:cubicBezTo>
                  <a:pt x="41" y="1"/>
                  <a:pt x="41" y="1"/>
                  <a:pt x="41" y="1"/>
                </a:cubicBezTo>
                <a:cubicBezTo>
                  <a:pt x="39" y="0"/>
                  <a:pt x="39" y="0"/>
                  <a:pt x="39" y="0"/>
                </a:cubicBezTo>
                <a:cubicBezTo>
                  <a:pt x="39" y="0"/>
                  <a:pt x="39" y="0"/>
                  <a:pt x="39" y="0"/>
                </a:cubicBezTo>
                <a:cubicBezTo>
                  <a:pt x="39" y="0"/>
                  <a:pt x="39" y="1"/>
                  <a:pt x="38" y="1"/>
                </a:cubicBezTo>
                <a:cubicBezTo>
                  <a:pt x="36" y="4"/>
                  <a:pt x="36" y="4"/>
                  <a:pt x="36" y="4"/>
                </a:cubicBezTo>
                <a:cubicBezTo>
                  <a:pt x="36" y="15"/>
                  <a:pt x="36" y="15"/>
                  <a:pt x="36" y="15"/>
                </a:cubicBezTo>
                <a:cubicBezTo>
                  <a:pt x="16" y="16"/>
                  <a:pt x="16" y="16"/>
                  <a:pt x="16" y="16"/>
                </a:cubicBezTo>
                <a:cubicBezTo>
                  <a:pt x="8" y="12"/>
                  <a:pt x="8" y="12"/>
                  <a:pt x="8" y="12"/>
                </a:cubicBezTo>
                <a:cubicBezTo>
                  <a:pt x="6" y="12"/>
                  <a:pt x="6" y="12"/>
                  <a:pt x="6" y="12"/>
                </a:cubicBezTo>
                <a:cubicBezTo>
                  <a:pt x="25" y="40"/>
                  <a:pt x="25" y="40"/>
                  <a:pt x="25" y="40"/>
                </a:cubicBezTo>
                <a:cubicBezTo>
                  <a:pt x="45" y="48"/>
                  <a:pt x="45" y="48"/>
                  <a:pt x="45" y="48"/>
                </a:cubicBezTo>
                <a:cubicBezTo>
                  <a:pt x="48" y="47"/>
                  <a:pt x="52" y="46"/>
                  <a:pt x="54" y="47"/>
                </a:cubicBezTo>
                <a:cubicBezTo>
                  <a:pt x="55" y="48"/>
                  <a:pt x="58" y="48"/>
                  <a:pt x="61" y="47"/>
                </a:cubicBezTo>
                <a:cubicBezTo>
                  <a:pt x="63" y="47"/>
                  <a:pt x="63" y="47"/>
                  <a:pt x="63" y="47"/>
                </a:cubicBezTo>
                <a:cubicBezTo>
                  <a:pt x="67" y="55"/>
                  <a:pt x="67" y="55"/>
                  <a:pt x="67" y="55"/>
                </a:cubicBezTo>
                <a:cubicBezTo>
                  <a:pt x="67" y="56"/>
                  <a:pt x="69" y="59"/>
                  <a:pt x="67" y="61"/>
                </a:cubicBezTo>
                <a:cubicBezTo>
                  <a:pt x="67" y="61"/>
                  <a:pt x="66" y="62"/>
                  <a:pt x="64" y="62"/>
                </a:cubicBezTo>
                <a:cubicBezTo>
                  <a:pt x="61" y="62"/>
                  <a:pt x="59" y="62"/>
                  <a:pt x="58" y="62"/>
                </a:cubicBezTo>
                <a:cubicBezTo>
                  <a:pt x="57" y="62"/>
                  <a:pt x="56" y="63"/>
                  <a:pt x="54" y="63"/>
                </a:cubicBezTo>
                <a:cubicBezTo>
                  <a:pt x="51" y="63"/>
                  <a:pt x="48" y="66"/>
                  <a:pt x="47" y="67"/>
                </a:cubicBezTo>
                <a:cubicBezTo>
                  <a:pt x="48" y="68"/>
                  <a:pt x="49" y="69"/>
                  <a:pt x="50" y="70"/>
                </a:cubicBezTo>
                <a:cubicBezTo>
                  <a:pt x="50" y="72"/>
                  <a:pt x="47" y="74"/>
                  <a:pt x="46" y="74"/>
                </a:cubicBezTo>
                <a:cubicBezTo>
                  <a:pt x="44" y="75"/>
                  <a:pt x="42" y="76"/>
                  <a:pt x="40" y="76"/>
                </a:cubicBezTo>
                <a:cubicBezTo>
                  <a:pt x="38" y="76"/>
                  <a:pt x="37" y="75"/>
                  <a:pt x="35" y="75"/>
                </a:cubicBezTo>
                <a:cubicBezTo>
                  <a:pt x="34" y="75"/>
                  <a:pt x="33" y="74"/>
                  <a:pt x="32" y="74"/>
                </a:cubicBezTo>
                <a:cubicBezTo>
                  <a:pt x="31" y="74"/>
                  <a:pt x="31" y="74"/>
                  <a:pt x="31" y="74"/>
                </a:cubicBezTo>
                <a:cubicBezTo>
                  <a:pt x="30" y="74"/>
                  <a:pt x="29" y="74"/>
                  <a:pt x="28" y="74"/>
                </a:cubicBezTo>
                <a:cubicBezTo>
                  <a:pt x="23" y="74"/>
                  <a:pt x="23" y="74"/>
                  <a:pt x="23" y="74"/>
                </a:cubicBezTo>
                <a:cubicBezTo>
                  <a:pt x="23" y="74"/>
                  <a:pt x="22" y="74"/>
                  <a:pt x="22" y="74"/>
                </a:cubicBezTo>
                <a:cubicBezTo>
                  <a:pt x="21" y="75"/>
                  <a:pt x="21" y="75"/>
                  <a:pt x="20" y="75"/>
                </a:cubicBezTo>
                <a:cubicBezTo>
                  <a:pt x="19" y="77"/>
                  <a:pt x="19" y="77"/>
                  <a:pt x="19" y="77"/>
                </a:cubicBezTo>
                <a:cubicBezTo>
                  <a:pt x="18" y="77"/>
                  <a:pt x="17" y="79"/>
                  <a:pt x="16" y="79"/>
                </a:cubicBezTo>
                <a:cubicBezTo>
                  <a:pt x="15" y="79"/>
                  <a:pt x="15" y="79"/>
                  <a:pt x="15" y="79"/>
                </a:cubicBezTo>
                <a:cubicBezTo>
                  <a:pt x="15" y="81"/>
                  <a:pt x="15" y="81"/>
                  <a:pt x="15" y="81"/>
                </a:cubicBezTo>
                <a:cubicBezTo>
                  <a:pt x="16" y="87"/>
                  <a:pt x="16" y="87"/>
                  <a:pt x="16" y="87"/>
                </a:cubicBezTo>
                <a:cubicBezTo>
                  <a:pt x="16" y="87"/>
                  <a:pt x="16" y="88"/>
                  <a:pt x="15" y="88"/>
                </a:cubicBezTo>
                <a:cubicBezTo>
                  <a:pt x="14" y="90"/>
                  <a:pt x="14" y="90"/>
                  <a:pt x="14" y="90"/>
                </a:cubicBezTo>
                <a:cubicBezTo>
                  <a:pt x="12" y="92"/>
                  <a:pt x="12" y="92"/>
                  <a:pt x="12" y="92"/>
                </a:cubicBezTo>
                <a:cubicBezTo>
                  <a:pt x="12" y="92"/>
                  <a:pt x="12" y="93"/>
                  <a:pt x="11" y="93"/>
                </a:cubicBezTo>
                <a:cubicBezTo>
                  <a:pt x="11" y="96"/>
                  <a:pt x="11" y="96"/>
                  <a:pt x="11" y="96"/>
                </a:cubicBezTo>
                <a:cubicBezTo>
                  <a:pt x="12" y="98"/>
                  <a:pt x="12" y="98"/>
                  <a:pt x="12" y="98"/>
                </a:cubicBezTo>
                <a:cubicBezTo>
                  <a:pt x="13" y="98"/>
                  <a:pt x="13" y="99"/>
                  <a:pt x="13" y="99"/>
                </a:cubicBezTo>
                <a:cubicBezTo>
                  <a:pt x="13" y="99"/>
                  <a:pt x="13" y="99"/>
                  <a:pt x="14" y="99"/>
                </a:cubicBezTo>
                <a:cubicBezTo>
                  <a:pt x="15" y="99"/>
                  <a:pt x="15" y="99"/>
                  <a:pt x="15" y="99"/>
                </a:cubicBezTo>
                <a:cubicBezTo>
                  <a:pt x="17" y="99"/>
                  <a:pt x="17" y="99"/>
                  <a:pt x="19" y="100"/>
                </a:cubicBezTo>
                <a:cubicBezTo>
                  <a:pt x="23" y="104"/>
                  <a:pt x="23" y="104"/>
                  <a:pt x="23" y="104"/>
                </a:cubicBezTo>
                <a:cubicBezTo>
                  <a:pt x="24" y="105"/>
                  <a:pt x="24" y="106"/>
                  <a:pt x="24" y="106"/>
                </a:cubicBezTo>
                <a:cubicBezTo>
                  <a:pt x="24" y="108"/>
                  <a:pt x="24" y="108"/>
                  <a:pt x="24" y="108"/>
                </a:cubicBezTo>
                <a:cubicBezTo>
                  <a:pt x="24" y="109"/>
                  <a:pt x="23" y="110"/>
                  <a:pt x="22" y="110"/>
                </a:cubicBezTo>
                <a:cubicBezTo>
                  <a:pt x="17" y="110"/>
                  <a:pt x="17" y="110"/>
                  <a:pt x="17" y="110"/>
                </a:cubicBezTo>
                <a:cubicBezTo>
                  <a:pt x="17" y="110"/>
                  <a:pt x="17" y="110"/>
                  <a:pt x="16" y="111"/>
                </a:cubicBezTo>
                <a:cubicBezTo>
                  <a:pt x="15" y="111"/>
                  <a:pt x="15" y="110"/>
                  <a:pt x="14" y="110"/>
                </a:cubicBezTo>
                <a:cubicBezTo>
                  <a:pt x="13" y="109"/>
                  <a:pt x="11" y="108"/>
                  <a:pt x="10" y="108"/>
                </a:cubicBezTo>
                <a:cubicBezTo>
                  <a:pt x="9" y="108"/>
                  <a:pt x="8" y="107"/>
                  <a:pt x="7" y="107"/>
                </a:cubicBezTo>
                <a:cubicBezTo>
                  <a:pt x="4" y="107"/>
                  <a:pt x="4" y="107"/>
                  <a:pt x="4" y="107"/>
                </a:cubicBezTo>
                <a:cubicBezTo>
                  <a:pt x="4" y="107"/>
                  <a:pt x="4" y="107"/>
                  <a:pt x="3" y="106"/>
                </a:cubicBezTo>
                <a:cubicBezTo>
                  <a:pt x="0" y="106"/>
                  <a:pt x="0" y="106"/>
                  <a:pt x="0" y="106"/>
                </a:cubicBezTo>
                <a:cubicBezTo>
                  <a:pt x="0" y="108"/>
                  <a:pt x="0" y="108"/>
                  <a:pt x="0" y="108"/>
                </a:cubicBezTo>
                <a:cubicBezTo>
                  <a:pt x="1" y="110"/>
                  <a:pt x="1" y="110"/>
                  <a:pt x="1" y="110"/>
                </a:cubicBezTo>
                <a:cubicBezTo>
                  <a:pt x="2" y="111"/>
                  <a:pt x="2" y="111"/>
                  <a:pt x="2" y="112"/>
                </a:cubicBezTo>
                <a:cubicBezTo>
                  <a:pt x="1" y="115"/>
                  <a:pt x="1" y="115"/>
                  <a:pt x="1" y="115"/>
                </a:cubicBezTo>
                <a:cubicBezTo>
                  <a:pt x="2" y="115"/>
                  <a:pt x="2" y="115"/>
                  <a:pt x="2" y="116"/>
                </a:cubicBezTo>
                <a:cubicBezTo>
                  <a:pt x="2" y="117"/>
                  <a:pt x="2" y="117"/>
                  <a:pt x="2" y="117"/>
                </a:cubicBezTo>
                <a:cubicBezTo>
                  <a:pt x="3" y="118"/>
                  <a:pt x="3" y="118"/>
                  <a:pt x="3" y="119"/>
                </a:cubicBezTo>
                <a:cubicBezTo>
                  <a:pt x="4" y="120"/>
                  <a:pt x="4" y="120"/>
                  <a:pt x="4" y="120"/>
                </a:cubicBezTo>
                <a:cubicBezTo>
                  <a:pt x="4" y="121"/>
                  <a:pt x="4" y="121"/>
                  <a:pt x="4" y="121"/>
                </a:cubicBezTo>
                <a:cubicBezTo>
                  <a:pt x="5" y="121"/>
                  <a:pt x="5" y="122"/>
                  <a:pt x="5" y="122"/>
                </a:cubicBezTo>
                <a:cubicBezTo>
                  <a:pt x="6" y="126"/>
                  <a:pt x="6" y="126"/>
                  <a:pt x="6" y="126"/>
                </a:cubicBezTo>
                <a:cubicBezTo>
                  <a:pt x="6" y="129"/>
                  <a:pt x="6" y="129"/>
                  <a:pt x="6" y="129"/>
                </a:cubicBezTo>
                <a:cubicBezTo>
                  <a:pt x="6" y="129"/>
                  <a:pt x="6" y="129"/>
                  <a:pt x="6" y="130"/>
                </a:cubicBezTo>
                <a:cubicBezTo>
                  <a:pt x="5" y="131"/>
                  <a:pt x="5" y="131"/>
                  <a:pt x="5" y="131"/>
                </a:cubicBezTo>
                <a:cubicBezTo>
                  <a:pt x="5" y="132"/>
                  <a:pt x="4" y="133"/>
                  <a:pt x="4" y="133"/>
                </a:cubicBezTo>
                <a:cubicBezTo>
                  <a:pt x="3" y="133"/>
                  <a:pt x="3" y="133"/>
                  <a:pt x="3" y="133"/>
                </a:cubicBezTo>
                <a:cubicBezTo>
                  <a:pt x="3" y="134"/>
                  <a:pt x="3" y="134"/>
                  <a:pt x="3" y="134"/>
                </a:cubicBezTo>
                <a:cubicBezTo>
                  <a:pt x="2" y="137"/>
                  <a:pt x="2" y="137"/>
                  <a:pt x="2" y="137"/>
                </a:cubicBezTo>
                <a:cubicBezTo>
                  <a:pt x="2" y="138"/>
                  <a:pt x="2" y="140"/>
                  <a:pt x="1" y="141"/>
                </a:cubicBezTo>
                <a:cubicBezTo>
                  <a:pt x="1" y="142"/>
                  <a:pt x="1" y="142"/>
                  <a:pt x="1" y="142"/>
                </a:cubicBezTo>
                <a:cubicBezTo>
                  <a:pt x="5" y="143"/>
                  <a:pt x="5" y="143"/>
                  <a:pt x="5" y="143"/>
                </a:cubicBezTo>
                <a:cubicBezTo>
                  <a:pt x="7" y="142"/>
                  <a:pt x="7" y="142"/>
                  <a:pt x="7" y="142"/>
                </a:cubicBezTo>
                <a:cubicBezTo>
                  <a:pt x="10" y="140"/>
                  <a:pt x="10" y="140"/>
                  <a:pt x="10" y="140"/>
                </a:cubicBezTo>
                <a:cubicBezTo>
                  <a:pt x="13" y="139"/>
                  <a:pt x="13" y="139"/>
                  <a:pt x="13" y="139"/>
                </a:cubicBezTo>
                <a:cubicBezTo>
                  <a:pt x="14" y="139"/>
                  <a:pt x="14" y="139"/>
                  <a:pt x="15" y="140"/>
                </a:cubicBezTo>
                <a:cubicBezTo>
                  <a:pt x="18" y="142"/>
                  <a:pt x="18" y="142"/>
                  <a:pt x="18" y="142"/>
                </a:cubicBezTo>
                <a:cubicBezTo>
                  <a:pt x="21" y="144"/>
                  <a:pt x="21" y="144"/>
                  <a:pt x="21" y="144"/>
                </a:cubicBezTo>
                <a:cubicBezTo>
                  <a:pt x="22" y="144"/>
                  <a:pt x="22" y="146"/>
                  <a:pt x="21" y="147"/>
                </a:cubicBezTo>
                <a:cubicBezTo>
                  <a:pt x="23" y="147"/>
                  <a:pt x="23" y="147"/>
                  <a:pt x="23" y="147"/>
                </a:cubicBezTo>
                <a:cubicBezTo>
                  <a:pt x="24" y="147"/>
                  <a:pt x="24" y="147"/>
                  <a:pt x="24" y="147"/>
                </a:cubicBezTo>
                <a:cubicBezTo>
                  <a:pt x="24" y="145"/>
                  <a:pt x="24" y="145"/>
                  <a:pt x="24" y="145"/>
                </a:cubicBezTo>
                <a:cubicBezTo>
                  <a:pt x="24" y="143"/>
                  <a:pt x="24" y="143"/>
                  <a:pt x="24" y="143"/>
                </a:cubicBezTo>
                <a:cubicBezTo>
                  <a:pt x="25" y="142"/>
                  <a:pt x="25" y="142"/>
                  <a:pt x="26" y="142"/>
                </a:cubicBezTo>
                <a:cubicBezTo>
                  <a:pt x="28" y="142"/>
                  <a:pt x="28" y="142"/>
                  <a:pt x="28" y="142"/>
                </a:cubicBezTo>
                <a:cubicBezTo>
                  <a:pt x="29" y="142"/>
                  <a:pt x="29" y="142"/>
                  <a:pt x="30" y="142"/>
                </a:cubicBezTo>
                <a:cubicBezTo>
                  <a:pt x="31" y="144"/>
                  <a:pt x="31" y="144"/>
                  <a:pt x="31" y="144"/>
                </a:cubicBezTo>
                <a:cubicBezTo>
                  <a:pt x="34" y="144"/>
                  <a:pt x="34" y="144"/>
                  <a:pt x="34" y="144"/>
                </a:cubicBezTo>
                <a:cubicBezTo>
                  <a:pt x="35" y="144"/>
                  <a:pt x="35" y="144"/>
                  <a:pt x="35" y="144"/>
                </a:cubicBezTo>
                <a:cubicBezTo>
                  <a:pt x="38" y="144"/>
                  <a:pt x="38" y="144"/>
                  <a:pt x="38" y="144"/>
                </a:cubicBezTo>
                <a:cubicBezTo>
                  <a:pt x="39" y="144"/>
                  <a:pt x="39" y="144"/>
                  <a:pt x="39" y="144"/>
                </a:cubicBezTo>
                <a:cubicBezTo>
                  <a:pt x="40" y="145"/>
                  <a:pt x="40" y="145"/>
                  <a:pt x="40" y="145"/>
                </a:cubicBezTo>
                <a:cubicBezTo>
                  <a:pt x="41" y="145"/>
                  <a:pt x="41" y="145"/>
                  <a:pt x="41" y="145"/>
                </a:cubicBezTo>
                <a:cubicBezTo>
                  <a:pt x="42" y="145"/>
                  <a:pt x="42" y="145"/>
                  <a:pt x="42" y="145"/>
                </a:cubicBezTo>
                <a:cubicBezTo>
                  <a:pt x="44" y="145"/>
                  <a:pt x="44" y="145"/>
                  <a:pt x="44" y="145"/>
                </a:cubicBezTo>
                <a:cubicBezTo>
                  <a:pt x="46" y="144"/>
                  <a:pt x="46" y="144"/>
                  <a:pt x="46" y="144"/>
                </a:cubicBezTo>
                <a:cubicBezTo>
                  <a:pt x="46" y="144"/>
                  <a:pt x="46" y="144"/>
                  <a:pt x="47" y="144"/>
                </a:cubicBezTo>
                <a:cubicBezTo>
                  <a:pt x="49" y="143"/>
                  <a:pt x="49" y="143"/>
                  <a:pt x="49" y="143"/>
                </a:cubicBezTo>
                <a:cubicBezTo>
                  <a:pt x="52" y="142"/>
                  <a:pt x="52" y="142"/>
                  <a:pt x="52" y="142"/>
                </a:cubicBezTo>
                <a:cubicBezTo>
                  <a:pt x="52" y="142"/>
                  <a:pt x="52" y="142"/>
                  <a:pt x="53" y="142"/>
                </a:cubicBezTo>
                <a:cubicBezTo>
                  <a:pt x="55" y="142"/>
                  <a:pt x="55" y="142"/>
                  <a:pt x="55" y="142"/>
                </a:cubicBezTo>
                <a:cubicBezTo>
                  <a:pt x="55" y="142"/>
                  <a:pt x="56" y="142"/>
                  <a:pt x="56" y="143"/>
                </a:cubicBezTo>
                <a:cubicBezTo>
                  <a:pt x="58" y="145"/>
                  <a:pt x="58" y="145"/>
                  <a:pt x="58" y="145"/>
                </a:cubicBezTo>
                <a:cubicBezTo>
                  <a:pt x="58" y="146"/>
                  <a:pt x="58" y="146"/>
                  <a:pt x="58" y="146"/>
                </a:cubicBezTo>
                <a:cubicBezTo>
                  <a:pt x="58" y="149"/>
                  <a:pt x="58" y="149"/>
                  <a:pt x="58" y="149"/>
                </a:cubicBezTo>
                <a:cubicBezTo>
                  <a:pt x="58" y="149"/>
                  <a:pt x="58" y="150"/>
                  <a:pt x="57" y="150"/>
                </a:cubicBezTo>
                <a:cubicBezTo>
                  <a:pt x="56" y="151"/>
                  <a:pt x="56" y="151"/>
                  <a:pt x="56" y="151"/>
                </a:cubicBezTo>
                <a:cubicBezTo>
                  <a:pt x="55" y="152"/>
                  <a:pt x="55" y="152"/>
                  <a:pt x="55" y="152"/>
                </a:cubicBezTo>
                <a:cubicBezTo>
                  <a:pt x="50" y="152"/>
                  <a:pt x="50" y="152"/>
                  <a:pt x="50" y="152"/>
                </a:cubicBezTo>
                <a:cubicBezTo>
                  <a:pt x="49" y="152"/>
                  <a:pt x="49" y="152"/>
                  <a:pt x="49" y="152"/>
                </a:cubicBezTo>
                <a:cubicBezTo>
                  <a:pt x="50" y="153"/>
                  <a:pt x="50" y="153"/>
                  <a:pt x="50" y="153"/>
                </a:cubicBezTo>
                <a:cubicBezTo>
                  <a:pt x="54" y="154"/>
                  <a:pt x="54" y="154"/>
                  <a:pt x="54" y="154"/>
                </a:cubicBezTo>
                <a:cubicBezTo>
                  <a:pt x="54" y="154"/>
                  <a:pt x="55" y="154"/>
                  <a:pt x="55" y="155"/>
                </a:cubicBezTo>
                <a:cubicBezTo>
                  <a:pt x="56" y="158"/>
                  <a:pt x="56" y="158"/>
                  <a:pt x="56" y="158"/>
                </a:cubicBezTo>
                <a:cubicBezTo>
                  <a:pt x="57" y="158"/>
                  <a:pt x="56" y="159"/>
                  <a:pt x="56" y="160"/>
                </a:cubicBezTo>
                <a:cubicBezTo>
                  <a:pt x="54" y="162"/>
                  <a:pt x="54" y="162"/>
                  <a:pt x="54" y="162"/>
                </a:cubicBezTo>
                <a:cubicBezTo>
                  <a:pt x="54" y="163"/>
                  <a:pt x="54" y="163"/>
                  <a:pt x="54" y="163"/>
                </a:cubicBezTo>
                <a:cubicBezTo>
                  <a:pt x="55" y="163"/>
                  <a:pt x="55" y="163"/>
                  <a:pt x="55" y="163"/>
                </a:cubicBezTo>
                <a:cubicBezTo>
                  <a:pt x="57" y="164"/>
                  <a:pt x="57" y="164"/>
                  <a:pt x="57" y="164"/>
                </a:cubicBezTo>
                <a:cubicBezTo>
                  <a:pt x="57" y="165"/>
                  <a:pt x="58" y="165"/>
                  <a:pt x="58" y="166"/>
                </a:cubicBezTo>
                <a:cubicBezTo>
                  <a:pt x="58" y="167"/>
                  <a:pt x="58" y="167"/>
                  <a:pt x="58" y="167"/>
                </a:cubicBezTo>
                <a:cubicBezTo>
                  <a:pt x="56" y="170"/>
                  <a:pt x="56" y="170"/>
                  <a:pt x="56" y="170"/>
                </a:cubicBezTo>
                <a:cubicBezTo>
                  <a:pt x="57" y="171"/>
                  <a:pt x="57" y="171"/>
                  <a:pt x="57" y="171"/>
                </a:cubicBezTo>
                <a:cubicBezTo>
                  <a:pt x="58" y="171"/>
                  <a:pt x="58" y="172"/>
                  <a:pt x="58" y="173"/>
                </a:cubicBezTo>
                <a:cubicBezTo>
                  <a:pt x="58" y="179"/>
                  <a:pt x="58" y="179"/>
                  <a:pt x="58" y="179"/>
                </a:cubicBezTo>
                <a:cubicBezTo>
                  <a:pt x="58" y="180"/>
                  <a:pt x="59" y="181"/>
                  <a:pt x="58" y="182"/>
                </a:cubicBezTo>
                <a:cubicBezTo>
                  <a:pt x="58" y="183"/>
                  <a:pt x="57" y="183"/>
                  <a:pt x="56" y="183"/>
                </a:cubicBezTo>
                <a:cubicBezTo>
                  <a:pt x="56" y="184"/>
                  <a:pt x="55" y="184"/>
                  <a:pt x="55" y="184"/>
                </a:cubicBezTo>
                <a:cubicBezTo>
                  <a:pt x="55" y="185"/>
                  <a:pt x="55" y="185"/>
                  <a:pt x="55" y="185"/>
                </a:cubicBezTo>
                <a:cubicBezTo>
                  <a:pt x="53" y="186"/>
                  <a:pt x="53" y="186"/>
                  <a:pt x="53" y="186"/>
                </a:cubicBezTo>
                <a:cubicBezTo>
                  <a:pt x="53" y="186"/>
                  <a:pt x="53" y="186"/>
                  <a:pt x="54" y="186"/>
                </a:cubicBezTo>
                <a:cubicBezTo>
                  <a:pt x="60" y="186"/>
                  <a:pt x="60" y="186"/>
                  <a:pt x="60" y="186"/>
                </a:cubicBezTo>
                <a:cubicBezTo>
                  <a:pt x="60" y="185"/>
                  <a:pt x="60" y="185"/>
                  <a:pt x="61" y="184"/>
                </a:cubicBezTo>
                <a:cubicBezTo>
                  <a:pt x="62" y="184"/>
                  <a:pt x="62" y="184"/>
                  <a:pt x="63" y="184"/>
                </a:cubicBezTo>
                <a:cubicBezTo>
                  <a:pt x="64" y="182"/>
                  <a:pt x="64" y="182"/>
                  <a:pt x="64" y="182"/>
                </a:cubicBezTo>
                <a:cubicBezTo>
                  <a:pt x="65" y="181"/>
                  <a:pt x="66" y="181"/>
                  <a:pt x="66" y="181"/>
                </a:cubicBezTo>
                <a:cubicBezTo>
                  <a:pt x="67" y="181"/>
                  <a:pt x="67" y="181"/>
                  <a:pt x="67" y="181"/>
                </a:cubicBezTo>
                <a:cubicBezTo>
                  <a:pt x="67" y="181"/>
                  <a:pt x="67" y="180"/>
                  <a:pt x="68" y="180"/>
                </a:cubicBezTo>
                <a:cubicBezTo>
                  <a:pt x="68" y="179"/>
                  <a:pt x="68" y="179"/>
                  <a:pt x="68" y="179"/>
                </a:cubicBezTo>
                <a:cubicBezTo>
                  <a:pt x="68" y="178"/>
                  <a:pt x="68" y="177"/>
                  <a:pt x="69" y="176"/>
                </a:cubicBezTo>
                <a:cubicBezTo>
                  <a:pt x="69" y="176"/>
                  <a:pt x="69" y="175"/>
                  <a:pt x="70" y="175"/>
                </a:cubicBezTo>
                <a:cubicBezTo>
                  <a:pt x="70" y="172"/>
                  <a:pt x="70" y="171"/>
                  <a:pt x="70" y="171"/>
                </a:cubicBezTo>
                <a:cubicBezTo>
                  <a:pt x="70" y="170"/>
                  <a:pt x="70" y="170"/>
                  <a:pt x="70" y="170"/>
                </a:cubicBezTo>
                <a:cubicBezTo>
                  <a:pt x="69" y="169"/>
                  <a:pt x="70" y="168"/>
                  <a:pt x="70" y="167"/>
                </a:cubicBezTo>
                <a:cubicBezTo>
                  <a:pt x="70" y="166"/>
                  <a:pt x="70" y="166"/>
                  <a:pt x="70" y="166"/>
                </a:cubicBezTo>
                <a:cubicBezTo>
                  <a:pt x="70" y="166"/>
                  <a:pt x="70" y="165"/>
                  <a:pt x="70" y="164"/>
                </a:cubicBezTo>
                <a:cubicBezTo>
                  <a:pt x="70" y="164"/>
                  <a:pt x="71" y="164"/>
                  <a:pt x="71" y="163"/>
                </a:cubicBezTo>
                <a:cubicBezTo>
                  <a:pt x="71" y="162"/>
                  <a:pt x="71" y="162"/>
                  <a:pt x="71" y="162"/>
                </a:cubicBezTo>
                <a:cubicBezTo>
                  <a:pt x="71" y="160"/>
                  <a:pt x="72" y="160"/>
                  <a:pt x="73" y="159"/>
                </a:cubicBezTo>
                <a:cubicBezTo>
                  <a:pt x="75" y="159"/>
                  <a:pt x="75" y="158"/>
                  <a:pt x="76" y="158"/>
                </a:cubicBezTo>
                <a:cubicBezTo>
                  <a:pt x="76" y="158"/>
                  <a:pt x="76" y="157"/>
                  <a:pt x="77" y="157"/>
                </a:cubicBezTo>
                <a:cubicBezTo>
                  <a:pt x="77" y="156"/>
                  <a:pt x="77" y="156"/>
                  <a:pt x="78" y="155"/>
                </a:cubicBezTo>
                <a:cubicBezTo>
                  <a:pt x="79" y="154"/>
                  <a:pt x="80" y="154"/>
                  <a:pt x="80" y="153"/>
                </a:cubicBezTo>
                <a:cubicBezTo>
                  <a:pt x="80" y="152"/>
                  <a:pt x="79" y="151"/>
                  <a:pt x="80" y="150"/>
                </a:cubicBezTo>
                <a:cubicBezTo>
                  <a:pt x="80" y="149"/>
                  <a:pt x="81" y="148"/>
                  <a:pt x="83" y="149"/>
                </a:cubicBezTo>
                <a:cubicBezTo>
                  <a:pt x="89" y="151"/>
                  <a:pt x="89" y="151"/>
                  <a:pt x="89" y="151"/>
                </a:cubicBezTo>
                <a:cubicBezTo>
                  <a:pt x="90" y="151"/>
                  <a:pt x="90" y="151"/>
                  <a:pt x="90" y="151"/>
                </a:cubicBezTo>
                <a:cubicBezTo>
                  <a:pt x="91" y="153"/>
                  <a:pt x="91" y="153"/>
                  <a:pt x="91" y="153"/>
                </a:cubicBezTo>
                <a:cubicBezTo>
                  <a:pt x="91" y="154"/>
                  <a:pt x="91" y="154"/>
                  <a:pt x="91" y="154"/>
                </a:cubicBezTo>
                <a:cubicBezTo>
                  <a:pt x="93" y="155"/>
                  <a:pt x="93" y="155"/>
                  <a:pt x="93" y="155"/>
                </a:cubicBezTo>
                <a:cubicBezTo>
                  <a:pt x="97" y="156"/>
                  <a:pt x="97" y="156"/>
                  <a:pt x="97" y="156"/>
                </a:cubicBezTo>
                <a:cubicBezTo>
                  <a:pt x="97" y="156"/>
                  <a:pt x="97" y="156"/>
                  <a:pt x="98" y="156"/>
                </a:cubicBezTo>
                <a:cubicBezTo>
                  <a:pt x="97" y="155"/>
                  <a:pt x="97" y="155"/>
                  <a:pt x="97" y="155"/>
                </a:cubicBezTo>
                <a:cubicBezTo>
                  <a:pt x="97" y="153"/>
                  <a:pt x="97" y="152"/>
                  <a:pt x="98" y="151"/>
                </a:cubicBezTo>
                <a:cubicBezTo>
                  <a:pt x="98" y="150"/>
                  <a:pt x="98" y="150"/>
                  <a:pt x="98" y="150"/>
                </a:cubicBezTo>
                <a:cubicBezTo>
                  <a:pt x="98" y="150"/>
                  <a:pt x="97" y="150"/>
                  <a:pt x="97" y="149"/>
                </a:cubicBezTo>
                <a:cubicBezTo>
                  <a:pt x="97" y="148"/>
                  <a:pt x="95" y="146"/>
                  <a:pt x="99" y="144"/>
                </a:cubicBezTo>
                <a:cubicBezTo>
                  <a:pt x="100" y="143"/>
                  <a:pt x="100" y="143"/>
                  <a:pt x="100" y="143"/>
                </a:cubicBezTo>
                <a:cubicBezTo>
                  <a:pt x="100" y="142"/>
                  <a:pt x="100" y="142"/>
                  <a:pt x="100" y="141"/>
                </a:cubicBezTo>
                <a:cubicBezTo>
                  <a:pt x="100" y="140"/>
                  <a:pt x="100" y="140"/>
                  <a:pt x="100" y="140"/>
                </a:cubicBezTo>
                <a:cubicBezTo>
                  <a:pt x="100" y="139"/>
                  <a:pt x="101" y="139"/>
                  <a:pt x="101" y="139"/>
                </a:cubicBezTo>
                <a:cubicBezTo>
                  <a:pt x="101" y="139"/>
                  <a:pt x="101" y="138"/>
                  <a:pt x="102" y="137"/>
                </a:cubicBezTo>
                <a:cubicBezTo>
                  <a:pt x="103" y="135"/>
                  <a:pt x="103" y="135"/>
                  <a:pt x="103" y="135"/>
                </a:cubicBezTo>
                <a:cubicBezTo>
                  <a:pt x="103" y="134"/>
                  <a:pt x="104" y="134"/>
                  <a:pt x="105" y="134"/>
                </a:cubicBezTo>
                <a:cubicBezTo>
                  <a:pt x="105" y="133"/>
                  <a:pt x="106" y="132"/>
                  <a:pt x="107" y="132"/>
                </a:cubicBezTo>
                <a:cubicBezTo>
                  <a:pt x="114" y="132"/>
                  <a:pt x="114" y="132"/>
                  <a:pt x="114" y="132"/>
                </a:cubicBezTo>
                <a:cubicBezTo>
                  <a:pt x="114" y="136"/>
                  <a:pt x="114" y="136"/>
                  <a:pt x="114" y="136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6" y="132"/>
                  <a:pt x="116" y="132"/>
                  <a:pt x="117" y="132"/>
                </a:cubicBezTo>
                <a:cubicBezTo>
                  <a:pt x="117" y="130"/>
                  <a:pt x="117" y="130"/>
                  <a:pt x="117" y="130"/>
                </a:cubicBezTo>
                <a:cubicBezTo>
                  <a:pt x="112" y="130"/>
                  <a:pt x="112" y="130"/>
                  <a:pt x="112" y="130"/>
                </a:cubicBezTo>
                <a:cubicBezTo>
                  <a:pt x="112" y="130"/>
                  <a:pt x="112" y="130"/>
                  <a:pt x="111" y="130"/>
                </a:cubicBezTo>
                <a:cubicBezTo>
                  <a:pt x="110" y="129"/>
                  <a:pt x="109" y="129"/>
                  <a:pt x="108" y="128"/>
                </a:cubicBezTo>
                <a:cubicBezTo>
                  <a:pt x="108" y="129"/>
                  <a:pt x="107" y="128"/>
                  <a:pt x="107" y="128"/>
                </a:cubicBezTo>
                <a:cubicBezTo>
                  <a:pt x="106" y="128"/>
                  <a:pt x="105" y="128"/>
                  <a:pt x="105" y="126"/>
                </a:cubicBezTo>
                <a:cubicBezTo>
                  <a:pt x="105" y="124"/>
                  <a:pt x="105" y="124"/>
                  <a:pt x="105" y="124"/>
                </a:cubicBezTo>
                <a:cubicBezTo>
                  <a:pt x="105" y="123"/>
                  <a:pt x="105" y="122"/>
                  <a:pt x="106" y="122"/>
                </a:cubicBezTo>
                <a:cubicBezTo>
                  <a:pt x="107" y="122"/>
                  <a:pt x="107" y="122"/>
                  <a:pt x="108" y="122"/>
                </a:cubicBezTo>
                <a:cubicBezTo>
                  <a:pt x="109" y="121"/>
                  <a:pt x="110" y="121"/>
                  <a:pt x="110" y="121"/>
                </a:cubicBezTo>
                <a:cubicBezTo>
                  <a:pt x="111" y="120"/>
                  <a:pt x="112" y="120"/>
                  <a:pt x="112" y="121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4" y="119"/>
                  <a:pt x="115" y="118"/>
                  <a:pt x="116" y="118"/>
                </a:cubicBezTo>
                <a:cubicBezTo>
                  <a:pt x="116" y="119"/>
                  <a:pt x="116" y="119"/>
                  <a:pt x="116" y="119"/>
                </a:cubicBezTo>
                <a:cubicBezTo>
                  <a:pt x="117" y="118"/>
                  <a:pt x="117" y="118"/>
                  <a:pt x="118" y="118"/>
                </a:cubicBezTo>
                <a:cubicBezTo>
                  <a:pt x="118" y="117"/>
                  <a:pt x="118" y="117"/>
                  <a:pt x="118" y="117"/>
                </a:cubicBezTo>
                <a:cubicBezTo>
                  <a:pt x="118" y="115"/>
                  <a:pt x="118" y="115"/>
                  <a:pt x="118" y="115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18" y="113"/>
                  <a:pt x="118" y="113"/>
                  <a:pt x="118" y="113"/>
                </a:cubicBezTo>
                <a:cubicBezTo>
                  <a:pt x="118" y="112"/>
                  <a:pt x="118" y="111"/>
                  <a:pt x="118" y="111"/>
                </a:cubicBezTo>
                <a:cubicBezTo>
                  <a:pt x="118" y="110"/>
                  <a:pt x="118" y="110"/>
                  <a:pt x="118" y="108"/>
                </a:cubicBezTo>
                <a:cubicBezTo>
                  <a:pt x="118" y="107"/>
                  <a:pt x="119" y="106"/>
                  <a:pt x="119" y="105"/>
                </a:cubicBezTo>
                <a:cubicBezTo>
                  <a:pt x="118" y="106"/>
                  <a:pt x="118" y="105"/>
                  <a:pt x="117" y="105"/>
                </a:cubicBezTo>
                <a:cubicBezTo>
                  <a:pt x="114" y="103"/>
                  <a:pt x="114" y="103"/>
                  <a:pt x="114" y="103"/>
                </a:cubicBezTo>
                <a:cubicBezTo>
                  <a:pt x="112" y="101"/>
                  <a:pt x="112" y="101"/>
                  <a:pt x="112" y="101"/>
                </a:cubicBezTo>
                <a:cubicBezTo>
                  <a:pt x="112" y="100"/>
                  <a:pt x="112" y="100"/>
                  <a:pt x="112" y="99"/>
                </a:cubicBezTo>
                <a:cubicBezTo>
                  <a:pt x="113" y="97"/>
                  <a:pt x="113" y="97"/>
                  <a:pt x="113" y="97"/>
                </a:cubicBezTo>
                <a:cubicBezTo>
                  <a:pt x="113" y="96"/>
                  <a:pt x="113" y="96"/>
                  <a:pt x="114" y="96"/>
                </a:cubicBezTo>
                <a:cubicBezTo>
                  <a:pt x="117" y="95"/>
                  <a:pt x="117" y="95"/>
                  <a:pt x="117" y="95"/>
                </a:cubicBezTo>
                <a:cubicBezTo>
                  <a:pt x="117" y="94"/>
                  <a:pt x="117" y="94"/>
                  <a:pt x="118" y="94"/>
                </a:cubicBezTo>
                <a:cubicBezTo>
                  <a:pt x="122" y="94"/>
                  <a:pt x="122" y="94"/>
                  <a:pt x="122" y="94"/>
                </a:cubicBezTo>
                <a:cubicBezTo>
                  <a:pt x="122" y="94"/>
                  <a:pt x="123" y="93"/>
                  <a:pt x="124" y="93"/>
                </a:cubicBezTo>
                <a:cubicBezTo>
                  <a:pt x="124" y="93"/>
                  <a:pt x="125" y="93"/>
                  <a:pt x="125" y="92"/>
                </a:cubicBezTo>
                <a:cubicBezTo>
                  <a:pt x="125" y="92"/>
                  <a:pt x="125" y="92"/>
                  <a:pt x="126" y="92"/>
                </a:cubicBezTo>
                <a:cubicBezTo>
                  <a:pt x="126" y="89"/>
                  <a:pt x="126" y="89"/>
                  <a:pt x="126" y="89"/>
                </a:cubicBezTo>
                <a:cubicBezTo>
                  <a:pt x="123" y="84"/>
                  <a:pt x="123" y="84"/>
                  <a:pt x="123" y="8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0" name="Freeform 111">
            <a:extLst>
              <a:ext uri="{FF2B5EF4-FFF2-40B4-BE49-F238E27FC236}">
                <a16:creationId xmlns:a16="http://schemas.microsoft.com/office/drawing/2014/main" id="{4522FC74-5E4E-4A4A-818A-454F106CAF1D}"/>
              </a:ext>
            </a:extLst>
          </p:cNvPr>
          <p:cNvSpPr>
            <a:spLocks/>
          </p:cNvSpPr>
          <p:nvPr/>
        </p:nvSpPr>
        <p:spPr bwMode="auto">
          <a:xfrm>
            <a:off x="5370393" y="4260379"/>
            <a:ext cx="345679" cy="420688"/>
          </a:xfrm>
          <a:custGeom>
            <a:avLst/>
            <a:gdLst>
              <a:gd name="T0" fmla="*/ 73 w 143"/>
              <a:gd name="T1" fmla="*/ 130 h 189"/>
              <a:gd name="T2" fmla="*/ 86 w 143"/>
              <a:gd name="T3" fmla="*/ 132 h 189"/>
              <a:gd name="T4" fmla="*/ 99 w 143"/>
              <a:gd name="T5" fmla="*/ 130 h 189"/>
              <a:gd name="T6" fmla="*/ 126 w 143"/>
              <a:gd name="T7" fmla="*/ 121 h 189"/>
              <a:gd name="T8" fmla="*/ 124 w 143"/>
              <a:gd name="T9" fmla="*/ 109 h 189"/>
              <a:gd name="T10" fmla="*/ 130 w 143"/>
              <a:gd name="T11" fmla="*/ 104 h 189"/>
              <a:gd name="T12" fmla="*/ 136 w 143"/>
              <a:gd name="T13" fmla="*/ 104 h 189"/>
              <a:gd name="T14" fmla="*/ 141 w 143"/>
              <a:gd name="T15" fmla="*/ 103 h 189"/>
              <a:gd name="T16" fmla="*/ 136 w 143"/>
              <a:gd name="T17" fmla="*/ 92 h 189"/>
              <a:gd name="T18" fmla="*/ 130 w 143"/>
              <a:gd name="T19" fmla="*/ 89 h 189"/>
              <a:gd name="T20" fmla="*/ 118 w 143"/>
              <a:gd name="T21" fmla="*/ 88 h 189"/>
              <a:gd name="T22" fmla="*/ 113 w 143"/>
              <a:gd name="T23" fmla="*/ 85 h 189"/>
              <a:gd name="T24" fmla="*/ 108 w 143"/>
              <a:gd name="T25" fmla="*/ 83 h 189"/>
              <a:gd name="T26" fmla="*/ 100 w 143"/>
              <a:gd name="T27" fmla="*/ 75 h 189"/>
              <a:gd name="T28" fmla="*/ 100 w 143"/>
              <a:gd name="T29" fmla="*/ 67 h 189"/>
              <a:gd name="T30" fmla="*/ 104 w 143"/>
              <a:gd name="T31" fmla="*/ 55 h 189"/>
              <a:gd name="T32" fmla="*/ 110 w 143"/>
              <a:gd name="T33" fmla="*/ 49 h 189"/>
              <a:gd name="T34" fmla="*/ 110 w 143"/>
              <a:gd name="T35" fmla="*/ 43 h 189"/>
              <a:gd name="T36" fmla="*/ 108 w 143"/>
              <a:gd name="T37" fmla="*/ 27 h 189"/>
              <a:gd name="T38" fmla="*/ 104 w 143"/>
              <a:gd name="T39" fmla="*/ 20 h 189"/>
              <a:gd name="T40" fmla="*/ 99 w 143"/>
              <a:gd name="T41" fmla="*/ 9 h 189"/>
              <a:gd name="T42" fmla="*/ 93 w 143"/>
              <a:gd name="T43" fmla="*/ 5 h 189"/>
              <a:gd name="T44" fmla="*/ 87 w 143"/>
              <a:gd name="T45" fmla="*/ 2 h 189"/>
              <a:gd name="T46" fmla="*/ 80 w 143"/>
              <a:gd name="T47" fmla="*/ 1 h 189"/>
              <a:gd name="T48" fmla="*/ 76 w 143"/>
              <a:gd name="T49" fmla="*/ 5 h 189"/>
              <a:gd name="T50" fmla="*/ 64 w 143"/>
              <a:gd name="T51" fmla="*/ 8 h 189"/>
              <a:gd name="T52" fmla="*/ 57 w 143"/>
              <a:gd name="T53" fmla="*/ 11 h 189"/>
              <a:gd name="T54" fmla="*/ 50 w 143"/>
              <a:gd name="T55" fmla="*/ 10 h 189"/>
              <a:gd name="T56" fmla="*/ 49 w 143"/>
              <a:gd name="T57" fmla="*/ 14 h 189"/>
              <a:gd name="T58" fmla="*/ 40 w 143"/>
              <a:gd name="T59" fmla="*/ 23 h 189"/>
              <a:gd name="T60" fmla="*/ 34 w 143"/>
              <a:gd name="T61" fmla="*/ 32 h 189"/>
              <a:gd name="T62" fmla="*/ 24 w 143"/>
              <a:gd name="T63" fmla="*/ 40 h 189"/>
              <a:gd name="T64" fmla="*/ 19 w 143"/>
              <a:gd name="T65" fmla="*/ 44 h 189"/>
              <a:gd name="T66" fmla="*/ 15 w 143"/>
              <a:gd name="T67" fmla="*/ 52 h 189"/>
              <a:gd name="T68" fmla="*/ 13 w 143"/>
              <a:gd name="T69" fmla="*/ 62 h 189"/>
              <a:gd name="T70" fmla="*/ 5 w 143"/>
              <a:gd name="T71" fmla="*/ 67 h 189"/>
              <a:gd name="T72" fmla="*/ 0 w 143"/>
              <a:gd name="T73" fmla="*/ 73 h 189"/>
              <a:gd name="T74" fmla="*/ 5 w 143"/>
              <a:gd name="T75" fmla="*/ 77 h 189"/>
              <a:gd name="T76" fmla="*/ 14 w 143"/>
              <a:gd name="T77" fmla="*/ 76 h 189"/>
              <a:gd name="T78" fmla="*/ 13 w 143"/>
              <a:gd name="T79" fmla="*/ 88 h 189"/>
              <a:gd name="T80" fmla="*/ 13 w 143"/>
              <a:gd name="T81" fmla="*/ 95 h 189"/>
              <a:gd name="T82" fmla="*/ 15 w 143"/>
              <a:gd name="T83" fmla="*/ 103 h 189"/>
              <a:gd name="T84" fmla="*/ 21 w 143"/>
              <a:gd name="T85" fmla="*/ 108 h 189"/>
              <a:gd name="T86" fmla="*/ 21 w 143"/>
              <a:gd name="T87" fmla="*/ 119 h 189"/>
              <a:gd name="T88" fmla="*/ 19 w 143"/>
              <a:gd name="T89" fmla="*/ 125 h 189"/>
              <a:gd name="T90" fmla="*/ 34 w 143"/>
              <a:gd name="T91" fmla="*/ 130 h 189"/>
              <a:gd name="T92" fmla="*/ 37 w 143"/>
              <a:gd name="T93" fmla="*/ 145 h 189"/>
              <a:gd name="T94" fmla="*/ 29 w 143"/>
              <a:gd name="T95" fmla="*/ 150 h 189"/>
              <a:gd name="T96" fmla="*/ 28 w 143"/>
              <a:gd name="T97" fmla="*/ 152 h 189"/>
              <a:gd name="T98" fmla="*/ 36 w 143"/>
              <a:gd name="T99" fmla="*/ 158 h 189"/>
              <a:gd name="T100" fmla="*/ 38 w 143"/>
              <a:gd name="T101" fmla="*/ 164 h 189"/>
              <a:gd name="T102" fmla="*/ 34 w 143"/>
              <a:gd name="T103" fmla="*/ 169 h 189"/>
              <a:gd name="T104" fmla="*/ 29 w 143"/>
              <a:gd name="T105" fmla="*/ 173 h 189"/>
              <a:gd name="T106" fmla="*/ 27 w 143"/>
              <a:gd name="T107" fmla="*/ 177 h 189"/>
              <a:gd name="T108" fmla="*/ 28 w 143"/>
              <a:gd name="T109" fmla="*/ 186 h 189"/>
              <a:gd name="T110" fmla="*/ 30 w 143"/>
              <a:gd name="T111" fmla="*/ 188 h 189"/>
              <a:gd name="T112" fmla="*/ 39 w 143"/>
              <a:gd name="T113" fmla="*/ 184 h 189"/>
              <a:gd name="T114" fmla="*/ 47 w 143"/>
              <a:gd name="T115" fmla="*/ 176 h 189"/>
              <a:gd name="T116" fmla="*/ 55 w 143"/>
              <a:gd name="T117" fmla="*/ 179 h 189"/>
              <a:gd name="T118" fmla="*/ 59 w 143"/>
              <a:gd name="T119" fmla="*/ 180 h 189"/>
              <a:gd name="T120" fmla="*/ 55 w 143"/>
              <a:gd name="T121" fmla="*/ 171 h 189"/>
              <a:gd name="T122" fmla="*/ 56 w 143"/>
              <a:gd name="T123" fmla="*/ 155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43" h="189">
                <a:moveTo>
                  <a:pt x="56" y="155"/>
                </a:moveTo>
                <a:cubicBezTo>
                  <a:pt x="57" y="154"/>
                  <a:pt x="59" y="151"/>
                  <a:pt x="60" y="148"/>
                </a:cubicBezTo>
                <a:cubicBezTo>
                  <a:pt x="55" y="137"/>
                  <a:pt x="55" y="137"/>
                  <a:pt x="55" y="137"/>
                </a:cubicBezTo>
                <a:cubicBezTo>
                  <a:pt x="73" y="130"/>
                  <a:pt x="73" y="130"/>
                  <a:pt x="73" y="130"/>
                </a:cubicBezTo>
                <a:cubicBezTo>
                  <a:pt x="73" y="132"/>
                  <a:pt x="73" y="132"/>
                  <a:pt x="73" y="132"/>
                </a:cubicBezTo>
                <a:cubicBezTo>
                  <a:pt x="73" y="132"/>
                  <a:pt x="74" y="133"/>
                  <a:pt x="76" y="133"/>
                </a:cubicBezTo>
                <a:cubicBezTo>
                  <a:pt x="76" y="133"/>
                  <a:pt x="78" y="132"/>
                  <a:pt x="78" y="132"/>
                </a:cubicBezTo>
                <a:cubicBezTo>
                  <a:pt x="80" y="131"/>
                  <a:pt x="84" y="128"/>
                  <a:pt x="86" y="132"/>
                </a:cubicBezTo>
                <a:cubicBezTo>
                  <a:pt x="86" y="132"/>
                  <a:pt x="89" y="132"/>
                  <a:pt x="92" y="130"/>
                </a:cubicBezTo>
                <a:cubicBezTo>
                  <a:pt x="93" y="129"/>
                  <a:pt x="93" y="129"/>
                  <a:pt x="93" y="129"/>
                </a:cubicBezTo>
                <a:cubicBezTo>
                  <a:pt x="94" y="130"/>
                  <a:pt x="94" y="130"/>
                  <a:pt x="94" y="130"/>
                </a:cubicBezTo>
                <a:cubicBezTo>
                  <a:pt x="99" y="130"/>
                  <a:pt x="99" y="130"/>
                  <a:pt x="99" y="130"/>
                </a:cubicBezTo>
                <a:cubicBezTo>
                  <a:pt x="107" y="134"/>
                  <a:pt x="107" y="134"/>
                  <a:pt x="107" y="134"/>
                </a:cubicBezTo>
                <a:cubicBezTo>
                  <a:pt x="122" y="133"/>
                  <a:pt x="122" y="133"/>
                  <a:pt x="122" y="133"/>
                </a:cubicBezTo>
                <a:cubicBezTo>
                  <a:pt x="122" y="125"/>
                  <a:pt x="122" y="125"/>
                  <a:pt x="122" y="125"/>
                </a:cubicBezTo>
                <a:cubicBezTo>
                  <a:pt x="126" y="121"/>
                  <a:pt x="126" y="121"/>
                  <a:pt x="126" y="121"/>
                </a:cubicBezTo>
                <a:cubicBezTo>
                  <a:pt x="123" y="119"/>
                  <a:pt x="123" y="119"/>
                  <a:pt x="123" y="119"/>
                </a:cubicBezTo>
                <a:cubicBezTo>
                  <a:pt x="123" y="119"/>
                  <a:pt x="123" y="119"/>
                  <a:pt x="123" y="118"/>
                </a:cubicBezTo>
                <a:cubicBezTo>
                  <a:pt x="123" y="118"/>
                  <a:pt x="122" y="116"/>
                  <a:pt x="123" y="114"/>
                </a:cubicBezTo>
                <a:cubicBezTo>
                  <a:pt x="123" y="112"/>
                  <a:pt x="124" y="109"/>
                  <a:pt x="124" y="109"/>
                </a:cubicBezTo>
                <a:cubicBezTo>
                  <a:pt x="124" y="108"/>
                  <a:pt x="125" y="108"/>
                  <a:pt x="126" y="108"/>
                </a:cubicBezTo>
                <a:cubicBezTo>
                  <a:pt x="126" y="107"/>
                  <a:pt x="126" y="107"/>
                  <a:pt x="126" y="107"/>
                </a:cubicBezTo>
                <a:cubicBezTo>
                  <a:pt x="126" y="107"/>
                  <a:pt x="126" y="106"/>
                  <a:pt x="127" y="106"/>
                </a:cubicBezTo>
                <a:cubicBezTo>
                  <a:pt x="130" y="104"/>
                  <a:pt x="130" y="104"/>
                  <a:pt x="130" y="104"/>
                </a:cubicBezTo>
                <a:cubicBezTo>
                  <a:pt x="131" y="104"/>
                  <a:pt x="131" y="103"/>
                  <a:pt x="131" y="103"/>
                </a:cubicBezTo>
                <a:cubicBezTo>
                  <a:pt x="133" y="103"/>
                  <a:pt x="133" y="103"/>
                  <a:pt x="133" y="103"/>
                </a:cubicBezTo>
                <a:cubicBezTo>
                  <a:pt x="134" y="103"/>
                  <a:pt x="134" y="104"/>
                  <a:pt x="134" y="104"/>
                </a:cubicBezTo>
                <a:cubicBezTo>
                  <a:pt x="135" y="104"/>
                  <a:pt x="135" y="104"/>
                  <a:pt x="136" y="104"/>
                </a:cubicBezTo>
                <a:cubicBezTo>
                  <a:pt x="137" y="104"/>
                  <a:pt x="137" y="104"/>
                  <a:pt x="137" y="104"/>
                </a:cubicBezTo>
                <a:cubicBezTo>
                  <a:pt x="138" y="104"/>
                  <a:pt x="138" y="104"/>
                  <a:pt x="138" y="104"/>
                </a:cubicBezTo>
                <a:cubicBezTo>
                  <a:pt x="139" y="104"/>
                  <a:pt x="139" y="104"/>
                  <a:pt x="140" y="104"/>
                </a:cubicBezTo>
                <a:cubicBezTo>
                  <a:pt x="141" y="104"/>
                  <a:pt x="141" y="104"/>
                  <a:pt x="141" y="103"/>
                </a:cubicBezTo>
                <a:cubicBezTo>
                  <a:pt x="142" y="103"/>
                  <a:pt x="142" y="101"/>
                  <a:pt x="143" y="101"/>
                </a:cubicBezTo>
                <a:cubicBezTo>
                  <a:pt x="140" y="99"/>
                  <a:pt x="139" y="98"/>
                  <a:pt x="139" y="98"/>
                </a:cubicBezTo>
                <a:cubicBezTo>
                  <a:pt x="138" y="98"/>
                  <a:pt x="138" y="98"/>
                  <a:pt x="138" y="98"/>
                </a:cubicBezTo>
                <a:cubicBezTo>
                  <a:pt x="137" y="95"/>
                  <a:pt x="136" y="92"/>
                  <a:pt x="136" y="92"/>
                </a:cubicBezTo>
                <a:cubicBezTo>
                  <a:pt x="136" y="92"/>
                  <a:pt x="135" y="91"/>
                  <a:pt x="134" y="91"/>
                </a:cubicBezTo>
                <a:cubicBezTo>
                  <a:pt x="133" y="90"/>
                  <a:pt x="132" y="89"/>
                  <a:pt x="132" y="88"/>
                </a:cubicBezTo>
                <a:cubicBezTo>
                  <a:pt x="131" y="88"/>
                  <a:pt x="131" y="88"/>
                  <a:pt x="131" y="88"/>
                </a:cubicBezTo>
                <a:cubicBezTo>
                  <a:pt x="131" y="88"/>
                  <a:pt x="131" y="88"/>
                  <a:pt x="130" y="89"/>
                </a:cubicBezTo>
                <a:cubicBezTo>
                  <a:pt x="129" y="89"/>
                  <a:pt x="127" y="89"/>
                  <a:pt x="125" y="88"/>
                </a:cubicBezTo>
                <a:cubicBezTo>
                  <a:pt x="124" y="88"/>
                  <a:pt x="124" y="88"/>
                  <a:pt x="124" y="88"/>
                </a:cubicBezTo>
                <a:cubicBezTo>
                  <a:pt x="123" y="89"/>
                  <a:pt x="122" y="89"/>
                  <a:pt x="121" y="88"/>
                </a:cubicBezTo>
                <a:cubicBezTo>
                  <a:pt x="120" y="89"/>
                  <a:pt x="119" y="89"/>
                  <a:pt x="118" y="88"/>
                </a:cubicBezTo>
                <a:cubicBezTo>
                  <a:pt x="118" y="88"/>
                  <a:pt x="117" y="88"/>
                  <a:pt x="117" y="87"/>
                </a:cubicBezTo>
                <a:cubicBezTo>
                  <a:pt x="116" y="87"/>
                  <a:pt x="116" y="87"/>
                  <a:pt x="116" y="87"/>
                </a:cubicBezTo>
                <a:cubicBezTo>
                  <a:pt x="115" y="87"/>
                  <a:pt x="115" y="87"/>
                  <a:pt x="114" y="86"/>
                </a:cubicBezTo>
                <a:cubicBezTo>
                  <a:pt x="113" y="85"/>
                  <a:pt x="113" y="85"/>
                  <a:pt x="113" y="85"/>
                </a:cubicBezTo>
                <a:cubicBezTo>
                  <a:pt x="112" y="84"/>
                  <a:pt x="112" y="84"/>
                  <a:pt x="112" y="84"/>
                </a:cubicBezTo>
                <a:cubicBezTo>
                  <a:pt x="111" y="84"/>
                  <a:pt x="111" y="84"/>
                  <a:pt x="111" y="83"/>
                </a:cubicBezTo>
                <a:cubicBezTo>
                  <a:pt x="110" y="83"/>
                  <a:pt x="110" y="83"/>
                  <a:pt x="109" y="83"/>
                </a:cubicBezTo>
                <a:cubicBezTo>
                  <a:pt x="108" y="83"/>
                  <a:pt x="108" y="83"/>
                  <a:pt x="108" y="83"/>
                </a:cubicBezTo>
                <a:cubicBezTo>
                  <a:pt x="108" y="84"/>
                  <a:pt x="107" y="84"/>
                  <a:pt x="106" y="84"/>
                </a:cubicBezTo>
                <a:cubicBezTo>
                  <a:pt x="105" y="83"/>
                  <a:pt x="105" y="83"/>
                  <a:pt x="105" y="83"/>
                </a:cubicBezTo>
                <a:cubicBezTo>
                  <a:pt x="102" y="81"/>
                  <a:pt x="100" y="77"/>
                  <a:pt x="100" y="77"/>
                </a:cubicBezTo>
                <a:cubicBezTo>
                  <a:pt x="99" y="76"/>
                  <a:pt x="99" y="75"/>
                  <a:pt x="100" y="75"/>
                </a:cubicBezTo>
                <a:cubicBezTo>
                  <a:pt x="100" y="75"/>
                  <a:pt x="100" y="74"/>
                  <a:pt x="99" y="73"/>
                </a:cubicBezTo>
                <a:cubicBezTo>
                  <a:pt x="99" y="72"/>
                  <a:pt x="99" y="72"/>
                  <a:pt x="99" y="72"/>
                </a:cubicBezTo>
                <a:cubicBezTo>
                  <a:pt x="98" y="72"/>
                  <a:pt x="98" y="71"/>
                  <a:pt x="97" y="70"/>
                </a:cubicBezTo>
                <a:cubicBezTo>
                  <a:pt x="97" y="69"/>
                  <a:pt x="99" y="67"/>
                  <a:pt x="100" y="67"/>
                </a:cubicBezTo>
                <a:cubicBezTo>
                  <a:pt x="102" y="65"/>
                  <a:pt x="102" y="65"/>
                  <a:pt x="102" y="65"/>
                </a:cubicBezTo>
                <a:cubicBezTo>
                  <a:pt x="102" y="63"/>
                  <a:pt x="102" y="63"/>
                  <a:pt x="102" y="63"/>
                </a:cubicBezTo>
                <a:cubicBezTo>
                  <a:pt x="102" y="59"/>
                  <a:pt x="102" y="59"/>
                  <a:pt x="102" y="59"/>
                </a:cubicBezTo>
                <a:cubicBezTo>
                  <a:pt x="102" y="58"/>
                  <a:pt x="102" y="57"/>
                  <a:pt x="104" y="55"/>
                </a:cubicBezTo>
                <a:cubicBezTo>
                  <a:pt x="104" y="55"/>
                  <a:pt x="105" y="53"/>
                  <a:pt x="106" y="53"/>
                </a:cubicBezTo>
                <a:cubicBezTo>
                  <a:pt x="106" y="52"/>
                  <a:pt x="106" y="52"/>
                  <a:pt x="106" y="52"/>
                </a:cubicBezTo>
                <a:cubicBezTo>
                  <a:pt x="106" y="52"/>
                  <a:pt x="107" y="52"/>
                  <a:pt x="108" y="51"/>
                </a:cubicBezTo>
                <a:cubicBezTo>
                  <a:pt x="109" y="50"/>
                  <a:pt x="110" y="49"/>
                  <a:pt x="110" y="49"/>
                </a:cubicBezTo>
                <a:cubicBezTo>
                  <a:pt x="110" y="49"/>
                  <a:pt x="110" y="48"/>
                  <a:pt x="111" y="48"/>
                </a:cubicBezTo>
                <a:cubicBezTo>
                  <a:pt x="111" y="46"/>
                  <a:pt x="111" y="46"/>
                  <a:pt x="111" y="46"/>
                </a:cubicBezTo>
                <a:cubicBezTo>
                  <a:pt x="111" y="44"/>
                  <a:pt x="111" y="44"/>
                  <a:pt x="111" y="44"/>
                </a:cubicBezTo>
                <a:cubicBezTo>
                  <a:pt x="111" y="44"/>
                  <a:pt x="110" y="44"/>
                  <a:pt x="110" y="43"/>
                </a:cubicBezTo>
                <a:cubicBezTo>
                  <a:pt x="110" y="43"/>
                  <a:pt x="109" y="42"/>
                  <a:pt x="109" y="40"/>
                </a:cubicBezTo>
                <a:cubicBezTo>
                  <a:pt x="109" y="35"/>
                  <a:pt x="109" y="35"/>
                  <a:pt x="109" y="35"/>
                </a:cubicBezTo>
                <a:cubicBezTo>
                  <a:pt x="109" y="34"/>
                  <a:pt x="108" y="31"/>
                  <a:pt x="108" y="30"/>
                </a:cubicBezTo>
                <a:cubicBezTo>
                  <a:pt x="108" y="27"/>
                  <a:pt x="108" y="27"/>
                  <a:pt x="108" y="27"/>
                </a:cubicBezTo>
                <a:cubicBezTo>
                  <a:pt x="106" y="27"/>
                  <a:pt x="105" y="26"/>
                  <a:pt x="105" y="25"/>
                </a:cubicBezTo>
                <a:cubicBezTo>
                  <a:pt x="105" y="24"/>
                  <a:pt x="105" y="24"/>
                  <a:pt x="105" y="24"/>
                </a:cubicBezTo>
                <a:cubicBezTo>
                  <a:pt x="105" y="24"/>
                  <a:pt x="103" y="23"/>
                  <a:pt x="103" y="21"/>
                </a:cubicBezTo>
                <a:cubicBezTo>
                  <a:pt x="103" y="20"/>
                  <a:pt x="104" y="20"/>
                  <a:pt x="104" y="20"/>
                </a:cubicBezTo>
                <a:cubicBezTo>
                  <a:pt x="104" y="19"/>
                  <a:pt x="104" y="19"/>
                  <a:pt x="103" y="18"/>
                </a:cubicBezTo>
                <a:cubicBezTo>
                  <a:pt x="103" y="16"/>
                  <a:pt x="102" y="16"/>
                  <a:pt x="102" y="13"/>
                </a:cubicBezTo>
                <a:cubicBezTo>
                  <a:pt x="102" y="12"/>
                  <a:pt x="102" y="12"/>
                  <a:pt x="102" y="12"/>
                </a:cubicBezTo>
                <a:cubicBezTo>
                  <a:pt x="101" y="12"/>
                  <a:pt x="100" y="11"/>
                  <a:pt x="99" y="9"/>
                </a:cubicBezTo>
                <a:cubicBezTo>
                  <a:pt x="99" y="8"/>
                  <a:pt x="98" y="8"/>
                  <a:pt x="98" y="7"/>
                </a:cubicBezTo>
                <a:cubicBezTo>
                  <a:pt x="97" y="6"/>
                  <a:pt x="97" y="6"/>
                  <a:pt x="97" y="6"/>
                </a:cubicBezTo>
                <a:cubicBezTo>
                  <a:pt x="96" y="5"/>
                  <a:pt x="95" y="5"/>
                  <a:pt x="95" y="5"/>
                </a:cubicBezTo>
                <a:cubicBezTo>
                  <a:pt x="93" y="5"/>
                  <a:pt x="93" y="5"/>
                  <a:pt x="93" y="5"/>
                </a:cubicBezTo>
                <a:cubicBezTo>
                  <a:pt x="92" y="5"/>
                  <a:pt x="92" y="5"/>
                  <a:pt x="92" y="4"/>
                </a:cubicBezTo>
                <a:cubicBezTo>
                  <a:pt x="90" y="3"/>
                  <a:pt x="90" y="3"/>
                  <a:pt x="90" y="3"/>
                </a:cubicBezTo>
                <a:cubicBezTo>
                  <a:pt x="88" y="3"/>
                  <a:pt x="88" y="3"/>
                  <a:pt x="88" y="3"/>
                </a:cubicBezTo>
                <a:cubicBezTo>
                  <a:pt x="88" y="3"/>
                  <a:pt x="87" y="3"/>
                  <a:pt x="87" y="2"/>
                </a:cubicBezTo>
                <a:cubicBezTo>
                  <a:pt x="86" y="2"/>
                  <a:pt x="86" y="2"/>
                  <a:pt x="86" y="2"/>
                </a:cubicBezTo>
                <a:cubicBezTo>
                  <a:pt x="85" y="2"/>
                  <a:pt x="85" y="1"/>
                  <a:pt x="84" y="1"/>
                </a:cubicBezTo>
                <a:cubicBezTo>
                  <a:pt x="81" y="0"/>
                  <a:pt x="81" y="0"/>
                  <a:pt x="81" y="0"/>
                </a:cubicBezTo>
                <a:cubicBezTo>
                  <a:pt x="81" y="1"/>
                  <a:pt x="80" y="1"/>
                  <a:pt x="80" y="1"/>
                </a:cubicBezTo>
                <a:cubicBezTo>
                  <a:pt x="79" y="1"/>
                  <a:pt x="79" y="2"/>
                  <a:pt x="79" y="2"/>
                </a:cubicBezTo>
                <a:cubicBezTo>
                  <a:pt x="78" y="2"/>
                  <a:pt x="78" y="2"/>
                  <a:pt x="78" y="2"/>
                </a:cubicBezTo>
                <a:cubicBezTo>
                  <a:pt x="76" y="3"/>
                  <a:pt x="76" y="3"/>
                  <a:pt x="76" y="3"/>
                </a:cubicBezTo>
                <a:cubicBezTo>
                  <a:pt x="76" y="5"/>
                  <a:pt x="76" y="5"/>
                  <a:pt x="76" y="5"/>
                </a:cubicBezTo>
                <a:cubicBezTo>
                  <a:pt x="76" y="6"/>
                  <a:pt x="75" y="7"/>
                  <a:pt x="74" y="7"/>
                </a:cubicBezTo>
                <a:cubicBezTo>
                  <a:pt x="70" y="7"/>
                  <a:pt x="70" y="7"/>
                  <a:pt x="70" y="7"/>
                </a:cubicBezTo>
                <a:cubicBezTo>
                  <a:pt x="70" y="8"/>
                  <a:pt x="69" y="8"/>
                  <a:pt x="68" y="8"/>
                </a:cubicBezTo>
                <a:cubicBezTo>
                  <a:pt x="64" y="8"/>
                  <a:pt x="64" y="8"/>
                  <a:pt x="64" y="8"/>
                </a:cubicBezTo>
                <a:cubicBezTo>
                  <a:pt x="64" y="8"/>
                  <a:pt x="63" y="8"/>
                  <a:pt x="62" y="10"/>
                </a:cubicBezTo>
                <a:cubicBezTo>
                  <a:pt x="61" y="10"/>
                  <a:pt x="61" y="10"/>
                  <a:pt x="61" y="10"/>
                </a:cubicBezTo>
                <a:cubicBezTo>
                  <a:pt x="58" y="10"/>
                  <a:pt x="58" y="10"/>
                  <a:pt x="58" y="10"/>
                </a:cubicBezTo>
                <a:cubicBezTo>
                  <a:pt x="57" y="11"/>
                  <a:pt x="57" y="11"/>
                  <a:pt x="57" y="11"/>
                </a:cubicBezTo>
                <a:cubicBezTo>
                  <a:pt x="56" y="12"/>
                  <a:pt x="55" y="12"/>
                  <a:pt x="54" y="11"/>
                </a:cubicBezTo>
                <a:cubicBezTo>
                  <a:pt x="53" y="10"/>
                  <a:pt x="53" y="10"/>
                  <a:pt x="53" y="10"/>
                </a:cubicBezTo>
                <a:cubicBezTo>
                  <a:pt x="51" y="10"/>
                  <a:pt x="51" y="10"/>
                  <a:pt x="51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0" y="11"/>
                  <a:pt x="50" y="11"/>
                  <a:pt x="50" y="11"/>
                </a:cubicBezTo>
                <a:cubicBezTo>
                  <a:pt x="50" y="11"/>
                  <a:pt x="50" y="11"/>
                  <a:pt x="50" y="12"/>
                </a:cubicBezTo>
                <a:cubicBezTo>
                  <a:pt x="50" y="13"/>
                  <a:pt x="50" y="13"/>
                  <a:pt x="50" y="13"/>
                </a:cubicBezTo>
                <a:cubicBezTo>
                  <a:pt x="50" y="14"/>
                  <a:pt x="50" y="14"/>
                  <a:pt x="49" y="14"/>
                </a:cubicBezTo>
                <a:cubicBezTo>
                  <a:pt x="45" y="19"/>
                  <a:pt x="45" y="19"/>
                  <a:pt x="45" y="19"/>
                </a:cubicBezTo>
                <a:cubicBezTo>
                  <a:pt x="43" y="20"/>
                  <a:pt x="43" y="20"/>
                  <a:pt x="43" y="20"/>
                </a:cubicBezTo>
                <a:cubicBezTo>
                  <a:pt x="40" y="22"/>
                  <a:pt x="40" y="22"/>
                  <a:pt x="40" y="22"/>
                </a:cubicBezTo>
                <a:cubicBezTo>
                  <a:pt x="40" y="23"/>
                  <a:pt x="40" y="23"/>
                  <a:pt x="40" y="23"/>
                </a:cubicBezTo>
                <a:cubicBezTo>
                  <a:pt x="40" y="24"/>
                  <a:pt x="40" y="24"/>
                  <a:pt x="40" y="24"/>
                </a:cubicBezTo>
                <a:cubicBezTo>
                  <a:pt x="38" y="28"/>
                  <a:pt x="38" y="28"/>
                  <a:pt x="38" y="28"/>
                </a:cubicBezTo>
                <a:cubicBezTo>
                  <a:pt x="38" y="28"/>
                  <a:pt x="38" y="28"/>
                  <a:pt x="37" y="28"/>
                </a:cubicBezTo>
                <a:cubicBezTo>
                  <a:pt x="36" y="30"/>
                  <a:pt x="34" y="31"/>
                  <a:pt x="34" y="32"/>
                </a:cubicBezTo>
                <a:cubicBezTo>
                  <a:pt x="32" y="34"/>
                  <a:pt x="30" y="33"/>
                  <a:pt x="27" y="32"/>
                </a:cubicBezTo>
                <a:cubicBezTo>
                  <a:pt x="27" y="34"/>
                  <a:pt x="26" y="37"/>
                  <a:pt x="26" y="37"/>
                </a:cubicBezTo>
                <a:cubicBezTo>
                  <a:pt x="26" y="38"/>
                  <a:pt x="26" y="38"/>
                  <a:pt x="26" y="38"/>
                </a:cubicBezTo>
                <a:cubicBezTo>
                  <a:pt x="25" y="39"/>
                  <a:pt x="25" y="40"/>
                  <a:pt x="24" y="40"/>
                </a:cubicBezTo>
                <a:cubicBezTo>
                  <a:pt x="16" y="40"/>
                  <a:pt x="16" y="40"/>
                  <a:pt x="16" y="40"/>
                </a:cubicBezTo>
                <a:cubicBezTo>
                  <a:pt x="17" y="41"/>
                  <a:pt x="17" y="41"/>
                  <a:pt x="17" y="41"/>
                </a:cubicBezTo>
                <a:cubicBezTo>
                  <a:pt x="17" y="42"/>
                  <a:pt x="17" y="42"/>
                  <a:pt x="17" y="42"/>
                </a:cubicBezTo>
                <a:cubicBezTo>
                  <a:pt x="18" y="43"/>
                  <a:pt x="19" y="44"/>
                  <a:pt x="19" y="44"/>
                </a:cubicBezTo>
                <a:cubicBezTo>
                  <a:pt x="19" y="45"/>
                  <a:pt x="20" y="46"/>
                  <a:pt x="19" y="48"/>
                </a:cubicBezTo>
                <a:cubicBezTo>
                  <a:pt x="19" y="49"/>
                  <a:pt x="18" y="50"/>
                  <a:pt x="17" y="50"/>
                </a:cubicBezTo>
                <a:cubicBezTo>
                  <a:pt x="14" y="50"/>
                  <a:pt x="14" y="50"/>
                  <a:pt x="14" y="50"/>
                </a:cubicBezTo>
                <a:cubicBezTo>
                  <a:pt x="15" y="52"/>
                  <a:pt x="15" y="52"/>
                  <a:pt x="15" y="52"/>
                </a:cubicBezTo>
                <a:cubicBezTo>
                  <a:pt x="15" y="53"/>
                  <a:pt x="15" y="53"/>
                  <a:pt x="15" y="53"/>
                </a:cubicBezTo>
                <a:cubicBezTo>
                  <a:pt x="15" y="55"/>
                  <a:pt x="15" y="55"/>
                  <a:pt x="15" y="55"/>
                </a:cubicBezTo>
                <a:cubicBezTo>
                  <a:pt x="15" y="56"/>
                  <a:pt x="15" y="56"/>
                  <a:pt x="15" y="56"/>
                </a:cubicBezTo>
                <a:cubicBezTo>
                  <a:pt x="13" y="62"/>
                  <a:pt x="13" y="62"/>
                  <a:pt x="13" y="62"/>
                </a:cubicBezTo>
                <a:cubicBezTo>
                  <a:pt x="13" y="63"/>
                  <a:pt x="12" y="63"/>
                  <a:pt x="11" y="63"/>
                </a:cubicBezTo>
                <a:cubicBezTo>
                  <a:pt x="9" y="63"/>
                  <a:pt x="9" y="63"/>
                  <a:pt x="9" y="63"/>
                </a:cubicBezTo>
                <a:cubicBezTo>
                  <a:pt x="7" y="64"/>
                  <a:pt x="7" y="64"/>
                  <a:pt x="7" y="64"/>
                </a:cubicBezTo>
                <a:cubicBezTo>
                  <a:pt x="5" y="67"/>
                  <a:pt x="5" y="67"/>
                  <a:pt x="5" y="67"/>
                </a:cubicBezTo>
                <a:cubicBezTo>
                  <a:pt x="5" y="68"/>
                  <a:pt x="5" y="68"/>
                  <a:pt x="5" y="68"/>
                </a:cubicBezTo>
                <a:cubicBezTo>
                  <a:pt x="5" y="69"/>
                  <a:pt x="4" y="69"/>
                  <a:pt x="4" y="70"/>
                </a:cubicBezTo>
                <a:cubicBezTo>
                  <a:pt x="1" y="71"/>
                  <a:pt x="1" y="71"/>
                  <a:pt x="1" y="71"/>
                </a:cubicBezTo>
                <a:cubicBezTo>
                  <a:pt x="0" y="73"/>
                  <a:pt x="0" y="73"/>
                  <a:pt x="0" y="73"/>
                </a:cubicBezTo>
                <a:cubicBezTo>
                  <a:pt x="0" y="76"/>
                  <a:pt x="0" y="76"/>
                  <a:pt x="0" y="76"/>
                </a:cubicBezTo>
                <a:cubicBezTo>
                  <a:pt x="1" y="77"/>
                  <a:pt x="1" y="77"/>
                  <a:pt x="1" y="77"/>
                </a:cubicBezTo>
                <a:cubicBezTo>
                  <a:pt x="1" y="78"/>
                  <a:pt x="1" y="78"/>
                  <a:pt x="1" y="78"/>
                </a:cubicBezTo>
                <a:cubicBezTo>
                  <a:pt x="3" y="77"/>
                  <a:pt x="4" y="77"/>
                  <a:pt x="5" y="77"/>
                </a:cubicBezTo>
                <a:cubicBezTo>
                  <a:pt x="6" y="76"/>
                  <a:pt x="6" y="76"/>
                  <a:pt x="6" y="76"/>
                </a:cubicBezTo>
                <a:cubicBezTo>
                  <a:pt x="7" y="75"/>
                  <a:pt x="7" y="75"/>
                  <a:pt x="7" y="75"/>
                </a:cubicBezTo>
                <a:cubicBezTo>
                  <a:pt x="8" y="74"/>
                  <a:pt x="9" y="74"/>
                  <a:pt x="10" y="74"/>
                </a:cubicBezTo>
                <a:cubicBezTo>
                  <a:pt x="14" y="76"/>
                  <a:pt x="14" y="76"/>
                  <a:pt x="14" y="76"/>
                </a:cubicBezTo>
                <a:cubicBezTo>
                  <a:pt x="15" y="77"/>
                  <a:pt x="15" y="77"/>
                  <a:pt x="15" y="78"/>
                </a:cubicBezTo>
                <a:cubicBezTo>
                  <a:pt x="15" y="83"/>
                  <a:pt x="15" y="83"/>
                  <a:pt x="15" y="83"/>
                </a:cubicBezTo>
                <a:cubicBezTo>
                  <a:pt x="16" y="84"/>
                  <a:pt x="17" y="86"/>
                  <a:pt x="16" y="87"/>
                </a:cubicBezTo>
                <a:cubicBezTo>
                  <a:pt x="15" y="88"/>
                  <a:pt x="14" y="88"/>
                  <a:pt x="13" y="88"/>
                </a:cubicBezTo>
                <a:cubicBezTo>
                  <a:pt x="13" y="90"/>
                  <a:pt x="13" y="90"/>
                  <a:pt x="13" y="90"/>
                </a:cubicBezTo>
                <a:cubicBezTo>
                  <a:pt x="9" y="93"/>
                  <a:pt x="9" y="93"/>
                  <a:pt x="9" y="93"/>
                </a:cubicBezTo>
                <a:cubicBezTo>
                  <a:pt x="11" y="93"/>
                  <a:pt x="11" y="93"/>
                  <a:pt x="11" y="93"/>
                </a:cubicBezTo>
                <a:cubicBezTo>
                  <a:pt x="12" y="93"/>
                  <a:pt x="13" y="94"/>
                  <a:pt x="13" y="95"/>
                </a:cubicBezTo>
                <a:cubicBezTo>
                  <a:pt x="13" y="96"/>
                  <a:pt x="13" y="96"/>
                  <a:pt x="13" y="96"/>
                </a:cubicBezTo>
                <a:cubicBezTo>
                  <a:pt x="15" y="97"/>
                  <a:pt x="16" y="98"/>
                  <a:pt x="16" y="98"/>
                </a:cubicBezTo>
                <a:cubicBezTo>
                  <a:pt x="16" y="99"/>
                  <a:pt x="17" y="100"/>
                  <a:pt x="17" y="102"/>
                </a:cubicBezTo>
                <a:cubicBezTo>
                  <a:pt x="17" y="102"/>
                  <a:pt x="16" y="103"/>
                  <a:pt x="15" y="103"/>
                </a:cubicBezTo>
                <a:cubicBezTo>
                  <a:pt x="16" y="104"/>
                  <a:pt x="16" y="104"/>
                  <a:pt x="16" y="104"/>
                </a:cubicBezTo>
                <a:cubicBezTo>
                  <a:pt x="17" y="104"/>
                  <a:pt x="17" y="104"/>
                  <a:pt x="17" y="104"/>
                </a:cubicBezTo>
                <a:cubicBezTo>
                  <a:pt x="18" y="104"/>
                  <a:pt x="18" y="105"/>
                  <a:pt x="19" y="105"/>
                </a:cubicBezTo>
                <a:cubicBezTo>
                  <a:pt x="21" y="108"/>
                  <a:pt x="21" y="108"/>
                  <a:pt x="21" y="108"/>
                </a:cubicBezTo>
                <a:cubicBezTo>
                  <a:pt x="23" y="108"/>
                  <a:pt x="23" y="109"/>
                  <a:pt x="23" y="110"/>
                </a:cubicBezTo>
                <a:cubicBezTo>
                  <a:pt x="23" y="117"/>
                  <a:pt x="23" y="117"/>
                  <a:pt x="23" y="117"/>
                </a:cubicBezTo>
                <a:cubicBezTo>
                  <a:pt x="23" y="118"/>
                  <a:pt x="23" y="119"/>
                  <a:pt x="22" y="119"/>
                </a:cubicBezTo>
                <a:cubicBezTo>
                  <a:pt x="21" y="119"/>
                  <a:pt x="21" y="119"/>
                  <a:pt x="21" y="119"/>
                </a:cubicBezTo>
                <a:cubicBezTo>
                  <a:pt x="21" y="119"/>
                  <a:pt x="21" y="119"/>
                  <a:pt x="21" y="120"/>
                </a:cubicBezTo>
                <a:cubicBezTo>
                  <a:pt x="20" y="122"/>
                  <a:pt x="20" y="122"/>
                  <a:pt x="19" y="123"/>
                </a:cubicBezTo>
                <a:cubicBezTo>
                  <a:pt x="19" y="123"/>
                  <a:pt x="19" y="123"/>
                  <a:pt x="19" y="124"/>
                </a:cubicBezTo>
                <a:cubicBezTo>
                  <a:pt x="19" y="125"/>
                  <a:pt x="19" y="125"/>
                  <a:pt x="19" y="125"/>
                </a:cubicBezTo>
                <a:cubicBezTo>
                  <a:pt x="22" y="127"/>
                  <a:pt x="22" y="127"/>
                  <a:pt x="22" y="127"/>
                </a:cubicBezTo>
                <a:cubicBezTo>
                  <a:pt x="31" y="127"/>
                  <a:pt x="31" y="127"/>
                  <a:pt x="31" y="127"/>
                </a:cubicBezTo>
                <a:cubicBezTo>
                  <a:pt x="32" y="127"/>
                  <a:pt x="32" y="128"/>
                  <a:pt x="33" y="128"/>
                </a:cubicBezTo>
                <a:cubicBezTo>
                  <a:pt x="34" y="130"/>
                  <a:pt x="34" y="130"/>
                  <a:pt x="34" y="130"/>
                </a:cubicBezTo>
                <a:cubicBezTo>
                  <a:pt x="35" y="130"/>
                  <a:pt x="35" y="130"/>
                  <a:pt x="35" y="130"/>
                </a:cubicBezTo>
                <a:cubicBezTo>
                  <a:pt x="36" y="130"/>
                  <a:pt x="37" y="131"/>
                  <a:pt x="37" y="132"/>
                </a:cubicBezTo>
                <a:cubicBezTo>
                  <a:pt x="37" y="144"/>
                  <a:pt x="37" y="144"/>
                  <a:pt x="37" y="144"/>
                </a:cubicBezTo>
                <a:cubicBezTo>
                  <a:pt x="37" y="145"/>
                  <a:pt x="37" y="145"/>
                  <a:pt x="37" y="145"/>
                </a:cubicBezTo>
                <a:cubicBezTo>
                  <a:pt x="33" y="149"/>
                  <a:pt x="33" y="149"/>
                  <a:pt x="33" y="149"/>
                </a:cubicBezTo>
                <a:cubicBezTo>
                  <a:pt x="32" y="150"/>
                  <a:pt x="32" y="150"/>
                  <a:pt x="32" y="150"/>
                </a:cubicBezTo>
                <a:cubicBezTo>
                  <a:pt x="31" y="150"/>
                  <a:pt x="31" y="150"/>
                  <a:pt x="30" y="150"/>
                </a:cubicBezTo>
                <a:cubicBezTo>
                  <a:pt x="29" y="150"/>
                  <a:pt x="29" y="150"/>
                  <a:pt x="29" y="150"/>
                </a:cubicBezTo>
                <a:cubicBezTo>
                  <a:pt x="27" y="150"/>
                  <a:pt x="26" y="151"/>
                  <a:pt x="26" y="151"/>
                </a:cubicBezTo>
                <a:cubicBezTo>
                  <a:pt x="26" y="151"/>
                  <a:pt x="26" y="151"/>
                  <a:pt x="25" y="151"/>
                </a:cubicBezTo>
                <a:cubicBezTo>
                  <a:pt x="26" y="152"/>
                  <a:pt x="26" y="152"/>
                  <a:pt x="26" y="152"/>
                </a:cubicBezTo>
                <a:cubicBezTo>
                  <a:pt x="27" y="152"/>
                  <a:pt x="28" y="152"/>
                  <a:pt x="28" y="152"/>
                </a:cubicBezTo>
                <a:cubicBezTo>
                  <a:pt x="30" y="151"/>
                  <a:pt x="31" y="152"/>
                  <a:pt x="31" y="153"/>
                </a:cubicBezTo>
                <a:cubicBezTo>
                  <a:pt x="32" y="156"/>
                  <a:pt x="32" y="156"/>
                  <a:pt x="32" y="156"/>
                </a:cubicBezTo>
                <a:cubicBezTo>
                  <a:pt x="34" y="157"/>
                  <a:pt x="34" y="157"/>
                  <a:pt x="34" y="157"/>
                </a:cubicBezTo>
                <a:cubicBezTo>
                  <a:pt x="36" y="158"/>
                  <a:pt x="36" y="158"/>
                  <a:pt x="36" y="158"/>
                </a:cubicBezTo>
                <a:cubicBezTo>
                  <a:pt x="37" y="159"/>
                  <a:pt x="37" y="159"/>
                  <a:pt x="37" y="160"/>
                </a:cubicBezTo>
                <a:cubicBezTo>
                  <a:pt x="37" y="160"/>
                  <a:pt x="37" y="160"/>
                  <a:pt x="37" y="161"/>
                </a:cubicBezTo>
                <a:cubicBezTo>
                  <a:pt x="38" y="161"/>
                  <a:pt x="38" y="161"/>
                  <a:pt x="38" y="161"/>
                </a:cubicBezTo>
                <a:cubicBezTo>
                  <a:pt x="38" y="164"/>
                  <a:pt x="38" y="164"/>
                  <a:pt x="38" y="164"/>
                </a:cubicBezTo>
                <a:cubicBezTo>
                  <a:pt x="39" y="166"/>
                  <a:pt x="39" y="168"/>
                  <a:pt x="38" y="169"/>
                </a:cubicBezTo>
                <a:cubicBezTo>
                  <a:pt x="38" y="169"/>
                  <a:pt x="37" y="170"/>
                  <a:pt x="36" y="170"/>
                </a:cubicBezTo>
                <a:cubicBezTo>
                  <a:pt x="35" y="170"/>
                  <a:pt x="35" y="170"/>
                  <a:pt x="35" y="170"/>
                </a:cubicBezTo>
                <a:cubicBezTo>
                  <a:pt x="34" y="170"/>
                  <a:pt x="34" y="170"/>
                  <a:pt x="34" y="169"/>
                </a:cubicBezTo>
                <a:cubicBezTo>
                  <a:pt x="33" y="169"/>
                  <a:pt x="33" y="169"/>
                  <a:pt x="33" y="169"/>
                </a:cubicBezTo>
                <a:cubicBezTo>
                  <a:pt x="32" y="170"/>
                  <a:pt x="31" y="170"/>
                  <a:pt x="31" y="170"/>
                </a:cubicBezTo>
                <a:cubicBezTo>
                  <a:pt x="30" y="170"/>
                  <a:pt x="30" y="170"/>
                  <a:pt x="30" y="170"/>
                </a:cubicBezTo>
                <a:cubicBezTo>
                  <a:pt x="30" y="171"/>
                  <a:pt x="29" y="172"/>
                  <a:pt x="29" y="173"/>
                </a:cubicBezTo>
                <a:cubicBezTo>
                  <a:pt x="29" y="174"/>
                  <a:pt x="29" y="174"/>
                  <a:pt x="28" y="174"/>
                </a:cubicBezTo>
                <a:cubicBezTo>
                  <a:pt x="28" y="175"/>
                  <a:pt x="27" y="175"/>
                  <a:pt x="27" y="175"/>
                </a:cubicBezTo>
                <a:cubicBezTo>
                  <a:pt x="27" y="176"/>
                  <a:pt x="27" y="176"/>
                  <a:pt x="27" y="176"/>
                </a:cubicBezTo>
                <a:cubicBezTo>
                  <a:pt x="27" y="177"/>
                  <a:pt x="27" y="177"/>
                  <a:pt x="27" y="177"/>
                </a:cubicBezTo>
                <a:cubicBezTo>
                  <a:pt x="26" y="178"/>
                  <a:pt x="26" y="178"/>
                  <a:pt x="26" y="178"/>
                </a:cubicBezTo>
                <a:cubicBezTo>
                  <a:pt x="27" y="179"/>
                  <a:pt x="27" y="179"/>
                  <a:pt x="27" y="180"/>
                </a:cubicBezTo>
                <a:cubicBezTo>
                  <a:pt x="27" y="181"/>
                  <a:pt x="27" y="181"/>
                  <a:pt x="27" y="182"/>
                </a:cubicBezTo>
                <a:cubicBezTo>
                  <a:pt x="27" y="183"/>
                  <a:pt x="27" y="185"/>
                  <a:pt x="28" y="186"/>
                </a:cubicBezTo>
                <a:cubicBezTo>
                  <a:pt x="28" y="187"/>
                  <a:pt x="28" y="188"/>
                  <a:pt x="27" y="189"/>
                </a:cubicBezTo>
                <a:cubicBezTo>
                  <a:pt x="28" y="189"/>
                  <a:pt x="28" y="189"/>
                  <a:pt x="29" y="189"/>
                </a:cubicBezTo>
                <a:cubicBezTo>
                  <a:pt x="30" y="189"/>
                  <a:pt x="30" y="189"/>
                  <a:pt x="30" y="189"/>
                </a:cubicBezTo>
                <a:cubicBezTo>
                  <a:pt x="30" y="189"/>
                  <a:pt x="30" y="189"/>
                  <a:pt x="30" y="188"/>
                </a:cubicBezTo>
                <a:cubicBezTo>
                  <a:pt x="31" y="188"/>
                  <a:pt x="32" y="188"/>
                  <a:pt x="33" y="189"/>
                </a:cubicBezTo>
                <a:cubicBezTo>
                  <a:pt x="37" y="189"/>
                  <a:pt x="37" y="189"/>
                  <a:pt x="37" y="189"/>
                </a:cubicBezTo>
                <a:cubicBezTo>
                  <a:pt x="36" y="187"/>
                  <a:pt x="37" y="186"/>
                  <a:pt x="38" y="186"/>
                </a:cubicBezTo>
                <a:cubicBezTo>
                  <a:pt x="39" y="184"/>
                  <a:pt x="39" y="184"/>
                  <a:pt x="39" y="184"/>
                </a:cubicBezTo>
                <a:cubicBezTo>
                  <a:pt x="40" y="182"/>
                  <a:pt x="40" y="182"/>
                  <a:pt x="40" y="182"/>
                </a:cubicBezTo>
                <a:cubicBezTo>
                  <a:pt x="40" y="181"/>
                  <a:pt x="40" y="180"/>
                  <a:pt x="42" y="179"/>
                </a:cubicBezTo>
                <a:cubicBezTo>
                  <a:pt x="46" y="176"/>
                  <a:pt x="46" y="176"/>
                  <a:pt x="46" y="176"/>
                </a:cubicBezTo>
                <a:cubicBezTo>
                  <a:pt x="47" y="176"/>
                  <a:pt x="47" y="176"/>
                  <a:pt x="47" y="176"/>
                </a:cubicBezTo>
                <a:cubicBezTo>
                  <a:pt x="51" y="175"/>
                  <a:pt x="51" y="175"/>
                  <a:pt x="51" y="175"/>
                </a:cubicBezTo>
                <a:cubicBezTo>
                  <a:pt x="52" y="175"/>
                  <a:pt x="52" y="175"/>
                  <a:pt x="52" y="175"/>
                </a:cubicBezTo>
                <a:cubicBezTo>
                  <a:pt x="54" y="177"/>
                  <a:pt x="54" y="177"/>
                  <a:pt x="54" y="177"/>
                </a:cubicBezTo>
                <a:cubicBezTo>
                  <a:pt x="55" y="177"/>
                  <a:pt x="55" y="179"/>
                  <a:pt x="55" y="179"/>
                </a:cubicBezTo>
                <a:cubicBezTo>
                  <a:pt x="56" y="180"/>
                  <a:pt x="56" y="180"/>
                  <a:pt x="56" y="180"/>
                </a:cubicBezTo>
                <a:cubicBezTo>
                  <a:pt x="57" y="180"/>
                  <a:pt x="57" y="180"/>
                  <a:pt x="57" y="180"/>
                </a:cubicBezTo>
                <a:cubicBezTo>
                  <a:pt x="58" y="181"/>
                  <a:pt x="58" y="181"/>
                  <a:pt x="58" y="181"/>
                </a:cubicBezTo>
                <a:cubicBezTo>
                  <a:pt x="59" y="180"/>
                  <a:pt x="59" y="180"/>
                  <a:pt x="59" y="180"/>
                </a:cubicBezTo>
                <a:cubicBezTo>
                  <a:pt x="58" y="179"/>
                  <a:pt x="58" y="179"/>
                  <a:pt x="58" y="179"/>
                </a:cubicBezTo>
                <a:cubicBezTo>
                  <a:pt x="56" y="176"/>
                  <a:pt x="56" y="174"/>
                  <a:pt x="55" y="174"/>
                </a:cubicBezTo>
                <a:cubicBezTo>
                  <a:pt x="55" y="172"/>
                  <a:pt x="55" y="172"/>
                  <a:pt x="55" y="172"/>
                </a:cubicBezTo>
                <a:cubicBezTo>
                  <a:pt x="55" y="171"/>
                  <a:pt x="55" y="171"/>
                  <a:pt x="55" y="171"/>
                </a:cubicBezTo>
                <a:cubicBezTo>
                  <a:pt x="55" y="169"/>
                  <a:pt x="56" y="167"/>
                  <a:pt x="58" y="167"/>
                </a:cubicBezTo>
                <a:cubicBezTo>
                  <a:pt x="59" y="167"/>
                  <a:pt x="59" y="167"/>
                  <a:pt x="59" y="167"/>
                </a:cubicBezTo>
                <a:cubicBezTo>
                  <a:pt x="59" y="166"/>
                  <a:pt x="58" y="165"/>
                  <a:pt x="58" y="164"/>
                </a:cubicBezTo>
                <a:cubicBezTo>
                  <a:pt x="56" y="160"/>
                  <a:pt x="55" y="157"/>
                  <a:pt x="56" y="15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1" name="Freeform 112">
            <a:extLst>
              <a:ext uri="{FF2B5EF4-FFF2-40B4-BE49-F238E27FC236}">
                <a16:creationId xmlns:a16="http://schemas.microsoft.com/office/drawing/2014/main" id="{2ACE6D42-0F0D-4E79-BF0F-5C52918897B8}"/>
              </a:ext>
            </a:extLst>
          </p:cNvPr>
          <p:cNvSpPr>
            <a:spLocks/>
          </p:cNvSpPr>
          <p:nvPr/>
        </p:nvSpPr>
        <p:spPr bwMode="auto">
          <a:xfrm>
            <a:off x="5514856" y="4558829"/>
            <a:ext cx="227013" cy="133350"/>
          </a:xfrm>
          <a:custGeom>
            <a:avLst/>
            <a:gdLst>
              <a:gd name="T0" fmla="*/ 62 w 94"/>
              <a:gd name="T1" fmla="*/ 58 h 60"/>
              <a:gd name="T2" fmla="*/ 73 w 94"/>
              <a:gd name="T3" fmla="*/ 59 h 60"/>
              <a:gd name="T4" fmla="*/ 73 w 94"/>
              <a:gd name="T5" fmla="*/ 54 h 60"/>
              <a:gd name="T6" fmla="*/ 83 w 94"/>
              <a:gd name="T7" fmla="*/ 47 h 60"/>
              <a:gd name="T8" fmla="*/ 94 w 94"/>
              <a:gd name="T9" fmla="*/ 46 h 60"/>
              <a:gd name="T10" fmla="*/ 90 w 94"/>
              <a:gd name="T11" fmla="*/ 39 h 60"/>
              <a:gd name="T12" fmla="*/ 76 w 94"/>
              <a:gd name="T13" fmla="*/ 40 h 60"/>
              <a:gd name="T14" fmla="*/ 53 w 94"/>
              <a:gd name="T15" fmla="*/ 31 h 60"/>
              <a:gd name="T16" fmla="*/ 23 w 94"/>
              <a:gd name="T17" fmla="*/ 0 h 60"/>
              <a:gd name="T18" fmla="*/ 15 w 94"/>
              <a:gd name="T19" fmla="*/ 3 h 60"/>
              <a:gd name="T20" fmla="*/ 1 w 94"/>
              <a:gd name="T21" fmla="*/ 6 h 60"/>
              <a:gd name="T22" fmla="*/ 4 w 94"/>
              <a:gd name="T23" fmla="*/ 15 h 60"/>
              <a:gd name="T24" fmla="*/ 2 w 94"/>
              <a:gd name="T25" fmla="*/ 28 h 60"/>
              <a:gd name="T26" fmla="*/ 5 w 94"/>
              <a:gd name="T27" fmla="*/ 33 h 60"/>
              <a:gd name="T28" fmla="*/ 10 w 94"/>
              <a:gd name="T29" fmla="*/ 38 h 60"/>
              <a:gd name="T30" fmla="*/ 11 w 94"/>
              <a:gd name="T31" fmla="*/ 37 h 60"/>
              <a:gd name="T32" fmla="*/ 12 w 94"/>
              <a:gd name="T33" fmla="*/ 34 h 60"/>
              <a:gd name="T34" fmla="*/ 18 w 94"/>
              <a:gd name="T35" fmla="*/ 36 h 60"/>
              <a:gd name="T36" fmla="*/ 19 w 94"/>
              <a:gd name="T37" fmla="*/ 39 h 60"/>
              <a:gd name="T38" fmla="*/ 21 w 94"/>
              <a:gd name="T39" fmla="*/ 43 h 60"/>
              <a:gd name="T40" fmla="*/ 23 w 94"/>
              <a:gd name="T41" fmla="*/ 44 h 60"/>
              <a:gd name="T42" fmla="*/ 28 w 94"/>
              <a:gd name="T43" fmla="*/ 53 h 60"/>
              <a:gd name="T44" fmla="*/ 41 w 94"/>
              <a:gd name="T45" fmla="*/ 51 h 60"/>
              <a:gd name="T46" fmla="*/ 44 w 94"/>
              <a:gd name="T47" fmla="*/ 50 h 60"/>
              <a:gd name="T48" fmla="*/ 47 w 94"/>
              <a:gd name="T49" fmla="*/ 50 h 60"/>
              <a:gd name="T50" fmla="*/ 50 w 94"/>
              <a:gd name="T51" fmla="*/ 48 h 60"/>
              <a:gd name="T52" fmla="*/ 52 w 94"/>
              <a:gd name="T53" fmla="*/ 44 h 60"/>
              <a:gd name="T54" fmla="*/ 59 w 94"/>
              <a:gd name="T55" fmla="*/ 46 h 60"/>
              <a:gd name="T56" fmla="*/ 59 w 94"/>
              <a:gd name="T57" fmla="*/ 49 h 60"/>
              <a:gd name="T58" fmla="*/ 55 w 94"/>
              <a:gd name="T59" fmla="*/ 55 h 60"/>
              <a:gd name="T60" fmla="*/ 54 w 94"/>
              <a:gd name="T61" fmla="*/ 58 h 60"/>
              <a:gd name="T62" fmla="*/ 58 w 94"/>
              <a:gd name="T63" fmla="*/ 58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4" h="60">
                <a:moveTo>
                  <a:pt x="60" y="58"/>
                </a:moveTo>
                <a:cubicBezTo>
                  <a:pt x="60" y="58"/>
                  <a:pt x="61" y="58"/>
                  <a:pt x="62" y="58"/>
                </a:cubicBezTo>
                <a:cubicBezTo>
                  <a:pt x="64" y="58"/>
                  <a:pt x="65" y="59"/>
                  <a:pt x="66" y="59"/>
                </a:cubicBezTo>
                <a:cubicBezTo>
                  <a:pt x="69" y="59"/>
                  <a:pt x="71" y="60"/>
                  <a:pt x="73" y="59"/>
                </a:cubicBezTo>
                <a:cubicBezTo>
                  <a:pt x="73" y="59"/>
                  <a:pt x="73" y="59"/>
                  <a:pt x="73" y="59"/>
                </a:cubicBezTo>
                <a:cubicBezTo>
                  <a:pt x="73" y="54"/>
                  <a:pt x="73" y="54"/>
                  <a:pt x="73" y="54"/>
                </a:cubicBezTo>
                <a:cubicBezTo>
                  <a:pt x="73" y="54"/>
                  <a:pt x="73" y="54"/>
                  <a:pt x="73" y="54"/>
                </a:cubicBezTo>
                <a:cubicBezTo>
                  <a:pt x="74" y="54"/>
                  <a:pt x="78" y="48"/>
                  <a:pt x="83" y="47"/>
                </a:cubicBezTo>
                <a:cubicBezTo>
                  <a:pt x="83" y="47"/>
                  <a:pt x="84" y="46"/>
                  <a:pt x="84" y="46"/>
                </a:cubicBezTo>
                <a:cubicBezTo>
                  <a:pt x="85" y="45"/>
                  <a:pt x="88" y="45"/>
                  <a:pt x="94" y="46"/>
                </a:cubicBezTo>
                <a:cubicBezTo>
                  <a:pt x="94" y="46"/>
                  <a:pt x="93" y="45"/>
                  <a:pt x="93" y="45"/>
                </a:cubicBezTo>
                <a:cubicBezTo>
                  <a:pt x="90" y="39"/>
                  <a:pt x="90" y="39"/>
                  <a:pt x="90" y="39"/>
                </a:cubicBezTo>
                <a:cubicBezTo>
                  <a:pt x="88" y="40"/>
                  <a:pt x="84" y="40"/>
                  <a:pt x="82" y="39"/>
                </a:cubicBezTo>
                <a:cubicBezTo>
                  <a:pt x="81" y="39"/>
                  <a:pt x="78" y="39"/>
                  <a:pt x="76" y="40"/>
                </a:cubicBezTo>
                <a:cubicBezTo>
                  <a:pt x="75" y="41"/>
                  <a:pt x="75" y="41"/>
                  <a:pt x="75" y="41"/>
                </a:cubicBezTo>
                <a:cubicBezTo>
                  <a:pt x="53" y="31"/>
                  <a:pt x="53" y="31"/>
                  <a:pt x="53" y="31"/>
                </a:cubicBezTo>
                <a:cubicBezTo>
                  <a:pt x="32" y="0"/>
                  <a:pt x="32" y="0"/>
                  <a:pt x="32" y="0"/>
                </a:cubicBezTo>
                <a:cubicBezTo>
                  <a:pt x="29" y="2"/>
                  <a:pt x="25" y="3"/>
                  <a:pt x="23" y="0"/>
                </a:cubicBezTo>
                <a:cubicBezTo>
                  <a:pt x="22" y="0"/>
                  <a:pt x="21" y="1"/>
                  <a:pt x="21" y="1"/>
                </a:cubicBezTo>
                <a:cubicBezTo>
                  <a:pt x="19" y="2"/>
                  <a:pt x="17" y="3"/>
                  <a:pt x="15" y="3"/>
                </a:cubicBezTo>
                <a:cubicBezTo>
                  <a:pt x="13" y="3"/>
                  <a:pt x="12" y="2"/>
                  <a:pt x="11" y="1"/>
                </a:cubicBezTo>
                <a:cubicBezTo>
                  <a:pt x="1" y="6"/>
                  <a:pt x="1" y="6"/>
                  <a:pt x="1" y="6"/>
                </a:cubicBezTo>
                <a:cubicBezTo>
                  <a:pt x="4" y="14"/>
                  <a:pt x="4" y="14"/>
                  <a:pt x="4" y="14"/>
                </a:cubicBezTo>
                <a:cubicBezTo>
                  <a:pt x="4" y="15"/>
                  <a:pt x="4" y="15"/>
                  <a:pt x="4" y="15"/>
                </a:cubicBezTo>
                <a:cubicBezTo>
                  <a:pt x="4" y="16"/>
                  <a:pt x="1" y="21"/>
                  <a:pt x="0" y="23"/>
                </a:cubicBezTo>
                <a:cubicBezTo>
                  <a:pt x="0" y="24"/>
                  <a:pt x="1" y="27"/>
                  <a:pt x="2" y="28"/>
                </a:cubicBezTo>
                <a:cubicBezTo>
                  <a:pt x="2" y="30"/>
                  <a:pt x="3" y="31"/>
                  <a:pt x="4" y="33"/>
                </a:cubicBezTo>
                <a:cubicBezTo>
                  <a:pt x="4" y="33"/>
                  <a:pt x="4" y="33"/>
                  <a:pt x="5" y="33"/>
                </a:cubicBezTo>
                <a:cubicBezTo>
                  <a:pt x="9" y="36"/>
                  <a:pt x="9" y="36"/>
                  <a:pt x="9" y="36"/>
                </a:cubicBezTo>
                <a:cubicBezTo>
                  <a:pt x="9" y="37"/>
                  <a:pt x="10" y="37"/>
                  <a:pt x="10" y="38"/>
                </a:cubicBezTo>
                <a:cubicBezTo>
                  <a:pt x="10" y="40"/>
                  <a:pt x="10" y="40"/>
                  <a:pt x="10" y="40"/>
                </a:cubicBezTo>
                <a:cubicBezTo>
                  <a:pt x="11" y="37"/>
                  <a:pt x="11" y="37"/>
                  <a:pt x="11" y="37"/>
                </a:cubicBezTo>
                <a:cubicBezTo>
                  <a:pt x="11" y="36"/>
                  <a:pt x="11" y="36"/>
                  <a:pt x="11" y="36"/>
                </a:cubicBezTo>
                <a:cubicBezTo>
                  <a:pt x="12" y="34"/>
                  <a:pt x="12" y="34"/>
                  <a:pt x="12" y="34"/>
                </a:cubicBezTo>
                <a:cubicBezTo>
                  <a:pt x="13" y="34"/>
                  <a:pt x="14" y="33"/>
                  <a:pt x="15" y="34"/>
                </a:cubicBezTo>
                <a:cubicBezTo>
                  <a:pt x="18" y="36"/>
                  <a:pt x="18" y="36"/>
                  <a:pt x="18" y="36"/>
                </a:cubicBezTo>
                <a:cubicBezTo>
                  <a:pt x="18" y="36"/>
                  <a:pt x="19" y="37"/>
                  <a:pt x="19" y="38"/>
                </a:cubicBezTo>
                <a:cubicBezTo>
                  <a:pt x="19" y="39"/>
                  <a:pt x="19" y="39"/>
                  <a:pt x="19" y="39"/>
                </a:cubicBezTo>
                <a:cubicBezTo>
                  <a:pt x="20" y="42"/>
                  <a:pt x="20" y="42"/>
                  <a:pt x="20" y="42"/>
                </a:cubicBezTo>
                <a:cubicBezTo>
                  <a:pt x="21" y="42"/>
                  <a:pt x="21" y="43"/>
                  <a:pt x="21" y="43"/>
                </a:cubicBezTo>
                <a:cubicBezTo>
                  <a:pt x="21" y="44"/>
                  <a:pt x="21" y="44"/>
                  <a:pt x="21" y="44"/>
                </a:cubicBezTo>
                <a:cubicBezTo>
                  <a:pt x="23" y="44"/>
                  <a:pt x="23" y="44"/>
                  <a:pt x="23" y="44"/>
                </a:cubicBezTo>
                <a:cubicBezTo>
                  <a:pt x="28" y="47"/>
                  <a:pt x="28" y="47"/>
                  <a:pt x="28" y="47"/>
                </a:cubicBezTo>
                <a:cubicBezTo>
                  <a:pt x="28" y="53"/>
                  <a:pt x="28" y="53"/>
                  <a:pt x="28" y="53"/>
                </a:cubicBezTo>
                <a:cubicBezTo>
                  <a:pt x="37" y="53"/>
                  <a:pt x="37" y="53"/>
                  <a:pt x="37" y="53"/>
                </a:cubicBezTo>
                <a:cubicBezTo>
                  <a:pt x="39" y="51"/>
                  <a:pt x="41" y="51"/>
                  <a:pt x="41" y="51"/>
                </a:cubicBezTo>
                <a:cubicBezTo>
                  <a:pt x="42" y="51"/>
                  <a:pt x="42" y="51"/>
                  <a:pt x="42" y="51"/>
                </a:cubicBezTo>
                <a:cubicBezTo>
                  <a:pt x="44" y="50"/>
                  <a:pt x="44" y="50"/>
                  <a:pt x="44" y="50"/>
                </a:cubicBezTo>
                <a:cubicBezTo>
                  <a:pt x="45" y="49"/>
                  <a:pt x="45" y="49"/>
                  <a:pt x="46" y="50"/>
                </a:cubicBezTo>
                <a:cubicBezTo>
                  <a:pt x="46" y="50"/>
                  <a:pt x="46" y="50"/>
                  <a:pt x="47" y="50"/>
                </a:cubicBezTo>
                <a:cubicBezTo>
                  <a:pt x="48" y="49"/>
                  <a:pt x="48" y="49"/>
                  <a:pt x="48" y="49"/>
                </a:cubicBezTo>
                <a:cubicBezTo>
                  <a:pt x="49" y="49"/>
                  <a:pt x="49" y="48"/>
                  <a:pt x="50" y="48"/>
                </a:cubicBezTo>
                <a:cubicBezTo>
                  <a:pt x="50" y="47"/>
                  <a:pt x="51" y="46"/>
                  <a:pt x="51" y="45"/>
                </a:cubicBezTo>
                <a:cubicBezTo>
                  <a:pt x="52" y="44"/>
                  <a:pt x="52" y="44"/>
                  <a:pt x="52" y="44"/>
                </a:cubicBezTo>
                <a:cubicBezTo>
                  <a:pt x="56" y="42"/>
                  <a:pt x="58" y="44"/>
                  <a:pt x="58" y="44"/>
                </a:cubicBezTo>
                <a:cubicBezTo>
                  <a:pt x="59" y="45"/>
                  <a:pt x="59" y="45"/>
                  <a:pt x="59" y="46"/>
                </a:cubicBezTo>
                <a:cubicBezTo>
                  <a:pt x="59" y="48"/>
                  <a:pt x="59" y="48"/>
                  <a:pt x="59" y="48"/>
                </a:cubicBezTo>
                <a:cubicBezTo>
                  <a:pt x="59" y="49"/>
                  <a:pt x="59" y="49"/>
                  <a:pt x="59" y="49"/>
                </a:cubicBezTo>
                <a:cubicBezTo>
                  <a:pt x="57" y="52"/>
                  <a:pt x="57" y="52"/>
                  <a:pt x="57" y="52"/>
                </a:cubicBezTo>
                <a:cubicBezTo>
                  <a:pt x="55" y="55"/>
                  <a:pt x="55" y="55"/>
                  <a:pt x="55" y="55"/>
                </a:cubicBezTo>
                <a:cubicBezTo>
                  <a:pt x="55" y="57"/>
                  <a:pt x="55" y="57"/>
                  <a:pt x="55" y="57"/>
                </a:cubicBezTo>
                <a:cubicBezTo>
                  <a:pt x="54" y="58"/>
                  <a:pt x="54" y="58"/>
                  <a:pt x="54" y="58"/>
                </a:cubicBezTo>
                <a:cubicBezTo>
                  <a:pt x="54" y="58"/>
                  <a:pt x="54" y="58"/>
                  <a:pt x="54" y="58"/>
                </a:cubicBezTo>
                <a:cubicBezTo>
                  <a:pt x="58" y="58"/>
                  <a:pt x="58" y="58"/>
                  <a:pt x="58" y="58"/>
                </a:cubicBezTo>
                <a:cubicBezTo>
                  <a:pt x="59" y="58"/>
                  <a:pt x="60" y="58"/>
                  <a:pt x="60" y="5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2" name="Freeform 113">
            <a:extLst>
              <a:ext uri="{FF2B5EF4-FFF2-40B4-BE49-F238E27FC236}">
                <a16:creationId xmlns:a16="http://schemas.microsoft.com/office/drawing/2014/main" id="{E76C0879-3538-419C-8EA5-226E5A15C3A8}"/>
              </a:ext>
            </a:extLst>
          </p:cNvPr>
          <p:cNvSpPr>
            <a:spLocks/>
          </p:cNvSpPr>
          <p:nvPr/>
        </p:nvSpPr>
        <p:spPr bwMode="auto">
          <a:xfrm>
            <a:off x="5736709" y="5638332"/>
            <a:ext cx="194337" cy="87313"/>
          </a:xfrm>
          <a:custGeom>
            <a:avLst/>
            <a:gdLst>
              <a:gd name="T0" fmla="*/ 0 w 80"/>
              <a:gd name="T1" fmla="*/ 13 h 39"/>
              <a:gd name="T2" fmla="*/ 11 w 80"/>
              <a:gd name="T3" fmla="*/ 13 h 39"/>
              <a:gd name="T4" fmla="*/ 20 w 80"/>
              <a:gd name="T5" fmla="*/ 10 h 39"/>
              <a:gd name="T6" fmla="*/ 25 w 80"/>
              <a:gd name="T7" fmla="*/ 10 h 39"/>
              <a:gd name="T8" fmla="*/ 31 w 80"/>
              <a:gd name="T9" fmla="*/ 10 h 39"/>
              <a:gd name="T10" fmla="*/ 38 w 80"/>
              <a:gd name="T11" fmla="*/ 2 h 39"/>
              <a:gd name="T12" fmla="*/ 45 w 80"/>
              <a:gd name="T13" fmla="*/ 2 h 39"/>
              <a:gd name="T14" fmla="*/ 49 w 80"/>
              <a:gd name="T15" fmla="*/ 2 h 39"/>
              <a:gd name="T16" fmla="*/ 60 w 80"/>
              <a:gd name="T17" fmla="*/ 2 h 39"/>
              <a:gd name="T18" fmla="*/ 68 w 80"/>
              <a:gd name="T19" fmla="*/ 1 h 39"/>
              <a:gd name="T20" fmla="*/ 71 w 80"/>
              <a:gd name="T21" fmla="*/ 4 h 39"/>
              <a:gd name="T22" fmla="*/ 80 w 80"/>
              <a:gd name="T23" fmla="*/ 8 h 39"/>
              <a:gd name="T24" fmla="*/ 80 w 80"/>
              <a:gd name="T25" fmla="*/ 14 h 39"/>
              <a:gd name="T26" fmla="*/ 76 w 80"/>
              <a:gd name="T27" fmla="*/ 14 h 39"/>
              <a:gd name="T28" fmla="*/ 71 w 80"/>
              <a:gd name="T29" fmla="*/ 18 h 39"/>
              <a:gd name="T30" fmla="*/ 67 w 80"/>
              <a:gd name="T31" fmla="*/ 21 h 39"/>
              <a:gd name="T32" fmla="*/ 67 w 80"/>
              <a:gd name="T33" fmla="*/ 27 h 39"/>
              <a:gd name="T34" fmla="*/ 64 w 80"/>
              <a:gd name="T35" fmla="*/ 33 h 39"/>
              <a:gd name="T36" fmla="*/ 61 w 80"/>
              <a:gd name="T37" fmla="*/ 33 h 39"/>
              <a:gd name="T38" fmla="*/ 53 w 80"/>
              <a:gd name="T39" fmla="*/ 38 h 39"/>
              <a:gd name="T40" fmla="*/ 49 w 80"/>
              <a:gd name="T41" fmla="*/ 39 h 39"/>
              <a:gd name="T42" fmla="*/ 40 w 80"/>
              <a:gd name="T43" fmla="*/ 35 h 39"/>
              <a:gd name="T44" fmla="*/ 39 w 80"/>
              <a:gd name="T45" fmla="*/ 32 h 39"/>
              <a:gd name="T46" fmla="*/ 31 w 80"/>
              <a:gd name="T47" fmla="*/ 27 h 39"/>
              <a:gd name="T48" fmla="*/ 24 w 80"/>
              <a:gd name="T49" fmla="*/ 25 h 39"/>
              <a:gd name="T50" fmla="*/ 17 w 80"/>
              <a:gd name="T51" fmla="*/ 23 h 39"/>
              <a:gd name="T52" fmla="*/ 14 w 80"/>
              <a:gd name="T53" fmla="*/ 23 h 39"/>
              <a:gd name="T54" fmla="*/ 14 w 80"/>
              <a:gd name="T55" fmla="*/ 23 h 39"/>
              <a:gd name="T56" fmla="*/ 9 w 80"/>
              <a:gd name="T57" fmla="*/ 23 h 39"/>
              <a:gd name="T58" fmla="*/ 0 w 80"/>
              <a:gd name="T59" fmla="*/ 20 h 39"/>
              <a:gd name="T60" fmla="*/ 0 w 80"/>
              <a:gd name="T61" fmla="*/ 16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0" h="39">
                <a:moveTo>
                  <a:pt x="0" y="13"/>
                </a:moveTo>
                <a:cubicBezTo>
                  <a:pt x="0" y="13"/>
                  <a:pt x="9" y="15"/>
                  <a:pt x="11" y="13"/>
                </a:cubicBezTo>
                <a:cubicBezTo>
                  <a:pt x="13" y="11"/>
                  <a:pt x="20" y="10"/>
                  <a:pt x="20" y="10"/>
                </a:cubicBezTo>
                <a:cubicBezTo>
                  <a:pt x="25" y="10"/>
                  <a:pt x="25" y="10"/>
                  <a:pt x="25" y="10"/>
                </a:cubicBezTo>
                <a:cubicBezTo>
                  <a:pt x="31" y="10"/>
                  <a:pt x="31" y="10"/>
                  <a:pt x="31" y="10"/>
                </a:cubicBezTo>
                <a:cubicBezTo>
                  <a:pt x="31" y="10"/>
                  <a:pt x="35" y="2"/>
                  <a:pt x="38" y="2"/>
                </a:cubicBezTo>
                <a:cubicBezTo>
                  <a:pt x="41" y="2"/>
                  <a:pt x="45" y="2"/>
                  <a:pt x="45" y="2"/>
                </a:cubicBezTo>
                <a:cubicBezTo>
                  <a:pt x="45" y="2"/>
                  <a:pt x="45" y="5"/>
                  <a:pt x="49" y="2"/>
                </a:cubicBezTo>
                <a:cubicBezTo>
                  <a:pt x="53" y="0"/>
                  <a:pt x="60" y="2"/>
                  <a:pt x="60" y="2"/>
                </a:cubicBezTo>
                <a:cubicBezTo>
                  <a:pt x="68" y="1"/>
                  <a:pt x="68" y="1"/>
                  <a:pt x="68" y="1"/>
                </a:cubicBezTo>
                <a:cubicBezTo>
                  <a:pt x="68" y="1"/>
                  <a:pt x="66" y="3"/>
                  <a:pt x="71" y="4"/>
                </a:cubicBezTo>
                <a:cubicBezTo>
                  <a:pt x="76" y="6"/>
                  <a:pt x="80" y="8"/>
                  <a:pt x="80" y="8"/>
                </a:cubicBezTo>
                <a:cubicBezTo>
                  <a:pt x="80" y="14"/>
                  <a:pt x="80" y="14"/>
                  <a:pt x="80" y="14"/>
                </a:cubicBezTo>
                <a:cubicBezTo>
                  <a:pt x="76" y="14"/>
                  <a:pt x="76" y="14"/>
                  <a:pt x="76" y="14"/>
                </a:cubicBezTo>
                <a:cubicBezTo>
                  <a:pt x="71" y="18"/>
                  <a:pt x="71" y="18"/>
                  <a:pt x="71" y="18"/>
                </a:cubicBezTo>
                <a:cubicBezTo>
                  <a:pt x="67" y="21"/>
                  <a:pt x="67" y="21"/>
                  <a:pt x="67" y="21"/>
                </a:cubicBezTo>
                <a:cubicBezTo>
                  <a:pt x="67" y="21"/>
                  <a:pt x="68" y="25"/>
                  <a:pt x="67" y="27"/>
                </a:cubicBezTo>
                <a:cubicBezTo>
                  <a:pt x="66" y="29"/>
                  <a:pt x="64" y="33"/>
                  <a:pt x="64" y="33"/>
                </a:cubicBezTo>
                <a:cubicBezTo>
                  <a:pt x="61" y="33"/>
                  <a:pt x="61" y="33"/>
                  <a:pt x="61" y="33"/>
                </a:cubicBezTo>
                <a:cubicBezTo>
                  <a:pt x="53" y="38"/>
                  <a:pt x="53" y="38"/>
                  <a:pt x="53" y="38"/>
                </a:cubicBezTo>
                <a:cubicBezTo>
                  <a:pt x="49" y="39"/>
                  <a:pt x="53" y="39"/>
                  <a:pt x="49" y="39"/>
                </a:cubicBezTo>
                <a:cubicBezTo>
                  <a:pt x="44" y="39"/>
                  <a:pt x="41" y="37"/>
                  <a:pt x="40" y="35"/>
                </a:cubicBezTo>
                <a:cubicBezTo>
                  <a:pt x="39" y="32"/>
                  <a:pt x="39" y="32"/>
                  <a:pt x="39" y="32"/>
                </a:cubicBezTo>
                <a:cubicBezTo>
                  <a:pt x="39" y="32"/>
                  <a:pt x="35" y="28"/>
                  <a:pt x="31" y="27"/>
                </a:cubicBezTo>
                <a:cubicBezTo>
                  <a:pt x="27" y="27"/>
                  <a:pt x="27" y="25"/>
                  <a:pt x="24" y="25"/>
                </a:cubicBezTo>
                <a:cubicBezTo>
                  <a:pt x="21" y="25"/>
                  <a:pt x="20" y="23"/>
                  <a:pt x="17" y="23"/>
                </a:cubicBezTo>
                <a:cubicBezTo>
                  <a:pt x="14" y="23"/>
                  <a:pt x="14" y="23"/>
                  <a:pt x="14" y="23"/>
                </a:cubicBezTo>
                <a:cubicBezTo>
                  <a:pt x="14" y="23"/>
                  <a:pt x="18" y="24"/>
                  <a:pt x="14" y="23"/>
                </a:cubicBezTo>
                <a:cubicBezTo>
                  <a:pt x="9" y="23"/>
                  <a:pt x="12" y="23"/>
                  <a:pt x="9" y="23"/>
                </a:cubicBezTo>
                <a:cubicBezTo>
                  <a:pt x="6" y="22"/>
                  <a:pt x="0" y="20"/>
                  <a:pt x="0" y="20"/>
                </a:cubicBezTo>
                <a:cubicBezTo>
                  <a:pt x="0" y="16"/>
                  <a:pt x="0" y="16"/>
                  <a:pt x="0" y="16"/>
                </a:cubicBezTo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3" name="Rounded Rectangular Callout 113">
            <a:extLst>
              <a:ext uri="{FF2B5EF4-FFF2-40B4-BE49-F238E27FC236}">
                <a16:creationId xmlns:a16="http://schemas.microsoft.com/office/drawing/2014/main" id="{449911D4-5A39-4B94-A35A-384C6C96F358}"/>
              </a:ext>
            </a:extLst>
          </p:cNvPr>
          <p:cNvSpPr/>
          <p:nvPr/>
        </p:nvSpPr>
        <p:spPr>
          <a:xfrm>
            <a:off x="848478" y="1461669"/>
            <a:ext cx="2030924" cy="1238200"/>
          </a:xfrm>
          <a:prstGeom prst="wedgeRoundRectCallout">
            <a:avLst>
              <a:gd name="adj1" fmla="val 103486"/>
              <a:gd name="adj2" fmla="val 96669"/>
              <a:gd name="adj3" fmla="val 1666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Label 1</a:t>
            </a:r>
          </a:p>
        </p:txBody>
      </p:sp>
    </p:spTree>
    <p:extLst>
      <p:ext uri="{BB962C8B-B14F-4D97-AF65-F5344CB8AC3E}">
        <p14:creationId xmlns:p14="http://schemas.microsoft.com/office/powerpoint/2010/main" val="212174453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DC5AA2C-3F2F-41F8-A4CB-C75FF746EB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212417-30F5-431A-AB45-D9B2B23304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orld Map (click on each country to change colouring to highlight) 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740E6667-6C85-4C02-8130-721B61208974}"/>
              </a:ext>
            </a:extLst>
          </p:cNvPr>
          <p:cNvSpPr>
            <a:spLocks/>
          </p:cNvSpPr>
          <p:nvPr/>
        </p:nvSpPr>
        <p:spPr bwMode="auto">
          <a:xfrm>
            <a:off x="6292497" y="2107499"/>
            <a:ext cx="1619606" cy="1071483"/>
          </a:xfrm>
          <a:custGeom>
            <a:avLst/>
            <a:gdLst/>
            <a:ahLst/>
            <a:cxnLst>
              <a:cxn ang="0">
                <a:pos x="434" y="466"/>
              </a:cxn>
              <a:cxn ang="0">
                <a:pos x="440" y="504"/>
              </a:cxn>
              <a:cxn ang="0">
                <a:pos x="448" y="534"/>
              </a:cxn>
              <a:cxn ang="0">
                <a:pos x="468" y="554"/>
              </a:cxn>
              <a:cxn ang="0">
                <a:pos x="492" y="582"/>
              </a:cxn>
              <a:cxn ang="0">
                <a:pos x="500" y="566"/>
              </a:cxn>
              <a:cxn ang="0">
                <a:pos x="550" y="548"/>
              </a:cxn>
              <a:cxn ang="0">
                <a:pos x="582" y="562"/>
              </a:cxn>
              <a:cxn ang="0">
                <a:pos x="638" y="582"/>
              </a:cxn>
              <a:cxn ang="0">
                <a:pos x="648" y="590"/>
              </a:cxn>
              <a:cxn ang="0">
                <a:pos x="712" y="562"/>
              </a:cxn>
              <a:cxn ang="0">
                <a:pos x="746" y="540"/>
              </a:cxn>
              <a:cxn ang="0">
                <a:pos x="778" y="478"/>
              </a:cxn>
              <a:cxn ang="0">
                <a:pos x="782" y="420"/>
              </a:cxn>
              <a:cxn ang="0">
                <a:pos x="776" y="392"/>
              </a:cxn>
              <a:cxn ang="0">
                <a:pos x="718" y="332"/>
              </a:cxn>
              <a:cxn ang="0">
                <a:pos x="734" y="286"/>
              </a:cxn>
              <a:cxn ang="0">
                <a:pos x="662" y="266"/>
              </a:cxn>
              <a:cxn ang="0">
                <a:pos x="694" y="228"/>
              </a:cxn>
              <a:cxn ang="0">
                <a:pos x="718" y="262"/>
              </a:cxn>
              <a:cxn ang="0">
                <a:pos x="760" y="222"/>
              </a:cxn>
              <a:cxn ang="0">
                <a:pos x="796" y="198"/>
              </a:cxn>
              <a:cxn ang="0">
                <a:pos x="820" y="188"/>
              </a:cxn>
              <a:cxn ang="0">
                <a:pos x="820" y="142"/>
              </a:cxn>
              <a:cxn ang="0">
                <a:pos x="792" y="98"/>
              </a:cxn>
              <a:cxn ang="0">
                <a:pos x="744" y="80"/>
              </a:cxn>
              <a:cxn ang="0">
                <a:pos x="646" y="24"/>
              </a:cxn>
              <a:cxn ang="0">
                <a:pos x="556" y="4"/>
              </a:cxn>
              <a:cxn ang="0">
                <a:pos x="564" y="40"/>
              </a:cxn>
              <a:cxn ang="0">
                <a:pos x="536" y="66"/>
              </a:cxn>
              <a:cxn ang="0">
                <a:pos x="576" y="100"/>
              </a:cxn>
              <a:cxn ang="0">
                <a:pos x="578" y="124"/>
              </a:cxn>
              <a:cxn ang="0">
                <a:pos x="556" y="144"/>
              </a:cxn>
              <a:cxn ang="0">
                <a:pos x="524" y="150"/>
              </a:cxn>
              <a:cxn ang="0">
                <a:pos x="528" y="166"/>
              </a:cxn>
              <a:cxn ang="0">
                <a:pos x="496" y="198"/>
              </a:cxn>
              <a:cxn ang="0">
                <a:pos x="402" y="200"/>
              </a:cxn>
              <a:cxn ang="0">
                <a:pos x="290" y="172"/>
              </a:cxn>
              <a:cxn ang="0">
                <a:pos x="210" y="146"/>
              </a:cxn>
              <a:cxn ang="0">
                <a:pos x="168" y="98"/>
              </a:cxn>
              <a:cxn ang="0">
                <a:pos x="122" y="86"/>
              </a:cxn>
              <a:cxn ang="0">
                <a:pos x="92" y="130"/>
              </a:cxn>
              <a:cxn ang="0">
                <a:pos x="70" y="156"/>
              </a:cxn>
              <a:cxn ang="0">
                <a:pos x="50" y="228"/>
              </a:cxn>
              <a:cxn ang="0">
                <a:pos x="0" y="254"/>
              </a:cxn>
              <a:cxn ang="0">
                <a:pos x="20" y="288"/>
              </a:cxn>
              <a:cxn ang="0">
                <a:pos x="44" y="302"/>
              </a:cxn>
              <a:cxn ang="0">
                <a:pos x="78" y="324"/>
              </a:cxn>
              <a:cxn ang="0">
                <a:pos x="108" y="320"/>
              </a:cxn>
              <a:cxn ang="0">
                <a:pos x="112" y="352"/>
              </a:cxn>
              <a:cxn ang="0">
                <a:pos x="112" y="380"/>
              </a:cxn>
              <a:cxn ang="0">
                <a:pos x="144" y="416"/>
              </a:cxn>
              <a:cxn ang="0">
                <a:pos x="180" y="428"/>
              </a:cxn>
              <a:cxn ang="0">
                <a:pos x="230" y="458"/>
              </a:cxn>
              <a:cxn ang="0">
                <a:pos x="274" y="466"/>
              </a:cxn>
              <a:cxn ang="0">
                <a:pos x="294" y="462"/>
              </a:cxn>
              <a:cxn ang="0">
                <a:pos x="336" y="480"/>
              </a:cxn>
              <a:cxn ang="0">
                <a:pos x="372" y="438"/>
              </a:cxn>
              <a:cxn ang="0">
                <a:pos x="392" y="436"/>
              </a:cxn>
              <a:cxn ang="0">
                <a:pos x="414" y="452"/>
              </a:cxn>
            </a:cxnLst>
            <a:rect l="0" t="0" r="r" b="b"/>
            <a:pathLst>
              <a:path w="820" h="600">
                <a:moveTo>
                  <a:pt x="414" y="452"/>
                </a:moveTo>
                <a:lnTo>
                  <a:pt x="420" y="452"/>
                </a:lnTo>
                <a:lnTo>
                  <a:pt x="424" y="454"/>
                </a:lnTo>
                <a:lnTo>
                  <a:pt x="426" y="456"/>
                </a:lnTo>
                <a:lnTo>
                  <a:pt x="430" y="462"/>
                </a:lnTo>
                <a:lnTo>
                  <a:pt x="430" y="464"/>
                </a:lnTo>
                <a:lnTo>
                  <a:pt x="434" y="466"/>
                </a:lnTo>
                <a:lnTo>
                  <a:pt x="438" y="466"/>
                </a:lnTo>
                <a:lnTo>
                  <a:pt x="440" y="470"/>
                </a:lnTo>
                <a:lnTo>
                  <a:pt x="442" y="480"/>
                </a:lnTo>
                <a:lnTo>
                  <a:pt x="446" y="496"/>
                </a:lnTo>
                <a:lnTo>
                  <a:pt x="444" y="500"/>
                </a:lnTo>
                <a:lnTo>
                  <a:pt x="446" y="502"/>
                </a:lnTo>
                <a:lnTo>
                  <a:pt x="440" y="504"/>
                </a:lnTo>
                <a:lnTo>
                  <a:pt x="436" y="510"/>
                </a:lnTo>
                <a:lnTo>
                  <a:pt x="434" y="516"/>
                </a:lnTo>
                <a:lnTo>
                  <a:pt x="434" y="520"/>
                </a:lnTo>
                <a:lnTo>
                  <a:pt x="436" y="528"/>
                </a:lnTo>
                <a:lnTo>
                  <a:pt x="438" y="532"/>
                </a:lnTo>
                <a:lnTo>
                  <a:pt x="442" y="534"/>
                </a:lnTo>
                <a:lnTo>
                  <a:pt x="448" y="534"/>
                </a:lnTo>
                <a:lnTo>
                  <a:pt x="452" y="534"/>
                </a:lnTo>
                <a:lnTo>
                  <a:pt x="454" y="536"/>
                </a:lnTo>
                <a:lnTo>
                  <a:pt x="456" y="542"/>
                </a:lnTo>
                <a:lnTo>
                  <a:pt x="458" y="546"/>
                </a:lnTo>
                <a:lnTo>
                  <a:pt x="462" y="548"/>
                </a:lnTo>
                <a:lnTo>
                  <a:pt x="466" y="550"/>
                </a:lnTo>
                <a:lnTo>
                  <a:pt x="468" y="554"/>
                </a:lnTo>
                <a:lnTo>
                  <a:pt x="468" y="558"/>
                </a:lnTo>
                <a:lnTo>
                  <a:pt x="466" y="568"/>
                </a:lnTo>
                <a:lnTo>
                  <a:pt x="472" y="570"/>
                </a:lnTo>
                <a:lnTo>
                  <a:pt x="478" y="574"/>
                </a:lnTo>
                <a:lnTo>
                  <a:pt x="484" y="578"/>
                </a:lnTo>
                <a:lnTo>
                  <a:pt x="490" y="580"/>
                </a:lnTo>
                <a:lnTo>
                  <a:pt x="492" y="582"/>
                </a:lnTo>
                <a:lnTo>
                  <a:pt x="496" y="578"/>
                </a:lnTo>
                <a:lnTo>
                  <a:pt x="500" y="582"/>
                </a:lnTo>
                <a:lnTo>
                  <a:pt x="502" y="582"/>
                </a:lnTo>
                <a:lnTo>
                  <a:pt x="506" y="580"/>
                </a:lnTo>
                <a:lnTo>
                  <a:pt x="502" y="574"/>
                </a:lnTo>
                <a:lnTo>
                  <a:pt x="500" y="568"/>
                </a:lnTo>
                <a:lnTo>
                  <a:pt x="500" y="566"/>
                </a:lnTo>
                <a:lnTo>
                  <a:pt x="502" y="562"/>
                </a:lnTo>
                <a:lnTo>
                  <a:pt x="506" y="560"/>
                </a:lnTo>
                <a:lnTo>
                  <a:pt x="518" y="560"/>
                </a:lnTo>
                <a:lnTo>
                  <a:pt x="524" y="560"/>
                </a:lnTo>
                <a:lnTo>
                  <a:pt x="534" y="558"/>
                </a:lnTo>
                <a:lnTo>
                  <a:pt x="542" y="552"/>
                </a:lnTo>
                <a:lnTo>
                  <a:pt x="550" y="548"/>
                </a:lnTo>
                <a:lnTo>
                  <a:pt x="558" y="546"/>
                </a:lnTo>
                <a:lnTo>
                  <a:pt x="564" y="548"/>
                </a:lnTo>
                <a:lnTo>
                  <a:pt x="568" y="550"/>
                </a:lnTo>
                <a:lnTo>
                  <a:pt x="574" y="552"/>
                </a:lnTo>
                <a:lnTo>
                  <a:pt x="578" y="552"/>
                </a:lnTo>
                <a:lnTo>
                  <a:pt x="580" y="558"/>
                </a:lnTo>
                <a:lnTo>
                  <a:pt x="582" y="562"/>
                </a:lnTo>
                <a:lnTo>
                  <a:pt x="590" y="570"/>
                </a:lnTo>
                <a:lnTo>
                  <a:pt x="598" y="574"/>
                </a:lnTo>
                <a:lnTo>
                  <a:pt x="606" y="576"/>
                </a:lnTo>
                <a:lnTo>
                  <a:pt x="620" y="576"/>
                </a:lnTo>
                <a:lnTo>
                  <a:pt x="626" y="576"/>
                </a:lnTo>
                <a:lnTo>
                  <a:pt x="630" y="578"/>
                </a:lnTo>
                <a:lnTo>
                  <a:pt x="638" y="582"/>
                </a:lnTo>
                <a:lnTo>
                  <a:pt x="638" y="588"/>
                </a:lnTo>
                <a:lnTo>
                  <a:pt x="638" y="594"/>
                </a:lnTo>
                <a:lnTo>
                  <a:pt x="640" y="598"/>
                </a:lnTo>
                <a:lnTo>
                  <a:pt x="646" y="600"/>
                </a:lnTo>
                <a:lnTo>
                  <a:pt x="650" y="596"/>
                </a:lnTo>
                <a:lnTo>
                  <a:pt x="648" y="594"/>
                </a:lnTo>
                <a:lnTo>
                  <a:pt x="648" y="590"/>
                </a:lnTo>
                <a:lnTo>
                  <a:pt x="646" y="584"/>
                </a:lnTo>
                <a:lnTo>
                  <a:pt x="662" y="580"/>
                </a:lnTo>
                <a:lnTo>
                  <a:pt x="674" y="572"/>
                </a:lnTo>
                <a:lnTo>
                  <a:pt x="696" y="558"/>
                </a:lnTo>
                <a:lnTo>
                  <a:pt x="696" y="568"/>
                </a:lnTo>
                <a:lnTo>
                  <a:pt x="708" y="568"/>
                </a:lnTo>
                <a:lnTo>
                  <a:pt x="712" y="562"/>
                </a:lnTo>
                <a:lnTo>
                  <a:pt x="714" y="560"/>
                </a:lnTo>
                <a:lnTo>
                  <a:pt x="724" y="556"/>
                </a:lnTo>
                <a:lnTo>
                  <a:pt x="734" y="554"/>
                </a:lnTo>
                <a:lnTo>
                  <a:pt x="738" y="552"/>
                </a:lnTo>
                <a:lnTo>
                  <a:pt x="742" y="548"/>
                </a:lnTo>
                <a:lnTo>
                  <a:pt x="742" y="550"/>
                </a:lnTo>
                <a:lnTo>
                  <a:pt x="746" y="540"/>
                </a:lnTo>
                <a:lnTo>
                  <a:pt x="752" y="532"/>
                </a:lnTo>
                <a:lnTo>
                  <a:pt x="770" y="518"/>
                </a:lnTo>
                <a:lnTo>
                  <a:pt x="772" y="514"/>
                </a:lnTo>
                <a:lnTo>
                  <a:pt x="774" y="508"/>
                </a:lnTo>
                <a:lnTo>
                  <a:pt x="774" y="498"/>
                </a:lnTo>
                <a:lnTo>
                  <a:pt x="774" y="488"/>
                </a:lnTo>
                <a:lnTo>
                  <a:pt x="778" y="478"/>
                </a:lnTo>
                <a:lnTo>
                  <a:pt x="786" y="466"/>
                </a:lnTo>
                <a:lnTo>
                  <a:pt x="792" y="454"/>
                </a:lnTo>
                <a:lnTo>
                  <a:pt x="794" y="448"/>
                </a:lnTo>
                <a:lnTo>
                  <a:pt x="794" y="442"/>
                </a:lnTo>
                <a:lnTo>
                  <a:pt x="792" y="432"/>
                </a:lnTo>
                <a:lnTo>
                  <a:pt x="790" y="426"/>
                </a:lnTo>
                <a:lnTo>
                  <a:pt x="782" y="420"/>
                </a:lnTo>
                <a:lnTo>
                  <a:pt x="772" y="418"/>
                </a:lnTo>
                <a:lnTo>
                  <a:pt x="778" y="410"/>
                </a:lnTo>
                <a:lnTo>
                  <a:pt x="786" y="406"/>
                </a:lnTo>
                <a:lnTo>
                  <a:pt x="778" y="400"/>
                </a:lnTo>
                <a:lnTo>
                  <a:pt x="774" y="396"/>
                </a:lnTo>
                <a:lnTo>
                  <a:pt x="772" y="392"/>
                </a:lnTo>
                <a:lnTo>
                  <a:pt x="776" y="392"/>
                </a:lnTo>
                <a:lnTo>
                  <a:pt x="768" y="378"/>
                </a:lnTo>
                <a:lnTo>
                  <a:pt x="760" y="366"/>
                </a:lnTo>
                <a:lnTo>
                  <a:pt x="750" y="352"/>
                </a:lnTo>
                <a:lnTo>
                  <a:pt x="738" y="342"/>
                </a:lnTo>
                <a:lnTo>
                  <a:pt x="726" y="338"/>
                </a:lnTo>
                <a:lnTo>
                  <a:pt x="720" y="334"/>
                </a:lnTo>
                <a:lnTo>
                  <a:pt x="718" y="332"/>
                </a:lnTo>
                <a:lnTo>
                  <a:pt x="718" y="328"/>
                </a:lnTo>
                <a:lnTo>
                  <a:pt x="718" y="324"/>
                </a:lnTo>
                <a:lnTo>
                  <a:pt x="720" y="316"/>
                </a:lnTo>
                <a:lnTo>
                  <a:pt x="724" y="312"/>
                </a:lnTo>
                <a:lnTo>
                  <a:pt x="728" y="308"/>
                </a:lnTo>
                <a:lnTo>
                  <a:pt x="748" y="294"/>
                </a:lnTo>
                <a:lnTo>
                  <a:pt x="734" y="286"/>
                </a:lnTo>
                <a:lnTo>
                  <a:pt x="726" y="282"/>
                </a:lnTo>
                <a:lnTo>
                  <a:pt x="718" y="280"/>
                </a:lnTo>
                <a:lnTo>
                  <a:pt x="714" y="282"/>
                </a:lnTo>
                <a:lnTo>
                  <a:pt x="710" y="286"/>
                </a:lnTo>
                <a:lnTo>
                  <a:pt x="706" y="290"/>
                </a:lnTo>
                <a:lnTo>
                  <a:pt x="702" y="290"/>
                </a:lnTo>
                <a:lnTo>
                  <a:pt x="662" y="266"/>
                </a:lnTo>
                <a:lnTo>
                  <a:pt x="662" y="262"/>
                </a:lnTo>
                <a:lnTo>
                  <a:pt x="666" y="260"/>
                </a:lnTo>
                <a:lnTo>
                  <a:pt x="670" y="256"/>
                </a:lnTo>
                <a:lnTo>
                  <a:pt x="676" y="254"/>
                </a:lnTo>
                <a:lnTo>
                  <a:pt x="682" y="250"/>
                </a:lnTo>
                <a:lnTo>
                  <a:pt x="686" y="240"/>
                </a:lnTo>
                <a:lnTo>
                  <a:pt x="694" y="228"/>
                </a:lnTo>
                <a:lnTo>
                  <a:pt x="698" y="224"/>
                </a:lnTo>
                <a:lnTo>
                  <a:pt x="704" y="224"/>
                </a:lnTo>
                <a:lnTo>
                  <a:pt x="708" y="224"/>
                </a:lnTo>
                <a:lnTo>
                  <a:pt x="712" y="228"/>
                </a:lnTo>
                <a:lnTo>
                  <a:pt x="714" y="236"/>
                </a:lnTo>
                <a:lnTo>
                  <a:pt x="714" y="262"/>
                </a:lnTo>
                <a:lnTo>
                  <a:pt x="718" y="262"/>
                </a:lnTo>
                <a:lnTo>
                  <a:pt x="724" y="258"/>
                </a:lnTo>
                <a:lnTo>
                  <a:pt x="732" y="250"/>
                </a:lnTo>
                <a:lnTo>
                  <a:pt x="740" y="242"/>
                </a:lnTo>
                <a:lnTo>
                  <a:pt x="742" y="242"/>
                </a:lnTo>
                <a:lnTo>
                  <a:pt x="748" y="242"/>
                </a:lnTo>
                <a:lnTo>
                  <a:pt x="752" y="234"/>
                </a:lnTo>
                <a:lnTo>
                  <a:pt x="760" y="222"/>
                </a:lnTo>
                <a:lnTo>
                  <a:pt x="770" y="210"/>
                </a:lnTo>
                <a:lnTo>
                  <a:pt x="774" y="212"/>
                </a:lnTo>
                <a:lnTo>
                  <a:pt x="780" y="214"/>
                </a:lnTo>
                <a:lnTo>
                  <a:pt x="792" y="214"/>
                </a:lnTo>
                <a:lnTo>
                  <a:pt x="790" y="208"/>
                </a:lnTo>
                <a:lnTo>
                  <a:pt x="792" y="204"/>
                </a:lnTo>
                <a:lnTo>
                  <a:pt x="796" y="198"/>
                </a:lnTo>
                <a:lnTo>
                  <a:pt x="802" y="188"/>
                </a:lnTo>
                <a:lnTo>
                  <a:pt x="806" y="190"/>
                </a:lnTo>
                <a:lnTo>
                  <a:pt x="810" y="192"/>
                </a:lnTo>
                <a:lnTo>
                  <a:pt x="814" y="190"/>
                </a:lnTo>
                <a:lnTo>
                  <a:pt x="818" y="188"/>
                </a:lnTo>
                <a:lnTo>
                  <a:pt x="818" y="186"/>
                </a:lnTo>
                <a:lnTo>
                  <a:pt x="820" y="188"/>
                </a:lnTo>
                <a:lnTo>
                  <a:pt x="814" y="172"/>
                </a:lnTo>
                <a:lnTo>
                  <a:pt x="808" y="164"/>
                </a:lnTo>
                <a:lnTo>
                  <a:pt x="800" y="158"/>
                </a:lnTo>
                <a:lnTo>
                  <a:pt x="800" y="142"/>
                </a:lnTo>
                <a:lnTo>
                  <a:pt x="812" y="146"/>
                </a:lnTo>
                <a:lnTo>
                  <a:pt x="820" y="152"/>
                </a:lnTo>
                <a:lnTo>
                  <a:pt x="820" y="142"/>
                </a:lnTo>
                <a:lnTo>
                  <a:pt x="820" y="136"/>
                </a:lnTo>
                <a:lnTo>
                  <a:pt x="820" y="124"/>
                </a:lnTo>
                <a:lnTo>
                  <a:pt x="818" y="110"/>
                </a:lnTo>
                <a:lnTo>
                  <a:pt x="814" y="100"/>
                </a:lnTo>
                <a:lnTo>
                  <a:pt x="806" y="86"/>
                </a:lnTo>
                <a:lnTo>
                  <a:pt x="798" y="92"/>
                </a:lnTo>
                <a:lnTo>
                  <a:pt x="792" y="98"/>
                </a:lnTo>
                <a:lnTo>
                  <a:pt x="786" y="102"/>
                </a:lnTo>
                <a:lnTo>
                  <a:pt x="774" y="104"/>
                </a:lnTo>
                <a:lnTo>
                  <a:pt x="770" y="104"/>
                </a:lnTo>
                <a:lnTo>
                  <a:pt x="764" y="102"/>
                </a:lnTo>
                <a:lnTo>
                  <a:pt x="756" y="96"/>
                </a:lnTo>
                <a:lnTo>
                  <a:pt x="750" y="88"/>
                </a:lnTo>
                <a:lnTo>
                  <a:pt x="744" y="80"/>
                </a:lnTo>
                <a:lnTo>
                  <a:pt x="732" y="76"/>
                </a:lnTo>
                <a:lnTo>
                  <a:pt x="718" y="72"/>
                </a:lnTo>
                <a:lnTo>
                  <a:pt x="704" y="68"/>
                </a:lnTo>
                <a:lnTo>
                  <a:pt x="690" y="62"/>
                </a:lnTo>
                <a:lnTo>
                  <a:pt x="680" y="54"/>
                </a:lnTo>
                <a:lnTo>
                  <a:pt x="668" y="46"/>
                </a:lnTo>
                <a:lnTo>
                  <a:pt x="646" y="24"/>
                </a:lnTo>
                <a:lnTo>
                  <a:pt x="634" y="16"/>
                </a:lnTo>
                <a:lnTo>
                  <a:pt x="622" y="8"/>
                </a:lnTo>
                <a:lnTo>
                  <a:pt x="606" y="2"/>
                </a:lnTo>
                <a:lnTo>
                  <a:pt x="584" y="0"/>
                </a:lnTo>
                <a:lnTo>
                  <a:pt x="572" y="0"/>
                </a:lnTo>
                <a:lnTo>
                  <a:pt x="562" y="2"/>
                </a:lnTo>
                <a:lnTo>
                  <a:pt x="556" y="4"/>
                </a:lnTo>
                <a:lnTo>
                  <a:pt x="552" y="8"/>
                </a:lnTo>
                <a:lnTo>
                  <a:pt x="550" y="12"/>
                </a:lnTo>
                <a:lnTo>
                  <a:pt x="550" y="18"/>
                </a:lnTo>
                <a:lnTo>
                  <a:pt x="552" y="20"/>
                </a:lnTo>
                <a:lnTo>
                  <a:pt x="556" y="24"/>
                </a:lnTo>
                <a:lnTo>
                  <a:pt x="562" y="30"/>
                </a:lnTo>
                <a:lnTo>
                  <a:pt x="564" y="40"/>
                </a:lnTo>
                <a:lnTo>
                  <a:pt x="566" y="50"/>
                </a:lnTo>
                <a:lnTo>
                  <a:pt x="566" y="56"/>
                </a:lnTo>
                <a:lnTo>
                  <a:pt x="566" y="62"/>
                </a:lnTo>
                <a:lnTo>
                  <a:pt x="562" y="66"/>
                </a:lnTo>
                <a:lnTo>
                  <a:pt x="560" y="68"/>
                </a:lnTo>
                <a:lnTo>
                  <a:pt x="550" y="68"/>
                </a:lnTo>
                <a:lnTo>
                  <a:pt x="536" y="66"/>
                </a:lnTo>
                <a:lnTo>
                  <a:pt x="538" y="88"/>
                </a:lnTo>
                <a:lnTo>
                  <a:pt x="538" y="94"/>
                </a:lnTo>
                <a:lnTo>
                  <a:pt x="542" y="98"/>
                </a:lnTo>
                <a:lnTo>
                  <a:pt x="544" y="102"/>
                </a:lnTo>
                <a:lnTo>
                  <a:pt x="550" y="102"/>
                </a:lnTo>
                <a:lnTo>
                  <a:pt x="568" y="102"/>
                </a:lnTo>
                <a:lnTo>
                  <a:pt x="576" y="100"/>
                </a:lnTo>
                <a:lnTo>
                  <a:pt x="582" y="98"/>
                </a:lnTo>
                <a:lnTo>
                  <a:pt x="592" y="100"/>
                </a:lnTo>
                <a:lnTo>
                  <a:pt x="602" y="106"/>
                </a:lnTo>
                <a:lnTo>
                  <a:pt x="610" y="112"/>
                </a:lnTo>
                <a:lnTo>
                  <a:pt x="616" y="120"/>
                </a:lnTo>
                <a:lnTo>
                  <a:pt x="596" y="122"/>
                </a:lnTo>
                <a:lnTo>
                  <a:pt x="578" y="124"/>
                </a:lnTo>
                <a:lnTo>
                  <a:pt x="576" y="128"/>
                </a:lnTo>
                <a:lnTo>
                  <a:pt x="576" y="132"/>
                </a:lnTo>
                <a:lnTo>
                  <a:pt x="574" y="134"/>
                </a:lnTo>
                <a:lnTo>
                  <a:pt x="574" y="140"/>
                </a:lnTo>
                <a:lnTo>
                  <a:pt x="570" y="142"/>
                </a:lnTo>
                <a:lnTo>
                  <a:pt x="566" y="142"/>
                </a:lnTo>
                <a:lnTo>
                  <a:pt x="556" y="144"/>
                </a:lnTo>
                <a:lnTo>
                  <a:pt x="552" y="146"/>
                </a:lnTo>
                <a:lnTo>
                  <a:pt x="550" y="150"/>
                </a:lnTo>
                <a:lnTo>
                  <a:pt x="544" y="152"/>
                </a:lnTo>
                <a:lnTo>
                  <a:pt x="538" y="154"/>
                </a:lnTo>
                <a:lnTo>
                  <a:pt x="532" y="154"/>
                </a:lnTo>
                <a:lnTo>
                  <a:pt x="528" y="152"/>
                </a:lnTo>
                <a:lnTo>
                  <a:pt x="524" y="150"/>
                </a:lnTo>
                <a:lnTo>
                  <a:pt x="522" y="150"/>
                </a:lnTo>
                <a:lnTo>
                  <a:pt x="518" y="152"/>
                </a:lnTo>
                <a:lnTo>
                  <a:pt x="516" y="156"/>
                </a:lnTo>
                <a:lnTo>
                  <a:pt x="516" y="160"/>
                </a:lnTo>
                <a:lnTo>
                  <a:pt x="518" y="160"/>
                </a:lnTo>
                <a:lnTo>
                  <a:pt x="524" y="164"/>
                </a:lnTo>
                <a:lnTo>
                  <a:pt x="528" y="166"/>
                </a:lnTo>
                <a:lnTo>
                  <a:pt x="530" y="168"/>
                </a:lnTo>
                <a:lnTo>
                  <a:pt x="530" y="172"/>
                </a:lnTo>
                <a:lnTo>
                  <a:pt x="530" y="176"/>
                </a:lnTo>
                <a:lnTo>
                  <a:pt x="526" y="182"/>
                </a:lnTo>
                <a:lnTo>
                  <a:pt x="518" y="188"/>
                </a:lnTo>
                <a:lnTo>
                  <a:pt x="508" y="194"/>
                </a:lnTo>
                <a:lnTo>
                  <a:pt x="496" y="198"/>
                </a:lnTo>
                <a:lnTo>
                  <a:pt x="468" y="198"/>
                </a:lnTo>
                <a:lnTo>
                  <a:pt x="458" y="206"/>
                </a:lnTo>
                <a:lnTo>
                  <a:pt x="452" y="210"/>
                </a:lnTo>
                <a:lnTo>
                  <a:pt x="444" y="212"/>
                </a:lnTo>
                <a:lnTo>
                  <a:pt x="430" y="210"/>
                </a:lnTo>
                <a:lnTo>
                  <a:pt x="414" y="206"/>
                </a:lnTo>
                <a:lnTo>
                  <a:pt x="402" y="200"/>
                </a:lnTo>
                <a:lnTo>
                  <a:pt x="392" y="194"/>
                </a:lnTo>
                <a:lnTo>
                  <a:pt x="348" y="194"/>
                </a:lnTo>
                <a:lnTo>
                  <a:pt x="348" y="192"/>
                </a:lnTo>
                <a:lnTo>
                  <a:pt x="314" y="192"/>
                </a:lnTo>
                <a:lnTo>
                  <a:pt x="306" y="188"/>
                </a:lnTo>
                <a:lnTo>
                  <a:pt x="298" y="180"/>
                </a:lnTo>
                <a:lnTo>
                  <a:pt x="290" y="172"/>
                </a:lnTo>
                <a:lnTo>
                  <a:pt x="280" y="166"/>
                </a:lnTo>
                <a:lnTo>
                  <a:pt x="272" y="160"/>
                </a:lnTo>
                <a:lnTo>
                  <a:pt x="262" y="160"/>
                </a:lnTo>
                <a:lnTo>
                  <a:pt x="252" y="156"/>
                </a:lnTo>
                <a:lnTo>
                  <a:pt x="244" y="152"/>
                </a:lnTo>
                <a:lnTo>
                  <a:pt x="214" y="152"/>
                </a:lnTo>
                <a:lnTo>
                  <a:pt x="210" y="146"/>
                </a:lnTo>
                <a:lnTo>
                  <a:pt x="206" y="140"/>
                </a:lnTo>
                <a:lnTo>
                  <a:pt x="202" y="126"/>
                </a:lnTo>
                <a:lnTo>
                  <a:pt x="198" y="118"/>
                </a:lnTo>
                <a:lnTo>
                  <a:pt x="194" y="112"/>
                </a:lnTo>
                <a:lnTo>
                  <a:pt x="182" y="104"/>
                </a:lnTo>
                <a:lnTo>
                  <a:pt x="174" y="100"/>
                </a:lnTo>
                <a:lnTo>
                  <a:pt x="168" y="98"/>
                </a:lnTo>
                <a:lnTo>
                  <a:pt x="154" y="92"/>
                </a:lnTo>
                <a:lnTo>
                  <a:pt x="146" y="90"/>
                </a:lnTo>
                <a:lnTo>
                  <a:pt x="140" y="86"/>
                </a:lnTo>
                <a:lnTo>
                  <a:pt x="138" y="82"/>
                </a:lnTo>
                <a:lnTo>
                  <a:pt x="134" y="76"/>
                </a:lnTo>
                <a:lnTo>
                  <a:pt x="134" y="78"/>
                </a:lnTo>
                <a:lnTo>
                  <a:pt x="122" y="86"/>
                </a:lnTo>
                <a:lnTo>
                  <a:pt x="114" y="94"/>
                </a:lnTo>
                <a:lnTo>
                  <a:pt x="126" y="108"/>
                </a:lnTo>
                <a:lnTo>
                  <a:pt x="116" y="116"/>
                </a:lnTo>
                <a:lnTo>
                  <a:pt x="110" y="118"/>
                </a:lnTo>
                <a:lnTo>
                  <a:pt x="100" y="116"/>
                </a:lnTo>
                <a:lnTo>
                  <a:pt x="88" y="112"/>
                </a:lnTo>
                <a:lnTo>
                  <a:pt x="92" y="130"/>
                </a:lnTo>
                <a:lnTo>
                  <a:pt x="92" y="140"/>
                </a:lnTo>
                <a:lnTo>
                  <a:pt x="90" y="148"/>
                </a:lnTo>
                <a:lnTo>
                  <a:pt x="86" y="150"/>
                </a:lnTo>
                <a:lnTo>
                  <a:pt x="84" y="150"/>
                </a:lnTo>
                <a:lnTo>
                  <a:pt x="78" y="150"/>
                </a:lnTo>
                <a:lnTo>
                  <a:pt x="68" y="146"/>
                </a:lnTo>
                <a:lnTo>
                  <a:pt x="70" y="156"/>
                </a:lnTo>
                <a:lnTo>
                  <a:pt x="76" y="164"/>
                </a:lnTo>
                <a:lnTo>
                  <a:pt x="80" y="176"/>
                </a:lnTo>
                <a:lnTo>
                  <a:pt x="82" y="188"/>
                </a:lnTo>
                <a:lnTo>
                  <a:pt x="78" y="194"/>
                </a:lnTo>
                <a:lnTo>
                  <a:pt x="74" y="200"/>
                </a:lnTo>
                <a:lnTo>
                  <a:pt x="64" y="214"/>
                </a:lnTo>
                <a:lnTo>
                  <a:pt x="50" y="228"/>
                </a:lnTo>
                <a:lnTo>
                  <a:pt x="38" y="236"/>
                </a:lnTo>
                <a:lnTo>
                  <a:pt x="28" y="238"/>
                </a:lnTo>
                <a:lnTo>
                  <a:pt x="14" y="240"/>
                </a:lnTo>
                <a:lnTo>
                  <a:pt x="8" y="242"/>
                </a:lnTo>
                <a:lnTo>
                  <a:pt x="4" y="244"/>
                </a:lnTo>
                <a:lnTo>
                  <a:pt x="2" y="248"/>
                </a:lnTo>
                <a:lnTo>
                  <a:pt x="0" y="254"/>
                </a:lnTo>
                <a:lnTo>
                  <a:pt x="2" y="258"/>
                </a:lnTo>
                <a:lnTo>
                  <a:pt x="4" y="262"/>
                </a:lnTo>
                <a:lnTo>
                  <a:pt x="14" y="268"/>
                </a:lnTo>
                <a:lnTo>
                  <a:pt x="24" y="276"/>
                </a:lnTo>
                <a:lnTo>
                  <a:pt x="26" y="280"/>
                </a:lnTo>
                <a:lnTo>
                  <a:pt x="26" y="286"/>
                </a:lnTo>
                <a:lnTo>
                  <a:pt x="20" y="288"/>
                </a:lnTo>
                <a:lnTo>
                  <a:pt x="14" y="290"/>
                </a:lnTo>
                <a:lnTo>
                  <a:pt x="18" y="292"/>
                </a:lnTo>
                <a:lnTo>
                  <a:pt x="20" y="294"/>
                </a:lnTo>
                <a:lnTo>
                  <a:pt x="28" y="296"/>
                </a:lnTo>
                <a:lnTo>
                  <a:pt x="28" y="298"/>
                </a:lnTo>
                <a:lnTo>
                  <a:pt x="36" y="298"/>
                </a:lnTo>
                <a:lnTo>
                  <a:pt x="44" y="302"/>
                </a:lnTo>
                <a:lnTo>
                  <a:pt x="50" y="308"/>
                </a:lnTo>
                <a:lnTo>
                  <a:pt x="54" y="316"/>
                </a:lnTo>
                <a:lnTo>
                  <a:pt x="58" y="320"/>
                </a:lnTo>
                <a:lnTo>
                  <a:pt x="62" y="322"/>
                </a:lnTo>
                <a:lnTo>
                  <a:pt x="68" y="322"/>
                </a:lnTo>
                <a:lnTo>
                  <a:pt x="74" y="324"/>
                </a:lnTo>
                <a:lnTo>
                  <a:pt x="78" y="324"/>
                </a:lnTo>
                <a:lnTo>
                  <a:pt x="82" y="326"/>
                </a:lnTo>
                <a:lnTo>
                  <a:pt x="84" y="326"/>
                </a:lnTo>
                <a:lnTo>
                  <a:pt x="86" y="324"/>
                </a:lnTo>
                <a:lnTo>
                  <a:pt x="90" y="322"/>
                </a:lnTo>
                <a:lnTo>
                  <a:pt x="94" y="320"/>
                </a:lnTo>
                <a:lnTo>
                  <a:pt x="100" y="320"/>
                </a:lnTo>
                <a:lnTo>
                  <a:pt x="108" y="320"/>
                </a:lnTo>
                <a:lnTo>
                  <a:pt x="114" y="324"/>
                </a:lnTo>
                <a:lnTo>
                  <a:pt x="116" y="324"/>
                </a:lnTo>
                <a:lnTo>
                  <a:pt x="122" y="326"/>
                </a:lnTo>
                <a:lnTo>
                  <a:pt x="122" y="332"/>
                </a:lnTo>
                <a:lnTo>
                  <a:pt x="120" y="336"/>
                </a:lnTo>
                <a:lnTo>
                  <a:pt x="114" y="344"/>
                </a:lnTo>
                <a:lnTo>
                  <a:pt x="112" y="352"/>
                </a:lnTo>
                <a:lnTo>
                  <a:pt x="110" y="358"/>
                </a:lnTo>
                <a:lnTo>
                  <a:pt x="112" y="362"/>
                </a:lnTo>
                <a:lnTo>
                  <a:pt x="114" y="368"/>
                </a:lnTo>
                <a:lnTo>
                  <a:pt x="122" y="376"/>
                </a:lnTo>
                <a:lnTo>
                  <a:pt x="120" y="378"/>
                </a:lnTo>
                <a:lnTo>
                  <a:pt x="118" y="378"/>
                </a:lnTo>
                <a:lnTo>
                  <a:pt x="112" y="380"/>
                </a:lnTo>
                <a:lnTo>
                  <a:pt x="114" y="388"/>
                </a:lnTo>
                <a:lnTo>
                  <a:pt x="114" y="392"/>
                </a:lnTo>
                <a:lnTo>
                  <a:pt x="116" y="396"/>
                </a:lnTo>
                <a:lnTo>
                  <a:pt x="118" y="400"/>
                </a:lnTo>
                <a:lnTo>
                  <a:pt x="126" y="404"/>
                </a:lnTo>
                <a:lnTo>
                  <a:pt x="136" y="408"/>
                </a:lnTo>
                <a:lnTo>
                  <a:pt x="144" y="416"/>
                </a:lnTo>
                <a:lnTo>
                  <a:pt x="152" y="424"/>
                </a:lnTo>
                <a:lnTo>
                  <a:pt x="158" y="424"/>
                </a:lnTo>
                <a:lnTo>
                  <a:pt x="162" y="424"/>
                </a:lnTo>
                <a:lnTo>
                  <a:pt x="164" y="422"/>
                </a:lnTo>
                <a:lnTo>
                  <a:pt x="166" y="420"/>
                </a:lnTo>
                <a:lnTo>
                  <a:pt x="168" y="420"/>
                </a:lnTo>
                <a:lnTo>
                  <a:pt x="180" y="428"/>
                </a:lnTo>
                <a:lnTo>
                  <a:pt x="190" y="436"/>
                </a:lnTo>
                <a:lnTo>
                  <a:pt x="198" y="442"/>
                </a:lnTo>
                <a:lnTo>
                  <a:pt x="208" y="446"/>
                </a:lnTo>
                <a:lnTo>
                  <a:pt x="220" y="450"/>
                </a:lnTo>
                <a:lnTo>
                  <a:pt x="222" y="452"/>
                </a:lnTo>
                <a:lnTo>
                  <a:pt x="226" y="456"/>
                </a:lnTo>
                <a:lnTo>
                  <a:pt x="230" y="458"/>
                </a:lnTo>
                <a:lnTo>
                  <a:pt x="236" y="460"/>
                </a:lnTo>
                <a:lnTo>
                  <a:pt x="240" y="460"/>
                </a:lnTo>
                <a:lnTo>
                  <a:pt x="242" y="460"/>
                </a:lnTo>
                <a:lnTo>
                  <a:pt x="244" y="460"/>
                </a:lnTo>
                <a:lnTo>
                  <a:pt x="250" y="464"/>
                </a:lnTo>
                <a:lnTo>
                  <a:pt x="256" y="466"/>
                </a:lnTo>
                <a:lnTo>
                  <a:pt x="274" y="466"/>
                </a:lnTo>
                <a:lnTo>
                  <a:pt x="274" y="468"/>
                </a:lnTo>
                <a:lnTo>
                  <a:pt x="274" y="464"/>
                </a:lnTo>
                <a:lnTo>
                  <a:pt x="278" y="462"/>
                </a:lnTo>
                <a:lnTo>
                  <a:pt x="284" y="460"/>
                </a:lnTo>
                <a:lnTo>
                  <a:pt x="288" y="472"/>
                </a:lnTo>
                <a:lnTo>
                  <a:pt x="290" y="468"/>
                </a:lnTo>
                <a:lnTo>
                  <a:pt x="294" y="462"/>
                </a:lnTo>
                <a:lnTo>
                  <a:pt x="298" y="460"/>
                </a:lnTo>
                <a:lnTo>
                  <a:pt x="302" y="458"/>
                </a:lnTo>
                <a:lnTo>
                  <a:pt x="312" y="460"/>
                </a:lnTo>
                <a:lnTo>
                  <a:pt x="322" y="464"/>
                </a:lnTo>
                <a:lnTo>
                  <a:pt x="332" y="472"/>
                </a:lnTo>
                <a:lnTo>
                  <a:pt x="336" y="478"/>
                </a:lnTo>
                <a:lnTo>
                  <a:pt x="336" y="480"/>
                </a:lnTo>
                <a:lnTo>
                  <a:pt x="338" y="478"/>
                </a:lnTo>
                <a:lnTo>
                  <a:pt x="340" y="470"/>
                </a:lnTo>
                <a:lnTo>
                  <a:pt x="344" y="460"/>
                </a:lnTo>
                <a:lnTo>
                  <a:pt x="348" y="454"/>
                </a:lnTo>
                <a:lnTo>
                  <a:pt x="356" y="446"/>
                </a:lnTo>
                <a:lnTo>
                  <a:pt x="362" y="442"/>
                </a:lnTo>
                <a:lnTo>
                  <a:pt x="372" y="438"/>
                </a:lnTo>
                <a:lnTo>
                  <a:pt x="374" y="440"/>
                </a:lnTo>
                <a:lnTo>
                  <a:pt x="376" y="440"/>
                </a:lnTo>
                <a:lnTo>
                  <a:pt x="380" y="442"/>
                </a:lnTo>
                <a:lnTo>
                  <a:pt x="382" y="440"/>
                </a:lnTo>
                <a:lnTo>
                  <a:pt x="386" y="438"/>
                </a:lnTo>
                <a:lnTo>
                  <a:pt x="386" y="436"/>
                </a:lnTo>
                <a:lnTo>
                  <a:pt x="392" y="436"/>
                </a:lnTo>
                <a:lnTo>
                  <a:pt x="400" y="444"/>
                </a:lnTo>
                <a:lnTo>
                  <a:pt x="400" y="448"/>
                </a:lnTo>
                <a:lnTo>
                  <a:pt x="400" y="450"/>
                </a:lnTo>
                <a:lnTo>
                  <a:pt x="404" y="454"/>
                </a:lnTo>
                <a:lnTo>
                  <a:pt x="410" y="456"/>
                </a:lnTo>
                <a:lnTo>
                  <a:pt x="414" y="456"/>
                </a:lnTo>
                <a:lnTo>
                  <a:pt x="414" y="45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D5A59C8-3F33-4586-893F-E3803E5F5055}"/>
              </a:ext>
            </a:extLst>
          </p:cNvPr>
          <p:cNvSpPr>
            <a:spLocks/>
          </p:cNvSpPr>
          <p:nvPr/>
        </p:nvSpPr>
        <p:spPr bwMode="auto">
          <a:xfrm>
            <a:off x="8160087" y="2364003"/>
            <a:ext cx="164184" cy="125006"/>
          </a:xfrm>
          <a:custGeom>
            <a:avLst/>
            <a:gdLst/>
            <a:ahLst/>
            <a:cxnLst>
              <a:cxn ang="0">
                <a:pos x="28" y="52"/>
              </a:cxn>
              <a:cxn ang="0">
                <a:pos x="20" y="54"/>
              </a:cxn>
              <a:cxn ang="0">
                <a:pos x="14" y="56"/>
              </a:cxn>
              <a:cxn ang="0">
                <a:pos x="26" y="62"/>
              </a:cxn>
              <a:cxn ang="0">
                <a:pos x="30" y="64"/>
              </a:cxn>
              <a:cxn ang="0">
                <a:pos x="36" y="70"/>
              </a:cxn>
              <a:cxn ang="0">
                <a:pos x="20" y="70"/>
              </a:cxn>
              <a:cxn ang="0">
                <a:pos x="14" y="62"/>
              </a:cxn>
              <a:cxn ang="0">
                <a:pos x="12" y="58"/>
              </a:cxn>
              <a:cxn ang="0">
                <a:pos x="8" y="56"/>
              </a:cxn>
              <a:cxn ang="0">
                <a:pos x="10" y="50"/>
              </a:cxn>
              <a:cxn ang="0">
                <a:pos x="14" y="46"/>
              </a:cxn>
              <a:cxn ang="0">
                <a:pos x="12" y="44"/>
              </a:cxn>
              <a:cxn ang="0">
                <a:pos x="10" y="40"/>
              </a:cxn>
              <a:cxn ang="0">
                <a:pos x="18" y="40"/>
              </a:cxn>
              <a:cxn ang="0">
                <a:pos x="16" y="34"/>
              </a:cxn>
              <a:cxn ang="0">
                <a:pos x="14" y="28"/>
              </a:cxn>
              <a:cxn ang="0">
                <a:pos x="14" y="16"/>
              </a:cxn>
              <a:cxn ang="0">
                <a:pos x="10" y="12"/>
              </a:cxn>
              <a:cxn ang="0">
                <a:pos x="6" y="8"/>
              </a:cxn>
              <a:cxn ang="0">
                <a:pos x="2" y="4"/>
              </a:cxn>
              <a:cxn ang="0">
                <a:pos x="0" y="0"/>
              </a:cxn>
              <a:cxn ang="0">
                <a:pos x="4" y="0"/>
              </a:cxn>
              <a:cxn ang="0">
                <a:pos x="12" y="4"/>
              </a:cxn>
              <a:cxn ang="0">
                <a:pos x="24" y="14"/>
              </a:cxn>
              <a:cxn ang="0">
                <a:pos x="40" y="22"/>
              </a:cxn>
              <a:cxn ang="0">
                <a:pos x="46" y="24"/>
              </a:cxn>
              <a:cxn ang="0">
                <a:pos x="54" y="26"/>
              </a:cxn>
              <a:cxn ang="0">
                <a:pos x="60" y="26"/>
              </a:cxn>
              <a:cxn ang="0">
                <a:pos x="66" y="24"/>
              </a:cxn>
              <a:cxn ang="0">
                <a:pos x="74" y="20"/>
              </a:cxn>
              <a:cxn ang="0">
                <a:pos x="74" y="30"/>
              </a:cxn>
              <a:cxn ang="0">
                <a:pos x="74" y="34"/>
              </a:cxn>
              <a:cxn ang="0">
                <a:pos x="76" y="36"/>
              </a:cxn>
              <a:cxn ang="0">
                <a:pos x="82" y="42"/>
              </a:cxn>
              <a:cxn ang="0">
                <a:pos x="78" y="44"/>
              </a:cxn>
              <a:cxn ang="0">
                <a:pos x="72" y="44"/>
              </a:cxn>
              <a:cxn ang="0">
                <a:pos x="60" y="46"/>
              </a:cxn>
              <a:cxn ang="0">
                <a:pos x="60" y="62"/>
              </a:cxn>
              <a:cxn ang="0">
                <a:pos x="52" y="60"/>
              </a:cxn>
              <a:cxn ang="0">
                <a:pos x="44" y="56"/>
              </a:cxn>
              <a:cxn ang="0">
                <a:pos x="38" y="54"/>
              </a:cxn>
              <a:cxn ang="0">
                <a:pos x="28" y="52"/>
              </a:cxn>
            </a:cxnLst>
            <a:rect l="0" t="0" r="r" b="b"/>
            <a:pathLst>
              <a:path w="82" h="70">
                <a:moveTo>
                  <a:pt x="28" y="52"/>
                </a:moveTo>
                <a:lnTo>
                  <a:pt x="20" y="54"/>
                </a:lnTo>
                <a:lnTo>
                  <a:pt x="14" y="56"/>
                </a:lnTo>
                <a:lnTo>
                  <a:pt x="26" y="62"/>
                </a:lnTo>
                <a:lnTo>
                  <a:pt x="30" y="64"/>
                </a:lnTo>
                <a:lnTo>
                  <a:pt x="36" y="70"/>
                </a:lnTo>
                <a:lnTo>
                  <a:pt x="20" y="70"/>
                </a:lnTo>
                <a:lnTo>
                  <a:pt x="14" y="62"/>
                </a:lnTo>
                <a:lnTo>
                  <a:pt x="12" y="58"/>
                </a:lnTo>
                <a:lnTo>
                  <a:pt x="8" y="56"/>
                </a:lnTo>
                <a:lnTo>
                  <a:pt x="10" y="50"/>
                </a:lnTo>
                <a:lnTo>
                  <a:pt x="14" y="46"/>
                </a:lnTo>
                <a:lnTo>
                  <a:pt x="12" y="44"/>
                </a:lnTo>
                <a:lnTo>
                  <a:pt x="10" y="40"/>
                </a:lnTo>
                <a:lnTo>
                  <a:pt x="18" y="40"/>
                </a:lnTo>
                <a:lnTo>
                  <a:pt x="16" y="34"/>
                </a:lnTo>
                <a:lnTo>
                  <a:pt x="14" y="28"/>
                </a:lnTo>
                <a:lnTo>
                  <a:pt x="14" y="16"/>
                </a:lnTo>
                <a:lnTo>
                  <a:pt x="10" y="12"/>
                </a:lnTo>
                <a:lnTo>
                  <a:pt x="6" y="8"/>
                </a:lnTo>
                <a:lnTo>
                  <a:pt x="2" y="4"/>
                </a:lnTo>
                <a:lnTo>
                  <a:pt x="0" y="0"/>
                </a:lnTo>
                <a:lnTo>
                  <a:pt x="4" y="0"/>
                </a:lnTo>
                <a:lnTo>
                  <a:pt x="12" y="4"/>
                </a:lnTo>
                <a:lnTo>
                  <a:pt x="24" y="14"/>
                </a:lnTo>
                <a:lnTo>
                  <a:pt x="40" y="22"/>
                </a:lnTo>
                <a:lnTo>
                  <a:pt x="46" y="24"/>
                </a:lnTo>
                <a:lnTo>
                  <a:pt x="54" y="26"/>
                </a:lnTo>
                <a:lnTo>
                  <a:pt x="60" y="26"/>
                </a:lnTo>
                <a:lnTo>
                  <a:pt x="66" y="24"/>
                </a:lnTo>
                <a:lnTo>
                  <a:pt x="74" y="20"/>
                </a:lnTo>
                <a:lnTo>
                  <a:pt x="74" y="30"/>
                </a:lnTo>
                <a:lnTo>
                  <a:pt x="74" y="34"/>
                </a:lnTo>
                <a:lnTo>
                  <a:pt x="76" y="36"/>
                </a:lnTo>
                <a:lnTo>
                  <a:pt x="82" y="42"/>
                </a:lnTo>
                <a:lnTo>
                  <a:pt x="78" y="44"/>
                </a:lnTo>
                <a:lnTo>
                  <a:pt x="72" y="44"/>
                </a:lnTo>
                <a:lnTo>
                  <a:pt x="60" y="46"/>
                </a:lnTo>
                <a:lnTo>
                  <a:pt x="60" y="62"/>
                </a:lnTo>
                <a:lnTo>
                  <a:pt x="52" y="60"/>
                </a:lnTo>
                <a:lnTo>
                  <a:pt x="44" y="56"/>
                </a:lnTo>
                <a:lnTo>
                  <a:pt x="38" y="54"/>
                </a:lnTo>
                <a:lnTo>
                  <a:pt x="28" y="5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66FB1AE8-AE03-4589-8BB5-005220206927}"/>
              </a:ext>
            </a:extLst>
          </p:cNvPr>
          <p:cNvSpPr>
            <a:spLocks/>
          </p:cNvSpPr>
          <p:nvPr/>
        </p:nvSpPr>
        <p:spPr bwMode="auto">
          <a:xfrm>
            <a:off x="8066026" y="2497126"/>
            <a:ext cx="270219" cy="263000"/>
          </a:xfrm>
          <a:custGeom>
            <a:avLst/>
            <a:gdLst/>
            <a:ahLst/>
            <a:cxnLst>
              <a:cxn ang="0">
                <a:pos x="78" y="6"/>
              </a:cxn>
              <a:cxn ang="0">
                <a:pos x="86" y="0"/>
              </a:cxn>
              <a:cxn ang="0">
                <a:pos x="110" y="24"/>
              </a:cxn>
              <a:cxn ang="0">
                <a:pos x="118" y="38"/>
              </a:cxn>
              <a:cxn ang="0">
                <a:pos x="122" y="52"/>
              </a:cxn>
              <a:cxn ang="0">
                <a:pos x="118" y="60"/>
              </a:cxn>
              <a:cxn ang="0">
                <a:pos x="136" y="102"/>
              </a:cxn>
              <a:cxn ang="0">
                <a:pos x="132" y="114"/>
              </a:cxn>
              <a:cxn ang="0">
                <a:pos x="126" y="114"/>
              </a:cxn>
              <a:cxn ang="0">
                <a:pos x="130" y="106"/>
              </a:cxn>
              <a:cxn ang="0">
                <a:pos x="118" y="110"/>
              </a:cxn>
              <a:cxn ang="0">
                <a:pos x="116" y="116"/>
              </a:cxn>
              <a:cxn ang="0">
                <a:pos x="108" y="120"/>
              </a:cxn>
              <a:cxn ang="0">
                <a:pos x="100" y="122"/>
              </a:cxn>
              <a:cxn ang="0">
                <a:pos x="88" y="120"/>
              </a:cxn>
              <a:cxn ang="0">
                <a:pos x="82" y="120"/>
              </a:cxn>
              <a:cxn ang="0">
                <a:pos x="86" y="128"/>
              </a:cxn>
              <a:cxn ang="0">
                <a:pos x="86" y="138"/>
              </a:cxn>
              <a:cxn ang="0">
                <a:pos x="74" y="144"/>
              </a:cxn>
              <a:cxn ang="0">
                <a:pos x="66" y="132"/>
              </a:cxn>
              <a:cxn ang="0">
                <a:pos x="54" y="122"/>
              </a:cxn>
              <a:cxn ang="0">
                <a:pos x="38" y="126"/>
              </a:cxn>
              <a:cxn ang="0">
                <a:pos x="20" y="130"/>
              </a:cxn>
              <a:cxn ang="0">
                <a:pos x="8" y="134"/>
              </a:cxn>
              <a:cxn ang="0">
                <a:pos x="0" y="132"/>
              </a:cxn>
              <a:cxn ang="0">
                <a:pos x="6" y="126"/>
              </a:cxn>
              <a:cxn ang="0">
                <a:pos x="14" y="116"/>
              </a:cxn>
              <a:cxn ang="0">
                <a:pos x="24" y="106"/>
              </a:cxn>
              <a:cxn ang="0">
                <a:pos x="34" y="106"/>
              </a:cxn>
              <a:cxn ang="0">
                <a:pos x="42" y="102"/>
              </a:cxn>
              <a:cxn ang="0">
                <a:pos x="52" y="102"/>
              </a:cxn>
              <a:cxn ang="0">
                <a:pos x="60" y="108"/>
              </a:cxn>
              <a:cxn ang="0">
                <a:pos x="62" y="102"/>
              </a:cxn>
              <a:cxn ang="0">
                <a:pos x="60" y="94"/>
              </a:cxn>
              <a:cxn ang="0">
                <a:pos x="64" y="86"/>
              </a:cxn>
              <a:cxn ang="0">
                <a:pos x="68" y="80"/>
              </a:cxn>
              <a:cxn ang="0">
                <a:pos x="68" y="74"/>
              </a:cxn>
              <a:cxn ang="0">
                <a:pos x="68" y="82"/>
              </a:cxn>
              <a:cxn ang="0">
                <a:pos x="82" y="78"/>
              </a:cxn>
              <a:cxn ang="0">
                <a:pos x="90" y="72"/>
              </a:cxn>
              <a:cxn ang="0">
                <a:pos x="94" y="50"/>
              </a:cxn>
              <a:cxn ang="0">
                <a:pos x="92" y="40"/>
              </a:cxn>
              <a:cxn ang="0">
                <a:pos x="84" y="26"/>
              </a:cxn>
              <a:cxn ang="0">
                <a:pos x="80" y="20"/>
              </a:cxn>
              <a:cxn ang="0">
                <a:pos x="76" y="12"/>
              </a:cxn>
            </a:cxnLst>
            <a:rect l="0" t="0" r="r" b="b"/>
            <a:pathLst>
              <a:path w="136" h="148">
                <a:moveTo>
                  <a:pt x="76" y="12"/>
                </a:moveTo>
                <a:lnTo>
                  <a:pt x="78" y="6"/>
                </a:lnTo>
                <a:lnTo>
                  <a:pt x="80" y="4"/>
                </a:lnTo>
                <a:lnTo>
                  <a:pt x="86" y="0"/>
                </a:lnTo>
                <a:lnTo>
                  <a:pt x="98" y="10"/>
                </a:lnTo>
                <a:lnTo>
                  <a:pt x="110" y="24"/>
                </a:lnTo>
                <a:lnTo>
                  <a:pt x="116" y="30"/>
                </a:lnTo>
                <a:lnTo>
                  <a:pt x="118" y="38"/>
                </a:lnTo>
                <a:lnTo>
                  <a:pt x="122" y="46"/>
                </a:lnTo>
                <a:lnTo>
                  <a:pt x="122" y="52"/>
                </a:lnTo>
                <a:lnTo>
                  <a:pt x="120" y="56"/>
                </a:lnTo>
                <a:lnTo>
                  <a:pt x="118" y="60"/>
                </a:lnTo>
                <a:lnTo>
                  <a:pt x="126" y="78"/>
                </a:lnTo>
                <a:lnTo>
                  <a:pt x="136" y="102"/>
                </a:lnTo>
                <a:lnTo>
                  <a:pt x="134" y="110"/>
                </a:lnTo>
                <a:lnTo>
                  <a:pt x="132" y="114"/>
                </a:lnTo>
                <a:lnTo>
                  <a:pt x="130" y="114"/>
                </a:lnTo>
                <a:lnTo>
                  <a:pt x="126" y="114"/>
                </a:lnTo>
                <a:lnTo>
                  <a:pt x="126" y="110"/>
                </a:lnTo>
                <a:lnTo>
                  <a:pt x="130" y="106"/>
                </a:lnTo>
                <a:lnTo>
                  <a:pt x="122" y="108"/>
                </a:lnTo>
                <a:lnTo>
                  <a:pt x="118" y="110"/>
                </a:lnTo>
                <a:lnTo>
                  <a:pt x="116" y="120"/>
                </a:lnTo>
                <a:lnTo>
                  <a:pt x="116" y="116"/>
                </a:lnTo>
                <a:lnTo>
                  <a:pt x="114" y="114"/>
                </a:lnTo>
                <a:lnTo>
                  <a:pt x="108" y="120"/>
                </a:lnTo>
                <a:lnTo>
                  <a:pt x="104" y="122"/>
                </a:lnTo>
                <a:lnTo>
                  <a:pt x="100" y="122"/>
                </a:lnTo>
                <a:lnTo>
                  <a:pt x="92" y="122"/>
                </a:lnTo>
                <a:lnTo>
                  <a:pt x="88" y="120"/>
                </a:lnTo>
                <a:lnTo>
                  <a:pt x="84" y="120"/>
                </a:lnTo>
                <a:lnTo>
                  <a:pt x="82" y="120"/>
                </a:lnTo>
                <a:lnTo>
                  <a:pt x="82" y="122"/>
                </a:lnTo>
                <a:lnTo>
                  <a:pt x="86" y="128"/>
                </a:lnTo>
                <a:lnTo>
                  <a:pt x="90" y="132"/>
                </a:lnTo>
                <a:lnTo>
                  <a:pt x="86" y="138"/>
                </a:lnTo>
                <a:lnTo>
                  <a:pt x="82" y="148"/>
                </a:lnTo>
                <a:lnTo>
                  <a:pt x="74" y="144"/>
                </a:lnTo>
                <a:lnTo>
                  <a:pt x="70" y="138"/>
                </a:lnTo>
                <a:lnTo>
                  <a:pt x="66" y="132"/>
                </a:lnTo>
                <a:lnTo>
                  <a:pt x="64" y="122"/>
                </a:lnTo>
                <a:lnTo>
                  <a:pt x="54" y="122"/>
                </a:lnTo>
                <a:lnTo>
                  <a:pt x="46" y="124"/>
                </a:lnTo>
                <a:lnTo>
                  <a:pt x="38" y="126"/>
                </a:lnTo>
                <a:lnTo>
                  <a:pt x="30" y="130"/>
                </a:lnTo>
                <a:lnTo>
                  <a:pt x="20" y="130"/>
                </a:lnTo>
                <a:lnTo>
                  <a:pt x="20" y="136"/>
                </a:lnTo>
                <a:lnTo>
                  <a:pt x="8" y="134"/>
                </a:lnTo>
                <a:lnTo>
                  <a:pt x="2" y="134"/>
                </a:lnTo>
                <a:lnTo>
                  <a:pt x="0" y="132"/>
                </a:lnTo>
                <a:lnTo>
                  <a:pt x="0" y="128"/>
                </a:lnTo>
                <a:lnTo>
                  <a:pt x="6" y="126"/>
                </a:lnTo>
                <a:lnTo>
                  <a:pt x="8" y="124"/>
                </a:lnTo>
                <a:lnTo>
                  <a:pt x="14" y="116"/>
                </a:lnTo>
                <a:lnTo>
                  <a:pt x="20" y="108"/>
                </a:lnTo>
                <a:lnTo>
                  <a:pt x="24" y="106"/>
                </a:lnTo>
                <a:lnTo>
                  <a:pt x="28" y="106"/>
                </a:lnTo>
                <a:lnTo>
                  <a:pt x="34" y="106"/>
                </a:lnTo>
                <a:lnTo>
                  <a:pt x="36" y="104"/>
                </a:lnTo>
                <a:lnTo>
                  <a:pt x="42" y="102"/>
                </a:lnTo>
                <a:lnTo>
                  <a:pt x="46" y="102"/>
                </a:lnTo>
                <a:lnTo>
                  <a:pt x="52" y="102"/>
                </a:lnTo>
                <a:lnTo>
                  <a:pt x="54" y="104"/>
                </a:lnTo>
                <a:lnTo>
                  <a:pt x="60" y="108"/>
                </a:lnTo>
                <a:lnTo>
                  <a:pt x="62" y="106"/>
                </a:lnTo>
                <a:lnTo>
                  <a:pt x="62" y="102"/>
                </a:lnTo>
                <a:lnTo>
                  <a:pt x="62" y="96"/>
                </a:lnTo>
                <a:lnTo>
                  <a:pt x="60" y="94"/>
                </a:lnTo>
                <a:lnTo>
                  <a:pt x="62" y="90"/>
                </a:lnTo>
                <a:lnTo>
                  <a:pt x="64" y="86"/>
                </a:lnTo>
                <a:lnTo>
                  <a:pt x="68" y="84"/>
                </a:lnTo>
                <a:lnTo>
                  <a:pt x="68" y="80"/>
                </a:lnTo>
                <a:lnTo>
                  <a:pt x="68" y="78"/>
                </a:lnTo>
                <a:lnTo>
                  <a:pt x="68" y="74"/>
                </a:lnTo>
                <a:lnTo>
                  <a:pt x="70" y="78"/>
                </a:lnTo>
                <a:lnTo>
                  <a:pt x="68" y="82"/>
                </a:lnTo>
                <a:lnTo>
                  <a:pt x="76" y="80"/>
                </a:lnTo>
                <a:lnTo>
                  <a:pt x="82" y="78"/>
                </a:lnTo>
                <a:lnTo>
                  <a:pt x="86" y="76"/>
                </a:lnTo>
                <a:lnTo>
                  <a:pt x="90" y="72"/>
                </a:lnTo>
                <a:lnTo>
                  <a:pt x="92" y="60"/>
                </a:lnTo>
                <a:lnTo>
                  <a:pt x="94" y="50"/>
                </a:lnTo>
                <a:lnTo>
                  <a:pt x="94" y="44"/>
                </a:lnTo>
                <a:lnTo>
                  <a:pt x="92" y="40"/>
                </a:lnTo>
                <a:lnTo>
                  <a:pt x="88" y="32"/>
                </a:lnTo>
                <a:lnTo>
                  <a:pt x="84" y="26"/>
                </a:lnTo>
                <a:lnTo>
                  <a:pt x="82" y="24"/>
                </a:lnTo>
                <a:lnTo>
                  <a:pt x="80" y="20"/>
                </a:lnTo>
                <a:lnTo>
                  <a:pt x="78" y="16"/>
                </a:lnTo>
                <a:lnTo>
                  <a:pt x="76" y="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4B7A9145-5B70-4973-A3B1-988A218FAF63}"/>
              </a:ext>
            </a:extLst>
          </p:cNvPr>
          <p:cNvSpPr>
            <a:spLocks/>
          </p:cNvSpPr>
          <p:nvPr/>
        </p:nvSpPr>
        <p:spPr bwMode="auto">
          <a:xfrm>
            <a:off x="8125884" y="2729284"/>
            <a:ext cx="63279" cy="45457"/>
          </a:xfrm>
          <a:custGeom>
            <a:avLst/>
            <a:gdLst/>
            <a:ahLst/>
            <a:cxnLst>
              <a:cxn ang="0">
                <a:pos x="14" y="4"/>
              </a:cxn>
              <a:cxn ang="0">
                <a:pos x="16" y="4"/>
              </a:cxn>
              <a:cxn ang="0">
                <a:pos x="14" y="0"/>
              </a:cxn>
              <a:cxn ang="0">
                <a:pos x="22" y="0"/>
              </a:cxn>
              <a:cxn ang="0">
                <a:pos x="26" y="2"/>
              </a:cxn>
              <a:cxn ang="0">
                <a:pos x="32" y="8"/>
              </a:cxn>
              <a:cxn ang="0">
                <a:pos x="30" y="12"/>
              </a:cxn>
              <a:cxn ang="0">
                <a:pos x="24" y="14"/>
              </a:cxn>
              <a:cxn ang="0">
                <a:pos x="14" y="16"/>
              </a:cxn>
              <a:cxn ang="0">
                <a:pos x="14" y="24"/>
              </a:cxn>
              <a:cxn ang="0">
                <a:pos x="12" y="26"/>
              </a:cxn>
              <a:cxn ang="0">
                <a:pos x="10" y="26"/>
              </a:cxn>
              <a:cxn ang="0">
                <a:pos x="6" y="24"/>
              </a:cxn>
              <a:cxn ang="0">
                <a:pos x="4" y="20"/>
              </a:cxn>
              <a:cxn ang="0">
                <a:pos x="0" y="14"/>
              </a:cxn>
              <a:cxn ang="0">
                <a:pos x="0" y="8"/>
              </a:cxn>
              <a:cxn ang="0">
                <a:pos x="2" y="6"/>
              </a:cxn>
              <a:cxn ang="0">
                <a:pos x="4" y="4"/>
              </a:cxn>
              <a:cxn ang="0">
                <a:pos x="8" y="4"/>
              </a:cxn>
              <a:cxn ang="0">
                <a:pos x="14" y="4"/>
              </a:cxn>
            </a:cxnLst>
            <a:rect l="0" t="0" r="r" b="b"/>
            <a:pathLst>
              <a:path w="32" h="26">
                <a:moveTo>
                  <a:pt x="14" y="4"/>
                </a:moveTo>
                <a:lnTo>
                  <a:pt x="16" y="4"/>
                </a:lnTo>
                <a:lnTo>
                  <a:pt x="14" y="0"/>
                </a:lnTo>
                <a:lnTo>
                  <a:pt x="22" y="0"/>
                </a:lnTo>
                <a:lnTo>
                  <a:pt x="26" y="2"/>
                </a:lnTo>
                <a:lnTo>
                  <a:pt x="32" y="8"/>
                </a:lnTo>
                <a:lnTo>
                  <a:pt x="30" y="12"/>
                </a:lnTo>
                <a:lnTo>
                  <a:pt x="24" y="14"/>
                </a:lnTo>
                <a:lnTo>
                  <a:pt x="14" y="16"/>
                </a:lnTo>
                <a:lnTo>
                  <a:pt x="14" y="24"/>
                </a:lnTo>
                <a:lnTo>
                  <a:pt x="12" y="26"/>
                </a:lnTo>
                <a:lnTo>
                  <a:pt x="10" y="26"/>
                </a:lnTo>
                <a:lnTo>
                  <a:pt x="6" y="24"/>
                </a:lnTo>
                <a:lnTo>
                  <a:pt x="4" y="20"/>
                </a:lnTo>
                <a:lnTo>
                  <a:pt x="0" y="14"/>
                </a:lnTo>
                <a:lnTo>
                  <a:pt x="0" y="8"/>
                </a:lnTo>
                <a:lnTo>
                  <a:pt x="2" y="6"/>
                </a:lnTo>
                <a:lnTo>
                  <a:pt x="4" y="4"/>
                </a:lnTo>
                <a:lnTo>
                  <a:pt x="8" y="4"/>
                </a:lnTo>
                <a:lnTo>
                  <a:pt x="14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1DBE044F-2F1D-4F9A-8DBA-BD28FB10E020}"/>
              </a:ext>
            </a:extLst>
          </p:cNvPr>
          <p:cNvSpPr>
            <a:spLocks/>
          </p:cNvSpPr>
          <p:nvPr/>
        </p:nvSpPr>
        <p:spPr bwMode="auto">
          <a:xfrm>
            <a:off x="8047213" y="2739025"/>
            <a:ext cx="78671" cy="92537"/>
          </a:xfrm>
          <a:custGeom>
            <a:avLst/>
            <a:gdLst/>
            <a:ahLst/>
            <a:cxnLst>
              <a:cxn ang="0">
                <a:pos x="12" y="24"/>
              </a:cxn>
              <a:cxn ang="0">
                <a:pos x="4" y="20"/>
              </a:cxn>
              <a:cxn ang="0">
                <a:pos x="2" y="16"/>
              </a:cxn>
              <a:cxn ang="0">
                <a:pos x="0" y="12"/>
              </a:cxn>
              <a:cxn ang="0">
                <a:pos x="2" y="8"/>
              </a:cxn>
              <a:cxn ang="0">
                <a:pos x="6" y="4"/>
              </a:cxn>
              <a:cxn ang="0">
                <a:pos x="14" y="0"/>
              </a:cxn>
              <a:cxn ang="0">
                <a:pos x="18" y="4"/>
              </a:cxn>
              <a:cxn ang="0">
                <a:pos x="18" y="6"/>
              </a:cxn>
              <a:cxn ang="0">
                <a:pos x="28" y="6"/>
              </a:cxn>
              <a:cxn ang="0">
                <a:pos x="30" y="12"/>
              </a:cxn>
              <a:cxn ang="0">
                <a:pos x="32" y="16"/>
              </a:cxn>
              <a:cxn ang="0">
                <a:pos x="40" y="22"/>
              </a:cxn>
              <a:cxn ang="0">
                <a:pos x="36" y="24"/>
              </a:cxn>
              <a:cxn ang="0">
                <a:pos x="34" y="28"/>
              </a:cxn>
              <a:cxn ang="0">
                <a:pos x="36" y="32"/>
              </a:cxn>
              <a:cxn ang="0">
                <a:pos x="38" y="36"/>
              </a:cxn>
              <a:cxn ang="0">
                <a:pos x="38" y="40"/>
              </a:cxn>
              <a:cxn ang="0">
                <a:pos x="40" y="42"/>
              </a:cxn>
              <a:cxn ang="0">
                <a:pos x="38" y="48"/>
              </a:cxn>
              <a:cxn ang="0">
                <a:pos x="38" y="52"/>
              </a:cxn>
              <a:cxn ang="0">
                <a:pos x="32" y="50"/>
              </a:cxn>
              <a:cxn ang="0">
                <a:pos x="24" y="46"/>
              </a:cxn>
              <a:cxn ang="0">
                <a:pos x="18" y="42"/>
              </a:cxn>
              <a:cxn ang="0">
                <a:pos x="18" y="36"/>
              </a:cxn>
              <a:cxn ang="0">
                <a:pos x="18" y="30"/>
              </a:cxn>
              <a:cxn ang="0">
                <a:pos x="12" y="24"/>
              </a:cxn>
            </a:cxnLst>
            <a:rect l="0" t="0" r="r" b="b"/>
            <a:pathLst>
              <a:path w="40" h="52">
                <a:moveTo>
                  <a:pt x="12" y="24"/>
                </a:moveTo>
                <a:lnTo>
                  <a:pt x="4" y="20"/>
                </a:lnTo>
                <a:lnTo>
                  <a:pt x="2" y="16"/>
                </a:lnTo>
                <a:lnTo>
                  <a:pt x="0" y="12"/>
                </a:lnTo>
                <a:lnTo>
                  <a:pt x="2" y="8"/>
                </a:lnTo>
                <a:lnTo>
                  <a:pt x="6" y="4"/>
                </a:lnTo>
                <a:lnTo>
                  <a:pt x="14" y="0"/>
                </a:lnTo>
                <a:lnTo>
                  <a:pt x="18" y="4"/>
                </a:lnTo>
                <a:lnTo>
                  <a:pt x="18" y="6"/>
                </a:lnTo>
                <a:lnTo>
                  <a:pt x="28" y="6"/>
                </a:lnTo>
                <a:lnTo>
                  <a:pt x="30" y="12"/>
                </a:lnTo>
                <a:lnTo>
                  <a:pt x="32" y="16"/>
                </a:lnTo>
                <a:lnTo>
                  <a:pt x="40" y="22"/>
                </a:lnTo>
                <a:lnTo>
                  <a:pt x="36" y="24"/>
                </a:lnTo>
                <a:lnTo>
                  <a:pt x="34" y="28"/>
                </a:lnTo>
                <a:lnTo>
                  <a:pt x="36" y="32"/>
                </a:lnTo>
                <a:lnTo>
                  <a:pt x="38" y="36"/>
                </a:lnTo>
                <a:lnTo>
                  <a:pt x="38" y="40"/>
                </a:lnTo>
                <a:lnTo>
                  <a:pt x="40" y="42"/>
                </a:lnTo>
                <a:lnTo>
                  <a:pt x="38" y="48"/>
                </a:lnTo>
                <a:lnTo>
                  <a:pt x="38" y="52"/>
                </a:lnTo>
                <a:lnTo>
                  <a:pt x="32" y="50"/>
                </a:lnTo>
                <a:lnTo>
                  <a:pt x="24" y="46"/>
                </a:lnTo>
                <a:lnTo>
                  <a:pt x="18" y="42"/>
                </a:lnTo>
                <a:lnTo>
                  <a:pt x="18" y="36"/>
                </a:lnTo>
                <a:lnTo>
                  <a:pt x="18" y="30"/>
                </a:lnTo>
                <a:lnTo>
                  <a:pt x="12" y="2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03EDE37-B253-41BD-9B5F-E7108EDAFF67}"/>
              </a:ext>
            </a:extLst>
          </p:cNvPr>
          <p:cNvSpPr>
            <a:spLocks/>
          </p:cNvSpPr>
          <p:nvPr/>
        </p:nvSpPr>
        <p:spPr bwMode="auto">
          <a:xfrm>
            <a:off x="7857375" y="3021504"/>
            <a:ext cx="47887" cy="100654"/>
          </a:xfrm>
          <a:custGeom>
            <a:avLst/>
            <a:gdLst/>
            <a:ahLst/>
            <a:cxnLst>
              <a:cxn ang="0">
                <a:pos x="24" y="0"/>
              </a:cxn>
              <a:cxn ang="0">
                <a:pos x="24" y="12"/>
              </a:cxn>
              <a:cxn ang="0">
                <a:pos x="22" y="32"/>
              </a:cxn>
              <a:cxn ang="0">
                <a:pos x="16" y="56"/>
              </a:cxn>
              <a:cxn ang="0">
                <a:pos x="4" y="44"/>
              </a:cxn>
              <a:cxn ang="0">
                <a:pos x="2" y="38"/>
              </a:cxn>
              <a:cxn ang="0">
                <a:pos x="0" y="32"/>
              </a:cxn>
              <a:cxn ang="0">
                <a:pos x="0" y="20"/>
              </a:cxn>
              <a:cxn ang="0">
                <a:pos x="4" y="10"/>
              </a:cxn>
              <a:cxn ang="0">
                <a:pos x="8" y="4"/>
              </a:cxn>
              <a:cxn ang="0">
                <a:pos x="12" y="4"/>
              </a:cxn>
              <a:cxn ang="0">
                <a:pos x="18" y="2"/>
              </a:cxn>
              <a:cxn ang="0">
                <a:pos x="24" y="0"/>
              </a:cxn>
            </a:cxnLst>
            <a:rect l="0" t="0" r="r" b="b"/>
            <a:pathLst>
              <a:path w="24" h="56">
                <a:moveTo>
                  <a:pt x="24" y="0"/>
                </a:moveTo>
                <a:lnTo>
                  <a:pt x="24" y="12"/>
                </a:lnTo>
                <a:lnTo>
                  <a:pt x="22" y="32"/>
                </a:lnTo>
                <a:lnTo>
                  <a:pt x="16" y="56"/>
                </a:lnTo>
                <a:lnTo>
                  <a:pt x="4" y="44"/>
                </a:lnTo>
                <a:lnTo>
                  <a:pt x="2" y="38"/>
                </a:lnTo>
                <a:lnTo>
                  <a:pt x="0" y="32"/>
                </a:lnTo>
                <a:lnTo>
                  <a:pt x="0" y="20"/>
                </a:lnTo>
                <a:lnTo>
                  <a:pt x="4" y="10"/>
                </a:lnTo>
                <a:lnTo>
                  <a:pt x="8" y="4"/>
                </a:lnTo>
                <a:lnTo>
                  <a:pt x="12" y="4"/>
                </a:lnTo>
                <a:lnTo>
                  <a:pt x="18" y="2"/>
                </a:lnTo>
                <a:lnTo>
                  <a:pt x="2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63F50371-51C9-4750-BFAE-AF39BAA5775B}"/>
              </a:ext>
            </a:extLst>
          </p:cNvPr>
          <p:cNvSpPr>
            <a:spLocks/>
          </p:cNvSpPr>
          <p:nvPr/>
        </p:nvSpPr>
        <p:spPr bwMode="auto">
          <a:xfrm>
            <a:off x="7529007" y="3185473"/>
            <a:ext cx="66700" cy="64938"/>
          </a:xfrm>
          <a:custGeom>
            <a:avLst/>
            <a:gdLst/>
            <a:ahLst/>
            <a:cxnLst>
              <a:cxn ang="0">
                <a:pos x="18" y="36"/>
              </a:cxn>
              <a:cxn ang="0">
                <a:pos x="12" y="34"/>
              </a:cxn>
              <a:cxn ang="0">
                <a:pos x="6" y="30"/>
              </a:cxn>
              <a:cxn ang="0">
                <a:pos x="2" y="24"/>
              </a:cxn>
              <a:cxn ang="0">
                <a:pos x="0" y="20"/>
              </a:cxn>
              <a:cxn ang="0">
                <a:pos x="2" y="16"/>
              </a:cxn>
              <a:cxn ang="0">
                <a:pos x="4" y="12"/>
              </a:cxn>
              <a:cxn ang="0">
                <a:pos x="12" y="6"/>
              </a:cxn>
              <a:cxn ang="0">
                <a:pos x="26" y="2"/>
              </a:cxn>
              <a:cxn ang="0">
                <a:pos x="34" y="0"/>
              </a:cxn>
              <a:cxn ang="0">
                <a:pos x="34" y="10"/>
              </a:cxn>
              <a:cxn ang="0">
                <a:pos x="30" y="20"/>
              </a:cxn>
              <a:cxn ang="0">
                <a:pos x="24" y="32"/>
              </a:cxn>
              <a:cxn ang="0">
                <a:pos x="22" y="34"/>
              </a:cxn>
              <a:cxn ang="0">
                <a:pos x="18" y="36"/>
              </a:cxn>
            </a:cxnLst>
            <a:rect l="0" t="0" r="r" b="b"/>
            <a:pathLst>
              <a:path w="34" h="36">
                <a:moveTo>
                  <a:pt x="18" y="36"/>
                </a:moveTo>
                <a:lnTo>
                  <a:pt x="12" y="34"/>
                </a:lnTo>
                <a:lnTo>
                  <a:pt x="6" y="30"/>
                </a:lnTo>
                <a:lnTo>
                  <a:pt x="2" y="24"/>
                </a:lnTo>
                <a:lnTo>
                  <a:pt x="0" y="20"/>
                </a:lnTo>
                <a:lnTo>
                  <a:pt x="2" y="16"/>
                </a:lnTo>
                <a:lnTo>
                  <a:pt x="4" y="12"/>
                </a:lnTo>
                <a:lnTo>
                  <a:pt x="12" y="6"/>
                </a:lnTo>
                <a:lnTo>
                  <a:pt x="26" y="2"/>
                </a:lnTo>
                <a:lnTo>
                  <a:pt x="34" y="0"/>
                </a:lnTo>
                <a:lnTo>
                  <a:pt x="34" y="10"/>
                </a:lnTo>
                <a:lnTo>
                  <a:pt x="30" y="20"/>
                </a:lnTo>
                <a:lnTo>
                  <a:pt x="24" y="32"/>
                </a:lnTo>
                <a:lnTo>
                  <a:pt x="22" y="34"/>
                </a:lnTo>
                <a:lnTo>
                  <a:pt x="18" y="3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D9D7683B-8B2B-4EEC-9E97-DA021EEF6B6F}"/>
              </a:ext>
            </a:extLst>
          </p:cNvPr>
          <p:cNvSpPr>
            <a:spLocks/>
          </p:cNvSpPr>
          <p:nvPr/>
        </p:nvSpPr>
        <p:spPr bwMode="auto">
          <a:xfrm>
            <a:off x="6651648" y="3529646"/>
            <a:ext cx="71830" cy="125006"/>
          </a:xfrm>
          <a:custGeom>
            <a:avLst/>
            <a:gdLst/>
            <a:ahLst/>
            <a:cxnLst>
              <a:cxn ang="0">
                <a:pos x="36" y="52"/>
              </a:cxn>
              <a:cxn ang="0">
                <a:pos x="34" y="58"/>
              </a:cxn>
              <a:cxn ang="0">
                <a:pos x="30" y="64"/>
              </a:cxn>
              <a:cxn ang="0">
                <a:pos x="22" y="68"/>
              </a:cxn>
              <a:cxn ang="0">
                <a:pos x="16" y="70"/>
              </a:cxn>
              <a:cxn ang="0">
                <a:pos x="12" y="68"/>
              </a:cxn>
              <a:cxn ang="0">
                <a:pos x="8" y="64"/>
              </a:cxn>
              <a:cxn ang="0">
                <a:pos x="6" y="60"/>
              </a:cxn>
              <a:cxn ang="0">
                <a:pos x="4" y="54"/>
              </a:cxn>
              <a:cxn ang="0">
                <a:pos x="2" y="44"/>
              </a:cxn>
              <a:cxn ang="0">
                <a:pos x="0" y="34"/>
              </a:cxn>
              <a:cxn ang="0">
                <a:pos x="2" y="24"/>
              </a:cxn>
              <a:cxn ang="0">
                <a:pos x="4" y="18"/>
              </a:cxn>
              <a:cxn ang="0">
                <a:pos x="6" y="10"/>
              </a:cxn>
              <a:cxn ang="0">
                <a:pos x="8" y="0"/>
              </a:cxn>
              <a:cxn ang="0">
                <a:pos x="14" y="2"/>
              </a:cxn>
              <a:cxn ang="0">
                <a:pos x="16" y="8"/>
              </a:cxn>
              <a:cxn ang="0">
                <a:pos x="26" y="20"/>
              </a:cxn>
              <a:cxn ang="0">
                <a:pos x="34" y="36"/>
              </a:cxn>
              <a:cxn ang="0">
                <a:pos x="36" y="44"/>
              </a:cxn>
              <a:cxn ang="0">
                <a:pos x="36" y="52"/>
              </a:cxn>
            </a:cxnLst>
            <a:rect l="0" t="0" r="r" b="b"/>
            <a:pathLst>
              <a:path w="36" h="70">
                <a:moveTo>
                  <a:pt x="36" y="52"/>
                </a:moveTo>
                <a:lnTo>
                  <a:pt x="34" y="58"/>
                </a:lnTo>
                <a:lnTo>
                  <a:pt x="30" y="64"/>
                </a:lnTo>
                <a:lnTo>
                  <a:pt x="22" y="68"/>
                </a:lnTo>
                <a:lnTo>
                  <a:pt x="16" y="70"/>
                </a:lnTo>
                <a:lnTo>
                  <a:pt x="12" y="68"/>
                </a:lnTo>
                <a:lnTo>
                  <a:pt x="8" y="64"/>
                </a:lnTo>
                <a:lnTo>
                  <a:pt x="6" y="60"/>
                </a:lnTo>
                <a:lnTo>
                  <a:pt x="4" y="54"/>
                </a:lnTo>
                <a:lnTo>
                  <a:pt x="2" y="44"/>
                </a:lnTo>
                <a:lnTo>
                  <a:pt x="0" y="34"/>
                </a:lnTo>
                <a:lnTo>
                  <a:pt x="2" y="24"/>
                </a:lnTo>
                <a:lnTo>
                  <a:pt x="4" y="18"/>
                </a:lnTo>
                <a:lnTo>
                  <a:pt x="6" y="10"/>
                </a:lnTo>
                <a:lnTo>
                  <a:pt x="8" y="0"/>
                </a:lnTo>
                <a:lnTo>
                  <a:pt x="14" y="2"/>
                </a:lnTo>
                <a:lnTo>
                  <a:pt x="16" y="8"/>
                </a:lnTo>
                <a:lnTo>
                  <a:pt x="26" y="20"/>
                </a:lnTo>
                <a:lnTo>
                  <a:pt x="34" y="36"/>
                </a:lnTo>
                <a:lnTo>
                  <a:pt x="36" y="44"/>
                </a:lnTo>
                <a:lnTo>
                  <a:pt x="36" y="5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1015F49F-7ACC-4743-910C-55D2004F3158}"/>
              </a:ext>
            </a:extLst>
          </p:cNvPr>
          <p:cNvSpPr>
            <a:spLocks/>
          </p:cNvSpPr>
          <p:nvPr/>
        </p:nvSpPr>
        <p:spPr bwMode="auto">
          <a:xfrm>
            <a:off x="7296412" y="3081575"/>
            <a:ext cx="295874" cy="483791"/>
          </a:xfrm>
          <a:custGeom>
            <a:avLst/>
            <a:gdLst/>
            <a:ahLst/>
            <a:cxnLst>
              <a:cxn ang="0">
                <a:pos x="70" y="228"/>
              </a:cxn>
              <a:cxn ang="0">
                <a:pos x="96" y="220"/>
              </a:cxn>
              <a:cxn ang="0">
                <a:pos x="90" y="216"/>
              </a:cxn>
              <a:cxn ang="0">
                <a:pos x="112" y="200"/>
              </a:cxn>
              <a:cxn ang="0">
                <a:pos x="116" y="194"/>
              </a:cxn>
              <a:cxn ang="0">
                <a:pos x="114" y="186"/>
              </a:cxn>
              <a:cxn ang="0">
                <a:pos x="112" y="176"/>
              </a:cxn>
              <a:cxn ang="0">
                <a:pos x="106" y="146"/>
              </a:cxn>
              <a:cxn ang="0">
                <a:pos x="86" y="118"/>
              </a:cxn>
              <a:cxn ang="0">
                <a:pos x="76" y="106"/>
              </a:cxn>
              <a:cxn ang="0">
                <a:pos x="68" y="102"/>
              </a:cxn>
              <a:cxn ang="0">
                <a:pos x="60" y="92"/>
              </a:cxn>
              <a:cxn ang="0">
                <a:pos x="42" y="78"/>
              </a:cxn>
              <a:cxn ang="0">
                <a:pos x="32" y="64"/>
              </a:cxn>
              <a:cxn ang="0">
                <a:pos x="38" y="58"/>
              </a:cxn>
              <a:cxn ang="0">
                <a:pos x="42" y="48"/>
              </a:cxn>
              <a:cxn ang="0">
                <a:pos x="14" y="38"/>
              </a:cxn>
              <a:cxn ang="0">
                <a:pos x="4" y="30"/>
              </a:cxn>
              <a:cxn ang="0">
                <a:pos x="0" y="18"/>
              </a:cxn>
              <a:cxn ang="0">
                <a:pos x="10" y="14"/>
              </a:cxn>
              <a:cxn ang="0">
                <a:pos x="26" y="12"/>
              </a:cxn>
              <a:cxn ang="0">
                <a:pos x="42" y="2"/>
              </a:cxn>
              <a:cxn ang="0">
                <a:pos x="56" y="2"/>
              </a:cxn>
              <a:cxn ang="0">
                <a:pos x="66" y="6"/>
              </a:cxn>
              <a:cxn ang="0">
                <a:pos x="72" y="12"/>
              </a:cxn>
              <a:cxn ang="0">
                <a:pos x="82" y="24"/>
              </a:cxn>
              <a:cxn ang="0">
                <a:pos x="98" y="30"/>
              </a:cxn>
              <a:cxn ang="0">
                <a:pos x="94" y="42"/>
              </a:cxn>
              <a:cxn ang="0">
                <a:pos x="84" y="42"/>
              </a:cxn>
              <a:cxn ang="0">
                <a:pos x="82" y="48"/>
              </a:cxn>
              <a:cxn ang="0">
                <a:pos x="76" y="56"/>
              </a:cxn>
              <a:cxn ang="0">
                <a:pos x="70" y="70"/>
              </a:cxn>
              <a:cxn ang="0">
                <a:pos x="76" y="88"/>
              </a:cxn>
              <a:cxn ang="0">
                <a:pos x="86" y="96"/>
              </a:cxn>
              <a:cxn ang="0">
                <a:pos x="110" y="124"/>
              </a:cxn>
              <a:cxn ang="0">
                <a:pos x="138" y="148"/>
              </a:cxn>
              <a:cxn ang="0">
                <a:pos x="142" y="170"/>
              </a:cxn>
              <a:cxn ang="0">
                <a:pos x="146" y="198"/>
              </a:cxn>
              <a:cxn ang="0">
                <a:pos x="146" y="210"/>
              </a:cxn>
              <a:cxn ang="0">
                <a:pos x="138" y="220"/>
              </a:cxn>
              <a:cxn ang="0">
                <a:pos x="120" y="232"/>
              </a:cxn>
              <a:cxn ang="0">
                <a:pos x="104" y="242"/>
              </a:cxn>
              <a:cxn ang="0">
                <a:pos x="88" y="266"/>
              </a:cxn>
              <a:cxn ang="0">
                <a:pos x="78" y="270"/>
              </a:cxn>
              <a:cxn ang="0">
                <a:pos x="74" y="268"/>
              </a:cxn>
              <a:cxn ang="0">
                <a:pos x="74" y="252"/>
              </a:cxn>
              <a:cxn ang="0">
                <a:pos x="76" y="242"/>
              </a:cxn>
              <a:cxn ang="0">
                <a:pos x="70" y="236"/>
              </a:cxn>
              <a:cxn ang="0">
                <a:pos x="62" y="234"/>
              </a:cxn>
              <a:cxn ang="0">
                <a:pos x="64" y="232"/>
              </a:cxn>
            </a:cxnLst>
            <a:rect l="0" t="0" r="r" b="b"/>
            <a:pathLst>
              <a:path w="150" h="270">
                <a:moveTo>
                  <a:pt x="64" y="232"/>
                </a:moveTo>
                <a:lnTo>
                  <a:pt x="70" y="228"/>
                </a:lnTo>
                <a:lnTo>
                  <a:pt x="78" y="226"/>
                </a:lnTo>
                <a:lnTo>
                  <a:pt x="96" y="220"/>
                </a:lnTo>
                <a:lnTo>
                  <a:pt x="92" y="216"/>
                </a:lnTo>
                <a:lnTo>
                  <a:pt x="90" y="216"/>
                </a:lnTo>
                <a:lnTo>
                  <a:pt x="88" y="214"/>
                </a:lnTo>
                <a:lnTo>
                  <a:pt x="112" y="200"/>
                </a:lnTo>
                <a:lnTo>
                  <a:pt x="114" y="198"/>
                </a:lnTo>
                <a:lnTo>
                  <a:pt x="116" y="194"/>
                </a:lnTo>
                <a:lnTo>
                  <a:pt x="114" y="190"/>
                </a:lnTo>
                <a:lnTo>
                  <a:pt x="114" y="186"/>
                </a:lnTo>
                <a:lnTo>
                  <a:pt x="114" y="182"/>
                </a:lnTo>
                <a:lnTo>
                  <a:pt x="112" y="176"/>
                </a:lnTo>
                <a:lnTo>
                  <a:pt x="112" y="160"/>
                </a:lnTo>
                <a:lnTo>
                  <a:pt x="106" y="146"/>
                </a:lnTo>
                <a:lnTo>
                  <a:pt x="100" y="136"/>
                </a:lnTo>
                <a:lnTo>
                  <a:pt x="86" y="118"/>
                </a:lnTo>
                <a:lnTo>
                  <a:pt x="82" y="112"/>
                </a:lnTo>
                <a:lnTo>
                  <a:pt x="76" y="106"/>
                </a:lnTo>
                <a:lnTo>
                  <a:pt x="70" y="106"/>
                </a:lnTo>
                <a:lnTo>
                  <a:pt x="68" y="102"/>
                </a:lnTo>
                <a:lnTo>
                  <a:pt x="66" y="96"/>
                </a:lnTo>
                <a:lnTo>
                  <a:pt x="60" y="92"/>
                </a:lnTo>
                <a:lnTo>
                  <a:pt x="52" y="86"/>
                </a:lnTo>
                <a:lnTo>
                  <a:pt x="42" y="78"/>
                </a:lnTo>
                <a:lnTo>
                  <a:pt x="34" y="70"/>
                </a:lnTo>
                <a:lnTo>
                  <a:pt x="32" y="64"/>
                </a:lnTo>
                <a:lnTo>
                  <a:pt x="30" y="60"/>
                </a:lnTo>
                <a:lnTo>
                  <a:pt x="38" y="58"/>
                </a:lnTo>
                <a:lnTo>
                  <a:pt x="42" y="54"/>
                </a:lnTo>
                <a:lnTo>
                  <a:pt x="42" y="48"/>
                </a:lnTo>
                <a:lnTo>
                  <a:pt x="26" y="44"/>
                </a:lnTo>
                <a:lnTo>
                  <a:pt x="14" y="38"/>
                </a:lnTo>
                <a:lnTo>
                  <a:pt x="8" y="34"/>
                </a:lnTo>
                <a:lnTo>
                  <a:pt x="4" y="30"/>
                </a:lnTo>
                <a:lnTo>
                  <a:pt x="0" y="24"/>
                </a:lnTo>
                <a:lnTo>
                  <a:pt x="0" y="18"/>
                </a:lnTo>
                <a:lnTo>
                  <a:pt x="0" y="14"/>
                </a:lnTo>
                <a:lnTo>
                  <a:pt x="10" y="14"/>
                </a:lnTo>
                <a:lnTo>
                  <a:pt x="16" y="14"/>
                </a:lnTo>
                <a:lnTo>
                  <a:pt x="26" y="12"/>
                </a:lnTo>
                <a:lnTo>
                  <a:pt x="34" y="6"/>
                </a:lnTo>
                <a:lnTo>
                  <a:pt x="42" y="2"/>
                </a:lnTo>
                <a:lnTo>
                  <a:pt x="50" y="0"/>
                </a:lnTo>
                <a:lnTo>
                  <a:pt x="56" y="2"/>
                </a:lnTo>
                <a:lnTo>
                  <a:pt x="60" y="4"/>
                </a:lnTo>
                <a:lnTo>
                  <a:pt x="66" y="6"/>
                </a:lnTo>
                <a:lnTo>
                  <a:pt x="70" y="6"/>
                </a:lnTo>
                <a:lnTo>
                  <a:pt x="72" y="12"/>
                </a:lnTo>
                <a:lnTo>
                  <a:pt x="74" y="16"/>
                </a:lnTo>
                <a:lnTo>
                  <a:pt x="82" y="24"/>
                </a:lnTo>
                <a:lnTo>
                  <a:pt x="90" y="28"/>
                </a:lnTo>
                <a:lnTo>
                  <a:pt x="98" y="30"/>
                </a:lnTo>
                <a:lnTo>
                  <a:pt x="96" y="36"/>
                </a:lnTo>
                <a:lnTo>
                  <a:pt x="94" y="42"/>
                </a:lnTo>
                <a:lnTo>
                  <a:pt x="90" y="42"/>
                </a:lnTo>
                <a:lnTo>
                  <a:pt x="84" y="42"/>
                </a:lnTo>
                <a:lnTo>
                  <a:pt x="82" y="42"/>
                </a:lnTo>
                <a:lnTo>
                  <a:pt x="82" y="48"/>
                </a:lnTo>
                <a:lnTo>
                  <a:pt x="80" y="52"/>
                </a:lnTo>
                <a:lnTo>
                  <a:pt x="76" y="56"/>
                </a:lnTo>
                <a:lnTo>
                  <a:pt x="72" y="64"/>
                </a:lnTo>
                <a:lnTo>
                  <a:pt x="70" y="70"/>
                </a:lnTo>
                <a:lnTo>
                  <a:pt x="72" y="84"/>
                </a:lnTo>
                <a:lnTo>
                  <a:pt x="76" y="88"/>
                </a:lnTo>
                <a:lnTo>
                  <a:pt x="78" y="92"/>
                </a:lnTo>
                <a:lnTo>
                  <a:pt x="86" y="96"/>
                </a:lnTo>
                <a:lnTo>
                  <a:pt x="98" y="110"/>
                </a:lnTo>
                <a:lnTo>
                  <a:pt x="110" y="124"/>
                </a:lnTo>
                <a:lnTo>
                  <a:pt x="122" y="136"/>
                </a:lnTo>
                <a:lnTo>
                  <a:pt x="138" y="148"/>
                </a:lnTo>
                <a:lnTo>
                  <a:pt x="138" y="156"/>
                </a:lnTo>
                <a:lnTo>
                  <a:pt x="142" y="170"/>
                </a:lnTo>
                <a:lnTo>
                  <a:pt x="150" y="192"/>
                </a:lnTo>
                <a:lnTo>
                  <a:pt x="146" y="198"/>
                </a:lnTo>
                <a:lnTo>
                  <a:pt x="146" y="204"/>
                </a:lnTo>
                <a:lnTo>
                  <a:pt x="146" y="210"/>
                </a:lnTo>
                <a:lnTo>
                  <a:pt x="144" y="214"/>
                </a:lnTo>
                <a:lnTo>
                  <a:pt x="138" y="220"/>
                </a:lnTo>
                <a:lnTo>
                  <a:pt x="128" y="228"/>
                </a:lnTo>
                <a:lnTo>
                  <a:pt x="120" y="232"/>
                </a:lnTo>
                <a:lnTo>
                  <a:pt x="112" y="234"/>
                </a:lnTo>
                <a:lnTo>
                  <a:pt x="104" y="242"/>
                </a:lnTo>
                <a:lnTo>
                  <a:pt x="98" y="254"/>
                </a:lnTo>
                <a:lnTo>
                  <a:pt x="88" y="266"/>
                </a:lnTo>
                <a:lnTo>
                  <a:pt x="84" y="270"/>
                </a:lnTo>
                <a:lnTo>
                  <a:pt x="78" y="270"/>
                </a:lnTo>
                <a:lnTo>
                  <a:pt x="76" y="270"/>
                </a:lnTo>
                <a:lnTo>
                  <a:pt x="74" y="268"/>
                </a:lnTo>
                <a:lnTo>
                  <a:pt x="74" y="260"/>
                </a:lnTo>
                <a:lnTo>
                  <a:pt x="74" y="252"/>
                </a:lnTo>
                <a:lnTo>
                  <a:pt x="76" y="246"/>
                </a:lnTo>
                <a:lnTo>
                  <a:pt x="76" y="242"/>
                </a:lnTo>
                <a:lnTo>
                  <a:pt x="74" y="236"/>
                </a:lnTo>
                <a:lnTo>
                  <a:pt x="70" y="236"/>
                </a:lnTo>
                <a:lnTo>
                  <a:pt x="66" y="234"/>
                </a:lnTo>
                <a:lnTo>
                  <a:pt x="62" y="234"/>
                </a:lnTo>
                <a:lnTo>
                  <a:pt x="60" y="234"/>
                </a:lnTo>
                <a:lnTo>
                  <a:pt x="64" y="23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6ED74AF1-3B2A-4552-BA66-4F61F9E958BB}"/>
              </a:ext>
            </a:extLst>
          </p:cNvPr>
          <p:cNvSpPr>
            <a:spLocks/>
          </p:cNvSpPr>
          <p:nvPr/>
        </p:nvSpPr>
        <p:spPr bwMode="auto">
          <a:xfrm>
            <a:off x="7354561" y="3367302"/>
            <a:ext cx="169315" cy="136371"/>
          </a:xfrm>
          <a:custGeom>
            <a:avLst/>
            <a:gdLst/>
            <a:ahLst/>
            <a:cxnLst>
              <a:cxn ang="0">
                <a:pos x="80" y="0"/>
              </a:cxn>
              <a:cxn ang="0">
                <a:pos x="78" y="0"/>
              </a:cxn>
              <a:cxn ang="0">
                <a:pos x="74" y="2"/>
              </a:cxn>
              <a:cxn ang="0">
                <a:pos x="70" y="0"/>
              </a:cxn>
              <a:cxn ang="0">
                <a:pos x="66" y="0"/>
              </a:cxn>
              <a:cxn ang="0">
                <a:pos x="62" y="0"/>
              </a:cxn>
              <a:cxn ang="0">
                <a:pos x="60" y="4"/>
              </a:cxn>
              <a:cxn ang="0">
                <a:pos x="58" y="10"/>
              </a:cxn>
              <a:cxn ang="0">
                <a:pos x="52" y="8"/>
              </a:cxn>
              <a:cxn ang="0">
                <a:pos x="46" y="4"/>
              </a:cxn>
              <a:cxn ang="0">
                <a:pos x="40" y="2"/>
              </a:cxn>
              <a:cxn ang="0">
                <a:pos x="30" y="2"/>
              </a:cxn>
              <a:cxn ang="0">
                <a:pos x="18" y="2"/>
              </a:cxn>
              <a:cxn ang="0">
                <a:pos x="10" y="6"/>
              </a:cxn>
              <a:cxn ang="0">
                <a:pos x="6" y="10"/>
              </a:cxn>
              <a:cxn ang="0">
                <a:pos x="2" y="14"/>
              </a:cxn>
              <a:cxn ang="0">
                <a:pos x="2" y="20"/>
              </a:cxn>
              <a:cxn ang="0">
                <a:pos x="0" y="26"/>
              </a:cxn>
              <a:cxn ang="0">
                <a:pos x="2" y="30"/>
              </a:cxn>
              <a:cxn ang="0">
                <a:pos x="4" y="36"/>
              </a:cxn>
              <a:cxn ang="0">
                <a:pos x="6" y="40"/>
              </a:cxn>
              <a:cxn ang="0">
                <a:pos x="8" y="46"/>
              </a:cxn>
              <a:cxn ang="0">
                <a:pos x="10" y="52"/>
              </a:cxn>
              <a:cxn ang="0">
                <a:pos x="10" y="54"/>
              </a:cxn>
              <a:cxn ang="0">
                <a:pos x="12" y="58"/>
              </a:cxn>
              <a:cxn ang="0">
                <a:pos x="14" y="62"/>
              </a:cxn>
              <a:cxn ang="0">
                <a:pos x="18" y="66"/>
              </a:cxn>
              <a:cxn ang="0">
                <a:pos x="24" y="66"/>
              </a:cxn>
              <a:cxn ang="0">
                <a:pos x="24" y="76"/>
              </a:cxn>
              <a:cxn ang="0">
                <a:pos x="30" y="74"/>
              </a:cxn>
              <a:cxn ang="0">
                <a:pos x="34" y="72"/>
              </a:cxn>
              <a:cxn ang="0">
                <a:pos x="40" y="68"/>
              </a:cxn>
              <a:cxn ang="0">
                <a:pos x="48" y="66"/>
              </a:cxn>
              <a:cxn ang="0">
                <a:pos x="66" y="60"/>
              </a:cxn>
              <a:cxn ang="0">
                <a:pos x="62" y="56"/>
              </a:cxn>
              <a:cxn ang="0">
                <a:pos x="60" y="56"/>
              </a:cxn>
              <a:cxn ang="0">
                <a:pos x="58" y="54"/>
              </a:cxn>
              <a:cxn ang="0">
                <a:pos x="82" y="40"/>
              </a:cxn>
              <a:cxn ang="0">
                <a:pos x="84" y="38"/>
              </a:cxn>
              <a:cxn ang="0">
                <a:pos x="86" y="34"/>
              </a:cxn>
              <a:cxn ang="0">
                <a:pos x="84" y="30"/>
              </a:cxn>
              <a:cxn ang="0">
                <a:pos x="84" y="26"/>
              </a:cxn>
              <a:cxn ang="0">
                <a:pos x="84" y="22"/>
              </a:cxn>
              <a:cxn ang="0">
                <a:pos x="82" y="16"/>
              </a:cxn>
              <a:cxn ang="0">
                <a:pos x="82" y="0"/>
              </a:cxn>
              <a:cxn ang="0">
                <a:pos x="80" y="0"/>
              </a:cxn>
            </a:cxnLst>
            <a:rect l="0" t="0" r="r" b="b"/>
            <a:pathLst>
              <a:path w="86" h="76">
                <a:moveTo>
                  <a:pt x="80" y="0"/>
                </a:moveTo>
                <a:lnTo>
                  <a:pt x="78" y="0"/>
                </a:lnTo>
                <a:lnTo>
                  <a:pt x="74" y="2"/>
                </a:lnTo>
                <a:lnTo>
                  <a:pt x="70" y="0"/>
                </a:lnTo>
                <a:lnTo>
                  <a:pt x="66" y="0"/>
                </a:lnTo>
                <a:lnTo>
                  <a:pt x="62" y="0"/>
                </a:lnTo>
                <a:lnTo>
                  <a:pt x="60" y="4"/>
                </a:lnTo>
                <a:lnTo>
                  <a:pt x="58" y="10"/>
                </a:lnTo>
                <a:lnTo>
                  <a:pt x="52" y="8"/>
                </a:lnTo>
                <a:lnTo>
                  <a:pt x="46" y="4"/>
                </a:lnTo>
                <a:lnTo>
                  <a:pt x="40" y="2"/>
                </a:lnTo>
                <a:lnTo>
                  <a:pt x="30" y="2"/>
                </a:lnTo>
                <a:lnTo>
                  <a:pt x="18" y="2"/>
                </a:lnTo>
                <a:lnTo>
                  <a:pt x="10" y="6"/>
                </a:lnTo>
                <a:lnTo>
                  <a:pt x="6" y="10"/>
                </a:lnTo>
                <a:lnTo>
                  <a:pt x="2" y="14"/>
                </a:lnTo>
                <a:lnTo>
                  <a:pt x="2" y="20"/>
                </a:lnTo>
                <a:lnTo>
                  <a:pt x="0" y="26"/>
                </a:lnTo>
                <a:lnTo>
                  <a:pt x="2" y="30"/>
                </a:lnTo>
                <a:lnTo>
                  <a:pt x="4" y="36"/>
                </a:lnTo>
                <a:lnTo>
                  <a:pt x="6" y="40"/>
                </a:lnTo>
                <a:lnTo>
                  <a:pt x="8" y="46"/>
                </a:lnTo>
                <a:lnTo>
                  <a:pt x="10" y="52"/>
                </a:lnTo>
                <a:lnTo>
                  <a:pt x="10" y="54"/>
                </a:lnTo>
                <a:lnTo>
                  <a:pt x="12" y="58"/>
                </a:lnTo>
                <a:lnTo>
                  <a:pt x="14" y="62"/>
                </a:lnTo>
                <a:lnTo>
                  <a:pt x="18" y="66"/>
                </a:lnTo>
                <a:lnTo>
                  <a:pt x="24" y="66"/>
                </a:lnTo>
                <a:lnTo>
                  <a:pt x="24" y="76"/>
                </a:lnTo>
                <a:lnTo>
                  <a:pt x="30" y="74"/>
                </a:lnTo>
                <a:lnTo>
                  <a:pt x="34" y="72"/>
                </a:lnTo>
                <a:lnTo>
                  <a:pt x="40" y="68"/>
                </a:lnTo>
                <a:lnTo>
                  <a:pt x="48" y="66"/>
                </a:lnTo>
                <a:lnTo>
                  <a:pt x="66" y="60"/>
                </a:lnTo>
                <a:lnTo>
                  <a:pt x="62" y="56"/>
                </a:lnTo>
                <a:lnTo>
                  <a:pt x="60" y="56"/>
                </a:lnTo>
                <a:lnTo>
                  <a:pt x="58" y="54"/>
                </a:lnTo>
                <a:lnTo>
                  <a:pt x="82" y="40"/>
                </a:lnTo>
                <a:lnTo>
                  <a:pt x="84" y="38"/>
                </a:lnTo>
                <a:lnTo>
                  <a:pt x="86" y="34"/>
                </a:lnTo>
                <a:lnTo>
                  <a:pt x="84" y="30"/>
                </a:lnTo>
                <a:lnTo>
                  <a:pt x="84" y="26"/>
                </a:lnTo>
                <a:lnTo>
                  <a:pt x="84" y="22"/>
                </a:lnTo>
                <a:lnTo>
                  <a:pt x="82" y="16"/>
                </a:lnTo>
                <a:lnTo>
                  <a:pt x="82" y="0"/>
                </a:lnTo>
                <a:lnTo>
                  <a:pt x="8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6EEF0179-025E-46E3-9BCB-40DB64DF1978}"/>
              </a:ext>
            </a:extLst>
          </p:cNvPr>
          <p:cNvSpPr>
            <a:spLocks/>
          </p:cNvSpPr>
          <p:nvPr/>
        </p:nvSpPr>
        <p:spPr bwMode="auto">
          <a:xfrm>
            <a:off x="7239973" y="3107550"/>
            <a:ext cx="277060" cy="277611"/>
          </a:xfrm>
          <a:custGeom>
            <a:avLst/>
            <a:gdLst/>
            <a:ahLst/>
            <a:cxnLst>
              <a:cxn ang="0">
                <a:pos x="102" y="124"/>
              </a:cxn>
              <a:cxn ang="0">
                <a:pos x="94" y="116"/>
              </a:cxn>
              <a:cxn ang="0">
                <a:pos x="88" y="102"/>
              </a:cxn>
              <a:cxn ang="0">
                <a:pos x="86" y="94"/>
              </a:cxn>
              <a:cxn ang="0">
                <a:pos x="74" y="84"/>
              </a:cxn>
              <a:cxn ang="0">
                <a:pos x="66" y="76"/>
              </a:cxn>
              <a:cxn ang="0">
                <a:pos x="58" y="82"/>
              </a:cxn>
              <a:cxn ang="0">
                <a:pos x="52" y="88"/>
              </a:cxn>
              <a:cxn ang="0">
                <a:pos x="48" y="84"/>
              </a:cxn>
              <a:cxn ang="0">
                <a:pos x="44" y="80"/>
              </a:cxn>
              <a:cxn ang="0">
                <a:pos x="36" y="84"/>
              </a:cxn>
              <a:cxn ang="0">
                <a:pos x="26" y="70"/>
              </a:cxn>
              <a:cxn ang="0">
                <a:pos x="26" y="58"/>
              </a:cxn>
              <a:cxn ang="0">
                <a:pos x="18" y="56"/>
              </a:cxn>
              <a:cxn ang="0">
                <a:pos x="12" y="56"/>
              </a:cxn>
              <a:cxn ang="0">
                <a:pos x="6" y="44"/>
              </a:cxn>
              <a:cxn ang="0">
                <a:pos x="0" y="38"/>
              </a:cxn>
              <a:cxn ang="0">
                <a:pos x="10" y="28"/>
              </a:cxn>
              <a:cxn ang="0">
                <a:pos x="12" y="22"/>
              </a:cxn>
              <a:cxn ang="0">
                <a:pos x="20" y="22"/>
              </a:cxn>
              <a:cxn ang="0">
                <a:pos x="26" y="20"/>
              </a:cxn>
              <a:cxn ang="0">
                <a:pos x="20" y="8"/>
              </a:cxn>
              <a:cxn ang="0">
                <a:pos x="22" y="2"/>
              </a:cxn>
              <a:cxn ang="0">
                <a:pos x="28" y="4"/>
              </a:cxn>
              <a:cxn ang="0">
                <a:pos x="32" y="16"/>
              </a:cxn>
              <a:cxn ang="0">
                <a:pos x="42" y="24"/>
              </a:cxn>
              <a:cxn ang="0">
                <a:pos x="70" y="34"/>
              </a:cxn>
              <a:cxn ang="0">
                <a:pos x="66" y="44"/>
              </a:cxn>
              <a:cxn ang="0">
                <a:pos x="60" y="50"/>
              </a:cxn>
              <a:cxn ang="0">
                <a:pos x="70" y="64"/>
              </a:cxn>
              <a:cxn ang="0">
                <a:pos x="88" y="78"/>
              </a:cxn>
              <a:cxn ang="0">
                <a:pos x="96" y="88"/>
              </a:cxn>
              <a:cxn ang="0">
                <a:pos x="104" y="92"/>
              </a:cxn>
              <a:cxn ang="0">
                <a:pos x="114" y="104"/>
              </a:cxn>
              <a:cxn ang="0">
                <a:pos x="134" y="132"/>
              </a:cxn>
              <a:cxn ang="0">
                <a:pos x="138" y="146"/>
              </a:cxn>
              <a:cxn ang="0">
                <a:pos x="132" y="148"/>
              </a:cxn>
              <a:cxn ang="0">
                <a:pos x="124" y="146"/>
              </a:cxn>
              <a:cxn ang="0">
                <a:pos x="118" y="150"/>
              </a:cxn>
              <a:cxn ang="0">
                <a:pos x="110" y="154"/>
              </a:cxn>
            </a:cxnLst>
            <a:rect l="0" t="0" r="r" b="b"/>
            <a:pathLst>
              <a:path w="140" h="156">
                <a:moveTo>
                  <a:pt x="104" y="150"/>
                </a:moveTo>
                <a:lnTo>
                  <a:pt x="102" y="124"/>
                </a:lnTo>
                <a:lnTo>
                  <a:pt x="98" y="120"/>
                </a:lnTo>
                <a:lnTo>
                  <a:pt x="94" y="116"/>
                </a:lnTo>
                <a:lnTo>
                  <a:pt x="90" y="108"/>
                </a:lnTo>
                <a:lnTo>
                  <a:pt x="88" y="102"/>
                </a:lnTo>
                <a:lnTo>
                  <a:pt x="88" y="98"/>
                </a:lnTo>
                <a:lnTo>
                  <a:pt x="86" y="94"/>
                </a:lnTo>
                <a:lnTo>
                  <a:pt x="80" y="90"/>
                </a:lnTo>
                <a:lnTo>
                  <a:pt x="74" y="84"/>
                </a:lnTo>
                <a:lnTo>
                  <a:pt x="70" y="76"/>
                </a:lnTo>
                <a:lnTo>
                  <a:pt x="66" y="76"/>
                </a:lnTo>
                <a:lnTo>
                  <a:pt x="62" y="78"/>
                </a:lnTo>
                <a:lnTo>
                  <a:pt x="58" y="82"/>
                </a:lnTo>
                <a:lnTo>
                  <a:pt x="56" y="86"/>
                </a:lnTo>
                <a:lnTo>
                  <a:pt x="52" y="88"/>
                </a:lnTo>
                <a:lnTo>
                  <a:pt x="50" y="86"/>
                </a:lnTo>
                <a:lnTo>
                  <a:pt x="48" y="84"/>
                </a:lnTo>
                <a:lnTo>
                  <a:pt x="46" y="82"/>
                </a:lnTo>
                <a:lnTo>
                  <a:pt x="44" y="80"/>
                </a:lnTo>
                <a:lnTo>
                  <a:pt x="40" y="80"/>
                </a:lnTo>
                <a:lnTo>
                  <a:pt x="36" y="84"/>
                </a:lnTo>
                <a:lnTo>
                  <a:pt x="28" y="90"/>
                </a:lnTo>
                <a:lnTo>
                  <a:pt x="26" y="70"/>
                </a:lnTo>
                <a:lnTo>
                  <a:pt x="26" y="64"/>
                </a:lnTo>
                <a:lnTo>
                  <a:pt x="26" y="58"/>
                </a:lnTo>
                <a:lnTo>
                  <a:pt x="22" y="56"/>
                </a:lnTo>
                <a:lnTo>
                  <a:pt x="18" y="56"/>
                </a:lnTo>
                <a:lnTo>
                  <a:pt x="16" y="56"/>
                </a:lnTo>
                <a:lnTo>
                  <a:pt x="12" y="56"/>
                </a:lnTo>
                <a:lnTo>
                  <a:pt x="8" y="52"/>
                </a:lnTo>
                <a:lnTo>
                  <a:pt x="6" y="44"/>
                </a:lnTo>
                <a:lnTo>
                  <a:pt x="4" y="40"/>
                </a:lnTo>
                <a:lnTo>
                  <a:pt x="0" y="38"/>
                </a:lnTo>
                <a:lnTo>
                  <a:pt x="8" y="32"/>
                </a:lnTo>
                <a:lnTo>
                  <a:pt x="10" y="28"/>
                </a:lnTo>
                <a:lnTo>
                  <a:pt x="10" y="24"/>
                </a:lnTo>
                <a:lnTo>
                  <a:pt x="12" y="22"/>
                </a:lnTo>
                <a:lnTo>
                  <a:pt x="16" y="18"/>
                </a:lnTo>
                <a:lnTo>
                  <a:pt x="20" y="22"/>
                </a:lnTo>
                <a:lnTo>
                  <a:pt x="22" y="22"/>
                </a:lnTo>
                <a:lnTo>
                  <a:pt x="26" y="20"/>
                </a:lnTo>
                <a:lnTo>
                  <a:pt x="22" y="14"/>
                </a:lnTo>
                <a:lnTo>
                  <a:pt x="20" y="8"/>
                </a:lnTo>
                <a:lnTo>
                  <a:pt x="20" y="4"/>
                </a:lnTo>
                <a:lnTo>
                  <a:pt x="22" y="2"/>
                </a:lnTo>
                <a:lnTo>
                  <a:pt x="28" y="0"/>
                </a:lnTo>
                <a:lnTo>
                  <a:pt x="28" y="4"/>
                </a:lnTo>
                <a:lnTo>
                  <a:pt x="28" y="10"/>
                </a:lnTo>
                <a:lnTo>
                  <a:pt x="32" y="16"/>
                </a:lnTo>
                <a:lnTo>
                  <a:pt x="36" y="20"/>
                </a:lnTo>
                <a:lnTo>
                  <a:pt x="42" y="24"/>
                </a:lnTo>
                <a:lnTo>
                  <a:pt x="54" y="30"/>
                </a:lnTo>
                <a:lnTo>
                  <a:pt x="70" y="34"/>
                </a:lnTo>
                <a:lnTo>
                  <a:pt x="70" y="40"/>
                </a:lnTo>
                <a:lnTo>
                  <a:pt x="66" y="44"/>
                </a:lnTo>
                <a:lnTo>
                  <a:pt x="58" y="46"/>
                </a:lnTo>
                <a:lnTo>
                  <a:pt x="60" y="50"/>
                </a:lnTo>
                <a:lnTo>
                  <a:pt x="62" y="56"/>
                </a:lnTo>
                <a:lnTo>
                  <a:pt x="70" y="64"/>
                </a:lnTo>
                <a:lnTo>
                  <a:pt x="80" y="72"/>
                </a:lnTo>
                <a:lnTo>
                  <a:pt x="88" y="78"/>
                </a:lnTo>
                <a:lnTo>
                  <a:pt x="94" y="82"/>
                </a:lnTo>
                <a:lnTo>
                  <a:pt x="96" y="88"/>
                </a:lnTo>
                <a:lnTo>
                  <a:pt x="98" y="92"/>
                </a:lnTo>
                <a:lnTo>
                  <a:pt x="104" y="92"/>
                </a:lnTo>
                <a:lnTo>
                  <a:pt x="110" y="98"/>
                </a:lnTo>
                <a:lnTo>
                  <a:pt x="114" y="104"/>
                </a:lnTo>
                <a:lnTo>
                  <a:pt x="128" y="122"/>
                </a:lnTo>
                <a:lnTo>
                  <a:pt x="134" y="132"/>
                </a:lnTo>
                <a:lnTo>
                  <a:pt x="140" y="146"/>
                </a:lnTo>
                <a:lnTo>
                  <a:pt x="138" y="146"/>
                </a:lnTo>
                <a:lnTo>
                  <a:pt x="136" y="146"/>
                </a:lnTo>
                <a:lnTo>
                  <a:pt x="132" y="148"/>
                </a:lnTo>
                <a:lnTo>
                  <a:pt x="128" y="146"/>
                </a:lnTo>
                <a:lnTo>
                  <a:pt x="124" y="146"/>
                </a:lnTo>
                <a:lnTo>
                  <a:pt x="120" y="146"/>
                </a:lnTo>
                <a:lnTo>
                  <a:pt x="118" y="150"/>
                </a:lnTo>
                <a:lnTo>
                  <a:pt x="116" y="156"/>
                </a:lnTo>
                <a:lnTo>
                  <a:pt x="110" y="154"/>
                </a:lnTo>
                <a:lnTo>
                  <a:pt x="104" y="15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D5AD8D7A-B7D9-4533-B21F-BB87075A863A}"/>
              </a:ext>
            </a:extLst>
          </p:cNvPr>
          <p:cNvSpPr>
            <a:spLocks/>
          </p:cNvSpPr>
          <p:nvPr/>
        </p:nvSpPr>
        <p:spPr bwMode="auto">
          <a:xfrm>
            <a:off x="7178404" y="3175732"/>
            <a:ext cx="266799" cy="485414"/>
          </a:xfrm>
          <a:custGeom>
            <a:avLst/>
            <a:gdLst/>
            <a:ahLst/>
            <a:cxnLst>
              <a:cxn ang="0">
                <a:pos x="96" y="266"/>
              </a:cxn>
              <a:cxn ang="0">
                <a:pos x="92" y="272"/>
              </a:cxn>
              <a:cxn ang="0">
                <a:pos x="84" y="272"/>
              </a:cxn>
              <a:cxn ang="0">
                <a:pos x="76" y="264"/>
              </a:cxn>
              <a:cxn ang="0">
                <a:pos x="68" y="254"/>
              </a:cxn>
              <a:cxn ang="0">
                <a:pos x="56" y="242"/>
              </a:cxn>
              <a:cxn ang="0">
                <a:pos x="44" y="230"/>
              </a:cxn>
              <a:cxn ang="0">
                <a:pos x="34" y="232"/>
              </a:cxn>
              <a:cxn ang="0">
                <a:pos x="30" y="220"/>
              </a:cxn>
              <a:cxn ang="0">
                <a:pos x="32" y="172"/>
              </a:cxn>
              <a:cxn ang="0">
                <a:pos x="42" y="166"/>
              </a:cxn>
              <a:cxn ang="0">
                <a:pos x="44" y="156"/>
              </a:cxn>
              <a:cxn ang="0">
                <a:pos x="40" y="134"/>
              </a:cxn>
              <a:cxn ang="0">
                <a:pos x="30" y="116"/>
              </a:cxn>
              <a:cxn ang="0">
                <a:pos x="20" y="100"/>
              </a:cxn>
              <a:cxn ang="0">
                <a:pos x="22" y="88"/>
              </a:cxn>
              <a:cxn ang="0">
                <a:pos x="22" y="74"/>
              </a:cxn>
              <a:cxn ang="0">
                <a:pos x="12" y="58"/>
              </a:cxn>
              <a:cxn ang="0">
                <a:pos x="2" y="44"/>
              </a:cxn>
              <a:cxn ang="0">
                <a:pos x="2" y="26"/>
              </a:cxn>
              <a:cxn ang="0">
                <a:pos x="8" y="16"/>
              </a:cxn>
              <a:cxn ang="0">
                <a:pos x="22" y="6"/>
              </a:cxn>
              <a:cxn ang="0">
                <a:pos x="36" y="2"/>
              </a:cxn>
              <a:cxn ang="0">
                <a:pos x="40" y="14"/>
              </a:cxn>
              <a:cxn ang="0">
                <a:pos x="48" y="18"/>
              </a:cxn>
              <a:cxn ang="0">
                <a:pos x="54" y="18"/>
              </a:cxn>
              <a:cxn ang="0">
                <a:pos x="58" y="26"/>
              </a:cxn>
              <a:cxn ang="0">
                <a:pos x="60" y="52"/>
              </a:cxn>
              <a:cxn ang="0">
                <a:pos x="72" y="42"/>
              </a:cxn>
              <a:cxn ang="0">
                <a:pos x="78" y="44"/>
              </a:cxn>
              <a:cxn ang="0">
                <a:pos x="82" y="48"/>
              </a:cxn>
              <a:cxn ang="0">
                <a:pos x="88" y="48"/>
              </a:cxn>
              <a:cxn ang="0">
                <a:pos x="94" y="40"/>
              </a:cxn>
              <a:cxn ang="0">
                <a:pos x="102" y="38"/>
              </a:cxn>
              <a:cxn ang="0">
                <a:pos x="112" y="52"/>
              </a:cxn>
              <a:cxn ang="0">
                <a:pos x="120" y="60"/>
              </a:cxn>
              <a:cxn ang="0">
                <a:pos x="122" y="70"/>
              </a:cxn>
              <a:cxn ang="0">
                <a:pos x="130" y="82"/>
              </a:cxn>
              <a:cxn ang="0">
                <a:pos x="136" y="112"/>
              </a:cxn>
              <a:cxn ang="0">
                <a:pos x="120" y="110"/>
              </a:cxn>
              <a:cxn ang="0">
                <a:pos x="100" y="114"/>
              </a:cxn>
              <a:cxn ang="0">
                <a:pos x="92" y="122"/>
              </a:cxn>
              <a:cxn ang="0">
                <a:pos x="90" y="134"/>
              </a:cxn>
              <a:cxn ang="0">
                <a:pos x="94" y="144"/>
              </a:cxn>
              <a:cxn ang="0">
                <a:pos x="98" y="154"/>
              </a:cxn>
              <a:cxn ang="0">
                <a:pos x="86" y="150"/>
              </a:cxn>
              <a:cxn ang="0">
                <a:pos x="68" y="136"/>
              </a:cxn>
              <a:cxn ang="0">
                <a:pos x="52" y="128"/>
              </a:cxn>
              <a:cxn ang="0">
                <a:pos x="50" y="158"/>
              </a:cxn>
              <a:cxn ang="0">
                <a:pos x="48" y="176"/>
              </a:cxn>
              <a:cxn ang="0">
                <a:pos x="48" y="192"/>
              </a:cxn>
              <a:cxn ang="0">
                <a:pos x="52" y="204"/>
              </a:cxn>
              <a:cxn ang="0">
                <a:pos x="60" y="216"/>
              </a:cxn>
              <a:cxn ang="0">
                <a:pos x="66" y="224"/>
              </a:cxn>
              <a:cxn ang="0">
                <a:pos x="68" y="238"/>
              </a:cxn>
              <a:cxn ang="0">
                <a:pos x="74" y="244"/>
              </a:cxn>
              <a:cxn ang="0">
                <a:pos x="104" y="266"/>
              </a:cxn>
            </a:cxnLst>
            <a:rect l="0" t="0" r="r" b="b"/>
            <a:pathLst>
              <a:path w="136" h="272">
                <a:moveTo>
                  <a:pt x="104" y="266"/>
                </a:moveTo>
                <a:lnTo>
                  <a:pt x="96" y="266"/>
                </a:lnTo>
                <a:lnTo>
                  <a:pt x="94" y="272"/>
                </a:lnTo>
                <a:lnTo>
                  <a:pt x="92" y="272"/>
                </a:lnTo>
                <a:lnTo>
                  <a:pt x="88" y="272"/>
                </a:lnTo>
                <a:lnTo>
                  <a:pt x="84" y="272"/>
                </a:lnTo>
                <a:lnTo>
                  <a:pt x="82" y="272"/>
                </a:lnTo>
                <a:lnTo>
                  <a:pt x="76" y="264"/>
                </a:lnTo>
                <a:lnTo>
                  <a:pt x="72" y="258"/>
                </a:lnTo>
                <a:lnTo>
                  <a:pt x="68" y="254"/>
                </a:lnTo>
                <a:lnTo>
                  <a:pt x="62" y="254"/>
                </a:lnTo>
                <a:lnTo>
                  <a:pt x="56" y="242"/>
                </a:lnTo>
                <a:lnTo>
                  <a:pt x="50" y="236"/>
                </a:lnTo>
                <a:lnTo>
                  <a:pt x="44" y="230"/>
                </a:lnTo>
                <a:lnTo>
                  <a:pt x="38" y="226"/>
                </a:lnTo>
                <a:lnTo>
                  <a:pt x="34" y="232"/>
                </a:lnTo>
                <a:lnTo>
                  <a:pt x="32" y="228"/>
                </a:lnTo>
                <a:lnTo>
                  <a:pt x="30" y="220"/>
                </a:lnTo>
                <a:lnTo>
                  <a:pt x="30" y="206"/>
                </a:lnTo>
                <a:lnTo>
                  <a:pt x="32" y="172"/>
                </a:lnTo>
                <a:lnTo>
                  <a:pt x="38" y="172"/>
                </a:lnTo>
                <a:lnTo>
                  <a:pt x="42" y="166"/>
                </a:lnTo>
                <a:lnTo>
                  <a:pt x="44" y="162"/>
                </a:lnTo>
                <a:lnTo>
                  <a:pt x="44" y="156"/>
                </a:lnTo>
                <a:lnTo>
                  <a:pt x="44" y="146"/>
                </a:lnTo>
                <a:lnTo>
                  <a:pt x="40" y="134"/>
                </a:lnTo>
                <a:lnTo>
                  <a:pt x="34" y="124"/>
                </a:lnTo>
                <a:lnTo>
                  <a:pt x="30" y="116"/>
                </a:lnTo>
                <a:lnTo>
                  <a:pt x="18" y="106"/>
                </a:lnTo>
                <a:lnTo>
                  <a:pt x="20" y="100"/>
                </a:lnTo>
                <a:lnTo>
                  <a:pt x="20" y="94"/>
                </a:lnTo>
                <a:lnTo>
                  <a:pt x="22" y="88"/>
                </a:lnTo>
                <a:lnTo>
                  <a:pt x="22" y="82"/>
                </a:lnTo>
                <a:lnTo>
                  <a:pt x="22" y="74"/>
                </a:lnTo>
                <a:lnTo>
                  <a:pt x="20" y="68"/>
                </a:lnTo>
                <a:lnTo>
                  <a:pt x="12" y="58"/>
                </a:lnTo>
                <a:lnTo>
                  <a:pt x="4" y="50"/>
                </a:lnTo>
                <a:lnTo>
                  <a:pt x="2" y="44"/>
                </a:lnTo>
                <a:lnTo>
                  <a:pt x="0" y="34"/>
                </a:lnTo>
                <a:lnTo>
                  <a:pt x="2" y="26"/>
                </a:lnTo>
                <a:lnTo>
                  <a:pt x="4" y="22"/>
                </a:lnTo>
                <a:lnTo>
                  <a:pt x="8" y="16"/>
                </a:lnTo>
                <a:lnTo>
                  <a:pt x="10" y="14"/>
                </a:lnTo>
                <a:lnTo>
                  <a:pt x="22" y="6"/>
                </a:lnTo>
                <a:lnTo>
                  <a:pt x="32" y="0"/>
                </a:lnTo>
                <a:lnTo>
                  <a:pt x="36" y="2"/>
                </a:lnTo>
                <a:lnTo>
                  <a:pt x="38" y="6"/>
                </a:lnTo>
                <a:lnTo>
                  <a:pt x="40" y="14"/>
                </a:lnTo>
                <a:lnTo>
                  <a:pt x="44" y="18"/>
                </a:lnTo>
                <a:lnTo>
                  <a:pt x="48" y="18"/>
                </a:lnTo>
                <a:lnTo>
                  <a:pt x="50" y="18"/>
                </a:lnTo>
                <a:lnTo>
                  <a:pt x="54" y="18"/>
                </a:lnTo>
                <a:lnTo>
                  <a:pt x="58" y="20"/>
                </a:lnTo>
                <a:lnTo>
                  <a:pt x="58" y="26"/>
                </a:lnTo>
                <a:lnTo>
                  <a:pt x="58" y="32"/>
                </a:lnTo>
                <a:lnTo>
                  <a:pt x="60" y="52"/>
                </a:lnTo>
                <a:lnTo>
                  <a:pt x="68" y="46"/>
                </a:lnTo>
                <a:lnTo>
                  <a:pt x="72" y="42"/>
                </a:lnTo>
                <a:lnTo>
                  <a:pt x="76" y="42"/>
                </a:lnTo>
                <a:lnTo>
                  <a:pt x="78" y="44"/>
                </a:lnTo>
                <a:lnTo>
                  <a:pt x="80" y="46"/>
                </a:lnTo>
                <a:lnTo>
                  <a:pt x="82" y="48"/>
                </a:lnTo>
                <a:lnTo>
                  <a:pt x="84" y="50"/>
                </a:lnTo>
                <a:lnTo>
                  <a:pt x="88" y="48"/>
                </a:lnTo>
                <a:lnTo>
                  <a:pt x="90" y="44"/>
                </a:lnTo>
                <a:lnTo>
                  <a:pt x="94" y="40"/>
                </a:lnTo>
                <a:lnTo>
                  <a:pt x="98" y="38"/>
                </a:lnTo>
                <a:lnTo>
                  <a:pt x="102" y="38"/>
                </a:lnTo>
                <a:lnTo>
                  <a:pt x="106" y="46"/>
                </a:lnTo>
                <a:lnTo>
                  <a:pt x="112" y="52"/>
                </a:lnTo>
                <a:lnTo>
                  <a:pt x="118" y="56"/>
                </a:lnTo>
                <a:lnTo>
                  <a:pt x="120" y="60"/>
                </a:lnTo>
                <a:lnTo>
                  <a:pt x="120" y="64"/>
                </a:lnTo>
                <a:lnTo>
                  <a:pt x="122" y="70"/>
                </a:lnTo>
                <a:lnTo>
                  <a:pt x="126" y="78"/>
                </a:lnTo>
                <a:lnTo>
                  <a:pt x="130" y="82"/>
                </a:lnTo>
                <a:lnTo>
                  <a:pt x="134" y="86"/>
                </a:lnTo>
                <a:lnTo>
                  <a:pt x="136" y="112"/>
                </a:lnTo>
                <a:lnTo>
                  <a:pt x="130" y="110"/>
                </a:lnTo>
                <a:lnTo>
                  <a:pt x="120" y="110"/>
                </a:lnTo>
                <a:lnTo>
                  <a:pt x="108" y="110"/>
                </a:lnTo>
                <a:lnTo>
                  <a:pt x="100" y="114"/>
                </a:lnTo>
                <a:lnTo>
                  <a:pt x="96" y="118"/>
                </a:lnTo>
                <a:lnTo>
                  <a:pt x="92" y="122"/>
                </a:lnTo>
                <a:lnTo>
                  <a:pt x="92" y="128"/>
                </a:lnTo>
                <a:lnTo>
                  <a:pt x="90" y="134"/>
                </a:lnTo>
                <a:lnTo>
                  <a:pt x="92" y="138"/>
                </a:lnTo>
                <a:lnTo>
                  <a:pt x="94" y="144"/>
                </a:lnTo>
                <a:lnTo>
                  <a:pt x="96" y="148"/>
                </a:lnTo>
                <a:lnTo>
                  <a:pt x="98" y="154"/>
                </a:lnTo>
                <a:lnTo>
                  <a:pt x="92" y="152"/>
                </a:lnTo>
                <a:lnTo>
                  <a:pt x="86" y="150"/>
                </a:lnTo>
                <a:lnTo>
                  <a:pt x="76" y="144"/>
                </a:lnTo>
                <a:lnTo>
                  <a:pt x="68" y="136"/>
                </a:lnTo>
                <a:lnTo>
                  <a:pt x="60" y="128"/>
                </a:lnTo>
                <a:lnTo>
                  <a:pt x="52" y="128"/>
                </a:lnTo>
                <a:lnTo>
                  <a:pt x="52" y="150"/>
                </a:lnTo>
                <a:lnTo>
                  <a:pt x="50" y="158"/>
                </a:lnTo>
                <a:lnTo>
                  <a:pt x="48" y="166"/>
                </a:lnTo>
                <a:lnTo>
                  <a:pt x="48" y="176"/>
                </a:lnTo>
                <a:lnTo>
                  <a:pt x="46" y="188"/>
                </a:lnTo>
                <a:lnTo>
                  <a:pt x="48" y="192"/>
                </a:lnTo>
                <a:lnTo>
                  <a:pt x="48" y="200"/>
                </a:lnTo>
                <a:lnTo>
                  <a:pt x="52" y="204"/>
                </a:lnTo>
                <a:lnTo>
                  <a:pt x="60" y="206"/>
                </a:lnTo>
                <a:lnTo>
                  <a:pt x="60" y="216"/>
                </a:lnTo>
                <a:lnTo>
                  <a:pt x="62" y="220"/>
                </a:lnTo>
                <a:lnTo>
                  <a:pt x="66" y="224"/>
                </a:lnTo>
                <a:lnTo>
                  <a:pt x="66" y="234"/>
                </a:lnTo>
                <a:lnTo>
                  <a:pt x="68" y="238"/>
                </a:lnTo>
                <a:lnTo>
                  <a:pt x="70" y="240"/>
                </a:lnTo>
                <a:lnTo>
                  <a:pt x="74" y="244"/>
                </a:lnTo>
                <a:lnTo>
                  <a:pt x="84" y="248"/>
                </a:lnTo>
                <a:lnTo>
                  <a:pt x="104" y="26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A2BEC424-A5F4-40FF-8F1B-ACAF6BF6972C}"/>
              </a:ext>
            </a:extLst>
          </p:cNvPr>
          <p:cNvSpPr>
            <a:spLocks/>
          </p:cNvSpPr>
          <p:nvPr/>
        </p:nvSpPr>
        <p:spPr bwMode="auto">
          <a:xfrm>
            <a:off x="7299834" y="3628677"/>
            <a:ext cx="141951" cy="181827"/>
          </a:xfrm>
          <a:custGeom>
            <a:avLst/>
            <a:gdLst/>
            <a:ahLst/>
            <a:cxnLst>
              <a:cxn ang="0">
                <a:pos x="42" y="12"/>
              </a:cxn>
              <a:cxn ang="0">
                <a:pos x="34" y="12"/>
              </a:cxn>
              <a:cxn ang="0">
                <a:pos x="32" y="18"/>
              </a:cxn>
              <a:cxn ang="0">
                <a:pos x="30" y="18"/>
              </a:cxn>
              <a:cxn ang="0">
                <a:pos x="26" y="18"/>
              </a:cxn>
              <a:cxn ang="0">
                <a:pos x="22" y="18"/>
              </a:cxn>
              <a:cxn ang="0">
                <a:pos x="20" y="18"/>
              </a:cxn>
              <a:cxn ang="0">
                <a:pos x="14" y="10"/>
              </a:cxn>
              <a:cxn ang="0">
                <a:pos x="10" y="4"/>
              </a:cxn>
              <a:cxn ang="0">
                <a:pos x="6" y="0"/>
              </a:cxn>
              <a:cxn ang="0">
                <a:pos x="0" y="0"/>
              </a:cxn>
              <a:cxn ang="0">
                <a:pos x="2" y="8"/>
              </a:cxn>
              <a:cxn ang="0">
                <a:pos x="4" y="14"/>
              </a:cxn>
              <a:cxn ang="0">
                <a:pos x="6" y="24"/>
              </a:cxn>
              <a:cxn ang="0">
                <a:pos x="10" y="36"/>
              </a:cxn>
              <a:cxn ang="0">
                <a:pos x="14" y="46"/>
              </a:cxn>
              <a:cxn ang="0">
                <a:pos x="18" y="54"/>
              </a:cxn>
              <a:cxn ang="0">
                <a:pos x="34" y="72"/>
              </a:cxn>
              <a:cxn ang="0">
                <a:pos x="50" y="86"/>
              </a:cxn>
              <a:cxn ang="0">
                <a:pos x="58" y="96"/>
              </a:cxn>
              <a:cxn ang="0">
                <a:pos x="66" y="102"/>
              </a:cxn>
              <a:cxn ang="0">
                <a:pos x="68" y="100"/>
              </a:cxn>
              <a:cxn ang="0">
                <a:pos x="70" y="100"/>
              </a:cxn>
              <a:cxn ang="0">
                <a:pos x="72" y="96"/>
              </a:cxn>
              <a:cxn ang="0">
                <a:pos x="72" y="90"/>
              </a:cxn>
              <a:cxn ang="0">
                <a:pos x="70" y="84"/>
              </a:cxn>
              <a:cxn ang="0">
                <a:pos x="66" y="74"/>
              </a:cxn>
              <a:cxn ang="0">
                <a:pos x="62" y="68"/>
              </a:cxn>
              <a:cxn ang="0">
                <a:pos x="60" y="64"/>
              </a:cxn>
              <a:cxn ang="0">
                <a:pos x="58" y="60"/>
              </a:cxn>
              <a:cxn ang="0">
                <a:pos x="58" y="40"/>
              </a:cxn>
              <a:cxn ang="0">
                <a:pos x="58" y="32"/>
              </a:cxn>
              <a:cxn ang="0">
                <a:pos x="52" y="24"/>
              </a:cxn>
              <a:cxn ang="0">
                <a:pos x="42" y="12"/>
              </a:cxn>
            </a:cxnLst>
            <a:rect l="0" t="0" r="r" b="b"/>
            <a:pathLst>
              <a:path w="72" h="102">
                <a:moveTo>
                  <a:pt x="42" y="12"/>
                </a:moveTo>
                <a:lnTo>
                  <a:pt x="34" y="12"/>
                </a:lnTo>
                <a:lnTo>
                  <a:pt x="32" y="18"/>
                </a:lnTo>
                <a:lnTo>
                  <a:pt x="30" y="18"/>
                </a:lnTo>
                <a:lnTo>
                  <a:pt x="26" y="18"/>
                </a:lnTo>
                <a:lnTo>
                  <a:pt x="22" y="18"/>
                </a:lnTo>
                <a:lnTo>
                  <a:pt x="20" y="18"/>
                </a:lnTo>
                <a:lnTo>
                  <a:pt x="14" y="10"/>
                </a:lnTo>
                <a:lnTo>
                  <a:pt x="10" y="4"/>
                </a:lnTo>
                <a:lnTo>
                  <a:pt x="6" y="0"/>
                </a:lnTo>
                <a:lnTo>
                  <a:pt x="0" y="0"/>
                </a:lnTo>
                <a:lnTo>
                  <a:pt x="2" y="8"/>
                </a:lnTo>
                <a:lnTo>
                  <a:pt x="4" y="14"/>
                </a:lnTo>
                <a:lnTo>
                  <a:pt x="6" y="24"/>
                </a:lnTo>
                <a:lnTo>
                  <a:pt x="10" y="36"/>
                </a:lnTo>
                <a:lnTo>
                  <a:pt x="14" y="46"/>
                </a:lnTo>
                <a:lnTo>
                  <a:pt x="18" y="54"/>
                </a:lnTo>
                <a:lnTo>
                  <a:pt x="34" y="72"/>
                </a:lnTo>
                <a:lnTo>
                  <a:pt x="50" y="86"/>
                </a:lnTo>
                <a:lnTo>
                  <a:pt x="58" y="96"/>
                </a:lnTo>
                <a:lnTo>
                  <a:pt x="66" y="102"/>
                </a:lnTo>
                <a:lnTo>
                  <a:pt x="68" y="100"/>
                </a:lnTo>
                <a:lnTo>
                  <a:pt x="70" y="100"/>
                </a:lnTo>
                <a:lnTo>
                  <a:pt x="72" y="96"/>
                </a:lnTo>
                <a:lnTo>
                  <a:pt x="72" y="90"/>
                </a:lnTo>
                <a:lnTo>
                  <a:pt x="70" y="84"/>
                </a:lnTo>
                <a:lnTo>
                  <a:pt x="66" y="74"/>
                </a:lnTo>
                <a:lnTo>
                  <a:pt x="62" y="68"/>
                </a:lnTo>
                <a:lnTo>
                  <a:pt x="60" y="64"/>
                </a:lnTo>
                <a:lnTo>
                  <a:pt x="58" y="60"/>
                </a:lnTo>
                <a:lnTo>
                  <a:pt x="58" y="40"/>
                </a:lnTo>
                <a:lnTo>
                  <a:pt x="58" y="32"/>
                </a:lnTo>
                <a:lnTo>
                  <a:pt x="52" y="24"/>
                </a:lnTo>
                <a:lnTo>
                  <a:pt x="42" y="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EAD0921A-7D5B-41A0-A76A-17CF8A7C0F73}"/>
              </a:ext>
            </a:extLst>
          </p:cNvPr>
          <p:cNvSpPr>
            <a:spLocks/>
          </p:cNvSpPr>
          <p:nvPr/>
        </p:nvSpPr>
        <p:spPr bwMode="auto">
          <a:xfrm>
            <a:off x="6998830" y="2914358"/>
            <a:ext cx="266799" cy="568211"/>
          </a:xfrm>
          <a:custGeom>
            <a:avLst/>
            <a:gdLst/>
            <a:ahLst/>
            <a:cxnLst>
              <a:cxn ang="0">
                <a:pos x="0" y="140"/>
              </a:cxn>
              <a:cxn ang="0">
                <a:pos x="28" y="166"/>
              </a:cxn>
              <a:cxn ang="0">
                <a:pos x="42" y="180"/>
              </a:cxn>
              <a:cxn ang="0">
                <a:pos x="48" y="198"/>
              </a:cxn>
              <a:cxn ang="0">
                <a:pos x="46" y="212"/>
              </a:cxn>
              <a:cxn ang="0">
                <a:pos x="44" y="224"/>
              </a:cxn>
              <a:cxn ang="0">
                <a:pos x="48" y="226"/>
              </a:cxn>
              <a:cxn ang="0">
                <a:pos x="58" y="228"/>
              </a:cxn>
              <a:cxn ang="0">
                <a:pos x="66" y="228"/>
              </a:cxn>
              <a:cxn ang="0">
                <a:pos x="80" y="224"/>
              </a:cxn>
              <a:cxn ang="0">
                <a:pos x="84" y="206"/>
              </a:cxn>
              <a:cxn ang="0">
                <a:pos x="96" y="220"/>
              </a:cxn>
              <a:cxn ang="0">
                <a:pos x="106" y="252"/>
              </a:cxn>
              <a:cxn ang="0">
                <a:pos x="118" y="276"/>
              </a:cxn>
              <a:cxn ang="0">
                <a:pos x="122" y="286"/>
              </a:cxn>
              <a:cxn ang="0">
                <a:pos x="124" y="310"/>
              </a:cxn>
              <a:cxn ang="0">
                <a:pos x="128" y="318"/>
              </a:cxn>
              <a:cxn ang="0">
                <a:pos x="134" y="308"/>
              </a:cxn>
              <a:cxn ang="0">
                <a:pos x="134" y="292"/>
              </a:cxn>
              <a:cxn ang="0">
                <a:pos x="124" y="270"/>
              </a:cxn>
              <a:cxn ang="0">
                <a:pos x="108" y="252"/>
              </a:cxn>
              <a:cxn ang="0">
                <a:pos x="110" y="240"/>
              </a:cxn>
              <a:cxn ang="0">
                <a:pos x="112" y="228"/>
              </a:cxn>
              <a:cxn ang="0">
                <a:pos x="110" y="214"/>
              </a:cxn>
              <a:cxn ang="0">
                <a:pos x="94" y="196"/>
              </a:cxn>
              <a:cxn ang="0">
                <a:pos x="90" y="180"/>
              </a:cxn>
              <a:cxn ang="0">
                <a:pos x="94" y="168"/>
              </a:cxn>
              <a:cxn ang="0">
                <a:pos x="106" y="156"/>
              </a:cxn>
              <a:cxn ang="0">
                <a:pos x="124" y="144"/>
              </a:cxn>
              <a:cxn ang="0">
                <a:pos x="132" y="134"/>
              </a:cxn>
              <a:cxn ang="0">
                <a:pos x="132" y="128"/>
              </a:cxn>
              <a:cxn ang="0">
                <a:pos x="120" y="122"/>
              </a:cxn>
              <a:cxn ang="0">
                <a:pos x="108" y="116"/>
              </a:cxn>
              <a:cxn ang="0">
                <a:pos x="110" y="102"/>
              </a:cxn>
              <a:cxn ang="0">
                <a:pos x="104" y="96"/>
              </a:cxn>
              <a:cxn ang="0">
                <a:pos x="98" y="90"/>
              </a:cxn>
              <a:cxn ang="0">
                <a:pos x="94" y="82"/>
              </a:cxn>
              <a:cxn ang="0">
                <a:pos x="84" y="82"/>
              </a:cxn>
              <a:cxn ang="0">
                <a:pos x="78" y="76"/>
              </a:cxn>
              <a:cxn ang="0">
                <a:pos x="76" y="64"/>
              </a:cxn>
              <a:cxn ang="0">
                <a:pos x="82" y="52"/>
              </a:cxn>
              <a:cxn ang="0">
                <a:pos x="86" y="48"/>
              </a:cxn>
              <a:cxn ang="0">
                <a:pos x="84" y="28"/>
              </a:cxn>
              <a:cxn ang="0">
                <a:pos x="80" y="14"/>
              </a:cxn>
              <a:cxn ang="0">
                <a:pos x="72" y="12"/>
              </a:cxn>
              <a:cxn ang="0">
                <a:pos x="68" y="4"/>
              </a:cxn>
              <a:cxn ang="0">
                <a:pos x="62" y="0"/>
              </a:cxn>
              <a:cxn ang="0">
                <a:pos x="56" y="8"/>
              </a:cxn>
              <a:cxn ang="0">
                <a:pos x="56" y="20"/>
              </a:cxn>
              <a:cxn ang="0">
                <a:pos x="44" y="22"/>
              </a:cxn>
              <a:cxn ang="0">
                <a:pos x="30" y="34"/>
              </a:cxn>
              <a:cxn ang="0">
                <a:pos x="30" y="40"/>
              </a:cxn>
              <a:cxn ang="0">
                <a:pos x="26" y="60"/>
              </a:cxn>
              <a:cxn ang="0">
                <a:pos x="28" y="64"/>
              </a:cxn>
              <a:cxn ang="0">
                <a:pos x="28" y="70"/>
              </a:cxn>
              <a:cxn ang="0">
                <a:pos x="20" y="84"/>
              </a:cxn>
              <a:cxn ang="0">
                <a:pos x="16" y="82"/>
              </a:cxn>
              <a:cxn ang="0">
                <a:pos x="10" y="86"/>
              </a:cxn>
              <a:cxn ang="0">
                <a:pos x="12" y="100"/>
              </a:cxn>
              <a:cxn ang="0">
                <a:pos x="10" y="118"/>
              </a:cxn>
              <a:cxn ang="0">
                <a:pos x="2" y="124"/>
              </a:cxn>
              <a:cxn ang="0">
                <a:pos x="0" y="136"/>
              </a:cxn>
            </a:cxnLst>
            <a:rect l="0" t="0" r="r" b="b"/>
            <a:pathLst>
              <a:path w="134" h="318">
                <a:moveTo>
                  <a:pt x="0" y="136"/>
                </a:moveTo>
                <a:lnTo>
                  <a:pt x="0" y="140"/>
                </a:lnTo>
                <a:lnTo>
                  <a:pt x="14" y="152"/>
                </a:lnTo>
                <a:lnTo>
                  <a:pt x="28" y="166"/>
                </a:lnTo>
                <a:lnTo>
                  <a:pt x="36" y="172"/>
                </a:lnTo>
                <a:lnTo>
                  <a:pt x="42" y="180"/>
                </a:lnTo>
                <a:lnTo>
                  <a:pt x="46" y="190"/>
                </a:lnTo>
                <a:lnTo>
                  <a:pt x="48" y="198"/>
                </a:lnTo>
                <a:lnTo>
                  <a:pt x="48" y="204"/>
                </a:lnTo>
                <a:lnTo>
                  <a:pt x="46" y="212"/>
                </a:lnTo>
                <a:lnTo>
                  <a:pt x="44" y="218"/>
                </a:lnTo>
                <a:lnTo>
                  <a:pt x="44" y="224"/>
                </a:lnTo>
                <a:lnTo>
                  <a:pt x="44" y="226"/>
                </a:lnTo>
                <a:lnTo>
                  <a:pt x="48" y="226"/>
                </a:lnTo>
                <a:lnTo>
                  <a:pt x="56" y="224"/>
                </a:lnTo>
                <a:lnTo>
                  <a:pt x="58" y="228"/>
                </a:lnTo>
                <a:lnTo>
                  <a:pt x="62" y="228"/>
                </a:lnTo>
                <a:lnTo>
                  <a:pt x="66" y="228"/>
                </a:lnTo>
                <a:lnTo>
                  <a:pt x="72" y="228"/>
                </a:lnTo>
                <a:lnTo>
                  <a:pt x="80" y="224"/>
                </a:lnTo>
                <a:lnTo>
                  <a:pt x="84" y="216"/>
                </a:lnTo>
                <a:lnTo>
                  <a:pt x="84" y="206"/>
                </a:lnTo>
                <a:lnTo>
                  <a:pt x="90" y="212"/>
                </a:lnTo>
                <a:lnTo>
                  <a:pt x="96" y="220"/>
                </a:lnTo>
                <a:lnTo>
                  <a:pt x="102" y="234"/>
                </a:lnTo>
                <a:lnTo>
                  <a:pt x="106" y="252"/>
                </a:lnTo>
                <a:lnTo>
                  <a:pt x="110" y="268"/>
                </a:lnTo>
                <a:lnTo>
                  <a:pt x="118" y="276"/>
                </a:lnTo>
                <a:lnTo>
                  <a:pt x="122" y="282"/>
                </a:lnTo>
                <a:lnTo>
                  <a:pt x="122" y="286"/>
                </a:lnTo>
                <a:lnTo>
                  <a:pt x="124" y="304"/>
                </a:lnTo>
                <a:lnTo>
                  <a:pt x="124" y="310"/>
                </a:lnTo>
                <a:lnTo>
                  <a:pt x="122" y="318"/>
                </a:lnTo>
                <a:lnTo>
                  <a:pt x="128" y="318"/>
                </a:lnTo>
                <a:lnTo>
                  <a:pt x="132" y="312"/>
                </a:lnTo>
                <a:lnTo>
                  <a:pt x="134" y="308"/>
                </a:lnTo>
                <a:lnTo>
                  <a:pt x="134" y="302"/>
                </a:lnTo>
                <a:lnTo>
                  <a:pt x="134" y="292"/>
                </a:lnTo>
                <a:lnTo>
                  <a:pt x="130" y="280"/>
                </a:lnTo>
                <a:lnTo>
                  <a:pt x="124" y="270"/>
                </a:lnTo>
                <a:lnTo>
                  <a:pt x="120" y="262"/>
                </a:lnTo>
                <a:lnTo>
                  <a:pt x="108" y="252"/>
                </a:lnTo>
                <a:lnTo>
                  <a:pt x="110" y="246"/>
                </a:lnTo>
                <a:lnTo>
                  <a:pt x="110" y="240"/>
                </a:lnTo>
                <a:lnTo>
                  <a:pt x="112" y="234"/>
                </a:lnTo>
                <a:lnTo>
                  <a:pt x="112" y="228"/>
                </a:lnTo>
                <a:lnTo>
                  <a:pt x="112" y="220"/>
                </a:lnTo>
                <a:lnTo>
                  <a:pt x="110" y="214"/>
                </a:lnTo>
                <a:lnTo>
                  <a:pt x="102" y="204"/>
                </a:lnTo>
                <a:lnTo>
                  <a:pt x="94" y="196"/>
                </a:lnTo>
                <a:lnTo>
                  <a:pt x="92" y="190"/>
                </a:lnTo>
                <a:lnTo>
                  <a:pt x="90" y="180"/>
                </a:lnTo>
                <a:lnTo>
                  <a:pt x="92" y="172"/>
                </a:lnTo>
                <a:lnTo>
                  <a:pt x="94" y="168"/>
                </a:lnTo>
                <a:lnTo>
                  <a:pt x="98" y="162"/>
                </a:lnTo>
                <a:lnTo>
                  <a:pt x="106" y="156"/>
                </a:lnTo>
                <a:lnTo>
                  <a:pt x="118" y="148"/>
                </a:lnTo>
                <a:lnTo>
                  <a:pt x="124" y="144"/>
                </a:lnTo>
                <a:lnTo>
                  <a:pt x="130" y="140"/>
                </a:lnTo>
                <a:lnTo>
                  <a:pt x="132" y="134"/>
                </a:lnTo>
                <a:lnTo>
                  <a:pt x="134" y="130"/>
                </a:lnTo>
                <a:lnTo>
                  <a:pt x="132" y="128"/>
                </a:lnTo>
                <a:lnTo>
                  <a:pt x="126" y="126"/>
                </a:lnTo>
                <a:lnTo>
                  <a:pt x="120" y="122"/>
                </a:lnTo>
                <a:lnTo>
                  <a:pt x="114" y="118"/>
                </a:lnTo>
                <a:lnTo>
                  <a:pt x="108" y="116"/>
                </a:lnTo>
                <a:lnTo>
                  <a:pt x="110" y="106"/>
                </a:lnTo>
                <a:lnTo>
                  <a:pt x="110" y="102"/>
                </a:lnTo>
                <a:lnTo>
                  <a:pt x="108" y="98"/>
                </a:lnTo>
                <a:lnTo>
                  <a:pt x="104" y="96"/>
                </a:lnTo>
                <a:lnTo>
                  <a:pt x="100" y="94"/>
                </a:lnTo>
                <a:lnTo>
                  <a:pt x="98" y="90"/>
                </a:lnTo>
                <a:lnTo>
                  <a:pt x="96" y="84"/>
                </a:lnTo>
                <a:lnTo>
                  <a:pt x="94" y="82"/>
                </a:lnTo>
                <a:lnTo>
                  <a:pt x="90" y="82"/>
                </a:lnTo>
                <a:lnTo>
                  <a:pt x="84" y="82"/>
                </a:lnTo>
                <a:lnTo>
                  <a:pt x="80" y="80"/>
                </a:lnTo>
                <a:lnTo>
                  <a:pt x="78" y="76"/>
                </a:lnTo>
                <a:lnTo>
                  <a:pt x="76" y="68"/>
                </a:lnTo>
                <a:lnTo>
                  <a:pt x="76" y="64"/>
                </a:lnTo>
                <a:lnTo>
                  <a:pt x="78" y="58"/>
                </a:lnTo>
                <a:lnTo>
                  <a:pt x="82" y="52"/>
                </a:lnTo>
                <a:lnTo>
                  <a:pt x="88" y="50"/>
                </a:lnTo>
                <a:lnTo>
                  <a:pt x="86" y="48"/>
                </a:lnTo>
                <a:lnTo>
                  <a:pt x="88" y="44"/>
                </a:lnTo>
                <a:lnTo>
                  <a:pt x="84" y="28"/>
                </a:lnTo>
                <a:lnTo>
                  <a:pt x="82" y="18"/>
                </a:lnTo>
                <a:lnTo>
                  <a:pt x="80" y="14"/>
                </a:lnTo>
                <a:lnTo>
                  <a:pt x="76" y="14"/>
                </a:lnTo>
                <a:lnTo>
                  <a:pt x="72" y="12"/>
                </a:lnTo>
                <a:lnTo>
                  <a:pt x="72" y="10"/>
                </a:lnTo>
                <a:lnTo>
                  <a:pt x="68" y="4"/>
                </a:lnTo>
                <a:lnTo>
                  <a:pt x="66" y="2"/>
                </a:lnTo>
                <a:lnTo>
                  <a:pt x="62" y="0"/>
                </a:lnTo>
                <a:lnTo>
                  <a:pt x="56" y="0"/>
                </a:lnTo>
                <a:lnTo>
                  <a:pt x="56" y="8"/>
                </a:lnTo>
                <a:lnTo>
                  <a:pt x="54" y="14"/>
                </a:lnTo>
                <a:lnTo>
                  <a:pt x="56" y="20"/>
                </a:lnTo>
                <a:lnTo>
                  <a:pt x="50" y="20"/>
                </a:lnTo>
                <a:lnTo>
                  <a:pt x="44" y="22"/>
                </a:lnTo>
                <a:lnTo>
                  <a:pt x="36" y="28"/>
                </a:lnTo>
                <a:lnTo>
                  <a:pt x="30" y="34"/>
                </a:lnTo>
                <a:lnTo>
                  <a:pt x="28" y="36"/>
                </a:lnTo>
                <a:lnTo>
                  <a:pt x="30" y="40"/>
                </a:lnTo>
                <a:lnTo>
                  <a:pt x="32" y="42"/>
                </a:lnTo>
                <a:lnTo>
                  <a:pt x="26" y="60"/>
                </a:lnTo>
                <a:lnTo>
                  <a:pt x="26" y="62"/>
                </a:lnTo>
                <a:lnTo>
                  <a:pt x="28" y="64"/>
                </a:lnTo>
                <a:lnTo>
                  <a:pt x="30" y="64"/>
                </a:lnTo>
                <a:lnTo>
                  <a:pt x="28" y="70"/>
                </a:lnTo>
                <a:lnTo>
                  <a:pt x="26" y="74"/>
                </a:lnTo>
                <a:lnTo>
                  <a:pt x="20" y="84"/>
                </a:lnTo>
                <a:lnTo>
                  <a:pt x="18" y="84"/>
                </a:lnTo>
                <a:lnTo>
                  <a:pt x="16" y="82"/>
                </a:lnTo>
                <a:lnTo>
                  <a:pt x="12" y="86"/>
                </a:lnTo>
                <a:lnTo>
                  <a:pt x="10" y="86"/>
                </a:lnTo>
                <a:lnTo>
                  <a:pt x="12" y="92"/>
                </a:lnTo>
                <a:lnTo>
                  <a:pt x="12" y="100"/>
                </a:lnTo>
                <a:lnTo>
                  <a:pt x="10" y="110"/>
                </a:lnTo>
                <a:lnTo>
                  <a:pt x="10" y="118"/>
                </a:lnTo>
                <a:lnTo>
                  <a:pt x="4" y="118"/>
                </a:lnTo>
                <a:lnTo>
                  <a:pt x="2" y="124"/>
                </a:lnTo>
                <a:lnTo>
                  <a:pt x="0" y="130"/>
                </a:lnTo>
                <a:lnTo>
                  <a:pt x="0" y="13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34FCFBC1-9592-4C27-B3FA-2534D4F9824F}"/>
              </a:ext>
            </a:extLst>
          </p:cNvPr>
          <p:cNvSpPr>
            <a:spLocks/>
          </p:cNvSpPr>
          <p:nvPr/>
        </p:nvSpPr>
        <p:spPr bwMode="auto">
          <a:xfrm>
            <a:off x="6844906" y="2982544"/>
            <a:ext cx="165894" cy="170463"/>
          </a:xfrm>
          <a:custGeom>
            <a:avLst/>
            <a:gdLst/>
            <a:ahLst/>
            <a:cxnLst>
              <a:cxn ang="0">
                <a:pos x="80" y="86"/>
              </a:cxn>
              <a:cxn ang="0">
                <a:pos x="74" y="88"/>
              </a:cxn>
              <a:cxn ang="0">
                <a:pos x="70" y="76"/>
              </a:cxn>
              <a:cxn ang="0">
                <a:pos x="58" y="72"/>
              </a:cxn>
              <a:cxn ang="0">
                <a:pos x="50" y="70"/>
              </a:cxn>
              <a:cxn ang="0">
                <a:pos x="46" y="66"/>
              </a:cxn>
              <a:cxn ang="0">
                <a:pos x="40" y="80"/>
              </a:cxn>
              <a:cxn ang="0">
                <a:pos x="26" y="86"/>
              </a:cxn>
              <a:cxn ang="0">
                <a:pos x="22" y="70"/>
              </a:cxn>
              <a:cxn ang="0">
                <a:pos x="20" y="58"/>
              </a:cxn>
              <a:cxn ang="0">
                <a:pos x="14" y="52"/>
              </a:cxn>
              <a:cxn ang="0">
                <a:pos x="16" y="40"/>
              </a:cxn>
              <a:cxn ang="0">
                <a:pos x="8" y="34"/>
              </a:cxn>
              <a:cxn ang="0">
                <a:pos x="6" y="28"/>
              </a:cxn>
              <a:cxn ang="0">
                <a:pos x="10" y="26"/>
              </a:cxn>
              <a:cxn ang="0">
                <a:pos x="10" y="18"/>
              </a:cxn>
              <a:cxn ang="0">
                <a:pos x="2" y="10"/>
              </a:cxn>
              <a:cxn ang="0">
                <a:pos x="0" y="4"/>
              </a:cxn>
              <a:cxn ang="0">
                <a:pos x="6" y="0"/>
              </a:cxn>
              <a:cxn ang="0">
                <a:pos x="24" y="10"/>
              </a:cxn>
              <a:cxn ang="0">
                <a:pos x="28" y="16"/>
              </a:cxn>
              <a:cxn ang="0">
                <a:pos x="28" y="22"/>
              </a:cxn>
              <a:cxn ang="0">
                <a:pos x="34" y="26"/>
              </a:cxn>
              <a:cxn ang="0">
                <a:pos x="46" y="26"/>
              </a:cxn>
              <a:cxn ang="0">
                <a:pos x="70" y="30"/>
              </a:cxn>
              <a:cxn ang="0">
                <a:pos x="56" y="56"/>
              </a:cxn>
              <a:cxn ang="0">
                <a:pos x="62" y="62"/>
              </a:cxn>
              <a:cxn ang="0">
                <a:pos x="68" y="56"/>
              </a:cxn>
              <a:cxn ang="0">
                <a:pos x="70" y="50"/>
              </a:cxn>
              <a:cxn ang="0">
                <a:pos x="78" y="66"/>
              </a:cxn>
              <a:cxn ang="0">
                <a:pos x="82" y="78"/>
              </a:cxn>
              <a:cxn ang="0">
                <a:pos x="82" y="82"/>
              </a:cxn>
            </a:cxnLst>
            <a:rect l="0" t="0" r="r" b="b"/>
            <a:pathLst>
              <a:path w="84" h="96">
                <a:moveTo>
                  <a:pt x="82" y="82"/>
                </a:moveTo>
                <a:lnTo>
                  <a:pt x="80" y="86"/>
                </a:lnTo>
                <a:lnTo>
                  <a:pt x="78" y="96"/>
                </a:lnTo>
                <a:lnTo>
                  <a:pt x="74" y="88"/>
                </a:lnTo>
                <a:lnTo>
                  <a:pt x="72" y="84"/>
                </a:lnTo>
                <a:lnTo>
                  <a:pt x="70" y="76"/>
                </a:lnTo>
                <a:lnTo>
                  <a:pt x="64" y="70"/>
                </a:lnTo>
                <a:lnTo>
                  <a:pt x="58" y="72"/>
                </a:lnTo>
                <a:lnTo>
                  <a:pt x="52" y="72"/>
                </a:lnTo>
                <a:lnTo>
                  <a:pt x="50" y="70"/>
                </a:lnTo>
                <a:lnTo>
                  <a:pt x="48" y="68"/>
                </a:lnTo>
                <a:lnTo>
                  <a:pt x="46" y="66"/>
                </a:lnTo>
                <a:lnTo>
                  <a:pt x="46" y="72"/>
                </a:lnTo>
                <a:lnTo>
                  <a:pt x="40" y="80"/>
                </a:lnTo>
                <a:lnTo>
                  <a:pt x="32" y="84"/>
                </a:lnTo>
                <a:lnTo>
                  <a:pt x="26" y="86"/>
                </a:lnTo>
                <a:lnTo>
                  <a:pt x="24" y="76"/>
                </a:lnTo>
                <a:lnTo>
                  <a:pt x="22" y="70"/>
                </a:lnTo>
                <a:lnTo>
                  <a:pt x="22" y="62"/>
                </a:lnTo>
                <a:lnTo>
                  <a:pt x="20" y="58"/>
                </a:lnTo>
                <a:lnTo>
                  <a:pt x="18" y="54"/>
                </a:lnTo>
                <a:lnTo>
                  <a:pt x="14" y="52"/>
                </a:lnTo>
                <a:lnTo>
                  <a:pt x="14" y="50"/>
                </a:lnTo>
                <a:lnTo>
                  <a:pt x="16" y="40"/>
                </a:lnTo>
                <a:lnTo>
                  <a:pt x="10" y="36"/>
                </a:lnTo>
                <a:lnTo>
                  <a:pt x="8" y="34"/>
                </a:lnTo>
                <a:lnTo>
                  <a:pt x="6" y="30"/>
                </a:lnTo>
                <a:lnTo>
                  <a:pt x="6" y="28"/>
                </a:lnTo>
                <a:lnTo>
                  <a:pt x="8" y="26"/>
                </a:lnTo>
                <a:lnTo>
                  <a:pt x="10" y="26"/>
                </a:lnTo>
                <a:lnTo>
                  <a:pt x="12" y="22"/>
                </a:lnTo>
                <a:lnTo>
                  <a:pt x="10" y="18"/>
                </a:lnTo>
                <a:lnTo>
                  <a:pt x="6" y="14"/>
                </a:lnTo>
                <a:lnTo>
                  <a:pt x="2" y="10"/>
                </a:lnTo>
                <a:lnTo>
                  <a:pt x="0" y="6"/>
                </a:lnTo>
                <a:lnTo>
                  <a:pt x="0" y="4"/>
                </a:lnTo>
                <a:lnTo>
                  <a:pt x="2" y="2"/>
                </a:lnTo>
                <a:lnTo>
                  <a:pt x="6" y="0"/>
                </a:lnTo>
                <a:lnTo>
                  <a:pt x="20" y="6"/>
                </a:lnTo>
                <a:lnTo>
                  <a:pt x="24" y="10"/>
                </a:lnTo>
                <a:lnTo>
                  <a:pt x="28" y="12"/>
                </a:lnTo>
                <a:lnTo>
                  <a:pt x="28" y="16"/>
                </a:lnTo>
                <a:lnTo>
                  <a:pt x="28" y="20"/>
                </a:lnTo>
                <a:lnTo>
                  <a:pt x="28" y="22"/>
                </a:lnTo>
                <a:lnTo>
                  <a:pt x="30" y="24"/>
                </a:lnTo>
                <a:lnTo>
                  <a:pt x="34" y="26"/>
                </a:lnTo>
                <a:lnTo>
                  <a:pt x="38" y="26"/>
                </a:lnTo>
                <a:lnTo>
                  <a:pt x="46" y="26"/>
                </a:lnTo>
                <a:lnTo>
                  <a:pt x="70" y="26"/>
                </a:lnTo>
                <a:lnTo>
                  <a:pt x="70" y="30"/>
                </a:lnTo>
                <a:lnTo>
                  <a:pt x="52" y="50"/>
                </a:lnTo>
                <a:lnTo>
                  <a:pt x="56" y="56"/>
                </a:lnTo>
                <a:lnTo>
                  <a:pt x="60" y="60"/>
                </a:lnTo>
                <a:lnTo>
                  <a:pt x="62" y="62"/>
                </a:lnTo>
                <a:lnTo>
                  <a:pt x="66" y="60"/>
                </a:lnTo>
                <a:lnTo>
                  <a:pt x="68" y="56"/>
                </a:lnTo>
                <a:lnTo>
                  <a:pt x="68" y="52"/>
                </a:lnTo>
                <a:lnTo>
                  <a:pt x="70" y="50"/>
                </a:lnTo>
                <a:lnTo>
                  <a:pt x="74" y="56"/>
                </a:lnTo>
                <a:lnTo>
                  <a:pt x="78" y="66"/>
                </a:lnTo>
                <a:lnTo>
                  <a:pt x="78" y="76"/>
                </a:lnTo>
                <a:lnTo>
                  <a:pt x="82" y="78"/>
                </a:lnTo>
                <a:lnTo>
                  <a:pt x="84" y="80"/>
                </a:lnTo>
                <a:lnTo>
                  <a:pt x="82" y="8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Freeform 19">
            <a:extLst>
              <a:ext uri="{FF2B5EF4-FFF2-40B4-BE49-F238E27FC236}">
                <a16:creationId xmlns:a16="http://schemas.microsoft.com/office/drawing/2014/main" id="{0C8312A3-79E8-488A-8655-0DEFA32A9AE9}"/>
              </a:ext>
            </a:extLst>
          </p:cNvPr>
          <p:cNvSpPr>
            <a:spLocks/>
          </p:cNvSpPr>
          <p:nvPr/>
        </p:nvSpPr>
        <p:spPr bwMode="auto">
          <a:xfrm>
            <a:off x="6253161" y="2678957"/>
            <a:ext cx="856835" cy="896149"/>
          </a:xfrm>
          <a:custGeom>
            <a:avLst/>
            <a:gdLst/>
            <a:ahLst/>
            <a:cxnLst>
              <a:cxn ang="0">
                <a:pos x="428" y="152"/>
              </a:cxn>
              <a:cxn ang="0">
                <a:pos x="408" y="172"/>
              </a:cxn>
              <a:cxn ang="0">
                <a:pos x="408" y="196"/>
              </a:cxn>
              <a:cxn ang="0">
                <a:pos x="394" y="214"/>
              </a:cxn>
              <a:cxn ang="0">
                <a:pos x="388" y="250"/>
              </a:cxn>
              <a:cxn ang="0">
                <a:pos x="374" y="226"/>
              </a:cxn>
              <a:cxn ang="0">
                <a:pos x="362" y="232"/>
              </a:cxn>
              <a:cxn ang="0">
                <a:pos x="370" y="196"/>
              </a:cxn>
              <a:cxn ang="0">
                <a:pos x="328" y="192"/>
              </a:cxn>
              <a:cxn ang="0">
                <a:pos x="320" y="176"/>
              </a:cxn>
              <a:cxn ang="0">
                <a:pos x="302" y="180"/>
              </a:cxn>
              <a:cxn ang="0">
                <a:pos x="308" y="196"/>
              </a:cxn>
              <a:cxn ang="0">
                <a:pos x="316" y="210"/>
              </a:cxn>
              <a:cxn ang="0">
                <a:pos x="322" y="232"/>
              </a:cxn>
              <a:cxn ang="0">
                <a:pos x="310" y="256"/>
              </a:cxn>
              <a:cxn ang="0">
                <a:pos x="292" y="288"/>
              </a:cxn>
              <a:cxn ang="0">
                <a:pos x="266" y="306"/>
              </a:cxn>
              <a:cxn ang="0">
                <a:pos x="222" y="360"/>
              </a:cxn>
              <a:cxn ang="0">
                <a:pos x="198" y="382"/>
              </a:cxn>
              <a:cxn ang="0">
                <a:pos x="206" y="426"/>
              </a:cxn>
              <a:cxn ang="0">
                <a:pos x="204" y="450"/>
              </a:cxn>
              <a:cxn ang="0">
                <a:pos x="194" y="472"/>
              </a:cxn>
              <a:cxn ang="0">
                <a:pos x="186" y="490"/>
              </a:cxn>
              <a:cxn ang="0">
                <a:pos x="170" y="502"/>
              </a:cxn>
              <a:cxn ang="0">
                <a:pos x="142" y="466"/>
              </a:cxn>
              <a:cxn ang="0">
                <a:pos x="110" y="388"/>
              </a:cxn>
              <a:cxn ang="0">
                <a:pos x="76" y="284"/>
              </a:cxn>
              <a:cxn ang="0">
                <a:pos x="66" y="258"/>
              </a:cxn>
              <a:cxn ang="0">
                <a:pos x="44" y="276"/>
              </a:cxn>
              <a:cxn ang="0">
                <a:pos x="20" y="246"/>
              </a:cxn>
              <a:cxn ang="0">
                <a:pos x="24" y="240"/>
              </a:cxn>
              <a:cxn ang="0">
                <a:pos x="0" y="220"/>
              </a:cxn>
              <a:cxn ang="0">
                <a:pos x="12" y="210"/>
              </a:cxn>
              <a:cxn ang="0">
                <a:pos x="38" y="204"/>
              </a:cxn>
              <a:cxn ang="0">
                <a:pos x="20" y="178"/>
              </a:cxn>
              <a:cxn ang="0">
                <a:pos x="8" y="160"/>
              </a:cxn>
              <a:cxn ang="0">
                <a:pos x="26" y="144"/>
              </a:cxn>
              <a:cxn ang="0">
                <a:pos x="52" y="124"/>
              </a:cxn>
              <a:cxn ang="0">
                <a:pos x="68" y="92"/>
              </a:cxn>
              <a:cxn ang="0">
                <a:pos x="78" y="66"/>
              </a:cxn>
              <a:cxn ang="0">
                <a:pos x="52" y="34"/>
              </a:cxn>
              <a:cxn ang="0">
                <a:pos x="62" y="20"/>
              </a:cxn>
              <a:cxn ang="0">
                <a:pos x="88" y="18"/>
              </a:cxn>
              <a:cxn ang="0">
                <a:pos x="128" y="0"/>
              </a:cxn>
              <a:cxn ang="0">
                <a:pos x="140" y="16"/>
              </a:cxn>
              <a:cxn ang="0">
                <a:pos x="134" y="48"/>
              </a:cxn>
              <a:cxn ang="0">
                <a:pos x="134" y="68"/>
              </a:cxn>
              <a:cxn ang="0">
                <a:pos x="156" y="88"/>
              </a:cxn>
              <a:cxn ang="0">
                <a:pos x="168" y="126"/>
              </a:cxn>
              <a:cxn ang="0">
                <a:pos x="220" y="154"/>
              </a:cxn>
              <a:cxn ang="0">
                <a:pos x="248" y="164"/>
              </a:cxn>
              <a:cxn ang="0">
                <a:pos x="298" y="168"/>
              </a:cxn>
              <a:cxn ang="0">
                <a:pos x="294" y="148"/>
              </a:cxn>
              <a:cxn ang="0">
                <a:pos x="308" y="158"/>
              </a:cxn>
              <a:cxn ang="0">
                <a:pos x="348" y="166"/>
              </a:cxn>
              <a:cxn ang="0">
                <a:pos x="364" y="140"/>
              </a:cxn>
              <a:cxn ang="0">
                <a:pos x="394" y="120"/>
              </a:cxn>
              <a:cxn ang="0">
                <a:pos x="406" y="116"/>
              </a:cxn>
              <a:cxn ang="0">
                <a:pos x="424" y="134"/>
              </a:cxn>
            </a:cxnLst>
            <a:rect l="0" t="0" r="r" b="b"/>
            <a:pathLst>
              <a:path w="434" h="502">
                <a:moveTo>
                  <a:pt x="434" y="132"/>
                </a:moveTo>
                <a:lnTo>
                  <a:pt x="434" y="140"/>
                </a:lnTo>
                <a:lnTo>
                  <a:pt x="432" y="146"/>
                </a:lnTo>
                <a:lnTo>
                  <a:pt x="434" y="152"/>
                </a:lnTo>
                <a:lnTo>
                  <a:pt x="428" y="152"/>
                </a:lnTo>
                <a:lnTo>
                  <a:pt x="422" y="154"/>
                </a:lnTo>
                <a:lnTo>
                  <a:pt x="414" y="160"/>
                </a:lnTo>
                <a:lnTo>
                  <a:pt x="408" y="166"/>
                </a:lnTo>
                <a:lnTo>
                  <a:pt x="406" y="168"/>
                </a:lnTo>
                <a:lnTo>
                  <a:pt x="408" y="172"/>
                </a:lnTo>
                <a:lnTo>
                  <a:pt x="410" y="174"/>
                </a:lnTo>
                <a:lnTo>
                  <a:pt x="404" y="192"/>
                </a:lnTo>
                <a:lnTo>
                  <a:pt x="404" y="194"/>
                </a:lnTo>
                <a:lnTo>
                  <a:pt x="406" y="196"/>
                </a:lnTo>
                <a:lnTo>
                  <a:pt x="408" y="196"/>
                </a:lnTo>
                <a:lnTo>
                  <a:pt x="406" y="202"/>
                </a:lnTo>
                <a:lnTo>
                  <a:pt x="404" y="206"/>
                </a:lnTo>
                <a:lnTo>
                  <a:pt x="398" y="216"/>
                </a:lnTo>
                <a:lnTo>
                  <a:pt x="396" y="216"/>
                </a:lnTo>
                <a:lnTo>
                  <a:pt x="394" y="214"/>
                </a:lnTo>
                <a:lnTo>
                  <a:pt x="390" y="218"/>
                </a:lnTo>
                <a:lnTo>
                  <a:pt x="388" y="218"/>
                </a:lnTo>
                <a:lnTo>
                  <a:pt x="390" y="222"/>
                </a:lnTo>
                <a:lnTo>
                  <a:pt x="390" y="226"/>
                </a:lnTo>
                <a:lnTo>
                  <a:pt x="388" y="250"/>
                </a:lnTo>
                <a:lnTo>
                  <a:pt x="384" y="250"/>
                </a:lnTo>
                <a:lnTo>
                  <a:pt x="382" y="248"/>
                </a:lnTo>
                <a:lnTo>
                  <a:pt x="380" y="246"/>
                </a:lnTo>
                <a:lnTo>
                  <a:pt x="378" y="236"/>
                </a:lnTo>
                <a:lnTo>
                  <a:pt x="374" y="226"/>
                </a:lnTo>
                <a:lnTo>
                  <a:pt x="370" y="220"/>
                </a:lnTo>
                <a:lnTo>
                  <a:pt x="368" y="222"/>
                </a:lnTo>
                <a:lnTo>
                  <a:pt x="368" y="226"/>
                </a:lnTo>
                <a:lnTo>
                  <a:pt x="366" y="230"/>
                </a:lnTo>
                <a:lnTo>
                  <a:pt x="362" y="232"/>
                </a:lnTo>
                <a:lnTo>
                  <a:pt x="360" y="230"/>
                </a:lnTo>
                <a:lnTo>
                  <a:pt x="356" y="226"/>
                </a:lnTo>
                <a:lnTo>
                  <a:pt x="352" y="220"/>
                </a:lnTo>
                <a:lnTo>
                  <a:pt x="370" y="200"/>
                </a:lnTo>
                <a:lnTo>
                  <a:pt x="370" y="196"/>
                </a:lnTo>
                <a:lnTo>
                  <a:pt x="346" y="196"/>
                </a:lnTo>
                <a:lnTo>
                  <a:pt x="338" y="196"/>
                </a:lnTo>
                <a:lnTo>
                  <a:pt x="334" y="196"/>
                </a:lnTo>
                <a:lnTo>
                  <a:pt x="330" y="194"/>
                </a:lnTo>
                <a:lnTo>
                  <a:pt x="328" y="192"/>
                </a:lnTo>
                <a:lnTo>
                  <a:pt x="328" y="190"/>
                </a:lnTo>
                <a:lnTo>
                  <a:pt x="328" y="186"/>
                </a:lnTo>
                <a:lnTo>
                  <a:pt x="328" y="182"/>
                </a:lnTo>
                <a:lnTo>
                  <a:pt x="324" y="180"/>
                </a:lnTo>
                <a:lnTo>
                  <a:pt x="320" y="176"/>
                </a:lnTo>
                <a:lnTo>
                  <a:pt x="306" y="170"/>
                </a:lnTo>
                <a:lnTo>
                  <a:pt x="302" y="172"/>
                </a:lnTo>
                <a:lnTo>
                  <a:pt x="300" y="174"/>
                </a:lnTo>
                <a:lnTo>
                  <a:pt x="300" y="176"/>
                </a:lnTo>
                <a:lnTo>
                  <a:pt x="302" y="180"/>
                </a:lnTo>
                <a:lnTo>
                  <a:pt x="306" y="184"/>
                </a:lnTo>
                <a:lnTo>
                  <a:pt x="310" y="188"/>
                </a:lnTo>
                <a:lnTo>
                  <a:pt x="312" y="192"/>
                </a:lnTo>
                <a:lnTo>
                  <a:pt x="310" y="196"/>
                </a:lnTo>
                <a:lnTo>
                  <a:pt x="308" y="196"/>
                </a:lnTo>
                <a:lnTo>
                  <a:pt x="306" y="198"/>
                </a:lnTo>
                <a:lnTo>
                  <a:pt x="306" y="200"/>
                </a:lnTo>
                <a:lnTo>
                  <a:pt x="308" y="204"/>
                </a:lnTo>
                <a:lnTo>
                  <a:pt x="310" y="206"/>
                </a:lnTo>
                <a:lnTo>
                  <a:pt x="316" y="210"/>
                </a:lnTo>
                <a:lnTo>
                  <a:pt x="314" y="220"/>
                </a:lnTo>
                <a:lnTo>
                  <a:pt x="314" y="222"/>
                </a:lnTo>
                <a:lnTo>
                  <a:pt x="318" y="224"/>
                </a:lnTo>
                <a:lnTo>
                  <a:pt x="320" y="228"/>
                </a:lnTo>
                <a:lnTo>
                  <a:pt x="322" y="232"/>
                </a:lnTo>
                <a:lnTo>
                  <a:pt x="322" y="240"/>
                </a:lnTo>
                <a:lnTo>
                  <a:pt x="324" y="246"/>
                </a:lnTo>
                <a:lnTo>
                  <a:pt x="326" y="256"/>
                </a:lnTo>
                <a:lnTo>
                  <a:pt x="318" y="256"/>
                </a:lnTo>
                <a:lnTo>
                  <a:pt x="310" y="256"/>
                </a:lnTo>
                <a:lnTo>
                  <a:pt x="312" y="256"/>
                </a:lnTo>
                <a:lnTo>
                  <a:pt x="302" y="260"/>
                </a:lnTo>
                <a:lnTo>
                  <a:pt x="298" y="266"/>
                </a:lnTo>
                <a:lnTo>
                  <a:pt x="296" y="282"/>
                </a:lnTo>
                <a:lnTo>
                  <a:pt x="292" y="288"/>
                </a:lnTo>
                <a:lnTo>
                  <a:pt x="286" y="290"/>
                </a:lnTo>
                <a:lnTo>
                  <a:pt x="280" y="292"/>
                </a:lnTo>
                <a:lnTo>
                  <a:pt x="272" y="296"/>
                </a:lnTo>
                <a:lnTo>
                  <a:pt x="270" y="300"/>
                </a:lnTo>
                <a:lnTo>
                  <a:pt x="266" y="306"/>
                </a:lnTo>
                <a:lnTo>
                  <a:pt x="260" y="318"/>
                </a:lnTo>
                <a:lnTo>
                  <a:pt x="246" y="334"/>
                </a:lnTo>
                <a:lnTo>
                  <a:pt x="232" y="352"/>
                </a:lnTo>
                <a:lnTo>
                  <a:pt x="226" y="358"/>
                </a:lnTo>
                <a:lnTo>
                  <a:pt x="222" y="360"/>
                </a:lnTo>
                <a:lnTo>
                  <a:pt x="212" y="364"/>
                </a:lnTo>
                <a:lnTo>
                  <a:pt x="206" y="366"/>
                </a:lnTo>
                <a:lnTo>
                  <a:pt x="202" y="370"/>
                </a:lnTo>
                <a:lnTo>
                  <a:pt x="200" y="376"/>
                </a:lnTo>
                <a:lnTo>
                  <a:pt x="198" y="382"/>
                </a:lnTo>
                <a:lnTo>
                  <a:pt x="200" y="388"/>
                </a:lnTo>
                <a:lnTo>
                  <a:pt x="202" y="398"/>
                </a:lnTo>
                <a:lnTo>
                  <a:pt x="206" y="406"/>
                </a:lnTo>
                <a:lnTo>
                  <a:pt x="208" y="416"/>
                </a:lnTo>
                <a:lnTo>
                  <a:pt x="206" y="426"/>
                </a:lnTo>
                <a:lnTo>
                  <a:pt x="204" y="432"/>
                </a:lnTo>
                <a:lnTo>
                  <a:pt x="202" y="436"/>
                </a:lnTo>
                <a:lnTo>
                  <a:pt x="202" y="442"/>
                </a:lnTo>
                <a:lnTo>
                  <a:pt x="202" y="446"/>
                </a:lnTo>
                <a:lnTo>
                  <a:pt x="204" y="450"/>
                </a:lnTo>
                <a:lnTo>
                  <a:pt x="206" y="452"/>
                </a:lnTo>
                <a:lnTo>
                  <a:pt x="206" y="456"/>
                </a:lnTo>
                <a:lnTo>
                  <a:pt x="204" y="464"/>
                </a:lnTo>
                <a:lnTo>
                  <a:pt x="198" y="468"/>
                </a:lnTo>
                <a:lnTo>
                  <a:pt x="194" y="472"/>
                </a:lnTo>
                <a:lnTo>
                  <a:pt x="192" y="478"/>
                </a:lnTo>
                <a:lnTo>
                  <a:pt x="194" y="484"/>
                </a:lnTo>
                <a:lnTo>
                  <a:pt x="196" y="486"/>
                </a:lnTo>
                <a:lnTo>
                  <a:pt x="188" y="488"/>
                </a:lnTo>
                <a:lnTo>
                  <a:pt x="186" y="490"/>
                </a:lnTo>
                <a:lnTo>
                  <a:pt x="184" y="492"/>
                </a:lnTo>
                <a:lnTo>
                  <a:pt x="182" y="496"/>
                </a:lnTo>
                <a:lnTo>
                  <a:pt x="178" y="500"/>
                </a:lnTo>
                <a:lnTo>
                  <a:pt x="174" y="502"/>
                </a:lnTo>
                <a:lnTo>
                  <a:pt x="170" y="502"/>
                </a:lnTo>
                <a:lnTo>
                  <a:pt x="164" y="500"/>
                </a:lnTo>
                <a:lnTo>
                  <a:pt x="160" y="496"/>
                </a:lnTo>
                <a:lnTo>
                  <a:pt x="154" y="490"/>
                </a:lnTo>
                <a:lnTo>
                  <a:pt x="150" y="482"/>
                </a:lnTo>
                <a:lnTo>
                  <a:pt x="142" y="466"/>
                </a:lnTo>
                <a:lnTo>
                  <a:pt x="138" y="450"/>
                </a:lnTo>
                <a:lnTo>
                  <a:pt x="134" y="438"/>
                </a:lnTo>
                <a:lnTo>
                  <a:pt x="126" y="420"/>
                </a:lnTo>
                <a:lnTo>
                  <a:pt x="118" y="404"/>
                </a:lnTo>
                <a:lnTo>
                  <a:pt x="110" y="388"/>
                </a:lnTo>
                <a:lnTo>
                  <a:pt x="100" y="360"/>
                </a:lnTo>
                <a:lnTo>
                  <a:pt x="86" y="332"/>
                </a:lnTo>
                <a:lnTo>
                  <a:pt x="82" y="316"/>
                </a:lnTo>
                <a:lnTo>
                  <a:pt x="78" y="302"/>
                </a:lnTo>
                <a:lnTo>
                  <a:pt x="76" y="284"/>
                </a:lnTo>
                <a:lnTo>
                  <a:pt x="76" y="268"/>
                </a:lnTo>
                <a:lnTo>
                  <a:pt x="74" y="260"/>
                </a:lnTo>
                <a:lnTo>
                  <a:pt x="72" y="256"/>
                </a:lnTo>
                <a:lnTo>
                  <a:pt x="68" y="248"/>
                </a:lnTo>
                <a:lnTo>
                  <a:pt x="66" y="258"/>
                </a:lnTo>
                <a:lnTo>
                  <a:pt x="62" y="268"/>
                </a:lnTo>
                <a:lnTo>
                  <a:pt x="58" y="276"/>
                </a:lnTo>
                <a:lnTo>
                  <a:pt x="54" y="278"/>
                </a:lnTo>
                <a:lnTo>
                  <a:pt x="50" y="278"/>
                </a:lnTo>
                <a:lnTo>
                  <a:pt x="44" y="276"/>
                </a:lnTo>
                <a:lnTo>
                  <a:pt x="38" y="274"/>
                </a:lnTo>
                <a:lnTo>
                  <a:pt x="28" y="266"/>
                </a:lnTo>
                <a:lnTo>
                  <a:pt x="20" y="256"/>
                </a:lnTo>
                <a:lnTo>
                  <a:pt x="14" y="248"/>
                </a:lnTo>
                <a:lnTo>
                  <a:pt x="20" y="246"/>
                </a:lnTo>
                <a:lnTo>
                  <a:pt x="24" y="244"/>
                </a:lnTo>
                <a:lnTo>
                  <a:pt x="30" y="240"/>
                </a:lnTo>
                <a:lnTo>
                  <a:pt x="32" y="234"/>
                </a:lnTo>
                <a:lnTo>
                  <a:pt x="24" y="238"/>
                </a:lnTo>
                <a:lnTo>
                  <a:pt x="24" y="240"/>
                </a:lnTo>
                <a:lnTo>
                  <a:pt x="20" y="242"/>
                </a:lnTo>
                <a:lnTo>
                  <a:pt x="14" y="238"/>
                </a:lnTo>
                <a:lnTo>
                  <a:pt x="8" y="232"/>
                </a:lnTo>
                <a:lnTo>
                  <a:pt x="2" y="224"/>
                </a:lnTo>
                <a:lnTo>
                  <a:pt x="0" y="220"/>
                </a:lnTo>
                <a:lnTo>
                  <a:pt x="0" y="214"/>
                </a:lnTo>
                <a:lnTo>
                  <a:pt x="2" y="212"/>
                </a:lnTo>
                <a:lnTo>
                  <a:pt x="4" y="210"/>
                </a:lnTo>
                <a:lnTo>
                  <a:pt x="8" y="210"/>
                </a:lnTo>
                <a:lnTo>
                  <a:pt x="12" y="210"/>
                </a:lnTo>
                <a:lnTo>
                  <a:pt x="16" y="212"/>
                </a:lnTo>
                <a:lnTo>
                  <a:pt x="20" y="214"/>
                </a:lnTo>
                <a:lnTo>
                  <a:pt x="30" y="212"/>
                </a:lnTo>
                <a:lnTo>
                  <a:pt x="36" y="208"/>
                </a:lnTo>
                <a:lnTo>
                  <a:pt x="38" y="204"/>
                </a:lnTo>
                <a:lnTo>
                  <a:pt x="36" y="196"/>
                </a:lnTo>
                <a:lnTo>
                  <a:pt x="32" y="192"/>
                </a:lnTo>
                <a:lnTo>
                  <a:pt x="24" y="184"/>
                </a:lnTo>
                <a:lnTo>
                  <a:pt x="22" y="182"/>
                </a:lnTo>
                <a:lnTo>
                  <a:pt x="20" y="178"/>
                </a:lnTo>
                <a:lnTo>
                  <a:pt x="20" y="170"/>
                </a:lnTo>
                <a:lnTo>
                  <a:pt x="18" y="168"/>
                </a:lnTo>
                <a:lnTo>
                  <a:pt x="14" y="168"/>
                </a:lnTo>
                <a:lnTo>
                  <a:pt x="10" y="164"/>
                </a:lnTo>
                <a:lnTo>
                  <a:pt x="8" y="160"/>
                </a:lnTo>
                <a:lnTo>
                  <a:pt x="10" y="156"/>
                </a:lnTo>
                <a:lnTo>
                  <a:pt x="14" y="150"/>
                </a:lnTo>
                <a:lnTo>
                  <a:pt x="18" y="144"/>
                </a:lnTo>
                <a:lnTo>
                  <a:pt x="22" y="142"/>
                </a:lnTo>
                <a:lnTo>
                  <a:pt x="26" y="144"/>
                </a:lnTo>
                <a:lnTo>
                  <a:pt x="30" y="146"/>
                </a:lnTo>
                <a:lnTo>
                  <a:pt x="34" y="146"/>
                </a:lnTo>
                <a:lnTo>
                  <a:pt x="38" y="142"/>
                </a:lnTo>
                <a:lnTo>
                  <a:pt x="44" y="136"/>
                </a:lnTo>
                <a:lnTo>
                  <a:pt x="52" y="124"/>
                </a:lnTo>
                <a:lnTo>
                  <a:pt x="56" y="118"/>
                </a:lnTo>
                <a:lnTo>
                  <a:pt x="58" y="110"/>
                </a:lnTo>
                <a:lnTo>
                  <a:pt x="62" y="104"/>
                </a:lnTo>
                <a:lnTo>
                  <a:pt x="66" y="98"/>
                </a:lnTo>
                <a:lnTo>
                  <a:pt x="68" y="92"/>
                </a:lnTo>
                <a:lnTo>
                  <a:pt x="72" y="88"/>
                </a:lnTo>
                <a:lnTo>
                  <a:pt x="72" y="74"/>
                </a:lnTo>
                <a:lnTo>
                  <a:pt x="74" y="70"/>
                </a:lnTo>
                <a:lnTo>
                  <a:pt x="78" y="68"/>
                </a:lnTo>
                <a:lnTo>
                  <a:pt x="78" y="66"/>
                </a:lnTo>
                <a:lnTo>
                  <a:pt x="80" y="62"/>
                </a:lnTo>
                <a:lnTo>
                  <a:pt x="72" y="58"/>
                </a:lnTo>
                <a:lnTo>
                  <a:pt x="62" y="50"/>
                </a:lnTo>
                <a:lnTo>
                  <a:pt x="54" y="38"/>
                </a:lnTo>
                <a:lnTo>
                  <a:pt x="52" y="34"/>
                </a:lnTo>
                <a:lnTo>
                  <a:pt x="52" y="30"/>
                </a:lnTo>
                <a:lnTo>
                  <a:pt x="50" y="28"/>
                </a:lnTo>
                <a:lnTo>
                  <a:pt x="54" y="22"/>
                </a:lnTo>
                <a:lnTo>
                  <a:pt x="58" y="18"/>
                </a:lnTo>
                <a:lnTo>
                  <a:pt x="62" y="20"/>
                </a:lnTo>
                <a:lnTo>
                  <a:pt x="66" y="22"/>
                </a:lnTo>
                <a:lnTo>
                  <a:pt x="68" y="22"/>
                </a:lnTo>
                <a:lnTo>
                  <a:pt x="72" y="24"/>
                </a:lnTo>
                <a:lnTo>
                  <a:pt x="80" y="22"/>
                </a:lnTo>
                <a:lnTo>
                  <a:pt x="88" y="18"/>
                </a:lnTo>
                <a:lnTo>
                  <a:pt x="98" y="10"/>
                </a:lnTo>
                <a:lnTo>
                  <a:pt x="108" y="4"/>
                </a:lnTo>
                <a:lnTo>
                  <a:pt x="114" y="0"/>
                </a:lnTo>
                <a:lnTo>
                  <a:pt x="120" y="0"/>
                </a:lnTo>
                <a:lnTo>
                  <a:pt x="128" y="0"/>
                </a:lnTo>
                <a:lnTo>
                  <a:pt x="134" y="4"/>
                </a:lnTo>
                <a:lnTo>
                  <a:pt x="136" y="4"/>
                </a:lnTo>
                <a:lnTo>
                  <a:pt x="142" y="6"/>
                </a:lnTo>
                <a:lnTo>
                  <a:pt x="142" y="12"/>
                </a:lnTo>
                <a:lnTo>
                  <a:pt x="140" y="16"/>
                </a:lnTo>
                <a:lnTo>
                  <a:pt x="134" y="24"/>
                </a:lnTo>
                <a:lnTo>
                  <a:pt x="132" y="32"/>
                </a:lnTo>
                <a:lnTo>
                  <a:pt x="130" y="38"/>
                </a:lnTo>
                <a:lnTo>
                  <a:pt x="132" y="42"/>
                </a:lnTo>
                <a:lnTo>
                  <a:pt x="134" y="48"/>
                </a:lnTo>
                <a:lnTo>
                  <a:pt x="142" y="56"/>
                </a:lnTo>
                <a:lnTo>
                  <a:pt x="140" y="58"/>
                </a:lnTo>
                <a:lnTo>
                  <a:pt x="138" y="58"/>
                </a:lnTo>
                <a:lnTo>
                  <a:pt x="132" y="60"/>
                </a:lnTo>
                <a:lnTo>
                  <a:pt x="134" y="68"/>
                </a:lnTo>
                <a:lnTo>
                  <a:pt x="134" y="72"/>
                </a:lnTo>
                <a:lnTo>
                  <a:pt x="136" y="76"/>
                </a:lnTo>
                <a:lnTo>
                  <a:pt x="138" y="80"/>
                </a:lnTo>
                <a:lnTo>
                  <a:pt x="146" y="84"/>
                </a:lnTo>
                <a:lnTo>
                  <a:pt x="156" y="88"/>
                </a:lnTo>
                <a:lnTo>
                  <a:pt x="164" y="96"/>
                </a:lnTo>
                <a:lnTo>
                  <a:pt x="172" y="104"/>
                </a:lnTo>
                <a:lnTo>
                  <a:pt x="168" y="112"/>
                </a:lnTo>
                <a:lnTo>
                  <a:pt x="166" y="122"/>
                </a:lnTo>
                <a:lnTo>
                  <a:pt x="168" y="126"/>
                </a:lnTo>
                <a:lnTo>
                  <a:pt x="170" y="128"/>
                </a:lnTo>
                <a:lnTo>
                  <a:pt x="176" y="132"/>
                </a:lnTo>
                <a:lnTo>
                  <a:pt x="198" y="142"/>
                </a:lnTo>
                <a:lnTo>
                  <a:pt x="210" y="150"/>
                </a:lnTo>
                <a:lnTo>
                  <a:pt x="220" y="154"/>
                </a:lnTo>
                <a:lnTo>
                  <a:pt x="230" y="150"/>
                </a:lnTo>
                <a:lnTo>
                  <a:pt x="234" y="152"/>
                </a:lnTo>
                <a:lnTo>
                  <a:pt x="238" y="152"/>
                </a:lnTo>
                <a:lnTo>
                  <a:pt x="244" y="158"/>
                </a:lnTo>
                <a:lnTo>
                  <a:pt x="248" y="164"/>
                </a:lnTo>
                <a:lnTo>
                  <a:pt x="264" y="168"/>
                </a:lnTo>
                <a:lnTo>
                  <a:pt x="278" y="170"/>
                </a:lnTo>
                <a:lnTo>
                  <a:pt x="288" y="170"/>
                </a:lnTo>
                <a:lnTo>
                  <a:pt x="296" y="170"/>
                </a:lnTo>
                <a:lnTo>
                  <a:pt x="298" y="168"/>
                </a:lnTo>
                <a:lnTo>
                  <a:pt x="298" y="166"/>
                </a:lnTo>
                <a:lnTo>
                  <a:pt x="298" y="162"/>
                </a:lnTo>
                <a:lnTo>
                  <a:pt x="296" y="158"/>
                </a:lnTo>
                <a:lnTo>
                  <a:pt x="294" y="154"/>
                </a:lnTo>
                <a:lnTo>
                  <a:pt x="294" y="148"/>
                </a:lnTo>
                <a:lnTo>
                  <a:pt x="294" y="144"/>
                </a:lnTo>
                <a:lnTo>
                  <a:pt x="298" y="142"/>
                </a:lnTo>
                <a:lnTo>
                  <a:pt x="304" y="140"/>
                </a:lnTo>
                <a:lnTo>
                  <a:pt x="306" y="148"/>
                </a:lnTo>
                <a:lnTo>
                  <a:pt x="308" y="158"/>
                </a:lnTo>
                <a:lnTo>
                  <a:pt x="314" y="164"/>
                </a:lnTo>
                <a:lnTo>
                  <a:pt x="318" y="166"/>
                </a:lnTo>
                <a:lnTo>
                  <a:pt x="322" y="166"/>
                </a:lnTo>
                <a:lnTo>
                  <a:pt x="342" y="166"/>
                </a:lnTo>
                <a:lnTo>
                  <a:pt x="348" y="166"/>
                </a:lnTo>
                <a:lnTo>
                  <a:pt x="352" y="164"/>
                </a:lnTo>
                <a:lnTo>
                  <a:pt x="354" y="162"/>
                </a:lnTo>
                <a:lnTo>
                  <a:pt x="358" y="158"/>
                </a:lnTo>
                <a:lnTo>
                  <a:pt x="360" y="150"/>
                </a:lnTo>
                <a:lnTo>
                  <a:pt x="364" y="140"/>
                </a:lnTo>
                <a:lnTo>
                  <a:pt x="368" y="134"/>
                </a:lnTo>
                <a:lnTo>
                  <a:pt x="376" y="126"/>
                </a:lnTo>
                <a:lnTo>
                  <a:pt x="382" y="122"/>
                </a:lnTo>
                <a:lnTo>
                  <a:pt x="392" y="118"/>
                </a:lnTo>
                <a:lnTo>
                  <a:pt x="394" y="120"/>
                </a:lnTo>
                <a:lnTo>
                  <a:pt x="396" y="120"/>
                </a:lnTo>
                <a:lnTo>
                  <a:pt x="400" y="122"/>
                </a:lnTo>
                <a:lnTo>
                  <a:pt x="402" y="120"/>
                </a:lnTo>
                <a:lnTo>
                  <a:pt x="406" y="118"/>
                </a:lnTo>
                <a:lnTo>
                  <a:pt x="406" y="116"/>
                </a:lnTo>
                <a:lnTo>
                  <a:pt x="412" y="116"/>
                </a:lnTo>
                <a:lnTo>
                  <a:pt x="420" y="124"/>
                </a:lnTo>
                <a:lnTo>
                  <a:pt x="420" y="128"/>
                </a:lnTo>
                <a:lnTo>
                  <a:pt x="420" y="130"/>
                </a:lnTo>
                <a:lnTo>
                  <a:pt x="424" y="134"/>
                </a:lnTo>
                <a:lnTo>
                  <a:pt x="430" y="136"/>
                </a:lnTo>
                <a:lnTo>
                  <a:pt x="434" y="136"/>
                </a:lnTo>
                <a:lnTo>
                  <a:pt x="434" y="13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92F8C93A-01FA-4859-8571-E8B4B7E92B39}"/>
              </a:ext>
            </a:extLst>
          </p:cNvPr>
          <p:cNvSpPr>
            <a:spLocks/>
          </p:cNvSpPr>
          <p:nvPr/>
        </p:nvSpPr>
        <p:spPr bwMode="auto">
          <a:xfrm>
            <a:off x="6856877" y="2925720"/>
            <a:ext cx="99194" cy="48704"/>
          </a:xfrm>
          <a:custGeom>
            <a:avLst/>
            <a:gdLst/>
            <a:ahLst/>
            <a:cxnLst>
              <a:cxn ang="0">
                <a:pos x="50" y="20"/>
              </a:cxn>
              <a:cxn ang="0">
                <a:pos x="46" y="14"/>
              </a:cxn>
              <a:cxn ang="0">
                <a:pos x="36" y="6"/>
              </a:cxn>
              <a:cxn ang="0">
                <a:pos x="26" y="2"/>
              </a:cxn>
              <a:cxn ang="0">
                <a:pos x="16" y="0"/>
              </a:cxn>
              <a:cxn ang="0">
                <a:pos x="12" y="2"/>
              </a:cxn>
              <a:cxn ang="0">
                <a:pos x="8" y="4"/>
              </a:cxn>
              <a:cxn ang="0">
                <a:pos x="4" y="10"/>
              </a:cxn>
              <a:cxn ang="0">
                <a:pos x="0" y="14"/>
              </a:cxn>
              <a:cxn ang="0">
                <a:pos x="2" y="18"/>
              </a:cxn>
              <a:cxn ang="0">
                <a:pos x="2" y="20"/>
              </a:cxn>
              <a:cxn ang="0">
                <a:pos x="10" y="28"/>
              </a:cxn>
              <a:cxn ang="0">
                <a:pos x="16" y="28"/>
              </a:cxn>
              <a:cxn ang="0">
                <a:pos x="36" y="28"/>
              </a:cxn>
              <a:cxn ang="0">
                <a:pos x="42" y="28"/>
              </a:cxn>
              <a:cxn ang="0">
                <a:pos x="46" y="26"/>
              </a:cxn>
              <a:cxn ang="0">
                <a:pos x="50" y="22"/>
              </a:cxn>
              <a:cxn ang="0">
                <a:pos x="50" y="20"/>
              </a:cxn>
            </a:cxnLst>
            <a:rect l="0" t="0" r="r" b="b"/>
            <a:pathLst>
              <a:path w="50" h="28">
                <a:moveTo>
                  <a:pt x="50" y="20"/>
                </a:moveTo>
                <a:lnTo>
                  <a:pt x="46" y="14"/>
                </a:lnTo>
                <a:lnTo>
                  <a:pt x="36" y="6"/>
                </a:lnTo>
                <a:lnTo>
                  <a:pt x="26" y="2"/>
                </a:lnTo>
                <a:lnTo>
                  <a:pt x="16" y="0"/>
                </a:lnTo>
                <a:lnTo>
                  <a:pt x="12" y="2"/>
                </a:lnTo>
                <a:lnTo>
                  <a:pt x="8" y="4"/>
                </a:lnTo>
                <a:lnTo>
                  <a:pt x="4" y="10"/>
                </a:lnTo>
                <a:lnTo>
                  <a:pt x="0" y="14"/>
                </a:lnTo>
                <a:lnTo>
                  <a:pt x="2" y="18"/>
                </a:lnTo>
                <a:lnTo>
                  <a:pt x="2" y="20"/>
                </a:lnTo>
                <a:lnTo>
                  <a:pt x="10" y="28"/>
                </a:lnTo>
                <a:lnTo>
                  <a:pt x="16" y="28"/>
                </a:lnTo>
                <a:lnTo>
                  <a:pt x="36" y="28"/>
                </a:lnTo>
                <a:lnTo>
                  <a:pt x="42" y="28"/>
                </a:lnTo>
                <a:lnTo>
                  <a:pt x="46" y="26"/>
                </a:lnTo>
                <a:lnTo>
                  <a:pt x="50" y="22"/>
                </a:lnTo>
                <a:lnTo>
                  <a:pt x="50" y="2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A3D33DF3-BB5C-4A4B-B981-750E2C77BD4A}"/>
              </a:ext>
            </a:extLst>
          </p:cNvPr>
          <p:cNvSpPr>
            <a:spLocks/>
          </p:cNvSpPr>
          <p:nvPr/>
        </p:nvSpPr>
        <p:spPr bwMode="auto">
          <a:xfrm>
            <a:off x="6579818" y="2857534"/>
            <a:ext cx="261668" cy="125006"/>
          </a:xfrm>
          <a:custGeom>
            <a:avLst/>
            <a:gdLst/>
            <a:ahLst/>
            <a:cxnLst>
              <a:cxn ang="0">
                <a:pos x="128" y="46"/>
              </a:cxn>
              <a:cxn ang="0">
                <a:pos x="110" y="46"/>
              </a:cxn>
              <a:cxn ang="0">
                <a:pos x="104" y="44"/>
              </a:cxn>
              <a:cxn ang="0">
                <a:pos x="98" y="40"/>
              </a:cxn>
              <a:cxn ang="0">
                <a:pos x="96" y="40"/>
              </a:cxn>
              <a:cxn ang="0">
                <a:pos x="94" y="40"/>
              </a:cxn>
              <a:cxn ang="0">
                <a:pos x="90" y="40"/>
              </a:cxn>
              <a:cxn ang="0">
                <a:pos x="84" y="38"/>
              </a:cxn>
              <a:cxn ang="0">
                <a:pos x="80" y="36"/>
              </a:cxn>
              <a:cxn ang="0">
                <a:pos x="76" y="32"/>
              </a:cxn>
              <a:cxn ang="0">
                <a:pos x="74" y="30"/>
              </a:cxn>
              <a:cxn ang="0">
                <a:pos x="62" y="26"/>
              </a:cxn>
              <a:cxn ang="0">
                <a:pos x="52" y="22"/>
              </a:cxn>
              <a:cxn ang="0">
                <a:pos x="44" y="16"/>
              </a:cxn>
              <a:cxn ang="0">
                <a:pos x="34" y="8"/>
              </a:cxn>
              <a:cxn ang="0">
                <a:pos x="22" y="0"/>
              </a:cxn>
              <a:cxn ang="0">
                <a:pos x="20" y="0"/>
              </a:cxn>
              <a:cxn ang="0">
                <a:pos x="18" y="2"/>
              </a:cxn>
              <a:cxn ang="0">
                <a:pos x="16" y="4"/>
              </a:cxn>
              <a:cxn ang="0">
                <a:pos x="12" y="4"/>
              </a:cxn>
              <a:cxn ang="0">
                <a:pos x="6" y="4"/>
              </a:cxn>
              <a:cxn ang="0">
                <a:pos x="2" y="12"/>
              </a:cxn>
              <a:cxn ang="0">
                <a:pos x="0" y="22"/>
              </a:cxn>
              <a:cxn ang="0">
                <a:pos x="2" y="26"/>
              </a:cxn>
              <a:cxn ang="0">
                <a:pos x="4" y="28"/>
              </a:cxn>
              <a:cxn ang="0">
                <a:pos x="10" y="32"/>
              </a:cxn>
              <a:cxn ang="0">
                <a:pos x="32" y="42"/>
              </a:cxn>
              <a:cxn ang="0">
                <a:pos x="44" y="50"/>
              </a:cxn>
              <a:cxn ang="0">
                <a:pos x="54" y="54"/>
              </a:cxn>
              <a:cxn ang="0">
                <a:pos x="64" y="50"/>
              </a:cxn>
              <a:cxn ang="0">
                <a:pos x="68" y="52"/>
              </a:cxn>
              <a:cxn ang="0">
                <a:pos x="72" y="52"/>
              </a:cxn>
              <a:cxn ang="0">
                <a:pos x="78" y="58"/>
              </a:cxn>
              <a:cxn ang="0">
                <a:pos x="82" y="64"/>
              </a:cxn>
              <a:cxn ang="0">
                <a:pos x="98" y="68"/>
              </a:cxn>
              <a:cxn ang="0">
                <a:pos x="112" y="70"/>
              </a:cxn>
              <a:cxn ang="0">
                <a:pos x="122" y="70"/>
              </a:cxn>
              <a:cxn ang="0">
                <a:pos x="130" y="70"/>
              </a:cxn>
              <a:cxn ang="0">
                <a:pos x="132" y="68"/>
              </a:cxn>
              <a:cxn ang="0">
                <a:pos x="132" y="66"/>
              </a:cxn>
              <a:cxn ang="0">
                <a:pos x="132" y="62"/>
              </a:cxn>
              <a:cxn ang="0">
                <a:pos x="130" y="58"/>
              </a:cxn>
              <a:cxn ang="0">
                <a:pos x="128" y="54"/>
              </a:cxn>
              <a:cxn ang="0">
                <a:pos x="128" y="48"/>
              </a:cxn>
              <a:cxn ang="0">
                <a:pos x="128" y="46"/>
              </a:cxn>
            </a:cxnLst>
            <a:rect l="0" t="0" r="r" b="b"/>
            <a:pathLst>
              <a:path w="132" h="70">
                <a:moveTo>
                  <a:pt x="128" y="46"/>
                </a:moveTo>
                <a:lnTo>
                  <a:pt x="110" y="46"/>
                </a:lnTo>
                <a:lnTo>
                  <a:pt x="104" y="44"/>
                </a:lnTo>
                <a:lnTo>
                  <a:pt x="98" y="40"/>
                </a:lnTo>
                <a:lnTo>
                  <a:pt x="96" y="40"/>
                </a:lnTo>
                <a:lnTo>
                  <a:pt x="94" y="40"/>
                </a:lnTo>
                <a:lnTo>
                  <a:pt x="90" y="40"/>
                </a:lnTo>
                <a:lnTo>
                  <a:pt x="84" y="38"/>
                </a:lnTo>
                <a:lnTo>
                  <a:pt x="80" y="36"/>
                </a:lnTo>
                <a:lnTo>
                  <a:pt x="76" y="32"/>
                </a:lnTo>
                <a:lnTo>
                  <a:pt x="74" y="30"/>
                </a:lnTo>
                <a:lnTo>
                  <a:pt x="62" y="26"/>
                </a:lnTo>
                <a:lnTo>
                  <a:pt x="52" y="22"/>
                </a:lnTo>
                <a:lnTo>
                  <a:pt x="44" y="16"/>
                </a:lnTo>
                <a:lnTo>
                  <a:pt x="34" y="8"/>
                </a:lnTo>
                <a:lnTo>
                  <a:pt x="22" y="0"/>
                </a:lnTo>
                <a:lnTo>
                  <a:pt x="20" y="0"/>
                </a:lnTo>
                <a:lnTo>
                  <a:pt x="18" y="2"/>
                </a:lnTo>
                <a:lnTo>
                  <a:pt x="16" y="4"/>
                </a:lnTo>
                <a:lnTo>
                  <a:pt x="12" y="4"/>
                </a:lnTo>
                <a:lnTo>
                  <a:pt x="6" y="4"/>
                </a:lnTo>
                <a:lnTo>
                  <a:pt x="2" y="12"/>
                </a:lnTo>
                <a:lnTo>
                  <a:pt x="0" y="22"/>
                </a:lnTo>
                <a:lnTo>
                  <a:pt x="2" y="26"/>
                </a:lnTo>
                <a:lnTo>
                  <a:pt x="4" y="28"/>
                </a:lnTo>
                <a:lnTo>
                  <a:pt x="10" y="32"/>
                </a:lnTo>
                <a:lnTo>
                  <a:pt x="32" y="42"/>
                </a:lnTo>
                <a:lnTo>
                  <a:pt x="44" y="50"/>
                </a:lnTo>
                <a:lnTo>
                  <a:pt x="54" y="54"/>
                </a:lnTo>
                <a:lnTo>
                  <a:pt x="64" y="50"/>
                </a:lnTo>
                <a:lnTo>
                  <a:pt x="68" y="52"/>
                </a:lnTo>
                <a:lnTo>
                  <a:pt x="72" y="52"/>
                </a:lnTo>
                <a:lnTo>
                  <a:pt x="78" y="58"/>
                </a:lnTo>
                <a:lnTo>
                  <a:pt x="82" y="64"/>
                </a:lnTo>
                <a:lnTo>
                  <a:pt x="98" y="68"/>
                </a:lnTo>
                <a:lnTo>
                  <a:pt x="112" y="70"/>
                </a:lnTo>
                <a:lnTo>
                  <a:pt x="122" y="70"/>
                </a:lnTo>
                <a:lnTo>
                  <a:pt x="130" y="70"/>
                </a:lnTo>
                <a:lnTo>
                  <a:pt x="132" y="68"/>
                </a:lnTo>
                <a:lnTo>
                  <a:pt x="132" y="66"/>
                </a:lnTo>
                <a:lnTo>
                  <a:pt x="132" y="62"/>
                </a:lnTo>
                <a:lnTo>
                  <a:pt x="130" y="58"/>
                </a:lnTo>
                <a:lnTo>
                  <a:pt x="128" y="54"/>
                </a:lnTo>
                <a:lnTo>
                  <a:pt x="128" y="48"/>
                </a:lnTo>
                <a:lnTo>
                  <a:pt x="128" y="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9C3C5895-492D-4853-B307-0E6260D42D89}"/>
              </a:ext>
            </a:extLst>
          </p:cNvPr>
          <p:cNvSpPr>
            <a:spLocks/>
          </p:cNvSpPr>
          <p:nvPr/>
        </p:nvSpPr>
        <p:spPr bwMode="auto">
          <a:xfrm>
            <a:off x="5982941" y="2639991"/>
            <a:ext cx="475449" cy="431840"/>
          </a:xfrm>
          <a:custGeom>
            <a:avLst/>
            <a:gdLst/>
            <a:ahLst/>
            <a:cxnLst>
              <a:cxn ang="0">
                <a:pos x="230" y="26"/>
              </a:cxn>
              <a:cxn ang="0">
                <a:pos x="214" y="22"/>
              </a:cxn>
              <a:cxn ang="0">
                <a:pos x="200" y="4"/>
              </a:cxn>
              <a:cxn ang="0">
                <a:pos x="174" y="2"/>
              </a:cxn>
              <a:cxn ang="0">
                <a:pos x="148" y="6"/>
              </a:cxn>
              <a:cxn ang="0">
                <a:pos x="138" y="16"/>
              </a:cxn>
              <a:cxn ang="0">
                <a:pos x="146" y="28"/>
              </a:cxn>
              <a:cxn ang="0">
                <a:pos x="140" y="48"/>
              </a:cxn>
              <a:cxn ang="0">
                <a:pos x="132" y="64"/>
              </a:cxn>
              <a:cxn ang="0">
                <a:pos x="126" y="76"/>
              </a:cxn>
              <a:cxn ang="0">
                <a:pos x="122" y="88"/>
              </a:cxn>
              <a:cxn ang="0">
                <a:pos x="120" y="96"/>
              </a:cxn>
              <a:cxn ang="0">
                <a:pos x="104" y="100"/>
              </a:cxn>
              <a:cxn ang="0">
                <a:pos x="96" y="108"/>
              </a:cxn>
              <a:cxn ang="0">
                <a:pos x="82" y="112"/>
              </a:cxn>
              <a:cxn ang="0">
                <a:pos x="84" y="126"/>
              </a:cxn>
              <a:cxn ang="0">
                <a:pos x="68" y="136"/>
              </a:cxn>
              <a:cxn ang="0">
                <a:pos x="34" y="138"/>
              </a:cxn>
              <a:cxn ang="0">
                <a:pos x="0" y="134"/>
              </a:cxn>
              <a:cxn ang="0">
                <a:pos x="18" y="148"/>
              </a:cxn>
              <a:cxn ang="0">
                <a:pos x="32" y="156"/>
              </a:cxn>
              <a:cxn ang="0">
                <a:pos x="42" y="174"/>
              </a:cxn>
              <a:cxn ang="0">
                <a:pos x="40" y="184"/>
              </a:cxn>
              <a:cxn ang="0">
                <a:pos x="24" y="198"/>
              </a:cxn>
              <a:cxn ang="0">
                <a:pos x="30" y="216"/>
              </a:cxn>
              <a:cxn ang="0">
                <a:pos x="72" y="218"/>
              </a:cxn>
              <a:cxn ang="0">
                <a:pos x="104" y="208"/>
              </a:cxn>
              <a:cxn ang="0">
                <a:pos x="118" y="234"/>
              </a:cxn>
              <a:cxn ang="0">
                <a:pos x="136" y="242"/>
              </a:cxn>
              <a:cxn ang="0">
                <a:pos x="140" y="232"/>
              </a:cxn>
              <a:cxn ang="0">
                <a:pos x="152" y="234"/>
              </a:cxn>
              <a:cxn ang="0">
                <a:pos x="172" y="230"/>
              </a:cxn>
              <a:cxn ang="0">
                <a:pos x="168" y="214"/>
              </a:cxn>
              <a:cxn ang="0">
                <a:pos x="156" y="200"/>
              </a:cxn>
              <a:cxn ang="0">
                <a:pos x="150" y="190"/>
              </a:cxn>
              <a:cxn ang="0">
                <a:pos x="146" y="178"/>
              </a:cxn>
              <a:cxn ang="0">
                <a:pos x="158" y="164"/>
              </a:cxn>
              <a:cxn ang="0">
                <a:pos x="170" y="168"/>
              </a:cxn>
              <a:cxn ang="0">
                <a:pos x="188" y="146"/>
              </a:cxn>
              <a:cxn ang="0">
                <a:pos x="198" y="126"/>
              </a:cxn>
              <a:cxn ang="0">
                <a:pos x="208" y="110"/>
              </a:cxn>
              <a:cxn ang="0">
                <a:pos x="214" y="90"/>
              </a:cxn>
              <a:cxn ang="0">
                <a:pos x="208" y="80"/>
              </a:cxn>
              <a:cxn ang="0">
                <a:pos x="188" y="56"/>
              </a:cxn>
              <a:cxn ang="0">
                <a:pos x="190" y="44"/>
              </a:cxn>
              <a:cxn ang="0">
                <a:pos x="202" y="44"/>
              </a:cxn>
              <a:cxn ang="0">
                <a:pos x="216" y="44"/>
              </a:cxn>
              <a:cxn ang="0">
                <a:pos x="238" y="28"/>
              </a:cxn>
            </a:cxnLst>
            <a:rect l="0" t="0" r="r" b="b"/>
            <a:pathLst>
              <a:path w="240" h="242">
                <a:moveTo>
                  <a:pt x="238" y="28"/>
                </a:moveTo>
                <a:lnTo>
                  <a:pt x="234" y="26"/>
                </a:lnTo>
                <a:lnTo>
                  <a:pt x="230" y="26"/>
                </a:lnTo>
                <a:lnTo>
                  <a:pt x="224" y="24"/>
                </a:lnTo>
                <a:lnTo>
                  <a:pt x="218" y="24"/>
                </a:lnTo>
                <a:lnTo>
                  <a:pt x="214" y="22"/>
                </a:lnTo>
                <a:lnTo>
                  <a:pt x="210" y="18"/>
                </a:lnTo>
                <a:lnTo>
                  <a:pt x="206" y="10"/>
                </a:lnTo>
                <a:lnTo>
                  <a:pt x="200" y="4"/>
                </a:lnTo>
                <a:lnTo>
                  <a:pt x="192" y="0"/>
                </a:lnTo>
                <a:lnTo>
                  <a:pt x="184" y="0"/>
                </a:lnTo>
                <a:lnTo>
                  <a:pt x="174" y="2"/>
                </a:lnTo>
                <a:lnTo>
                  <a:pt x="164" y="2"/>
                </a:lnTo>
                <a:lnTo>
                  <a:pt x="154" y="4"/>
                </a:lnTo>
                <a:lnTo>
                  <a:pt x="148" y="6"/>
                </a:lnTo>
                <a:lnTo>
                  <a:pt x="142" y="8"/>
                </a:lnTo>
                <a:lnTo>
                  <a:pt x="140" y="12"/>
                </a:lnTo>
                <a:lnTo>
                  <a:pt x="138" y="16"/>
                </a:lnTo>
                <a:lnTo>
                  <a:pt x="140" y="20"/>
                </a:lnTo>
                <a:lnTo>
                  <a:pt x="142" y="24"/>
                </a:lnTo>
                <a:lnTo>
                  <a:pt x="146" y="28"/>
                </a:lnTo>
                <a:lnTo>
                  <a:pt x="148" y="34"/>
                </a:lnTo>
                <a:lnTo>
                  <a:pt x="146" y="40"/>
                </a:lnTo>
                <a:lnTo>
                  <a:pt x="140" y="48"/>
                </a:lnTo>
                <a:lnTo>
                  <a:pt x="136" y="54"/>
                </a:lnTo>
                <a:lnTo>
                  <a:pt x="132" y="60"/>
                </a:lnTo>
                <a:lnTo>
                  <a:pt x="132" y="64"/>
                </a:lnTo>
                <a:lnTo>
                  <a:pt x="132" y="68"/>
                </a:lnTo>
                <a:lnTo>
                  <a:pt x="132" y="70"/>
                </a:lnTo>
                <a:lnTo>
                  <a:pt x="126" y="76"/>
                </a:lnTo>
                <a:lnTo>
                  <a:pt x="124" y="80"/>
                </a:lnTo>
                <a:lnTo>
                  <a:pt x="122" y="84"/>
                </a:lnTo>
                <a:lnTo>
                  <a:pt x="122" y="88"/>
                </a:lnTo>
                <a:lnTo>
                  <a:pt x="126" y="90"/>
                </a:lnTo>
                <a:lnTo>
                  <a:pt x="124" y="94"/>
                </a:lnTo>
                <a:lnTo>
                  <a:pt x="120" y="96"/>
                </a:lnTo>
                <a:lnTo>
                  <a:pt x="114" y="96"/>
                </a:lnTo>
                <a:lnTo>
                  <a:pt x="106" y="96"/>
                </a:lnTo>
                <a:lnTo>
                  <a:pt x="104" y="100"/>
                </a:lnTo>
                <a:lnTo>
                  <a:pt x="100" y="104"/>
                </a:lnTo>
                <a:lnTo>
                  <a:pt x="98" y="106"/>
                </a:lnTo>
                <a:lnTo>
                  <a:pt x="96" y="108"/>
                </a:lnTo>
                <a:lnTo>
                  <a:pt x="90" y="108"/>
                </a:lnTo>
                <a:lnTo>
                  <a:pt x="86" y="108"/>
                </a:lnTo>
                <a:lnTo>
                  <a:pt x="82" y="112"/>
                </a:lnTo>
                <a:lnTo>
                  <a:pt x="80" y="116"/>
                </a:lnTo>
                <a:lnTo>
                  <a:pt x="82" y="120"/>
                </a:lnTo>
                <a:lnTo>
                  <a:pt x="84" y="126"/>
                </a:lnTo>
                <a:lnTo>
                  <a:pt x="84" y="128"/>
                </a:lnTo>
                <a:lnTo>
                  <a:pt x="80" y="132"/>
                </a:lnTo>
                <a:lnTo>
                  <a:pt x="68" y="136"/>
                </a:lnTo>
                <a:lnTo>
                  <a:pt x="54" y="138"/>
                </a:lnTo>
                <a:lnTo>
                  <a:pt x="44" y="138"/>
                </a:lnTo>
                <a:lnTo>
                  <a:pt x="34" y="138"/>
                </a:lnTo>
                <a:lnTo>
                  <a:pt x="24" y="136"/>
                </a:lnTo>
                <a:lnTo>
                  <a:pt x="12" y="136"/>
                </a:lnTo>
                <a:lnTo>
                  <a:pt x="0" y="134"/>
                </a:lnTo>
                <a:lnTo>
                  <a:pt x="6" y="136"/>
                </a:lnTo>
                <a:lnTo>
                  <a:pt x="12" y="140"/>
                </a:lnTo>
                <a:lnTo>
                  <a:pt x="18" y="148"/>
                </a:lnTo>
                <a:lnTo>
                  <a:pt x="24" y="154"/>
                </a:lnTo>
                <a:lnTo>
                  <a:pt x="28" y="154"/>
                </a:lnTo>
                <a:lnTo>
                  <a:pt x="32" y="156"/>
                </a:lnTo>
                <a:lnTo>
                  <a:pt x="34" y="162"/>
                </a:lnTo>
                <a:lnTo>
                  <a:pt x="36" y="170"/>
                </a:lnTo>
                <a:lnTo>
                  <a:pt x="42" y="174"/>
                </a:lnTo>
                <a:lnTo>
                  <a:pt x="46" y="178"/>
                </a:lnTo>
                <a:lnTo>
                  <a:pt x="44" y="182"/>
                </a:lnTo>
                <a:lnTo>
                  <a:pt x="40" y="184"/>
                </a:lnTo>
                <a:lnTo>
                  <a:pt x="30" y="190"/>
                </a:lnTo>
                <a:lnTo>
                  <a:pt x="26" y="192"/>
                </a:lnTo>
                <a:lnTo>
                  <a:pt x="24" y="198"/>
                </a:lnTo>
                <a:lnTo>
                  <a:pt x="22" y="202"/>
                </a:lnTo>
                <a:lnTo>
                  <a:pt x="22" y="210"/>
                </a:lnTo>
                <a:lnTo>
                  <a:pt x="30" y="216"/>
                </a:lnTo>
                <a:lnTo>
                  <a:pt x="34" y="216"/>
                </a:lnTo>
                <a:lnTo>
                  <a:pt x="42" y="218"/>
                </a:lnTo>
                <a:lnTo>
                  <a:pt x="72" y="218"/>
                </a:lnTo>
                <a:lnTo>
                  <a:pt x="80" y="216"/>
                </a:lnTo>
                <a:lnTo>
                  <a:pt x="88" y="214"/>
                </a:lnTo>
                <a:lnTo>
                  <a:pt x="104" y="208"/>
                </a:lnTo>
                <a:lnTo>
                  <a:pt x="108" y="220"/>
                </a:lnTo>
                <a:lnTo>
                  <a:pt x="114" y="230"/>
                </a:lnTo>
                <a:lnTo>
                  <a:pt x="118" y="234"/>
                </a:lnTo>
                <a:lnTo>
                  <a:pt x="122" y="238"/>
                </a:lnTo>
                <a:lnTo>
                  <a:pt x="128" y="240"/>
                </a:lnTo>
                <a:lnTo>
                  <a:pt x="136" y="242"/>
                </a:lnTo>
                <a:lnTo>
                  <a:pt x="136" y="236"/>
                </a:lnTo>
                <a:lnTo>
                  <a:pt x="138" y="234"/>
                </a:lnTo>
                <a:lnTo>
                  <a:pt x="140" y="232"/>
                </a:lnTo>
                <a:lnTo>
                  <a:pt x="144" y="232"/>
                </a:lnTo>
                <a:lnTo>
                  <a:pt x="148" y="232"/>
                </a:lnTo>
                <a:lnTo>
                  <a:pt x="152" y="234"/>
                </a:lnTo>
                <a:lnTo>
                  <a:pt x="156" y="236"/>
                </a:lnTo>
                <a:lnTo>
                  <a:pt x="166" y="234"/>
                </a:lnTo>
                <a:lnTo>
                  <a:pt x="172" y="230"/>
                </a:lnTo>
                <a:lnTo>
                  <a:pt x="174" y="226"/>
                </a:lnTo>
                <a:lnTo>
                  <a:pt x="172" y="218"/>
                </a:lnTo>
                <a:lnTo>
                  <a:pt x="168" y="214"/>
                </a:lnTo>
                <a:lnTo>
                  <a:pt x="160" y="206"/>
                </a:lnTo>
                <a:lnTo>
                  <a:pt x="158" y="204"/>
                </a:lnTo>
                <a:lnTo>
                  <a:pt x="156" y="200"/>
                </a:lnTo>
                <a:lnTo>
                  <a:pt x="156" y="192"/>
                </a:lnTo>
                <a:lnTo>
                  <a:pt x="154" y="190"/>
                </a:lnTo>
                <a:lnTo>
                  <a:pt x="150" y="190"/>
                </a:lnTo>
                <a:lnTo>
                  <a:pt x="146" y="186"/>
                </a:lnTo>
                <a:lnTo>
                  <a:pt x="144" y="182"/>
                </a:lnTo>
                <a:lnTo>
                  <a:pt x="146" y="178"/>
                </a:lnTo>
                <a:lnTo>
                  <a:pt x="150" y="172"/>
                </a:lnTo>
                <a:lnTo>
                  <a:pt x="154" y="166"/>
                </a:lnTo>
                <a:lnTo>
                  <a:pt x="158" y="164"/>
                </a:lnTo>
                <a:lnTo>
                  <a:pt x="162" y="166"/>
                </a:lnTo>
                <a:lnTo>
                  <a:pt x="166" y="168"/>
                </a:lnTo>
                <a:lnTo>
                  <a:pt x="170" y="168"/>
                </a:lnTo>
                <a:lnTo>
                  <a:pt x="174" y="164"/>
                </a:lnTo>
                <a:lnTo>
                  <a:pt x="180" y="158"/>
                </a:lnTo>
                <a:lnTo>
                  <a:pt x="188" y="146"/>
                </a:lnTo>
                <a:lnTo>
                  <a:pt x="192" y="140"/>
                </a:lnTo>
                <a:lnTo>
                  <a:pt x="194" y="132"/>
                </a:lnTo>
                <a:lnTo>
                  <a:pt x="198" y="126"/>
                </a:lnTo>
                <a:lnTo>
                  <a:pt x="202" y="120"/>
                </a:lnTo>
                <a:lnTo>
                  <a:pt x="204" y="114"/>
                </a:lnTo>
                <a:lnTo>
                  <a:pt x="208" y="110"/>
                </a:lnTo>
                <a:lnTo>
                  <a:pt x="208" y="96"/>
                </a:lnTo>
                <a:lnTo>
                  <a:pt x="210" y="92"/>
                </a:lnTo>
                <a:lnTo>
                  <a:pt x="214" y="90"/>
                </a:lnTo>
                <a:lnTo>
                  <a:pt x="214" y="88"/>
                </a:lnTo>
                <a:lnTo>
                  <a:pt x="216" y="84"/>
                </a:lnTo>
                <a:lnTo>
                  <a:pt x="208" y="80"/>
                </a:lnTo>
                <a:lnTo>
                  <a:pt x="198" y="72"/>
                </a:lnTo>
                <a:lnTo>
                  <a:pt x="190" y="60"/>
                </a:lnTo>
                <a:lnTo>
                  <a:pt x="188" y="56"/>
                </a:lnTo>
                <a:lnTo>
                  <a:pt x="188" y="52"/>
                </a:lnTo>
                <a:lnTo>
                  <a:pt x="186" y="50"/>
                </a:lnTo>
                <a:lnTo>
                  <a:pt x="190" y="44"/>
                </a:lnTo>
                <a:lnTo>
                  <a:pt x="194" y="40"/>
                </a:lnTo>
                <a:lnTo>
                  <a:pt x="198" y="42"/>
                </a:lnTo>
                <a:lnTo>
                  <a:pt x="202" y="44"/>
                </a:lnTo>
                <a:lnTo>
                  <a:pt x="204" y="44"/>
                </a:lnTo>
                <a:lnTo>
                  <a:pt x="208" y="46"/>
                </a:lnTo>
                <a:lnTo>
                  <a:pt x="216" y="44"/>
                </a:lnTo>
                <a:lnTo>
                  <a:pt x="224" y="40"/>
                </a:lnTo>
                <a:lnTo>
                  <a:pt x="240" y="28"/>
                </a:lnTo>
                <a:lnTo>
                  <a:pt x="238" y="2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02C28E51-76C6-49E5-9702-3F5DF644836A}"/>
              </a:ext>
            </a:extLst>
          </p:cNvPr>
          <p:cNvSpPr>
            <a:spLocks/>
          </p:cNvSpPr>
          <p:nvPr/>
        </p:nvSpPr>
        <p:spPr bwMode="auto">
          <a:xfrm>
            <a:off x="5952155" y="2586417"/>
            <a:ext cx="395068" cy="298716"/>
          </a:xfrm>
          <a:custGeom>
            <a:avLst/>
            <a:gdLst/>
            <a:ahLst/>
            <a:cxnLst>
              <a:cxn ang="0">
                <a:pos x="174" y="26"/>
              </a:cxn>
              <a:cxn ang="0">
                <a:pos x="160" y="28"/>
              </a:cxn>
              <a:cxn ang="0">
                <a:pos x="152" y="24"/>
              </a:cxn>
              <a:cxn ang="0">
                <a:pos x="144" y="8"/>
              </a:cxn>
              <a:cxn ang="0">
                <a:pos x="136" y="0"/>
              </a:cxn>
              <a:cxn ang="0">
                <a:pos x="122" y="16"/>
              </a:cxn>
              <a:cxn ang="0">
                <a:pos x="108" y="26"/>
              </a:cxn>
              <a:cxn ang="0">
                <a:pos x="74" y="28"/>
              </a:cxn>
              <a:cxn ang="0">
                <a:pos x="46" y="42"/>
              </a:cxn>
              <a:cxn ang="0">
                <a:pos x="36" y="54"/>
              </a:cxn>
              <a:cxn ang="0">
                <a:pos x="24" y="58"/>
              </a:cxn>
              <a:cxn ang="0">
                <a:pos x="12" y="56"/>
              </a:cxn>
              <a:cxn ang="0">
                <a:pos x="4" y="58"/>
              </a:cxn>
              <a:cxn ang="0">
                <a:pos x="4" y="56"/>
              </a:cxn>
              <a:cxn ang="0">
                <a:pos x="0" y="84"/>
              </a:cxn>
              <a:cxn ang="0">
                <a:pos x="4" y="104"/>
              </a:cxn>
              <a:cxn ang="0">
                <a:pos x="10" y="122"/>
              </a:cxn>
              <a:cxn ang="0">
                <a:pos x="18" y="130"/>
              </a:cxn>
              <a:cxn ang="0">
                <a:pos x="26" y="136"/>
              </a:cxn>
              <a:cxn ang="0">
                <a:pos x="18" y="146"/>
              </a:cxn>
              <a:cxn ang="0">
                <a:pos x="12" y="156"/>
              </a:cxn>
              <a:cxn ang="0">
                <a:pos x="12" y="162"/>
              </a:cxn>
              <a:cxn ang="0">
                <a:pos x="28" y="166"/>
              </a:cxn>
              <a:cxn ang="0">
                <a:pos x="50" y="168"/>
              </a:cxn>
              <a:cxn ang="0">
                <a:pos x="70" y="168"/>
              </a:cxn>
              <a:cxn ang="0">
                <a:pos x="96" y="162"/>
              </a:cxn>
              <a:cxn ang="0">
                <a:pos x="100" y="156"/>
              </a:cxn>
              <a:cxn ang="0">
                <a:pos x="96" y="146"/>
              </a:cxn>
              <a:cxn ang="0">
                <a:pos x="102" y="138"/>
              </a:cxn>
              <a:cxn ang="0">
                <a:pos x="112" y="138"/>
              </a:cxn>
              <a:cxn ang="0">
                <a:pos x="116" y="134"/>
              </a:cxn>
              <a:cxn ang="0">
                <a:pos x="122" y="126"/>
              </a:cxn>
              <a:cxn ang="0">
                <a:pos x="136" y="126"/>
              </a:cxn>
              <a:cxn ang="0">
                <a:pos x="142" y="120"/>
              </a:cxn>
              <a:cxn ang="0">
                <a:pos x="138" y="114"/>
              </a:cxn>
              <a:cxn ang="0">
                <a:pos x="142" y="106"/>
              </a:cxn>
              <a:cxn ang="0">
                <a:pos x="148" y="98"/>
              </a:cxn>
              <a:cxn ang="0">
                <a:pos x="148" y="90"/>
              </a:cxn>
              <a:cxn ang="0">
                <a:pos x="156" y="78"/>
              </a:cxn>
              <a:cxn ang="0">
                <a:pos x="164" y="64"/>
              </a:cxn>
              <a:cxn ang="0">
                <a:pos x="158" y="54"/>
              </a:cxn>
              <a:cxn ang="0">
                <a:pos x="154" y="46"/>
              </a:cxn>
              <a:cxn ang="0">
                <a:pos x="158" y="38"/>
              </a:cxn>
              <a:cxn ang="0">
                <a:pos x="170" y="34"/>
              </a:cxn>
              <a:cxn ang="0">
                <a:pos x="190" y="32"/>
              </a:cxn>
              <a:cxn ang="0">
                <a:pos x="200" y="28"/>
              </a:cxn>
              <a:cxn ang="0">
                <a:pos x="184" y="22"/>
              </a:cxn>
            </a:cxnLst>
            <a:rect l="0" t="0" r="r" b="b"/>
            <a:pathLst>
              <a:path w="200" h="168">
                <a:moveTo>
                  <a:pt x="184" y="22"/>
                </a:moveTo>
                <a:lnTo>
                  <a:pt x="174" y="26"/>
                </a:lnTo>
                <a:lnTo>
                  <a:pt x="168" y="26"/>
                </a:lnTo>
                <a:lnTo>
                  <a:pt x="160" y="28"/>
                </a:lnTo>
                <a:lnTo>
                  <a:pt x="156" y="26"/>
                </a:lnTo>
                <a:lnTo>
                  <a:pt x="152" y="24"/>
                </a:lnTo>
                <a:lnTo>
                  <a:pt x="148" y="18"/>
                </a:lnTo>
                <a:lnTo>
                  <a:pt x="144" y="8"/>
                </a:lnTo>
                <a:lnTo>
                  <a:pt x="142" y="0"/>
                </a:lnTo>
                <a:lnTo>
                  <a:pt x="136" y="0"/>
                </a:lnTo>
                <a:lnTo>
                  <a:pt x="130" y="6"/>
                </a:lnTo>
                <a:lnTo>
                  <a:pt x="122" y="16"/>
                </a:lnTo>
                <a:lnTo>
                  <a:pt x="114" y="24"/>
                </a:lnTo>
                <a:lnTo>
                  <a:pt x="108" y="26"/>
                </a:lnTo>
                <a:lnTo>
                  <a:pt x="102" y="28"/>
                </a:lnTo>
                <a:lnTo>
                  <a:pt x="74" y="28"/>
                </a:lnTo>
                <a:lnTo>
                  <a:pt x="60" y="20"/>
                </a:lnTo>
                <a:lnTo>
                  <a:pt x="46" y="42"/>
                </a:lnTo>
                <a:lnTo>
                  <a:pt x="40" y="50"/>
                </a:lnTo>
                <a:lnTo>
                  <a:pt x="36" y="54"/>
                </a:lnTo>
                <a:lnTo>
                  <a:pt x="30" y="56"/>
                </a:lnTo>
                <a:lnTo>
                  <a:pt x="24" y="58"/>
                </a:lnTo>
                <a:lnTo>
                  <a:pt x="16" y="56"/>
                </a:lnTo>
                <a:lnTo>
                  <a:pt x="12" y="56"/>
                </a:lnTo>
                <a:lnTo>
                  <a:pt x="10" y="56"/>
                </a:lnTo>
                <a:lnTo>
                  <a:pt x="4" y="58"/>
                </a:lnTo>
                <a:lnTo>
                  <a:pt x="4" y="50"/>
                </a:lnTo>
                <a:lnTo>
                  <a:pt x="4" y="56"/>
                </a:lnTo>
                <a:lnTo>
                  <a:pt x="0" y="72"/>
                </a:lnTo>
                <a:lnTo>
                  <a:pt x="0" y="84"/>
                </a:lnTo>
                <a:lnTo>
                  <a:pt x="0" y="92"/>
                </a:lnTo>
                <a:lnTo>
                  <a:pt x="4" y="104"/>
                </a:lnTo>
                <a:lnTo>
                  <a:pt x="8" y="116"/>
                </a:lnTo>
                <a:lnTo>
                  <a:pt x="10" y="122"/>
                </a:lnTo>
                <a:lnTo>
                  <a:pt x="12" y="126"/>
                </a:lnTo>
                <a:lnTo>
                  <a:pt x="18" y="130"/>
                </a:lnTo>
                <a:lnTo>
                  <a:pt x="26" y="132"/>
                </a:lnTo>
                <a:lnTo>
                  <a:pt x="26" y="136"/>
                </a:lnTo>
                <a:lnTo>
                  <a:pt x="24" y="138"/>
                </a:lnTo>
                <a:lnTo>
                  <a:pt x="18" y="146"/>
                </a:lnTo>
                <a:lnTo>
                  <a:pt x="14" y="152"/>
                </a:lnTo>
                <a:lnTo>
                  <a:pt x="12" y="156"/>
                </a:lnTo>
                <a:lnTo>
                  <a:pt x="12" y="160"/>
                </a:lnTo>
                <a:lnTo>
                  <a:pt x="12" y="162"/>
                </a:lnTo>
                <a:lnTo>
                  <a:pt x="16" y="164"/>
                </a:lnTo>
                <a:lnTo>
                  <a:pt x="28" y="166"/>
                </a:lnTo>
                <a:lnTo>
                  <a:pt x="40" y="166"/>
                </a:lnTo>
                <a:lnTo>
                  <a:pt x="50" y="168"/>
                </a:lnTo>
                <a:lnTo>
                  <a:pt x="60" y="168"/>
                </a:lnTo>
                <a:lnTo>
                  <a:pt x="70" y="168"/>
                </a:lnTo>
                <a:lnTo>
                  <a:pt x="84" y="166"/>
                </a:lnTo>
                <a:lnTo>
                  <a:pt x="96" y="162"/>
                </a:lnTo>
                <a:lnTo>
                  <a:pt x="100" y="158"/>
                </a:lnTo>
                <a:lnTo>
                  <a:pt x="100" y="156"/>
                </a:lnTo>
                <a:lnTo>
                  <a:pt x="98" y="150"/>
                </a:lnTo>
                <a:lnTo>
                  <a:pt x="96" y="146"/>
                </a:lnTo>
                <a:lnTo>
                  <a:pt x="98" y="142"/>
                </a:lnTo>
                <a:lnTo>
                  <a:pt x="102" y="138"/>
                </a:lnTo>
                <a:lnTo>
                  <a:pt x="106" y="138"/>
                </a:lnTo>
                <a:lnTo>
                  <a:pt x="112" y="138"/>
                </a:lnTo>
                <a:lnTo>
                  <a:pt x="114" y="136"/>
                </a:lnTo>
                <a:lnTo>
                  <a:pt x="116" y="134"/>
                </a:lnTo>
                <a:lnTo>
                  <a:pt x="120" y="130"/>
                </a:lnTo>
                <a:lnTo>
                  <a:pt x="122" y="126"/>
                </a:lnTo>
                <a:lnTo>
                  <a:pt x="130" y="126"/>
                </a:lnTo>
                <a:lnTo>
                  <a:pt x="136" y="126"/>
                </a:lnTo>
                <a:lnTo>
                  <a:pt x="140" y="124"/>
                </a:lnTo>
                <a:lnTo>
                  <a:pt x="142" y="120"/>
                </a:lnTo>
                <a:lnTo>
                  <a:pt x="138" y="118"/>
                </a:lnTo>
                <a:lnTo>
                  <a:pt x="138" y="114"/>
                </a:lnTo>
                <a:lnTo>
                  <a:pt x="140" y="110"/>
                </a:lnTo>
                <a:lnTo>
                  <a:pt x="142" y="106"/>
                </a:lnTo>
                <a:lnTo>
                  <a:pt x="148" y="100"/>
                </a:lnTo>
                <a:lnTo>
                  <a:pt x="148" y="98"/>
                </a:lnTo>
                <a:lnTo>
                  <a:pt x="148" y="94"/>
                </a:lnTo>
                <a:lnTo>
                  <a:pt x="148" y="90"/>
                </a:lnTo>
                <a:lnTo>
                  <a:pt x="152" y="84"/>
                </a:lnTo>
                <a:lnTo>
                  <a:pt x="156" y="78"/>
                </a:lnTo>
                <a:lnTo>
                  <a:pt x="162" y="70"/>
                </a:lnTo>
                <a:lnTo>
                  <a:pt x="164" y="64"/>
                </a:lnTo>
                <a:lnTo>
                  <a:pt x="162" y="58"/>
                </a:lnTo>
                <a:lnTo>
                  <a:pt x="158" y="54"/>
                </a:lnTo>
                <a:lnTo>
                  <a:pt x="156" y="50"/>
                </a:lnTo>
                <a:lnTo>
                  <a:pt x="154" y="46"/>
                </a:lnTo>
                <a:lnTo>
                  <a:pt x="156" y="42"/>
                </a:lnTo>
                <a:lnTo>
                  <a:pt x="158" y="38"/>
                </a:lnTo>
                <a:lnTo>
                  <a:pt x="164" y="36"/>
                </a:lnTo>
                <a:lnTo>
                  <a:pt x="170" y="34"/>
                </a:lnTo>
                <a:lnTo>
                  <a:pt x="180" y="32"/>
                </a:lnTo>
                <a:lnTo>
                  <a:pt x="190" y="32"/>
                </a:lnTo>
                <a:lnTo>
                  <a:pt x="200" y="30"/>
                </a:lnTo>
                <a:lnTo>
                  <a:pt x="200" y="28"/>
                </a:lnTo>
                <a:lnTo>
                  <a:pt x="192" y="26"/>
                </a:lnTo>
                <a:lnTo>
                  <a:pt x="184" y="2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Freeform 24">
            <a:extLst>
              <a:ext uri="{FF2B5EF4-FFF2-40B4-BE49-F238E27FC236}">
                <a16:creationId xmlns:a16="http://schemas.microsoft.com/office/drawing/2014/main" id="{6ED80742-1566-44DB-AB4C-9F1EF826E3CC}"/>
              </a:ext>
            </a:extLst>
          </p:cNvPr>
          <p:cNvSpPr>
            <a:spLocks/>
          </p:cNvSpPr>
          <p:nvPr/>
        </p:nvSpPr>
        <p:spPr bwMode="auto">
          <a:xfrm>
            <a:off x="6557585" y="2152956"/>
            <a:ext cx="952609" cy="332809"/>
          </a:xfrm>
          <a:custGeom>
            <a:avLst/>
            <a:gdLst/>
            <a:ahLst/>
            <a:cxnLst>
              <a:cxn ang="0">
                <a:pos x="4" y="56"/>
              </a:cxn>
              <a:cxn ang="0">
                <a:pos x="12" y="64"/>
              </a:cxn>
              <a:cxn ang="0">
                <a:pos x="34" y="72"/>
              </a:cxn>
              <a:cxn ang="0">
                <a:pos x="48" y="78"/>
              </a:cxn>
              <a:cxn ang="0">
                <a:pos x="64" y="92"/>
              </a:cxn>
              <a:cxn ang="0">
                <a:pos x="72" y="114"/>
              </a:cxn>
              <a:cxn ang="0">
                <a:pos x="80" y="126"/>
              </a:cxn>
              <a:cxn ang="0">
                <a:pos x="118" y="130"/>
              </a:cxn>
              <a:cxn ang="0">
                <a:pos x="138" y="134"/>
              </a:cxn>
              <a:cxn ang="0">
                <a:pos x="156" y="146"/>
              </a:cxn>
              <a:cxn ang="0">
                <a:pos x="172" y="162"/>
              </a:cxn>
              <a:cxn ang="0">
                <a:pos x="214" y="166"/>
              </a:cxn>
              <a:cxn ang="0">
                <a:pos x="258" y="168"/>
              </a:cxn>
              <a:cxn ang="0">
                <a:pos x="280" y="180"/>
              </a:cxn>
              <a:cxn ang="0">
                <a:pos x="310" y="186"/>
              </a:cxn>
              <a:cxn ang="0">
                <a:pos x="324" y="180"/>
              </a:cxn>
              <a:cxn ang="0">
                <a:pos x="362" y="172"/>
              </a:cxn>
              <a:cxn ang="0">
                <a:pos x="384" y="162"/>
              </a:cxn>
              <a:cxn ang="0">
                <a:pos x="396" y="150"/>
              </a:cxn>
              <a:cxn ang="0">
                <a:pos x="396" y="142"/>
              </a:cxn>
              <a:cxn ang="0">
                <a:pos x="390" y="138"/>
              </a:cxn>
              <a:cxn ang="0">
                <a:pos x="382" y="134"/>
              </a:cxn>
              <a:cxn ang="0">
                <a:pos x="384" y="126"/>
              </a:cxn>
              <a:cxn ang="0">
                <a:pos x="390" y="124"/>
              </a:cxn>
              <a:cxn ang="0">
                <a:pos x="398" y="128"/>
              </a:cxn>
              <a:cxn ang="0">
                <a:pos x="410" y="126"/>
              </a:cxn>
              <a:cxn ang="0">
                <a:pos x="418" y="120"/>
              </a:cxn>
              <a:cxn ang="0">
                <a:pos x="432" y="116"/>
              </a:cxn>
              <a:cxn ang="0">
                <a:pos x="440" y="114"/>
              </a:cxn>
              <a:cxn ang="0">
                <a:pos x="442" y="106"/>
              </a:cxn>
              <a:cxn ang="0">
                <a:pos x="444" y="98"/>
              </a:cxn>
              <a:cxn ang="0">
                <a:pos x="482" y="94"/>
              </a:cxn>
              <a:cxn ang="0">
                <a:pos x="468" y="80"/>
              </a:cxn>
              <a:cxn ang="0">
                <a:pos x="448" y="72"/>
              </a:cxn>
              <a:cxn ang="0">
                <a:pos x="434" y="76"/>
              </a:cxn>
              <a:cxn ang="0">
                <a:pos x="410" y="76"/>
              </a:cxn>
              <a:cxn ang="0">
                <a:pos x="404" y="68"/>
              </a:cxn>
              <a:cxn ang="0">
                <a:pos x="402" y="40"/>
              </a:cxn>
              <a:cxn ang="0">
                <a:pos x="374" y="30"/>
              </a:cxn>
              <a:cxn ang="0">
                <a:pos x="362" y="30"/>
              </a:cxn>
              <a:cxn ang="0">
                <a:pos x="344" y="40"/>
              </a:cxn>
              <a:cxn ang="0">
                <a:pos x="326" y="50"/>
              </a:cxn>
              <a:cxn ang="0">
                <a:pos x="304" y="48"/>
              </a:cxn>
              <a:cxn ang="0">
                <a:pos x="264" y="34"/>
              </a:cxn>
              <a:cxn ang="0">
                <a:pos x="240" y="26"/>
              </a:cxn>
              <a:cxn ang="0">
                <a:pos x="212" y="26"/>
              </a:cxn>
              <a:cxn ang="0">
                <a:pos x="198" y="26"/>
              </a:cxn>
              <a:cxn ang="0">
                <a:pos x="192" y="22"/>
              </a:cxn>
              <a:cxn ang="0">
                <a:pos x="180" y="8"/>
              </a:cxn>
              <a:cxn ang="0">
                <a:pos x="152" y="0"/>
              </a:cxn>
              <a:cxn ang="0">
                <a:pos x="128" y="2"/>
              </a:cxn>
              <a:cxn ang="0">
                <a:pos x="124" y="4"/>
              </a:cxn>
              <a:cxn ang="0">
                <a:pos x="128" y="12"/>
              </a:cxn>
              <a:cxn ang="0">
                <a:pos x="138" y="24"/>
              </a:cxn>
              <a:cxn ang="0">
                <a:pos x="140" y="30"/>
              </a:cxn>
              <a:cxn ang="0">
                <a:pos x="134" y="36"/>
              </a:cxn>
              <a:cxn ang="0">
                <a:pos x="124" y="38"/>
              </a:cxn>
              <a:cxn ang="0">
                <a:pos x="104" y="36"/>
              </a:cxn>
              <a:cxn ang="0">
                <a:pos x="68" y="24"/>
              </a:cxn>
              <a:cxn ang="0">
                <a:pos x="54" y="22"/>
              </a:cxn>
              <a:cxn ang="0">
                <a:pos x="38" y="24"/>
              </a:cxn>
              <a:cxn ang="0">
                <a:pos x="10" y="42"/>
              </a:cxn>
              <a:cxn ang="0">
                <a:pos x="0" y="50"/>
              </a:cxn>
            </a:cxnLst>
            <a:rect l="0" t="0" r="r" b="b"/>
            <a:pathLst>
              <a:path w="482" h="186">
                <a:moveTo>
                  <a:pt x="0" y="50"/>
                </a:moveTo>
                <a:lnTo>
                  <a:pt x="4" y="56"/>
                </a:lnTo>
                <a:lnTo>
                  <a:pt x="6" y="60"/>
                </a:lnTo>
                <a:lnTo>
                  <a:pt x="12" y="64"/>
                </a:lnTo>
                <a:lnTo>
                  <a:pt x="20" y="66"/>
                </a:lnTo>
                <a:lnTo>
                  <a:pt x="34" y="72"/>
                </a:lnTo>
                <a:lnTo>
                  <a:pt x="40" y="74"/>
                </a:lnTo>
                <a:lnTo>
                  <a:pt x="48" y="78"/>
                </a:lnTo>
                <a:lnTo>
                  <a:pt x="60" y="86"/>
                </a:lnTo>
                <a:lnTo>
                  <a:pt x="64" y="92"/>
                </a:lnTo>
                <a:lnTo>
                  <a:pt x="68" y="100"/>
                </a:lnTo>
                <a:lnTo>
                  <a:pt x="72" y="114"/>
                </a:lnTo>
                <a:lnTo>
                  <a:pt x="76" y="120"/>
                </a:lnTo>
                <a:lnTo>
                  <a:pt x="80" y="126"/>
                </a:lnTo>
                <a:lnTo>
                  <a:pt x="110" y="126"/>
                </a:lnTo>
                <a:lnTo>
                  <a:pt x="118" y="130"/>
                </a:lnTo>
                <a:lnTo>
                  <a:pt x="128" y="134"/>
                </a:lnTo>
                <a:lnTo>
                  <a:pt x="138" y="134"/>
                </a:lnTo>
                <a:lnTo>
                  <a:pt x="146" y="140"/>
                </a:lnTo>
                <a:lnTo>
                  <a:pt x="156" y="146"/>
                </a:lnTo>
                <a:lnTo>
                  <a:pt x="164" y="154"/>
                </a:lnTo>
                <a:lnTo>
                  <a:pt x="172" y="162"/>
                </a:lnTo>
                <a:lnTo>
                  <a:pt x="180" y="166"/>
                </a:lnTo>
                <a:lnTo>
                  <a:pt x="214" y="166"/>
                </a:lnTo>
                <a:lnTo>
                  <a:pt x="214" y="168"/>
                </a:lnTo>
                <a:lnTo>
                  <a:pt x="258" y="168"/>
                </a:lnTo>
                <a:lnTo>
                  <a:pt x="268" y="174"/>
                </a:lnTo>
                <a:lnTo>
                  <a:pt x="280" y="180"/>
                </a:lnTo>
                <a:lnTo>
                  <a:pt x="296" y="184"/>
                </a:lnTo>
                <a:lnTo>
                  <a:pt x="310" y="186"/>
                </a:lnTo>
                <a:lnTo>
                  <a:pt x="318" y="184"/>
                </a:lnTo>
                <a:lnTo>
                  <a:pt x="324" y="180"/>
                </a:lnTo>
                <a:lnTo>
                  <a:pt x="334" y="172"/>
                </a:lnTo>
                <a:lnTo>
                  <a:pt x="362" y="172"/>
                </a:lnTo>
                <a:lnTo>
                  <a:pt x="374" y="168"/>
                </a:lnTo>
                <a:lnTo>
                  <a:pt x="384" y="162"/>
                </a:lnTo>
                <a:lnTo>
                  <a:pt x="392" y="156"/>
                </a:lnTo>
                <a:lnTo>
                  <a:pt x="396" y="150"/>
                </a:lnTo>
                <a:lnTo>
                  <a:pt x="396" y="146"/>
                </a:lnTo>
                <a:lnTo>
                  <a:pt x="396" y="142"/>
                </a:lnTo>
                <a:lnTo>
                  <a:pt x="394" y="140"/>
                </a:lnTo>
                <a:lnTo>
                  <a:pt x="390" y="138"/>
                </a:lnTo>
                <a:lnTo>
                  <a:pt x="384" y="134"/>
                </a:lnTo>
                <a:lnTo>
                  <a:pt x="382" y="134"/>
                </a:lnTo>
                <a:lnTo>
                  <a:pt x="382" y="130"/>
                </a:lnTo>
                <a:lnTo>
                  <a:pt x="384" y="126"/>
                </a:lnTo>
                <a:lnTo>
                  <a:pt x="388" y="124"/>
                </a:lnTo>
                <a:lnTo>
                  <a:pt x="390" y="124"/>
                </a:lnTo>
                <a:lnTo>
                  <a:pt x="394" y="126"/>
                </a:lnTo>
                <a:lnTo>
                  <a:pt x="398" y="128"/>
                </a:lnTo>
                <a:lnTo>
                  <a:pt x="404" y="128"/>
                </a:lnTo>
                <a:lnTo>
                  <a:pt x="410" y="126"/>
                </a:lnTo>
                <a:lnTo>
                  <a:pt x="416" y="124"/>
                </a:lnTo>
                <a:lnTo>
                  <a:pt x="418" y="120"/>
                </a:lnTo>
                <a:lnTo>
                  <a:pt x="422" y="118"/>
                </a:lnTo>
                <a:lnTo>
                  <a:pt x="432" y="116"/>
                </a:lnTo>
                <a:lnTo>
                  <a:pt x="436" y="116"/>
                </a:lnTo>
                <a:lnTo>
                  <a:pt x="440" y="114"/>
                </a:lnTo>
                <a:lnTo>
                  <a:pt x="440" y="108"/>
                </a:lnTo>
                <a:lnTo>
                  <a:pt x="442" y="106"/>
                </a:lnTo>
                <a:lnTo>
                  <a:pt x="442" y="102"/>
                </a:lnTo>
                <a:lnTo>
                  <a:pt x="444" y="98"/>
                </a:lnTo>
                <a:lnTo>
                  <a:pt x="462" y="96"/>
                </a:lnTo>
                <a:lnTo>
                  <a:pt x="482" y="94"/>
                </a:lnTo>
                <a:lnTo>
                  <a:pt x="476" y="86"/>
                </a:lnTo>
                <a:lnTo>
                  <a:pt x="468" y="80"/>
                </a:lnTo>
                <a:lnTo>
                  <a:pt x="458" y="74"/>
                </a:lnTo>
                <a:lnTo>
                  <a:pt x="448" y="72"/>
                </a:lnTo>
                <a:lnTo>
                  <a:pt x="442" y="74"/>
                </a:lnTo>
                <a:lnTo>
                  <a:pt x="434" y="76"/>
                </a:lnTo>
                <a:lnTo>
                  <a:pt x="416" y="76"/>
                </a:lnTo>
                <a:lnTo>
                  <a:pt x="410" y="76"/>
                </a:lnTo>
                <a:lnTo>
                  <a:pt x="408" y="72"/>
                </a:lnTo>
                <a:lnTo>
                  <a:pt x="404" y="68"/>
                </a:lnTo>
                <a:lnTo>
                  <a:pt x="404" y="62"/>
                </a:lnTo>
                <a:lnTo>
                  <a:pt x="402" y="40"/>
                </a:lnTo>
                <a:lnTo>
                  <a:pt x="384" y="32"/>
                </a:lnTo>
                <a:lnTo>
                  <a:pt x="374" y="30"/>
                </a:lnTo>
                <a:lnTo>
                  <a:pt x="368" y="30"/>
                </a:lnTo>
                <a:lnTo>
                  <a:pt x="362" y="30"/>
                </a:lnTo>
                <a:lnTo>
                  <a:pt x="356" y="32"/>
                </a:lnTo>
                <a:lnTo>
                  <a:pt x="344" y="40"/>
                </a:lnTo>
                <a:lnTo>
                  <a:pt x="334" y="48"/>
                </a:lnTo>
                <a:lnTo>
                  <a:pt x="326" y="50"/>
                </a:lnTo>
                <a:lnTo>
                  <a:pt x="318" y="50"/>
                </a:lnTo>
                <a:lnTo>
                  <a:pt x="304" y="48"/>
                </a:lnTo>
                <a:lnTo>
                  <a:pt x="290" y="46"/>
                </a:lnTo>
                <a:lnTo>
                  <a:pt x="264" y="34"/>
                </a:lnTo>
                <a:lnTo>
                  <a:pt x="252" y="28"/>
                </a:lnTo>
                <a:lnTo>
                  <a:pt x="240" y="26"/>
                </a:lnTo>
                <a:lnTo>
                  <a:pt x="226" y="24"/>
                </a:lnTo>
                <a:lnTo>
                  <a:pt x="212" y="26"/>
                </a:lnTo>
                <a:lnTo>
                  <a:pt x="204" y="28"/>
                </a:lnTo>
                <a:lnTo>
                  <a:pt x="198" y="26"/>
                </a:lnTo>
                <a:lnTo>
                  <a:pt x="196" y="24"/>
                </a:lnTo>
                <a:lnTo>
                  <a:pt x="192" y="22"/>
                </a:lnTo>
                <a:lnTo>
                  <a:pt x="186" y="14"/>
                </a:lnTo>
                <a:lnTo>
                  <a:pt x="180" y="8"/>
                </a:lnTo>
                <a:lnTo>
                  <a:pt x="170" y="4"/>
                </a:lnTo>
                <a:lnTo>
                  <a:pt x="152" y="0"/>
                </a:lnTo>
                <a:lnTo>
                  <a:pt x="134" y="0"/>
                </a:lnTo>
                <a:lnTo>
                  <a:pt x="128" y="2"/>
                </a:lnTo>
                <a:lnTo>
                  <a:pt x="126" y="2"/>
                </a:lnTo>
                <a:lnTo>
                  <a:pt x="124" y="4"/>
                </a:lnTo>
                <a:lnTo>
                  <a:pt x="126" y="8"/>
                </a:lnTo>
                <a:lnTo>
                  <a:pt x="128" y="12"/>
                </a:lnTo>
                <a:lnTo>
                  <a:pt x="132" y="18"/>
                </a:lnTo>
                <a:lnTo>
                  <a:pt x="138" y="24"/>
                </a:lnTo>
                <a:lnTo>
                  <a:pt x="140" y="26"/>
                </a:lnTo>
                <a:lnTo>
                  <a:pt x="140" y="30"/>
                </a:lnTo>
                <a:lnTo>
                  <a:pt x="138" y="34"/>
                </a:lnTo>
                <a:lnTo>
                  <a:pt x="134" y="36"/>
                </a:lnTo>
                <a:lnTo>
                  <a:pt x="130" y="38"/>
                </a:lnTo>
                <a:lnTo>
                  <a:pt x="124" y="38"/>
                </a:lnTo>
                <a:lnTo>
                  <a:pt x="114" y="38"/>
                </a:lnTo>
                <a:lnTo>
                  <a:pt x="104" y="36"/>
                </a:lnTo>
                <a:lnTo>
                  <a:pt x="86" y="30"/>
                </a:lnTo>
                <a:lnTo>
                  <a:pt x="68" y="24"/>
                </a:lnTo>
                <a:lnTo>
                  <a:pt x="62" y="24"/>
                </a:lnTo>
                <a:lnTo>
                  <a:pt x="54" y="22"/>
                </a:lnTo>
                <a:lnTo>
                  <a:pt x="46" y="24"/>
                </a:lnTo>
                <a:lnTo>
                  <a:pt x="38" y="24"/>
                </a:lnTo>
                <a:lnTo>
                  <a:pt x="24" y="30"/>
                </a:lnTo>
                <a:lnTo>
                  <a:pt x="10" y="42"/>
                </a:lnTo>
                <a:lnTo>
                  <a:pt x="0" y="52"/>
                </a:lnTo>
                <a:lnTo>
                  <a:pt x="0" y="5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69E2A264-B6DE-48A7-9C5C-B183071AF548}"/>
              </a:ext>
            </a:extLst>
          </p:cNvPr>
          <p:cNvSpPr>
            <a:spLocks/>
          </p:cNvSpPr>
          <p:nvPr/>
        </p:nvSpPr>
        <p:spPr bwMode="auto">
          <a:xfrm>
            <a:off x="7771862" y="2438685"/>
            <a:ext cx="147081" cy="165593"/>
          </a:xfrm>
          <a:custGeom>
            <a:avLst/>
            <a:gdLst/>
            <a:ahLst/>
            <a:cxnLst>
              <a:cxn ang="0">
                <a:pos x="70" y="78"/>
              </a:cxn>
              <a:cxn ang="0">
                <a:pos x="62" y="70"/>
              </a:cxn>
              <a:cxn ang="0">
                <a:pos x="54" y="64"/>
              </a:cxn>
              <a:cxn ang="0">
                <a:pos x="56" y="60"/>
              </a:cxn>
              <a:cxn ang="0">
                <a:pos x="58" y="58"/>
              </a:cxn>
              <a:cxn ang="0">
                <a:pos x="66" y="54"/>
              </a:cxn>
              <a:cxn ang="0">
                <a:pos x="74" y="50"/>
              </a:cxn>
              <a:cxn ang="0">
                <a:pos x="76" y="46"/>
              </a:cxn>
              <a:cxn ang="0">
                <a:pos x="76" y="42"/>
              </a:cxn>
              <a:cxn ang="0">
                <a:pos x="76" y="36"/>
              </a:cxn>
              <a:cxn ang="0">
                <a:pos x="74" y="32"/>
              </a:cxn>
              <a:cxn ang="0">
                <a:pos x="70" y="28"/>
              </a:cxn>
              <a:cxn ang="0">
                <a:pos x="70" y="24"/>
              </a:cxn>
              <a:cxn ang="0">
                <a:pos x="70" y="16"/>
              </a:cxn>
              <a:cxn ang="0">
                <a:pos x="74" y="8"/>
              </a:cxn>
              <a:cxn ang="0">
                <a:pos x="70" y="0"/>
              </a:cxn>
              <a:cxn ang="0">
                <a:pos x="70" y="2"/>
              </a:cxn>
              <a:cxn ang="0">
                <a:pos x="66" y="4"/>
              </a:cxn>
              <a:cxn ang="0">
                <a:pos x="62" y="6"/>
              </a:cxn>
              <a:cxn ang="0">
                <a:pos x="58" y="4"/>
              </a:cxn>
              <a:cxn ang="0">
                <a:pos x="54" y="2"/>
              </a:cxn>
              <a:cxn ang="0">
                <a:pos x="48" y="12"/>
              </a:cxn>
              <a:cxn ang="0">
                <a:pos x="44" y="18"/>
              </a:cxn>
              <a:cxn ang="0">
                <a:pos x="42" y="22"/>
              </a:cxn>
              <a:cxn ang="0">
                <a:pos x="44" y="28"/>
              </a:cxn>
              <a:cxn ang="0">
                <a:pos x="32" y="28"/>
              </a:cxn>
              <a:cxn ang="0">
                <a:pos x="26" y="26"/>
              </a:cxn>
              <a:cxn ang="0">
                <a:pos x="22" y="24"/>
              </a:cxn>
              <a:cxn ang="0">
                <a:pos x="12" y="36"/>
              </a:cxn>
              <a:cxn ang="0">
                <a:pos x="4" y="48"/>
              </a:cxn>
              <a:cxn ang="0">
                <a:pos x="0" y="56"/>
              </a:cxn>
              <a:cxn ang="0">
                <a:pos x="10" y="56"/>
              </a:cxn>
              <a:cxn ang="0">
                <a:pos x="18" y="60"/>
              </a:cxn>
              <a:cxn ang="0">
                <a:pos x="24" y="70"/>
              </a:cxn>
              <a:cxn ang="0">
                <a:pos x="28" y="80"/>
              </a:cxn>
              <a:cxn ang="0">
                <a:pos x="24" y="84"/>
              </a:cxn>
              <a:cxn ang="0">
                <a:pos x="24" y="86"/>
              </a:cxn>
              <a:cxn ang="0">
                <a:pos x="26" y="88"/>
              </a:cxn>
              <a:cxn ang="0">
                <a:pos x="32" y="90"/>
              </a:cxn>
              <a:cxn ang="0">
                <a:pos x="46" y="90"/>
              </a:cxn>
              <a:cxn ang="0">
                <a:pos x="56" y="92"/>
              </a:cxn>
              <a:cxn ang="0">
                <a:pos x="56" y="88"/>
              </a:cxn>
              <a:cxn ang="0">
                <a:pos x="68" y="88"/>
              </a:cxn>
              <a:cxn ang="0">
                <a:pos x="72" y="86"/>
              </a:cxn>
              <a:cxn ang="0">
                <a:pos x="74" y="84"/>
              </a:cxn>
              <a:cxn ang="0">
                <a:pos x="74" y="80"/>
              </a:cxn>
              <a:cxn ang="0">
                <a:pos x="70" y="78"/>
              </a:cxn>
            </a:cxnLst>
            <a:rect l="0" t="0" r="r" b="b"/>
            <a:pathLst>
              <a:path w="76" h="92">
                <a:moveTo>
                  <a:pt x="70" y="78"/>
                </a:moveTo>
                <a:lnTo>
                  <a:pt x="62" y="70"/>
                </a:lnTo>
                <a:lnTo>
                  <a:pt x="54" y="64"/>
                </a:lnTo>
                <a:lnTo>
                  <a:pt x="56" y="60"/>
                </a:lnTo>
                <a:lnTo>
                  <a:pt x="58" y="58"/>
                </a:lnTo>
                <a:lnTo>
                  <a:pt x="66" y="54"/>
                </a:lnTo>
                <a:lnTo>
                  <a:pt x="74" y="50"/>
                </a:lnTo>
                <a:lnTo>
                  <a:pt x="76" y="46"/>
                </a:lnTo>
                <a:lnTo>
                  <a:pt x="76" y="42"/>
                </a:lnTo>
                <a:lnTo>
                  <a:pt x="76" y="36"/>
                </a:lnTo>
                <a:lnTo>
                  <a:pt x="74" y="32"/>
                </a:lnTo>
                <a:lnTo>
                  <a:pt x="70" y="28"/>
                </a:lnTo>
                <a:lnTo>
                  <a:pt x="70" y="24"/>
                </a:lnTo>
                <a:lnTo>
                  <a:pt x="70" y="16"/>
                </a:lnTo>
                <a:lnTo>
                  <a:pt x="74" y="8"/>
                </a:lnTo>
                <a:lnTo>
                  <a:pt x="70" y="0"/>
                </a:lnTo>
                <a:lnTo>
                  <a:pt x="70" y="2"/>
                </a:lnTo>
                <a:lnTo>
                  <a:pt x="66" y="4"/>
                </a:lnTo>
                <a:lnTo>
                  <a:pt x="62" y="6"/>
                </a:lnTo>
                <a:lnTo>
                  <a:pt x="58" y="4"/>
                </a:lnTo>
                <a:lnTo>
                  <a:pt x="54" y="2"/>
                </a:lnTo>
                <a:lnTo>
                  <a:pt x="48" y="12"/>
                </a:lnTo>
                <a:lnTo>
                  <a:pt x="44" y="18"/>
                </a:lnTo>
                <a:lnTo>
                  <a:pt x="42" y="22"/>
                </a:lnTo>
                <a:lnTo>
                  <a:pt x="44" y="28"/>
                </a:lnTo>
                <a:lnTo>
                  <a:pt x="32" y="28"/>
                </a:lnTo>
                <a:lnTo>
                  <a:pt x="26" y="26"/>
                </a:lnTo>
                <a:lnTo>
                  <a:pt x="22" y="24"/>
                </a:lnTo>
                <a:lnTo>
                  <a:pt x="12" y="36"/>
                </a:lnTo>
                <a:lnTo>
                  <a:pt x="4" y="48"/>
                </a:lnTo>
                <a:lnTo>
                  <a:pt x="0" y="56"/>
                </a:lnTo>
                <a:lnTo>
                  <a:pt x="10" y="56"/>
                </a:lnTo>
                <a:lnTo>
                  <a:pt x="18" y="60"/>
                </a:lnTo>
                <a:lnTo>
                  <a:pt x="24" y="70"/>
                </a:lnTo>
                <a:lnTo>
                  <a:pt x="28" y="80"/>
                </a:lnTo>
                <a:lnTo>
                  <a:pt x="24" y="84"/>
                </a:lnTo>
                <a:lnTo>
                  <a:pt x="24" y="86"/>
                </a:lnTo>
                <a:lnTo>
                  <a:pt x="26" y="88"/>
                </a:lnTo>
                <a:lnTo>
                  <a:pt x="32" y="90"/>
                </a:lnTo>
                <a:lnTo>
                  <a:pt x="46" y="90"/>
                </a:lnTo>
                <a:lnTo>
                  <a:pt x="56" y="92"/>
                </a:lnTo>
                <a:lnTo>
                  <a:pt x="56" y="88"/>
                </a:lnTo>
                <a:lnTo>
                  <a:pt x="68" y="88"/>
                </a:lnTo>
                <a:lnTo>
                  <a:pt x="72" y="86"/>
                </a:lnTo>
                <a:lnTo>
                  <a:pt x="74" y="84"/>
                </a:lnTo>
                <a:lnTo>
                  <a:pt x="74" y="80"/>
                </a:lnTo>
                <a:lnTo>
                  <a:pt x="70" y="7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6C2D9E2B-C9A9-446C-8D5E-44D2746635EB}"/>
              </a:ext>
            </a:extLst>
          </p:cNvPr>
          <p:cNvSpPr>
            <a:spLocks/>
          </p:cNvSpPr>
          <p:nvPr/>
        </p:nvSpPr>
        <p:spPr bwMode="auto">
          <a:xfrm>
            <a:off x="7879608" y="2581549"/>
            <a:ext cx="128269" cy="136371"/>
          </a:xfrm>
          <a:custGeom>
            <a:avLst/>
            <a:gdLst/>
            <a:ahLst/>
            <a:cxnLst>
              <a:cxn ang="0">
                <a:pos x="18" y="0"/>
              </a:cxn>
              <a:cxn ang="0">
                <a:pos x="18" y="2"/>
              </a:cxn>
              <a:cxn ang="0">
                <a:pos x="18" y="4"/>
              </a:cxn>
              <a:cxn ang="0">
                <a:pos x="16" y="6"/>
              </a:cxn>
              <a:cxn ang="0">
                <a:pos x="12" y="8"/>
              </a:cxn>
              <a:cxn ang="0">
                <a:pos x="0" y="8"/>
              </a:cxn>
              <a:cxn ang="0">
                <a:pos x="0" y="12"/>
              </a:cxn>
              <a:cxn ang="0">
                <a:pos x="2" y="16"/>
              </a:cxn>
              <a:cxn ang="0">
                <a:pos x="4" y="20"/>
              </a:cxn>
              <a:cxn ang="0">
                <a:pos x="6" y="28"/>
              </a:cxn>
              <a:cxn ang="0">
                <a:pos x="8" y="40"/>
              </a:cxn>
              <a:cxn ang="0">
                <a:pos x="14" y="56"/>
              </a:cxn>
              <a:cxn ang="0">
                <a:pos x="20" y="70"/>
              </a:cxn>
              <a:cxn ang="0">
                <a:pos x="24" y="74"/>
              </a:cxn>
              <a:cxn ang="0">
                <a:pos x="30" y="76"/>
              </a:cxn>
              <a:cxn ang="0">
                <a:pos x="40" y="74"/>
              </a:cxn>
              <a:cxn ang="0">
                <a:pos x="50" y="70"/>
              </a:cxn>
              <a:cxn ang="0">
                <a:pos x="60" y="64"/>
              </a:cxn>
              <a:cxn ang="0">
                <a:pos x="64" y="60"/>
              </a:cxn>
              <a:cxn ang="0">
                <a:pos x="64" y="58"/>
              </a:cxn>
              <a:cxn ang="0">
                <a:pos x="64" y="50"/>
              </a:cxn>
              <a:cxn ang="0">
                <a:pos x="58" y="42"/>
              </a:cxn>
              <a:cxn ang="0">
                <a:pos x="52" y="32"/>
              </a:cxn>
              <a:cxn ang="0">
                <a:pos x="46" y="26"/>
              </a:cxn>
              <a:cxn ang="0">
                <a:pos x="18" y="0"/>
              </a:cxn>
            </a:cxnLst>
            <a:rect l="0" t="0" r="r" b="b"/>
            <a:pathLst>
              <a:path w="64" h="76">
                <a:moveTo>
                  <a:pt x="18" y="0"/>
                </a:moveTo>
                <a:lnTo>
                  <a:pt x="18" y="2"/>
                </a:lnTo>
                <a:lnTo>
                  <a:pt x="18" y="4"/>
                </a:lnTo>
                <a:lnTo>
                  <a:pt x="16" y="6"/>
                </a:lnTo>
                <a:lnTo>
                  <a:pt x="12" y="8"/>
                </a:lnTo>
                <a:lnTo>
                  <a:pt x="0" y="8"/>
                </a:lnTo>
                <a:lnTo>
                  <a:pt x="0" y="12"/>
                </a:lnTo>
                <a:lnTo>
                  <a:pt x="2" y="16"/>
                </a:lnTo>
                <a:lnTo>
                  <a:pt x="4" y="20"/>
                </a:lnTo>
                <a:lnTo>
                  <a:pt x="6" y="28"/>
                </a:lnTo>
                <a:lnTo>
                  <a:pt x="8" y="40"/>
                </a:lnTo>
                <a:lnTo>
                  <a:pt x="14" y="56"/>
                </a:lnTo>
                <a:lnTo>
                  <a:pt x="20" y="70"/>
                </a:lnTo>
                <a:lnTo>
                  <a:pt x="24" y="74"/>
                </a:lnTo>
                <a:lnTo>
                  <a:pt x="30" y="76"/>
                </a:lnTo>
                <a:lnTo>
                  <a:pt x="40" y="74"/>
                </a:lnTo>
                <a:lnTo>
                  <a:pt x="50" y="70"/>
                </a:lnTo>
                <a:lnTo>
                  <a:pt x="60" y="64"/>
                </a:lnTo>
                <a:lnTo>
                  <a:pt x="64" y="60"/>
                </a:lnTo>
                <a:lnTo>
                  <a:pt x="64" y="58"/>
                </a:lnTo>
                <a:lnTo>
                  <a:pt x="64" y="50"/>
                </a:lnTo>
                <a:lnTo>
                  <a:pt x="58" y="42"/>
                </a:lnTo>
                <a:lnTo>
                  <a:pt x="52" y="32"/>
                </a:lnTo>
                <a:lnTo>
                  <a:pt x="46" y="26"/>
                </a:lnTo>
                <a:lnTo>
                  <a:pt x="18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1170AF7-3DD3-4ABA-9199-C95F6DF66F88}"/>
              </a:ext>
            </a:extLst>
          </p:cNvPr>
          <p:cNvGrpSpPr/>
          <p:nvPr/>
        </p:nvGrpSpPr>
        <p:grpSpPr>
          <a:xfrm>
            <a:off x="739417" y="1303884"/>
            <a:ext cx="2433686" cy="1167267"/>
            <a:chOff x="1100067" y="1614813"/>
            <a:chExt cx="2433685" cy="1167267"/>
          </a:xfrm>
          <a:solidFill>
            <a:schemeClr val="bg1">
              <a:lumMod val="85000"/>
            </a:schemeClr>
          </a:solidFill>
        </p:grpSpPr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93CD4795-6EE4-4A98-A9E5-DB77F5F374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0067" y="1818282"/>
              <a:ext cx="2086016" cy="963798"/>
            </a:xfrm>
            <a:custGeom>
              <a:avLst/>
              <a:gdLst/>
              <a:ahLst/>
              <a:cxnLst>
                <a:cxn ang="0">
                  <a:pos x="840" y="184"/>
                </a:cxn>
                <a:cxn ang="0">
                  <a:pos x="898" y="186"/>
                </a:cxn>
                <a:cxn ang="0">
                  <a:pos x="932" y="218"/>
                </a:cxn>
                <a:cxn ang="0">
                  <a:pos x="936" y="254"/>
                </a:cxn>
                <a:cxn ang="0">
                  <a:pos x="984" y="220"/>
                </a:cxn>
                <a:cxn ang="0">
                  <a:pos x="1006" y="266"/>
                </a:cxn>
                <a:cxn ang="0">
                  <a:pos x="1010" y="300"/>
                </a:cxn>
                <a:cxn ang="0">
                  <a:pos x="1040" y="324"/>
                </a:cxn>
                <a:cxn ang="0">
                  <a:pos x="1044" y="368"/>
                </a:cxn>
                <a:cxn ang="0">
                  <a:pos x="934" y="390"/>
                </a:cxn>
                <a:cxn ang="0">
                  <a:pos x="856" y="422"/>
                </a:cxn>
                <a:cxn ang="0">
                  <a:pos x="910" y="430"/>
                </a:cxn>
                <a:cxn ang="0">
                  <a:pos x="894" y="468"/>
                </a:cxn>
                <a:cxn ang="0">
                  <a:pos x="954" y="454"/>
                </a:cxn>
                <a:cxn ang="0">
                  <a:pos x="946" y="478"/>
                </a:cxn>
                <a:cxn ang="0">
                  <a:pos x="870" y="514"/>
                </a:cxn>
                <a:cxn ang="0">
                  <a:pos x="880" y="488"/>
                </a:cxn>
                <a:cxn ang="0">
                  <a:pos x="806" y="468"/>
                </a:cxn>
                <a:cxn ang="0">
                  <a:pos x="718" y="502"/>
                </a:cxn>
                <a:cxn ang="0">
                  <a:pos x="646" y="530"/>
                </a:cxn>
                <a:cxn ang="0">
                  <a:pos x="600" y="540"/>
                </a:cxn>
                <a:cxn ang="0">
                  <a:pos x="644" y="486"/>
                </a:cxn>
                <a:cxn ang="0">
                  <a:pos x="650" y="466"/>
                </a:cxn>
                <a:cxn ang="0">
                  <a:pos x="612" y="442"/>
                </a:cxn>
                <a:cxn ang="0">
                  <a:pos x="588" y="414"/>
                </a:cxn>
                <a:cxn ang="0">
                  <a:pos x="498" y="430"/>
                </a:cxn>
                <a:cxn ang="0">
                  <a:pos x="80" y="402"/>
                </a:cxn>
                <a:cxn ang="0">
                  <a:pos x="54" y="354"/>
                </a:cxn>
                <a:cxn ang="0">
                  <a:pos x="48" y="326"/>
                </a:cxn>
                <a:cxn ang="0">
                  <a:pos x="36" y="290"/>
                </a:cxn>
                <a:cxn ang="0">
                  <a:pos x="28" y="236"/>
                </a:cxn>
                <a:cxn ang="0">
                  <a:pos x="186" y="68"/>
                </a:cxn>
                <a:cxn ang="0">
                  <a:pos x="252" y="70"/>
                </a:cxn>
                <a:cxn ang="0">
                  <a:pos x="352" y="64"/>
                </a:cxn>
                <a:cxn ang="0">
                  <a:pos x="382" y="72"/>
                </a:cxn>
                <a:cxn ang="0">
                  <a:pos x="458" y="80"/>
                </a:cxn>
                <a:cxn ang="0">
                  <a:pos x="460" y="98"/>
                </a:cxn>
                <a:cxn ang="0">
                  <a:pos x="526" y="102"/>
                </a:cxn>
                <a:cxn ang="0">
                  <a:pos x="582" y="84"/>
                </a:cxn>
                <a:cxn ang="0">
                  <a:pos x="662" y="86"/>
                </a:cxn>
                <a:cxn ang="0">
                  <a:pos x="694" y="88"/>
                </a:cxn>
                <a:cxn ang="0">
                  <a:pos x="706" y="62"/>
                </a:cxn>
                <a:cxn ang="0">
                  <a:pos x="760" y="8"/>
                </a:cxn>
                <a:cxn ang="0">
                  <a:pos x="790" y="20"/>
                </a:cxn>
                <a:cxn ang="0">
                  <a:pos x="750" y="66"/>
                </a:cxn>
                <a:cxn ang="0">
                  <a:pos x="776" y="76"/>
                </a:cxn>
                <a:cxn ang="0">
                  <a:pos x="780" y="104"/>
                </a:cxn>
                <a:cxn ang="0">
                  <a:pos x="828" y="66"/>
                </a:cxn>
                <a:cxn ang="0">
                  <a:pos x="846" y="90"/>
                </a:cxn>
                <a:cxn ang="0">
                  <a:pos x="790" y="122"/>
                </a:cxn>
                <a:cxn ang="0">
                  <a:pos x="704" y="168"/>
                </a:cxn>
                <a:cxn ang="0">
                  <a:pos x="612" y="214"/>
                </a:cxn>
                <a:cxn ang="0">
                  <a:pos x="604" y="274"/>
                </a:cxn>
                <a:cxn ang="0">
                  <a:pos x="656" y="294"/>
                </a:cxn>
                <a:cxn ang="0">
                  <a:pos x="712" y="314"/>
                </a:cxn>
                <a:cxn ang="0">
                  <a:pos x="718" y="370"/>
                </a:cxn>
                <a:cxn ang="0">
                  <a:pos x="772" y="304"/>
                </a:cxn>
                <a:cxn ang="0">
                  <a:pos x="794" y="254"/>
                </a:cxn>
              </a:cxnLst>
              <a:rect l="0" t="0" r="r" b="b"/>
              <a:pathLst>
                <a:path w="1056" h="540">
                  <a:moveTo>
                    <a:pt x="806" y="236"/>
                  </a:moveTo>
                  <a:lnTo>
                    <a:pt x="812" y="232"/>
                  </a:lnTo>
                  <a:lnTo>
                    <a:pt x="818" y="226"/>
                  </a:lnTo>
                  <a:lnTo>
                    <a:pt x="824" y="220"/>
                  </a:lnTo>
                  <a:lnTo>
                    <a:pt x="826" y="212"/>
                  </a:lnTo>
                  <a:lnTo>
                    <a:pt x="826" y="202"/>
                  </a:lnTo>
                  <a:lnTo>
                    <a:pt x="828" y="194"/>
                  </a:lnTo>
                  <a:lnTo>
                    <a:pt x="830" y="190"/>
                  </a:lnTo>
                  <a:lnTo>
                    <a:pt x="834" y="186"/>
                  </a:lnTo>
                  <a:lnTo>
                    <a:pt x="840" y="184"/>
                  </a:lnTo>
                  <a:lnTo>
                    <a:pt x="848" y="184"/>
                  </a:lnTo>
                  <a:lnTo>
                    <a:pt x="856" y="186"/>
                  </a:lnTo>
                  <a:lnTo>
                    <a:pt x="864" y="186"/>
                  </a:lnTo>
                  <a:lnTo>
                    <a:pt x="880" y="186"/>
                  </a:lnTo>
                  <a:lnTo>
                    <a:pt x="882" y="186"/>
                  </a:lnTo>
                  <a:lnTo>
                    <a:pt x="882" y="184"/>
                  </a:lnTo>
                  <a:lnTo>
                    <a:pt x="884" y="184"/>
                  </a:lnTo>
                  <a:lnTo>
                    <a:pt x="888" y="182"/>
                  </a:lnTo>
                  <a:lnTo>
                    <a:pt x="892" y="184"/>
                  </a:lnTo>
                  <a:lnTo>
                    <a:pt x="898" y="186"/>
                  </a:lnTo>
                  <a:lnTo>
                    <a:pt x="902" y="190"/>
                  </a:lnTo>
                  <a:lnTo>
                    <a:pt x="904" y="196"/>
                  </a:lnTo>
                  <a:lnTo>
                    <a:pt x="906" y="200"/>
                  </a:lnTo>
                  <a:lnTo>
                    <a:pt x="908" y="202"/>
                  </a:lnTo>
                  <a:lnTo>
                    <a:pt x="910" y="204"/>
                  </a:lnTo>
                  <a:lnTo>
                    <a:pt x="914" y="204"/>
                  </a:lnTo>
                  <a:lnTo>
                    <a:pt x="922" y="206"/>
                  </a:lnTo>
                  <a:lnTo>
                    <a:pt x="928" y="210"/>
                  </a:lnTo>
                  <a:lnTo>
                    <a:pt x="930" y="214"/>
                  </a:lnTo>
                  <a:lnTo>
                    <a:pt x="932" y="218"/>
                  </a:lnTo>
                  <a:lnTo>
                    <a:pt x="930" y="222"/>
                  </a:lnTo>
                  <a:lnTo>
                    <a:pt x="926" y="228"/>
                  </a:lnTo>
                  <a:lnTo>
                    <a:pt x="922" y="236"/>
                  </a:lnTo>
                  <a:lnTo>
                    <a:pt x="920" y="244"/>
                  </a:lnTo>
                  <a:lnTo>
                    <a:pt x="920" y="246"/>
                  </a:lnTo>
                  <a:lnTo>
                    <a:pt x="922" y="248"/>
                  </a:lnTo>
                  <a:lnTo>
                    <a:pt x="926" y="250"/>
                  </a:lnTo>
                  <a:lnTo>
                    <a:pt x="932" y="250"/>
                  </a:lnTo>
                  <a:lnTo>
                    <a:pt x="934" y="250"/>
                  </a:lnTo>
                  <a:lnTo>
                    <a:pt x="936" y="254"/>
                  </a:lnTo>
                  <a:lnTo>
                    <a:pt x="936" y="256"/>
                  </a:lnTo>
                  <a:lnTo>
                    <a:pt x="936" y="258"/>
                  </a:lnTo>
                  <a:lnTo>
                    <a:pt x="942" y="256"/>
                  </a:lnTo>
                  <a:lnTo>
                    <a:pt x="948" y="252"/>
                  </a:lnTo>
                  <a:lnTo>
                    <a:pt x="954" y="246"/>
                  </a:lnTo>
                  <a:lnTo>
                    <a:pt x="960" y="244"/>
                  </a:lnTo>
                  <a:lnTo>
                    <a:pt x="964" y="242"/>
                  </a:lnTo>
                  <a:lnTo>
                    <a:pt x="972" y="234"/>
                  </a:lnTo>
                  <a:lnTo>
                    <a:pt x="978" y="226"/>
                  </a:lnTo>
                  <a:lnTo>
                    <a:pt x="984" y="220"/>
                  </a:lnTo>
                  <a:lnTo>
                    <a:pt x="988" y="218"/>
                  </a:lnTo>
                  <a:lnTo>
                    <a:pt x="992" y="218"/>
                  </a:lnTo>
                  <a:lnTo>
                    <a:pt x="992" y="224"/>
                  </a:lnTo>
                  <a:lnTo>
                    <a:pt x="994" y="230"/>
                  </a:lnTo>
                  <a:lnTo>
                    <a:pt x="1000" y="246"/>
                  </a:lnTo>
                  <a:lnTo>
                    <a:pt x="1002" y="250"/>
                  </a:lnTo>
                  <a:lnTo>
                    <a:pt x="1000" y="252"/>
                  </a:lnTo>
                  <a:lnTo>
                    <a:pt x="1000" y="256"/>
                  </a:lnTo>
                  <a:lnTo>
                    <a:pt x="1002" y="260"/>
                  </a:lnTo>
                  <a:lnTo>
                    <a:pt x="1006" y="266"/>
                  </a:lnTo>
                  <a:lnTo>
                    <a:pt x="1008" y="272"/>
                  </a:lnTo>
                  <a:lnTo>
                    <a:pt x="1006" y="278"/>
                  </a:lnTo>
                  <a:lnTo>
                    <a:pt x="1004" y="280"/>
                  </a:lnTo>
                  <a:lnTo>
                    <a:pt x="1002" y="284"/>
                  </a:lnTo>
                  <a:lnTo>
                    <a:pt x="1000" y="286"/>
                  </a:lnTo>
                  <a:lnTo>
                    <a:pt x="998" y="288"/>
                  </a:lnTo>
                  <a:lnTo>
                    <a:pt x="1000" y="292"/>
                  </a:lnTo>
                  <a:lnTo>
                    <a:pt x="1004" y="294"/>
                  </a:lnTo>
                  <a:lnTo>
                    <a:pt x="1008" y="296"/>
                  </a:lnTo>
                  <a:lnTo>
                    <a:pt x="1010" y="300"/>
                  </a:lnTo>
                  <a:lnTo>
                    <a:pt x="1010" y="302"/>
                  </a:lnTo>
                  <a:lnTo>
                    <a:pt x="1010" y="304"/>
                  </a:lnTo>
                  <a:lnTo>
                    <a:pt x="1016" y="308"/>
                  </a:lnTo>
                  <a:lnTo>
                    <a:pt x="1020" y="308"/>
                  </a:lnTo>
                  <a:lnTo>
                    <a:pt x="1028" y="310"/>
                  </a:lnTo>
                  <a:lnTo>
                    <a:pt x="1036" y="314"/>
                  </a:lnTo>
                  <a:lnTo>
                    <a:pt x="1040" y="316"/>
                  </a:lnTo>
                  <a:lnTo>
                    <a:pt x="1042" y="318"/>
                  </a:lnTo>
                  <a:lnTo>
                    <a:pt x="1042" y="320"/>
                  </a:lnTo>
                  <a:lnTo>
                    <a:pt x="1040" y="324"/>
                  </a:lnTo>
                  <a:lnTo>
                    <a:pt x="1038" y="328"/>
                  </a:lnTo>
                  <a:lnTo>
                    <a:pt x="1040" y="332"/>
                  </a:lnTo>
                  <a:lnTo>
                    <a:pt x="1044" y="332"/>
                  </a:lnTo>
                  <a:lnTo>
                    <a:pt x="1044" y="336"/>
                  </a:lnTo>
                  <a:lnTo>
                    <a:pt x="1056" y="336"/>
                  </a:lnTo>
                  <a:lnTo>
                    <a:pt x="1056" y="342"/>
                  </a:lnTo>
                  <a:lnTo>
                    <a:pt x="1054" y="352"/>
                  </a:lnTo>
                  <a:lnTo>
                    <a:pt x="1050" y="360"/>
                  </a:lnTo>
                  <a:lnTo>
                    <a:pt x="1048" y="366"/>
                  </a:lnTo>
                  <a:lnTo>
                    <a:pt x="1044" y="368"/>
                  </a:lnTo>
                  <a:lnTo>
                    <a:pt x="1032" y="370"/>
                  </a:lnTo>
                  <a:lnTo>
                    <a:pt x="1024" y="370"/>
                  </a:lnTo>
                  <a:lnTo>
                    <a:pt x="1016" y="372"/>
                  </a:lnTo>
                  <a:lnTo>
                    <a:pt x="1008" y="376"/>
                  </a:lnTo>
                  <a:lnTo>
                    <a:pt x="994" y="386"/>
                  </a:lnTo>
                  <a:lnTo>
                    <a:pt x="988" y="388"/>
                  </a:lnTo>
                  <a:lnTo>
                    <a:pt x="980" y="394"/>
                  </a:lnTo>
                  <a:lnTo>
                    <a:pt x="970" y="396"/>
                  </a:lnTo>
                  <a:lnTo>
                    <a:pt x="960" y="398"/>
                  </a:lnTo>
                  <a:lnTo>
                    <a:pt x="934" y="390"/>
                  </a:lnTo>
                  <a:lnTo>
                    <a:pt x="908" y="388"/>
                  </a:lnTo>
                  <a:lnTo>
                    <a:pt x="894" y="390"/>
                  </a:lnTo>
                  <a:lnTo>
                    <a:pt x="886" y="396"/>
                  </a:lnTo>
                  <a:lnTo>
                    <a:pt x="876" y="402"/>
                  </a:lnTo>
                  <a:lnTo>
                    <a:pt x="862" y="410"/>
                  </a:lnTo>
                  <a:lnTo>
                    <a:pt x="852" y="418"/>
                  </a:lnTo>
                  <a:lnTo>
                    <a:pt x="842" y="430"/>
                  </a:lnTo>
                  <a:lnTo>
                    <a:pt x="828" y="440"/>
                  </a:lnTo>
                  <a:lnTo>
                    <a:pt x="840" y="432"/>
                  </a:lnTo>
                  <a:lnTo>
                    <a:pt x="856" y="422"/>
                  </a:lnTo>
                  <a:lnTo>
                    <a:pt x="876" y="414"/>
                  </a:lnTo>
                  <a:lnTo>
                    <a:pt x="884" y="414"/>
                  </a:lnTo>
                  <a:lnTo>
                    <a:pt x="892" y="414"/>
                  </a:lnTo>
                  <a:lnTo>
                    <a:pt x="898" y="414"/>
                  </a:lnTo>
                  <a:lnTo>
                    <a:pt x="906" y="414"/>
                  </a:lnTo>
                  <a:lnTo>
                    <a:pt x="910" y="418"/>
                  </a:lnTo>
                  <a:lnTo>
                    <a:pt x="910" y="420"/>
                  </a:lnTo>
                  <a:lnTo>
                    <a:pt x="912" y="422"/>
                  </a:lnTo>
                  <a:lnTo>
                    <a:pt x="910" y="426"/>
                  </a:lnTo>
                  <a:lnTo>
                    <a:pt x="910" y="430"/>
                  </a:lnTo>
                  <a:lnTo>
                    <a:pt x="904" y="432"/>
                  </a:lnTo>
                  <a:lnTo>
                    <a:pt x="896" y="436"/>
                  </a:lnTo>
                  <a:lnTo>
                    <a:pt x="892" y="438"/>
                  </a:lnTo>
                  <a:lnTo>
                    <a:pt x="890" y="442"/>
                  </a:lnTo>
                  <a:lnTo>
                    <a:pt x="904" y="442"/>
                  </a:lnTo>
                  <a:lnTo>
                    <a:pt x="898" y="448"/>
                  </a:lnTo>
                  <a:lnTo>
                    <a:pt x="894" y="454"/>
                  </a:lnTo>
                  <a:lnTo>
                    <a:pt x="892" y="460"/>
                  </a:lnTo>
                  <a:lnTo>
                    <a:pt x="892" y="464"/>
                  </a:lnTo>
                  <a:lnTo>
                    <a:pt x="894" y="468"/>
                  </a:lnTo>
                  <a:lnTo>
                    <a:pt x="902" y="472"/>
                  </a:lnTo>
                  <a:lnTo>
                    <a:pt x="910" y="476"/>
                  </a:lnTo>
                  <a:lnTo>
                    <a:pt x="920" y="476"/>
                  </a:lnTo>
                  <a:lnTo>
                    <a:pt x="928" y="476"/>
                  </a:lnTo>
                  <a:lnTo>
                    <a:pt x="936" y="472"/>
                  </a:lnTo>
                  <a:lnTo>
                    <a:pt x="940" y="468"/>
                  </a:lnTo>
                  <a:lnTo>
                    <a:pt x="944" y="462"/>
                  </a:lnTo>
                  <a:lnTo>
                    <a:pt x="948" y="458"/>
                  </a:lnTo>
                  <a:lnTo>
                    <a:pt x="950" y="454"/>
                  </a:lnTo>
                  <a:lnTo>
                    <a:pt x="954" y="454"/>
                  </a:lnTo>
                  <a:lnTo>
                    <a:pt x="958" y="454"/>
                  </a:lnTo>
                  <a:lnTo>
                    <a:pt x="958" y="456"/>
                  </a:lnTo>
                  <a:lnTo>
                    <a:pt x="956" y="460"/>
                  </a:lnTo>
                  <a:lnTo>
                    <a:pt x="954" y="464"/>
                  </a:lnTo>
                  <a:lnTo>
                    <a:pt x="958" y="464"/>
                  </a:lnTo>
                  <a:lnTo>
                    <a:pt x="960" y="466"/>
                  </a:lnTo>
                  <a:lnTo>
                    <a:pt x="960" y="468"/>
                  </a:lnTo>
                  <a:lnTo>
                    <a:pt x="958" y="470"/>
                  </a:lnTo>
                  <a:lnTo>
                    <a:pt x="954" y="474"/>
                  </a:lnTo>
                  <a:lnTo>
                    <a:pt x="946" y="478"/>
                  </a:lnTo>
                  <a:lnTo>
                    <a:pt x="938" y="486"/>
                  </a:lnTo>
                  <a:lnTo>
                    <a:pt x="930" y="490"/>
                  </a:lnTo>
                  <a:lnTo>
                    <a:pt x="910" y="496"/>
                  </a:lnTo>
                  <a:lnTo>
                    <a:pt x="904" y="496"/>
                  </a:lnTo>
                  <a:lnTo>
                    <a:pt x="898" y="496"/>
                  </a:lnTo>
                  <a:lnTo>
                    <a:pt x="890" y="496"/>
                  </a:lnTo>
                  <a:lnTo>
                    <a:pt x="884" y="498"/>
                  </a:lnTo>
                  <a:lnTo>
                    <a:pt x="880" y="504"/>
                  </a:lnTo>
                  <a:lnTo>
                    <a:pt x="876" y="510"/>
                  </a:lnTo>
                  <a:lnTo>
                    <a:pt x="870" y="514"/>
                  </a:lnTo>
                  <a:lnTo>
                    <a:pt x="866" y="516"/>
                  </a:lnTo>
                  <a:lnTo>
                    <a:pt x="862" y="516"/>
                  </a:lnTo>
                  <a:lnTo>
                    <a:pt x="856" y="516"/>
                  </a:lnTo>
                  <a:lnTo>
                    <a:pt x="854" y="512"/>
                  </a:lnTo>
                  <a:lnTo>
                    <a:pt x="854" y="510"/>
                  </a:lnTo>
                  <a:lnTo>
                    <a:pt x="854" y="504"/>
                  </a:lnTo>
                  <a:lnTo>
                    <a:pt x="858" y="500"/>
                  </a:lnTo>
                  <a:lnTo>
                    <a:pt x="866" y="496"/>
                  </a:lnTo>
                  <a:lnTo>
                    <a:pt x="876" y="492"/>
                  </a:lnTo>
                  <a:lnTo>
                    <a:pt x="880" y="488"/>
                  </a:lnTo>
                  <a:lnTo>
                    <a:pt x="882" y="484"/>
                  </a:lnTo>
                  <a:lnTo>
                    <a:pt x="846" y="490"/>
                  </a:lnTo>
                  <a:lnTo>
                    <a:pt x="840" y="470"/>
                  </a:lnTo>
                  <a:lnTo>
                    <a:pt x="840" y="466"/>
                  </a:lnTo>
                  <a:lnTo>
                    <a:pt x="842" y="462"/>
                  </a:lnTo>
                  <a:lnTo>
                    <a:pt x="848" y="454"/>
                  </a:lnTo>
                  <a:lnTo>
                    <a:pt x="828" y="448"/>
                  </a:lnTo>
                  <a:lnTo>
                    <a:pt x="822" y="450"/>
                  </a:lnTo>
                  <a:lnTo>
                    <a:pt x="816" y="454"/>
                  </a:lnTo>
                  <a:lnTo>
                    <a:pt x="806" y="468"/>
                  </a:lnTo>
                  <a:lnTo>
                    <a:pt x="800" y="474"/>
                  </a:lnTo>
                  <a:lnTo>
                    <a:pt x="796" y="482"/>
                  </a:lnTo>
                  <a:lnTo>
                    <a:pt x="790" y="486"/>
                  </a:lnTo>
                  <a:lnTo>
                    <a:pt x="780" y="488"/>
                  </a:lnTo>
                  <a:lnTo>
                    <a:pt x="774" y="490"/>
                  </a:lnTo>
                  <a:lnTo>
                    <a:pt x="742" y="490"/>
                  </a:lnTo>
                  <a:lnTo>
                    <a:pt x="734" y="494"/>
                  </a:lnTo>
                  <a:lnTo>
                    <a:pt x="726" y="496"/>
                  </a:lnTo>
                  <a:lnTo>
                    <a:pt x="722" y="500"/>
                  </a:lnTo>
                  <a:lnTo>
                    <a:pt x="718" y="502"/>
                  </a:lnTo>
                  <a:lnTo>
                    <a:pt x="706" y="504"/>
                  </a:lnTo>
                  <a:lnTo>
                    <a:pt x="690" y="504"/>
                  </a:lnTo>
                  <a:lnTo>
                    <a:pt x="682" y="504"/>
                  </a:lnTo>
                  <a:lnTo>
                    <a:pt x="672" y="506"/>
                  </a:lnTo>
                  <a:lnTo>
                    <a:pt x="664" y="512"/>
                  </a:lnTo>
                  <a:lnTo>
                    <a:pt x="664" y="514"/>
                  </a:lnTo>
                  <a:lnTo>
                    <a:pt x="664" y="520"/>
                  </a:lnTo>
                  <a:lnTo>
                    <a:pt x="654" y="524"/>
                  </a:lnTo>
                  <a:lnTo>
                    <a:pt x="648" y="526"/>
                  </a:lnTo>
                  <a:lnTo>
                    <a:pt x="646" y="530"/>
                  </a:lnTo>
                  <a:lnTo>
                    <a:pt x="642" y="530"/>
                  </a:lnTo>
                  <a:lnTo>
                    <a:pt x="642" y="526"/>
                  </a:lnTo>
                  <a:lnTo>
                    <a:pt x="636" y="528"/>
                  </a:lnTo>
                  <a:lnTo>
                    <a:pt x="634" y="526"/>
                  </a:lnTo>
                  <a:lnTo>
                    <a:pt x="630" y="526"/>
                  </a:lnTo>
                  <a:lnTo>
                    <a:pt x="624" y="528"/>
                  </a:lnTo>
                  <a:lnTo>
                    <a:pt x="616" y="534"/>
                  </a:lnTo>
                  <a:lnTo>
                    <a:pt x="608" y="538"/>
                  </a:lnTo>
                  <a:lnTo>
                    <a:pt x="606" y="540"/>
                  </a:lnTo>
                  <a:lnTo>
                    <a:pt x="600" y="540"/>
                  </a:lnTo>
                  <a:lnTo>
                    <a:pt x="596" y="540"/>
                  </a:lnTo>
                  <a:lnTo>
                    <a:pt x="602" y="536"/>
                  </a:lnTo>
                  <a:lnTo>
                    <a:pt x="608" y="532"/>
                  </a:lnTo>
                  <a:lnTo>
                    <a:pt x="614" y="528"/>
                  </a:lnTo>
                  <a:lnTo>
                    <a:pt x="616" y="524"/>
                  </a:lnTo>
                  <a:lnTo>
                    <a:pt x="616" y="522"/>
                  </a:lnTo>
                  <a:lnTo>
                    <a:pt x="616" y="524"/>
                  </a:lnTo>
                  <a:lnTo>
                    <a:pt x="626" y="518"/>
                  </a:lnTo>
                  <a:lnTo>
                    <a:pt x="632" y="508"/>
                  </a:lnTo>
                  <a:lnTo>
                    <a:pt x="644" y="486"/>
                  </a:lnTo>
                  <a:lnTo>
                    <a:pt x="644" y="492"/>
                  </a:lnTo>
                  <a:lnTo>
                    <a:pt x="648" y="496"/>
                  </a:lnTo>
                  <a:lnTo>
                    <a:pt x="652" y="496"/>
                  </a:lnTo>
                  <a:lnTo>
                    <a:pt x="658" y="496"/>
                  </a:lnTo>
                  <a:lnTo>
                    <a:pt x="664" y="496"/>
                  </a:lnTo>
                  <a:lnTo>
                    <a:pt x="664" y="494"/>
                  </a:lnTo>
                  <a:lnTo>
                    <a:pt x="664" y="490"/>
                  </a:lnTo>
                  <a:lnTo>
                    <a:pt x="664" y="482"/>
                  </a:lnTo>
                  <a:lnTo>
                    <a:pt x="658" y="472"/>
                  </a:lnTo>
                  <a:lnTo>
                    <a:pt x="650" y="466"/>
                  </a:lnTo>
                  <a:lnTo>
                    <a:pt x="648" y="464"/>
                  </a:lnTo>
                  <a:lnTo>
                    <a:pt x="644" y="464"/>
                  </a:lnTo>
                  <a:lnTo>
                    <a:pt x="630" y="464"/>
                  </a:lnTo>
                  <a:lnTo>
                    <a:pt x="612" y="462"/>
                  </a:lnTo>
                  <a:lnTo>
                    <a:pt x="616" y="458"/>
                  </a:lnTo>
                  <a:lnTo>
                    <a:pt x="618" y="452"/>
                  </a:lnTo>
                  <a:lnTo>
                    <a:pt x="618" y="450"/>
                  </a:lnTo>
                  <a:lnTo>
                    <a:pt x="616" y="448"/>
                  </a:lnTo>
                  <a:lnTo>
                    <a:pt x="614" y="446"/>
                  </a:lnTo>
                  <a:lnTo>
                    <a:pt x="612" y="442"/>
                  </a:lnTo>
                  <a:lnTo>
                    <a:pt x="614" y="438"/>
                  </a:lnTo>
                  <a:lnTo>
                    <a:pt x="610" y="436"/>
                  </a:lnTo>
                  <a:lnTo>
                    <a:pt x="608" y="432"/>
                  </a:lnTo>
                  <a:lnTo>
                    <a:pt x="606" y="428"/>
                  </a:lnTo>
                  <a:lnTo>
                    <a:pt x="606" y="424"/>
                  </a:lnTo>
                  <a:lnTo>
                    <a:pt x="604" y="422"/>
                  </a:lnTo>
                  <a:lnTo>
                    <a:pt x="606" y="418"/>
                  </a:lnTo>
                  <a:lnTo>
                    <a:pt x="602" y="416"/>
                  </a:lnTo>
                  <a:lnTo>
                    <a:pt x="598" y="414"/>
                  </a:lnTo>
                  <a:lnTo>
                    <a:pt x="588" y="414"/>
                  </a:lnTo>
                  <a:lnTo>
                    <a:pt x="580" y="416"/>
                  </a:lnTo>
                  <a:lnTo>
                    <a:pt x="566" y="422"/>
                  </a:lnTo>
                  <a:lnTo>
                    <a:pt x="554" y="430"/>
                  </a:lnTo>
                  <a:lnTo>
                    <a:pt x="538" y="438"/>
                  </a:lnTo>
                  <a:lnTo>
                    <a:pt x="526" y="436"/>
                  </a:lnTo>
                  <a:lnTo>
                    <a:pt x="516" y="432"/>
                  </a:lnTo>
                  <a:lnTo>
                    <a:pt x="516" y="434"/>
                  </a:lnTo>
                  <a:lnTo>
                    <a:pt x="510" y="432"/>
                  </a:lnTo>
                  <a:lnTo>
                    <a:pt x="504" y="430"/>
                  </a:lnTo>
                  <a:lnTo>
                    <a:pt x="498" y="430"/>
                  </a:lnTo>
                  <a:lnTo>
                    <a:pt x="492" y="428"/>
                  </a:lnTo>
                  <a:lnTo>
                    <a:pt x="486" y="426"/>
                  </a:lnTo>
                  <a:lnTo>
                    <a:pt x="482" y="422"/>
                  </a:lnTo>
                  <a:lnTo>
                    <a:pt x="482" y="416"/>
                  </a:lnTo>
                  <a:lnTo>
                    <a:pt x="88" y="416"/>
                  </a:lnTo>
                  <a:lnTo>
                    <a:pt x="88" y="414"/>
                  </a:lnTo>
                  <a:lnTo>
                    <a:pt x="86" y="414"/>
                  </a:lnTo>
                  <a:lnTo>
                    <a:pt x="88" y="412"/>
                  </a:lnTo>
                  <a:lnTo>
                    <a:pt x="90" y="410"/>
                  </a:lnTo>
                  <a:lnTo>
                    <a:pt x="80" y="402"/>
                  </a:lnTo>
                  <a:lnTo>
                    <a:pt x="72" y="394"/>
                  </a:lnTo>
                  <a:lnTo>
                    <a:pt x="62" y="386"/>
                  </a:lnTo>
                  <a:lnTo>
                    <a:pt x="58" y="386"/>
                  </a:lnTo>
                  <a:lnTo>
                    <a:pt x="54" y="384"/>
                  </a:lnTo>
                  <a:lnTo>
                    <a:pt x="52" y="378"/>
                  </a:lnTo>
                  <a:lnTo>
                    <a:pt x="50" y="372"/>
                  </a:lnTo>
                  <a:lnTo>
                    <a:pt x="52" y="366"/>
                  </a:lnTo>
                  <a:lnTo>
                    <a:pt x="56" y="360"/>
                  </a:lnTo>
                  <a:lnTo>
                    <a:pt x="56" y="358"/>
                  </a:lnTo>
                  <a:lnTo>
                    <a:pt x="54" y="354"/>
                  </a:lnTo>
                  <a:lnTo>
                    <a:pt x="48" y="352"/>
                  </a:lnTo>
                  <a:lnTo>
                    <a:pt x="48" y="350"/>
                  </a:lnTo>
                  <a:lnTo>
                    <a:pt x="50" y="348"/>
                  </a:lnTo>
                  <a:lnTo>
                    <a:pt x="52" y="346"/>
                  </a:lnTo>
                  <a:lnTo>
                    <a:pt x="50" y="342"/>
                  </a:lnTo>
                  <a:lnTo>
                    <a:pt x="48" y="340"/>
                  </a:lnTo>
                  <a:lnTo>
                    <a:pt x="42" y="336"/>
                  </a:lnTo>
                  <a:lnTo>
                    <a:pt x="42" y="334"/>
                  </a:lnTo>
                  <a:lnTo>
                    <a:pt x="44" y="330"/>
                  </a:lnTo>
                  <a:lnTo>
                    <a:pt x="48" y="326"/>
                  </a:lnTo>
                  <a:lnTo>
                    <a:pt x="52" y="320"/>
                  </a:lnTo>
                  <a:lnTo>
                    <a:pt x="50" y="316"/>
                  </a:lnTo>
                  <a:lnTo>
                    <a:pt x="44" y="316"/>
                  </a:lnTo>
                  <a:lnTo>
                    <a:pt x="34" y="314"/>
                  </a:lnTo>
                  <a:lnTo>
                    <a:pt x="34" y="310"/>
                  </a:lnTo>
                  <a:lnTo>
                    <a:pt x="38" y="308"/>
                  </a:lnTo>
                  <a:lnTo>
                    <a:pt x="40" y="308"/>
                  </a:lnTo>
                  <a:lnTo>
                    <a:pt x="38" y="304"/>
                  </a:lnTo>
                  <a:lnTo>
                    <a:pt x="38" y="300"/>
                  </a:lnTo>
                  <a:lnTo>
                    <a:pt x="36" y="290"/>
                  </a:lnTo>
                  <a:lnTo>
                    <a:pt x="34" y="284"/>
                  </a:lnTo>
                  <a:lnTo>
                    <a:pt x="26" y="276"/>
                  </a:lnTo>
                  <a:lnTo>
                    <a:pt x="24" y="272"/>
                  </a:lnTo>
                  <a:lnTo>
                    <a:pt x="24" y="268"/>
                  </a:lnTo>
                  <a:lnTo>
                    <a:pt x="26" y="262"/>
                  </a:lnTo>
                  <a:lnTo>
                    <a:pt x="30" y="254"/>
                  </a:lnTo>
                  <a:lnTo>
                    <a:pt x="34" y="248"/>
                  </a:lnTo>
                  <a:lnTo>
                    <a:pt x="30" y="246"/>
                  </a:lnTo>
                  <a:lnTo>
                    <a:pt x="30" y="242"/>
                  </a:lnTo>
                  <a:lnTo>
                    <a:pt x="28" y="236"/>
                  </a:lnTo>
                  <a:lnTo>
                    <a:pt x="26" y="232"/>
                  </a:lnTo>
                  <a:lnTo>
                    <a:pt x="20" y="230"/>
                  </a:lnTo>
                  <a:lnTo>
                    <a:pt x="14" y="230"/>
                  </a:lnTo>
                  <a:lnTo>
                    <a:pt x="8" y="230"/>
                  </a:lnTo>
                  <a:lnTo>
                    <a:pt x="8" y="228"/>
                  </a:lnTo>
                  <a:lnTo>
                    <a:pt x="2" y="226"/>
                  </a:lnTo>
                  <a:lnTo>
                    <a:pt x="0" y="222"/>
                  </a:lnTo>
                  <a:lnTo>
                    <a:pt x="172" y="64"/>
                  </a:lnTo>
                  <a:lnTo>
                    <a:pt x="178" y="68"/>
                  </a:lnTo>
                  <a:lnTo>
                    <a:pt x="186" y="68"/>
                  </a:lnTo>
                  <a:lnTo>
                    <a:pt x="196" y="70"/>
                  </a:lnTo>
                  <a:lnTo>
                    <a:pt x="204" y="72"/>
                  </a:lnTo>
                  <a:lnTo>
                    <a:pt x="206" y="74"/>
                  </a:lnTo>
                  <a:lnTo>
                    <a:pt x="210" y="76"/>
                  </a:lnTo>
                  <a:lnTo>
                    <a:pt x="212" y="78"/>
                  </a:lnTo>
                  <a:lnTo>
                    <a:pt x="216" y="78"/>
                  </a:lnTo>
                  <a:lnTo>
                    <a:pt x="226" y="78"/>
                  </a:lnTo>
                  <a:lnTo>
                    <a:pt x="234" y="74"/>
                  </a:lnTo>
                  <a:lnTo>
                    <a:pt x="242" y="72"/>
                  </a:lnTo>
                  <a:lnTo>
                    <a:pt x="252" y="70"/>
                  </a:lnTo>
                  <a:lnTo>
                    <a:pt x="258" y="70"/>
                  </a:lnTo>
                  <a:lnTo>
                    <a:pt x="268" y="70"/>
                  </a:lnTo>
                  <a:lnTo>
                    <a:pt x="280" y="66"/>
                  </a:lnTo>
                  <a:lnTo>
                    <a:pt x="288" y="62"/>
                  </a:lnTo>
                  <a:lnTo>
                    <a:pt x="296" y="60"/>
                  </a:lnTo>
                  <a:lnTo>
                    <a:pt x="316" y="60"/>
                  </a:lnTo>
                  <a:lnTo>
                    <a:pt x="334" y="58"/>
                  </a:lnTo>
                  <a:lnTo>
                    <a:pt x="346" y="58"/>
                  </a:lnTo>
                  <a:lnTo>
                    <a:pt x="352" y="58"/>
                  </a:lnTo>
                  <a:lnTo>
                    <a:pt x="352" y="64"/>
                  </a:lnTo>
                  <a:lnTo>
                    <a:pt x="354" y="68"/>
                  </a:lnTo>
                  <a:lnTo>
                    <a:pt x="358" y="68"/>
                  </a:lnTo>
                  <a:lnTo>
                    <a:pt x="362" y="68"/>
                  </a:lnTo>
                  <a:lnTo>
                    <a:pt x="366" y="64"/>
                  </a:lnTo>
                  <a:lnTo>
                    <a:pt x="374" y="58"/>
                  </a:lnTo>
                  <a:lnTo>
                    <a:pt x="378" y="60"/>
                  </a:lnTo>
                  <a:lnTo>
                    <a:pt x="380" y="64"/>
                  </a:lnTo>
                  <a:lnTo>
                    <a:pt x="380" y="70"/>
                  </a:lnTo>
                  <a:lnTo>
                    <a:pt x="380" y="72"/>
                  </a:lnTo>
                  <a:lnTo>
                    <a:pt x="382" y="72"/>
                  </a:lnTo>
                  <a:lnTo>
                    <a:pt x="386" y="70"/>
                  </a:lnTo>
                  <a:lnTo>
                    <a:pt x="392" y="66"/>
                  </a:lnTo>
                  <a:lnTo>
                    <a:pt x="398" y="64"/>
                  </a:lnTo>
                  <a:lnTo>
                    <a:pt x="410" y="66"/>
                  </a:lnTo>
                  <a:lnTo>
                    <a:pt x="418" y="68"/>
                  </a:lnTo>
                  <a:lnTo>
                    <a:pt x="426" y="72"/>
                  </a:lnTo>
                  <a:lnTo>
                    <a:pt x="436" y="74"/>
                  </a:lnTo>
                  <a:lnTo>
                    <a:pt x="444" y="78"/>
                  </a:lnTo>
                  <a:lnTo>
                    <a:pt x="454" y="82"/>
                  </a:lnTo>
                  <a:lnTo>
                    <a:pt x="458" y="80"/>
                  </a:lnTo>
                  <a:lnTo>
                    <a:pt x="466" y="78"/>
                  </a:lnTo>
                  <a:lnTo>
                    <a:pt x="470" y="80"/>
                  </a:lnTo>
                  <a:lnTo>
                    <a:pt x="472" y="80"/>
                  </a:lnTo>
                  <a:lnTo>
                    <a:pt x="474" y="82"/>
                  </a:lnTo>
                  <a:lnTo>
                    <a:pt x="474" y="86"/>
                  </a:lnTo>
                  <a:lnTo>
                    <a:pt x="472" y="88"/>
                  </a:lnTo>
                  <a:lnTo>
                    <a:pt x="466" y="90"/>
                  </a:lnTo>
                  <a:lnTo>
                    <a:pt x="462" y="94"/>
                  </a:lnTo>
                  <a:lnTo>
                    <a:pt x="460" y="94"/>
                  </a:lnTo>
                  <a:lnTo>
                    <a:pt x="460" y="98"/>
                  </a:lnTo>
                  <a:lnTo>
                    <a:pt x="460" y="100"/>
                  </a:lnTo>
                  <a:lnTo>
                    <a:pt x="462" y="100"/>
                  </a:lnTo>
                  <a:lnTo>
                    <a:pt x="470" y="102"/>
                  </a:lnTo>
                  <a:lnTo>
                    <a:pt x="482" y="100"/>
                  </a:lnTo>
                  <a:lnTo>
                    <a:pt x="492" y="98"/>
                  </a:lnTo>
                  <a:lnTo>
                    <a:pt x="502" y="96"/>
                  </a:lnTo>
                  <a:lnTo>
                    <a:pt x="514" y="94"/>
                  </a:lnTo>
                  <a:lnTo>
                    <a:pt x="518" y="96"/>
                  </a:lnTo>
                  <a:lnTo>
                    <a:pt x="522" y="98"/>
                  </a:lnTo>
                  <a:lnTo>
                    <a:pt x="526" y="102"/>
                  </a:lnTo>
                  <a:lnTo>
                    <a:pt x="528" y="104"/>
                  </a:lnTo>
                  <a:lnTo>
                    <a:pt x="532" y="102"/>
                  </a:lnTo>
                  <a:lnTo>
                    <a:pt x="536" y="100"/>
                  </a:lnTo>
                  <a:lnTo>
                    <a:pt x="538" y="92"/>
                  </a:lnTo>
                  <a:lnTo>
                    <a:pt x="538" y="88"/>
                  </a:lnTo>
                  <a:lnTo>
                    <a:pt x="554" y="84"/>
                  </a:lnTo>
                  <a:lnTo>
                    <a:pt x="562" y="82"/>
                  </a:lnTo>
                  <a:lnTo>
                    <a:pt x="572" y="80"/>
                  </a:lnTo>
                  <a:lnTo>
                    <a:pt x="578" y="82"/>
                  </a:lnTo>
                  <a:lnTo>
                    <a:pt x="582" y="84"/>
                  </a:lnTo>
                  <a:lnTo>
                    <a:pt x="582" y="86"/>
                  </a:lnTo>
                  <a:lnTo>
                    <a:pt x="586" y="88"/>
                  </a:lnTo>
                  <a:lnTo>
                    <a:pt x="594" y="92"/>
                  </a:lnTo>
                  <a:lnTo>
                    <a:pt x="606" y="96"/>
                  </a:lnTo>
                  <a:lnTo>
                    <a:pt x="638" y="96"/>
                  </a:lnTo>
                  <a:lnTo>
                    <a:pt x="642" y="96"/>
                  </a:lnTo>
                  <a:lnTo>
                    <a:pt x="646" y="96"/>
                  </a:lnTo>
                  <a:lnTo>
                    <a:pt x="652" y="92"/>
                  </a:lnTo>
                  <a:lnTo>
                    <a:pt x="656" y="88"/>
                  </a:lnTo>
                  <a:lnTo>
                    <a:pt x="662" y="86"/>
                  </a:lnTo>
                  <a:lnTo>
                    <a:pt x="670" y="88"/>
                  </a:lnTo>
                  <a:lnTo>
                    <a:pt x="682" y="88"/>
                  </a:lnTo>
                  <a:lnTo>
                    <a:pt x="678" y="94"/>
                  </a:lnTo>
                  <a:lnTo>
                    <a:pt x="676" y="98"/>
                  </a:lnTo>
                  <a:lnTo>
                    <a:pt x="674" y="102"/>
                  </a:lnTo>
                  <a:lnTo>
                    <a:pt x="674" y="104"/>
                  </a:lnTo>
                  <a:lnTo>
                    <a:pt x="676" y="106"/>
                  </a:lnTo>
                  <a:lnTo>
                    <a:pt x="680" y="104"/>
                  </a:lnTo>
                  <a:lnTo>
                    <a:pt x="690" y="92"/>
                  </a:lnTo>
                  <a:lnTo>
                    <a:pt x="694" y="88"/>
                  </a:lnTo>
                  <a:lnTo>
                    <a:pt x="702" y="86"/>
                  </a:lnTo>
                  <a:lnTo>
                    <a:pt x="708" y="82"/>
                  </a:lnTo>
                  <a:lnTo>
                    <a:pt x="714" y="78"/>
                  </a:lnTo>
                  <a:lnTo>
                    <a:pt x="716" y="72"/>
                  </a:lnTo>
                  <a:lnTo>
                    <a:pt x="716" y="70"/>
                  </a:lnTo>
                  <a:lnTo>
                    <a:pt x="716" y="68"/>
                  </a:lnTo>
                  <a:lnTo>
                    <a:pt x="714" y="66"/>
                  </a:lnTo>
                  <a:lnTo>
                    <a:pt x="708" y="64"/>
                  </a:lnTo>
                  <a:lnTo>
                    <a:pt x="706" y="64"/>
                  </a:lnTo>
                  <a:lnTo>
                    <a:pt x="706" y="62"/>
                  </a:lnTo>
                  <a:lnTo>
                    <a:pt x="706" y="58"/>
                  </a:lnTo>
                  <a:lnTo>
                    <a:pt x="710" y="54"/>
                  </a:lnTo>
                  <a:lnTo>
                    <a:pt x="718" y="44"/>
                  </a:lnTo>
                  <a:lnTo>
                    <a:pt x="732" y="36"/>
                  </a:lnTo>
                  <a:lnTo>
                    <a:pt x="742" y="32"/>
                  </a:lnTo>
                  <a:lnTo>
                    <a:pt x="746" y="30"/>
                  </a:lnTo>
                  <a:lnTo>
                    <a:pt x="746" y="26"/>
                  </a:lnTo>
                  <a:lnTo>
                    <a:pt x="748" y="20"/>
                  </a:lnTo>
                  <a:lnTo>
                    <a:pt x="752" y="14"/>
                  </a:lnTo>
                  <a:lnTo>
                    <a:pt x="760" y="8"/>
                  </a:lnTo>
                  <a:lnTo>
                    <a:pt x="768" y="4"/>
                  </a:lnTo>
                  <a:lnTo>
                    <a:pt x="776" y="2"/>
                  </a:lnTo>
                  <a:lnTo>
                    <a:pt x="790" y="0"/>
                  </a:lnTo>
                  <a:lnTo>
                    <a:pt x="806" y="0"/>
                  </a:lnTo>
                  <a:lnTo>
                    <a:pt x="816" y="2"/>
                  </a:lnTo>
                  <a:lnTo>
                    <a:pt x="820" y="4"/>
                  </a:lnTo>
                  <a:lnTo>
                    <a:pt x="820" y="6"/>
                  </a:lnTo>
                  <a:lnTo>
                    <a:pt x="810" y="10"/>
                  </a:lnTo>
                  <a:lnTo>
                    <a:pt x="800" y="16"/>
                  </a:lnTo>
                  <a:lnTo>
                    <a:pt x="790" y="20"/>
                  </a:lnTo>
                  <a:lnTo>
                    <a:pt x="778" y="22"/>
                  </a:lnTo>
                  <a:lnTo>
                    <a:pt x="772" y="22"/>
                  </a:lnTo>
                  <a:lnTo>
                    <a:pt x="764" y="26"/>
                  </a:lnTo>
                  <a:lnTo>
                    <a:pt x="758" y="30"/>
                  </a:lnTo>
                  <a:lnTo>
                    <a:pt x="756" y="34"/>
                  </a:lnTo>
                  <a:lnTo>
                    <a:pt x="756" y="52"/>
                  </a:lnTo>
                  <a:lnTo>
                    <a:pt x="754" y="58"/>
                  </a:lnTo>
                  <a:lnTo>
                    <a:pt x="752" y="60"/>
                  </a:lnTo>
                  <a:lnTo>
                    <a:pt x="748" y="64"/>
                  </a:lnTo>
                  <a:lnTo>
                    <a:pt x="750" y="66"/>
                  </a:lnTo>
                  <a:lnTo>
                    <a:pt x="752" y="68"/>
                  </a:lnTo>
                  <a:lnTo>
                    <a:pt x="756" y="70"/>
                  </a:lnTo>
                  <a:lnTo>
                    <a:pt x="758" y="72"/>
                  </a:lnTo>
                  <a:lnTo>
                    <a:pt x="758" y="78"/>
                  </a:lnTo>
                  <a:lnTo>
                    <a:pt x="758" y="80"/>
                  </a:lnTo>
                  <a:lnTo>
                    <a:pt x="762" y="82"/>
                  </a:lnTo>
                  <a:lnTo>
                    <a:pt x="766" y="80"/>
                  </a:lnTo>
                  <a:lnTo>
                    <a:pt x="770" y="78"/>
                  </a:lnTo>
                  <a:lnTo>
                    <a:pt x="772" y="76"/>
                  </a:lnTo>
                  <a:lnTo>
                    <a:pt x="776" y="76"/>
                  </a:lnTo>
                  <a:lnTo>
                    <a:pt x="782" y="76"/>
                  </a:lnTo>
                  <a:lnTo>
                    <a:pt x="784" y="78"/>
                  </a:lnTo>
                  <a:lnTo>
                    <a:pt x="784" y="82"/>
                  </a:lnTo>
                  <a:lnTo>
                    <a:pt x="780" y="86"/>
                  </a:lnTo>
                  <a:lnTo>
                    <a:pt x="774" y="88"/>
                  </a:lnTo>
                  <a:lnTo>
                    <a:pt x="772" y="92"/>
                  </a:lnTo>
                  <a:lnTo>
                    <a:pt x="770" y="98"/>
                  </a:lnTo>
                  <a:lnTo>
                    <a:pt x="772" y="102"/>
                  </a:lnTo>
                  <a:lnTo>
                    <a:pt x="774" y="106"/>
                  </a:lnTo>
                  <a:lnTo>
                    <a:pt x="780" y="104"/>
                  </a:lnTo>
                  <a:lnTo>
                    <a:pt x="786" y="100"/>
                  </a:lnTo>
                  <a:lnTo>
                    <a:pt x="794" y="88"/>
                  </a:lnTo>
                  <a:lnTo>
                    <a:pt x="798" y="92"/>
                  </a:lnTo>
                  <a:lnTo>
                    <a:pt x="808" y="86"/>
                  </a:lnTo>
                  <a:lnTo>
                    <a:pt x="816" y="82"/>
                  </a:lnTo>
                  <a:lnTo>
                    <a:pt x="822" y="80"/>
                  </a:lnTo>
                  <a:lnTo>
                    <a:pt x="822" y="74"/>
                  </a:lnTo>
                  <a:lnTo>
                    <a:pt x="822" y="70"/>
                  </a:lnTo>
                  <a:lnTo>
                    <a:pt x="824" y="68"/>
                  </a:lnTo>
                  <a:lnTo>
                    <a:pt x="828" y="66"/>
                  </a:lnTo>
                  <a:lnTo>
                    <a:pt x="850" y="66"/>
                  </a:lnTo>
                  <a:lnTo>
                    <a:pt x="858" y="70"/>
                  </a:lnTo>
                  <a:lnTo>
                    <a:pt x="862" y="72"/>
                  </a:lnTo>
                  <a:lnTo>
                    <a:pt x="864" y="78"/>
                  </a:lnTo>
                  <a:lnTo>
                    <a:pt x="862" y="80"/>
                  </a:lnTo>
                  <a:lnTo>
                    <a:pt x="860" y="82"/>
                  </a:lnTo>
                  <a:lnTo>
                    <a:pt x="854" y="84"/>
                  </a:lnTo>
                  <a:lnTo>
                    <a:pt x="848" y="86"/>
                  </a:lnTo>
                  <a:lnTo>
                    <a:pt x="846" y="86"/>
                  </a:lnTo>
                  <a:lnTo>
                    <a:pt x="846" y="90"/>
                  </a:lnTo>
                  <a:lnTo>
                    <a:pt x="846" y="94"/>
                  </a:lnTo>
                  <a:lnTo>
                    <a:pt x="848" y="100"/>
                  </a:lnTo>
                  <a:lnTo>
                    <a:pt x="846" y="104"/>
                  </a:lnTo>
                  <a:lnTo>
                    <a:pt x="842" y="108"/>
                  </a:lnTo>
                  <a:lnTo>
                    <a:pt x="830" y="112"/>
                  </a:lnTo>
                  <a:lnTo>
                    <a:pt x="816" y="116"/>
                  </a:lnTo>
                  <a:lnTo>
                    <a:pt x="808" y="122"/>
                  </a:lnTo>
                  <a:lnTo>
                    <a:pt x="802" y="126"/>
                  </a:lnTo>
                  <a:lnTo>
                    <a:pt x="798" y="124"/>
                  </a:lnTo>
                  <a:lnTo>
                    <a:pt x="790" y="122"/>
                  </a:lnTo>
                  <a:lnTo>
                    <a:pt x="780" y="122"/>
                  </a:lnTo>
                  <a:lnTo>
                    <a:pt x="772" y="132"/>
                  </a:lnTo>
                  <a:lnTo>
                    <a:pt x="758" y="140"/>
                  </a:lnTo>
                  <a:lnTo>
                    <a:pt x="732" y="156"/>
                  </a:lnTo>
                  <a:lnTo>
                    <a:pt x="726" y="160"/>
                  </a:lnTo>
                  <a:lnTo>
                    <a:pt x="722" y="164"/>
                  </a:lnTo>
                  <a:lnTo>
                    <a:pt x="718" y="164"/>
                  </a:lnTo>
                  <a:lnTo>
                    <a:pt x="712" y="164"/>
                  </a:lnTo>
                  <a:lnTo>
                    <a:pt x="708" y="166"/>
                  </a:lnTo>
                  <a:lnTo>
                    <a:pt x="704" y="168"/>
                  </a:lnTo>
                  <a:lnTo>
                    <a:pt x="698" y="172"/>
                  </a:lnTo>
                  <a:lnTo>
                    <a:pt x="690" y="176"/>
                  </a:lnTo>
                  <a:lnTo>
                    <a:pt x="684" y="178"/>
                  </a:lnTo>
                  <a:lnTo>
                    <a:pt x="674" y="180"/>
                  </a:lnTo>
                  <a:lnTo>
                    <a:pt x="656" y="184"/>
                  </a:lnTo>
                  <a:lnTo>
                    <a:pt x="648" y="188"/>
                  </a:lnTo>
                  <a:lnTo>
                    <a:pt x="640" y="192"/>
                  </a:lnTo>
                  <a:lnTo>
                    <a:pt x="632" y="198"/>
                  </a:lnTo>
                  <a:lnTo>
                    <a:pt x="622" y="206"/>
                  </a:lnTo>
                  <a:lnTo>
                    <a:pt x="612" y="214"/>
                  </a:lnTo>
                  <a:lnTo>
                    <a:pt x="606" y="222"/>
                  </a:lnTo>
                  <a:lnTo>
                    <a:pt x="600" y="234"/>
                  </a:lnTo>
                  <a:lnTo>
                    <a:pt x="594" y="244"/>
                  </a:lnTo>
                  <a:lnTo>
                    <a:pt x="602" y="244"/>
                  </a:lnTo>
                  <a:lnTo>
                    <a:pt x="606" y="246"/>
                  </a:lnTo>
                  <a:lnTo>
                    <a:pt x="606" y="248"/>
                  </a:lnTo>
                  <a:lnTo>
                    <a:pt x="604" y="260"/>
                  </a:lnTo>
                  <a:lnTo>
                    <a:pt x="602" y="266"/>
                  </a:lnTo>
                  <a:lnTo>
                    <a:pt x="602" y="274"/>
                  </a:lnTo>
                  <a:lnTo>
                    <a:pt x="604" y="274"/>
                  </a:lnTo>
                  <a:lnTo>
                    <a:pt x="606" y="276"/>
                  </a:lnTo>
                  <a:lnTo>
                    <a:pt x="608" y="276"/>
                  </a:lnTo>
                  <a:lnTo>
                    <a:pt x="614" y="272"/>
                  </a:lnTo>
                  <a:lnTo>
                    <a:pt x="622" y="272"/>
                  </a:lnTo>
                  <a:lnTo>
                    <a:pt x="630" y="274"/>
                  </a:lnTo>
                  <a:lnTo>
                    <a:pt x="636" y="276"/>
                  </a:lnTo>
                  <a:lnTo>
                    <a:pt x="642" y="280"/>
                  </a:lnTo>
                  <a:lnTo>
                    <a:pt x="648" y="288"/>
                  </a:lnTo>
                  <a:lnTo>
                    <a:pt x="652" y="292"/>
                  </a:lnTo>
                  <a:lnTo>
                    <a:pt x="656" y="294"/>
                  </a:lnTo>
                  <a:lnTo>
                    <a:pt x="662" y="294"/>
                  </a:lnTo>
                  <a:lnTo>
                    <a:pt x="666" y="296"/>
                  </a:lnTo>
                  <a:lnTo>
                    <a:pt x="670" y="300"/>
                  </a:lnTo>
                  <a:lnTo>
                    <a:pt x="674" y="304"/>
                  </a:lnTo>
                  <a:lnTo>
                    <a:pt x="680" y="306"/>
                  </a:lnTo>
                  <a:lnTo>
                    <a:pt x="688" y="308"/>
                  </a:lnTo>
                  <a:lnTo>
                    <a:pt x="698" y="306"/>
                  </a:lnTo>
                  <a:lnTo>
                    <a:pt x="712" y="308"/>
                  </a:lnTo>
                  <a:lnTo>
                    <a:pt x="712" y="310"/>
                  </a:lnTo>
                  <a:lnTo>
                    <a:pt x="712" y="314"/>
                  </a:lnTo>
                  <a:lnTo>
                    <a:pt x="710" y="322"/>
                  </a:lnTo>
                  <a:lnTo>
                    <a:pt x="704" y="332"/>
                  </a:lnTo>
                  <a:lnTo>
                    <a:pt x="700" y="344"/>
                  </a:lnTo>
                  <a:lnTo>
                    <a:pt x="698" y="350"/>
                  </a:lnTo>
                  <a:lnTo>
                    <a:pt x="698" y="356"/>
                  </a:lnTo>
                  <a:lnTo>
                    <a:pt x="700" y="360"/>
                  </a:lnTo>
                  <a:lnTo>
                    <a:pt x="704" y="366"/>
                  </a:lnTo>
                  <a:lnTo>
                    <a:pt x="712" y="376"/>
                  </a:lnTo>
                  <a:lnTo>
                    <a:pt x="714" y="374"/>
                  </a:lnTo>
                  <a:lnTo>
                    <a:pt x="718" y="370"/>
                  </a:lnTo>
                  <a:lnTo>
                    <a:pt x="724" y="366"/>
                  </a:lnTo>
                  <a:lnTo>
                    <a:pt x="730" y="362"/>
                  </a:lnTo>
                  <a:lnTo>
                    <a:pt x="734" y="356"/>
                  </a:lnTo>
                  <a:lnTo>
                    <a:pt x="738" y="350"/>
                  </a:lnTo>
                  <a:lnTo>
                    <a:pt x="742" y="332"/>
                  </a:lnTo>
                  <a:lnTo>
                    <a:pt x="746" y="314"/>
                  </a:lnTo>
                  <a:lnTo>
                    <a:pt x="748" y="312"/>
                  </a:lnTo>
                  <a:lnTo>
                    <a:pt x="754" y="308"/>
                  </a:lnTo>
                  <a:lnTo>
                    <a:pt x="766" y="306"/>
                  </a:lnTo>
                  <a:lnTo>
                    <a:pt x="772" y="304"/>
                  </a:lnTo>
                  <a:lnTo>
                    <a:pt x="788" y="296"/>
                  </a:lnTo>
                  <a:lnTo>
                    <a:pt x="796" y="290"/>
                  </a:lnTo>
                  <a:lnTo>
                    <a:pt x="800" y="284"/>
                  </a:lnTo>
                  <a:lnTo>
                    <a:pt x="804" y="276"/>
                  </a:lnTo>
                  <a:lnTo>
                    <a:pt x="806" y="266"/>
                  </a:lnTo>
                  <a:lnTo>
                    <a:pt x="804" y="264"/>
                  </a:lnTo>
                  <a:lnTo>
                    <a:pt x="802" y="262"/>
                  </a:lnTo>
                  <a:lnTo>
                    <a:pt x="800" y="258"/>
                  </a:lnTo>
                  <a:lnTo>
                    <a:pt x="794" y="256"/>
                  </a:lnTo>
                  <a:lnTo>
                    <a:pt x="794" y="254"/>
                  </a:lnTo>
                  <a:lnTo>
                    <a:pt x="792" y="250"/>
                  </a:lnTo>
                  <a:lnTo>
                    <a:pt x="794" y="246"/>
                  </a:lnTo>
                  <a:lnTo>
                    <a:pt x="798" y="244"/>
                  </a:lnTo>
                  <a:lnTo>
                    <a:pt x="804" y="238"/>
                  </a:lnTo>
                  <a:lnTo>
                    <a:pt x="806" y="236"/>
                  </a:lnTo>
                  <a:close/>
                </a:path>
              </a:pathLst>
            </a:custGeom>
            <a:grpFill/>
            <a:ln w="6350" cmpd="sng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2C0C2010-BED8-4298-9ABD-504DB59F7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5577" y="2532206"/>
              <a:ext cx="75065" cy="32127"/>
            </a:xfrm>
            <a:custGeom>
              <a:avLst/>
              <a:gdLst/>
              <a:ahLst/>
              <a:cxnLst>
                <a:cxn ang="0">
                  <a:pos x="38" y="18"/>
                </a:cxn>
                <a:cxn ang="0">
                  <a:pos x="24" y="16"/>
                </a:cxn>
                <a:cxn ang="0">
                  <a:pos x="18" y="16"/>
                </a:cxn>
                <a:cxn ang="0">
                  <a:pos x="10" y="14"/>
                </a:cxn>
                <a:cxn ang="0">
                  <a:pos x="2" y="8"/>
                </a:cxn>
                <a:cxn ang="0">
                  <a:pos x="0" y="4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2" y="0"/>
                </a:cxn>
                <a:cxn ang="0">
                  <a:pos x="22" y="2"/>
                </a:cxn>
                <a:cxn ang="0">
                  <a:pos x="28" y="6"/>
                </a:cxn>
                <a:cxn ang="0">
                  <a:pos x="34" y="12"/>
                </a:cxn>
                <a:cxn ang="0">
                  <a:pos x="36" y="14"/>
                </a:cxn>
                <a:cxn ang="0">
                  <a:pos x="38" y="18"/>
                </a:cxn>
              </a:cxnLst>
              <a:rect l="0" t="0" r="r" b="b"/>
              <a:pathLst>
                <a:path w="38" h="18">
                  <a:moveTo>
                    <a:pt x="38" y="18"/>
                  </a:moveTo>
                  <a:lnTo>
                    <a:pt x="24" y="16"/>
                  </a:lnTo>
                  <a:lnTo>
                    <a:pt x="18" y="16"/>
                  </a:lnTo>
                  <a:lnTo>
                    <a:pt x="10" y="14"/>
                  </a:lnTo>
                  <a:lnTo>
                    <a:pt x="2" y="8"/>
                  </a:lnTo>
                  <a:lnTo>
                    <a:pt x="0" y="4"/>
                  </a:lnTo>
                  <a:lnTo>
                    <a:pt x="2" y="0"/>
                  </a:lnTo>
                  <a:lnTo>
                    <a:pt x="4" y="0"/>
                  </a:lnTo>
                  <a:lnTo>
                    <a:pt x="12" y="0"/>
                  </a:lnTo>
                  <a:lnTo>
                    <a:pt x="22" y="2"/>
                  </a:lnTo>
                  <a:lnTo>
                    <a:pt x="28" y="6"/>
                  </a:lnTo>
                  <a:lnTo>
                    <a:pt x="34" y="12"/>
                  </a:lnTo>
                  <a:lnTo>
                    <a:pt x="36" y="14"/>
                  </a:lnTo>
                  <a:lnTo>
                    <a:pt x="38" y="18"/>
                  </a:lnTo>
                  <a:close/>
                </a:path>
              </a:pathLst>
            </a:custGeom>
            <a:grpFill/>
            <a:ln w="6350" cmpd="sng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55DB5DD1-9EE1-4467-B585-E9C7B42A7F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8051" y="2482232"/>
              <a:ext cx="189638" cy="160633"/>
            </a:xfrm>
            <a:custGeom>
              <a:avLst/>
              <a:gdLst/>
              <a:ahLst/>
              <a:cxnLst>
                <a:cxn ang="0">
                  <a:pos x="70" y="74"/>
                </a:cxn>
                <a:cxn ang="0">
                  <a:pos x="58" y="80"/>
                </a:cxn>
                <a:cxn ang="0">
                  <a:pos x="48" y="84"/>
                </a:cxn>
                <a:cxn ang="0">
                  <a:pos x="50" y="76"/>
                </a:cxn>
                <a:cxn ang="0">
                  <a:pos x="42" y="70"/>
                </a:cxn>
                <a:cxn ang="0">
                  <a:pos x="6" y="70"/>
                </a:cxn>
                <a:cxn ang="0">
                  <a:pos x="0" y="68"/>
                </a:cxn>
                <a:cxn ang="0">
                  <a:pos x="4" y="64"/>
                </a:cxn>
                <a:cxn ang="0">
                  <a:pos x="10" y="54"/>
                </a:cxn>
                <a:cxn ang="0">
                  <a:pos x="22" y="48"/>
                </a:cxn>
                <a:cxn ang="0">
                  <a:pos x="24" y="42"/>
                </a:cxn>
                <a:cxn ang="0">
                  <a:pos x="34" y="30"/>
                </a:cxn>
                <a:cxn ang="0">
                  <a:pos x="44" y="20"/>
                </a:cxn>
                <a:cxn ang="0">
                  <a:pos x="62" y="6"/>
                </a:cxn>
                <a:cxn ang="0">
                  <a:pos x="70" y="0"/>
                </a:cxn>
                <a:cxn ang="0">
                  <a:pos x="74" y="4"/>
                </a:cxn>
                <a:cxn ang="0">
                  <a:pos x="72" y="8"/>
                </a:cxn>
                <a:cxn ang="0">
                  <a:pos x="56" y="24"/>
                </a:cxn>
                <a:cxn ang="0">
                  <a:pos x="56" y="30"/>
                </a:cxn>
                <a:cxn ang="0">
                  <a:pos x="64" y="24"/>
                </a:cxn>
                <a:cxn ang="0">
                  <a:pos x="66" y="32"/>
                </a:cxn>
                <a:cxn ang="0">
                  <a:pos x="70" y="40"/>
                </a:cxn>
                <a:cxn ang="0">
                  <a:pos x="72" y="42"/>
                </a:cxn>
                <a:cxn ang="0">
                  <a:pos x="78" y="38"/>
                </a:cxn>
                <a:cxn ang="0">
                  <a:pos x="88" y="40"/>
                </a:cxn>
                <a:cxn ang="0">
                  <a:pos x="94" y="42"/>
                </a:cxn>
                <a:cxn ang="0">
                  <a:pos x="88" y="48"/>
                </a:cxn>
                <a:cxn ang="0">
                  <a:pos x="84" y="52"/>
                </a:cxn>
                <a:cxn ang="0">
                  <a:pos x="92" y="50"/>
                </a:cxn>
                <a:cxn ang="0">
                  <a:pos x="90" y="56"/>
                </a:cxn>
                <a:cxn ang="0">
                  <a:pos x="96" y="58"/>
                </a:cxn>
                <a:cxn ang="0">
                  <a:pos x="88" y="68"/>
                </a:cxn>
                <a:cxn ang="0">
                  <a:pos x="88" y="70"/>
                </a:cxn>
                <a:cxn ang="0">
                  <a:pos x="96" y="70"/>
                </a:cxn>
                <a:cxn ang="0">
                  <a:pos x="90" y="82"/>
                </a:cxn>
                <a:cxn ang="0">
                  <a:pos x="80" y="90"/>
                </a:cxn>
                <a:cxn ang="0">
                  <a:pos x="76" y="86"/>
                </a:cxn>
                <a:cxn ang="0">
                  <a:pos x="80" y="80"/>
                </a:cxn>
                <a:cxn ang="0">
                  <a:pos x="70" y="82"/>
                </a:cxn>
              </a:cxnLst>
              <a:rect l="0" t="0" r="r" b="b"/>
              <a:pathLst>
                <a:path w="96" h="90">
                  <a:moveTo>
                    <a:pt x="76" y="74"/>
                  </a:moveTo>
                  <a:lnTo>
                    <a:pt x="70" y="74"/>
                  </a:lnTo>
                  <a:lnTo>
                    <a:pt x="66" y="76"/>
                  </a:lnTo>
                  <a:lnTo>
                    <a:pt x="58" y="80"/>
                  </a:lnTo>
                  <a:lnTo>
                    <a:pt x="52" y="84"/>
                  </a:lnTo>
                  <a:lnTo>
                    <a:pt x="48" y="84"/>
                  </a:lnTo>
                  <a:lnTo>
                    <a:pt x="44" y="84"/>
                  </a:lnTo>
                  <a:lnTo>
                    <a:pt x="50" y="76"/>
                  </a:lnTo>
                  <a:lnTo>
                    <a:pt x="46" y="72"/>
                  </a:lnTo>
                  <a:lnTo>
                    <a:pt x="42" y="70"/>
                  </a:lnTo>
                  <a:lnTo>
                    <a:pt x="14" y="70"/>
                  </a:lnTo>
                  <a:lnTo>
                    <a:pt x="6" y="70"/>
                  </a:lnTo>
                  <a:lnTo>
                    <a:pt x="2" y="70"/>
                  </a:lnTo>
                  <a:lnTo>
                    <a:pt x="0" y="68"/>
                  </a:lnTo>
                  <a:lnTo>
                    <a:pt x="2" y="66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10" y="54"/>
                  </a:lnTo>
                  <a:lnTo>
                    <a:pt x="16" y="50"/>
                  </a:lnTo>
                  <a:lnTo>
                    <a:pt x="22" y="48"/>
                  </a:lnTo>
                  <a:lnTo>
                    <a:pt x="22" y="46"/>
                  </a:lnTo>
                  <a:lnTo>
                    <a:pt x="24" y="42"/>
                  </a:lnTo>
                  <a:lnTo>
                    <a:pt x="28" y="32"/>
                  </a:lnTo>
                  <a:lnTo>
                    <a:pt x="34" y="30"/>
                  </a:lnTo>
                  <a:lnTo>
                    <a:pt x="38" y="28"/>
                  </a:lnTo>
                  <a:lnTo>
                    <a:pt x="44" y="20"/>
                  </a:lnTo>
                  <a:lnTo>
                    <a:pt x="52" y="14"/>
                  </a:lnTo>
                  <a:lnTo>
                    <a:pt x="62" y="6"/>
                  </a:lnTo>
                  <a:lnTo>
                    <a:pt x="66" y="2"/>
                  </a:lnTo>
                  <a:lnTo>
                    <a:pt x="70" y="0"/>
                  </a:lnTo>
                  <a:lnTo>
                    <a:pt x="74" y="0"/>
                  </a:lnTo>
                  <a:lnTo>
                    <a:pt x="74" y="4"/>
                  </a:lnTo>
                  <a:lnTo>
                    <a:pt x="70" y="4"/>
                  </a:lnTo>
                  <a:lnTo>
                    <a:pt x="72" y="8"/>
                  </a:lnTo>
                  <a:lnTo>
                    <a:pt x="62" y="16"/>
                  </a:lnTo>
                  <a:lnTo>
                    <a:pt x="56" y="24"/>
                  </a:lnTo>
                  <a:lnTo>
                    <a:pt x="54" y="30"/>
                  </a:lnTo>
                  <a:lnTo>
                    <a:pt x="56" y="30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30"/>
                  </a:lnTo>
                  <a:lnTo>
                    <a:pt x="66" y="32"/>
                  </a:lnTo>
                  <a:lnTo>
                    <a:pt x="68" y="34"/>
                  </a:lnTo>
                  <a:lnTo>
                    <a:pt x="70" y="40"/>
                  </a:lnTo>
                  <a:lnTo>
                    <a:pt x="70" y="42"/>
                  </a:lnTo>
                  <a:lnTo>
                    <a:pt x="72" y="42"/>
                  </a:lnTo>
                  <a:lnTo>
                    <a:pt x="74" y="40"/>
                  </a:lnTo>
                  <a:lnTo>
                    <a:pt x="78" y="38"/>
                  </a:lnTo>
                  <a:lnTo>
                    <a:pt x="80" y="38"/>
                  </a:lnTo>
                  <a:lnTo>
                    <a:pt x="88" y="40"/>
                  </a:lnTo>
                  <a:lnTo>
                    <a:pt x="92" y="42"/>
                  </a:lnTo>
                  <a:lnTo>
                    <a:pt x="94" y="42"/>
                  </a:lnTo>
                  <a:lnTo>
                    <a:pt x="92" y="46"/>
                  </a:lnTo>
                  <a:lnTo>
                    <a:pt x="88" y="48"/>
                  </a:lnTo>
                  <a:lnTo>
                    <a:pt x="82" y="50"/>
                  </a:lnTo>
                  <a:lnTo>
                    <a:pt x="84" y="52"/>
                  </a:lnTo>
                  <a:lnTo>
                    <a:pt x="86" y="52"/>
                  </a:lnTo>
                  <a:lnTo>
                    <a:pt x="92" y="50"/>
                  </a:lnTo>
                  <a:lnTo>
                    <a:pt x="94" y="54"/>
                  </a:lnTo>
                  <a:lnTo>
                    <a:pt x="90" y="56"/>
                  </a:lnTo>
                  <a:lnTo>
                    <a:pt x="90" y="58"/>
                  </a:lnTo>
                  <a:lnTo>
                    <a:pt x="96" y="58"/>
                  </a:lnTo>
                  <a:lnTo>
                    <a:pt x="92" y="64"/>
                  </a:lnTo>
                  <a:lnTo>
                    <a:pt x="88" y="68"/>
                  </a:lnTo>
                  <a:lnTo>
                    <a:pt x="84" y="70"/>
                  </a:lnTo>
                  <a:lnTo>
                    <a:pt x="88" y="70"/>
                  </a:lnTo>
                  <a:lnTo>
                    <a:pt x="92" y="70"/>
                  </a:lnTo>
                  <a:lnTo>
                    <a:pt x="96" y="70"/>
                  </a:lnTo>
                  <a:lnTo>
                    <a:pt x="94" y="74"/>
                  </a:lnTo>
                  <a:lnTo>
                    <a:pt x="90" y="82"/>
                  </a:lnTo>
                  <a:lnTo>
                    <a:pt x="84" y="88"/>
                  </a:lnTo>
                  <a:lnTo>
                    <a:pt x="80" y="90"/>
                  </a:lnTo>
                  <a:lnTo>
                    <a:pt x="76" y="88"/>
                  </a:lnTo>
                  <a:lnTo>
                    <a:pt x="76" y="86"/>
                  </a:lnTo>
                  <a:lnTo>
                    <a:pt x="78" y="82"/>
                  </a:lnTo>
                  <a:lnTo>
                    <a:pt x="80" y="80"/>
                  </a:lnTo>
                  <a:lnTo>
                    <a:pt x="74" y="82"/>
                  </a:lnTo>
                  <a:lnTo>
                    <a:pt x="70" y="82"/>
                  </a:lnTo>
                  <a:lnTo>
                    <a:pt x="76" y="74"/>
                  </a:lnTo>
                  <a:close/>
                </a:path>
              </a:pathLst>
            </a:custGeom>
            <a:grpFill/>
            <a:ln w="6350" cmpd="sng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28543044-5D16-4F2D-8E16-6A844ECF26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6274" y="1811142"/>
              <a:ext cx="280506" cy="103519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4" y="40"/>
                </a:cxn>
                <a:cxn ang="0">
                  <a:pos x="10" y="40"/>
                </a:cxn>
                <a:cxn ang="0">
                  <a:pos x="14" y="40"/>
                </a:cxn>
                <a:cxn ang="0">
                  <a:pos x="18" y="44"/>
                </a:cxn>
                <a:cxn ang="0">
                  <a:pos x="20" y="48"/>
                </a:cxn>
                <a:cxn ang="0">
                  <a:pos x="18" y="56"/>
                </a:cxn>
                <a:cxn ang="0">
                  <a:pos x="20" y="58"/>
                </a:cxn>
                <a:cxn ang="0">
                  <a:pos x="24" y="54"/>
                </a:cxn>
                <a:cxn ang="0">
                  <a:pos x="32" y="48"/>
                </a:cxn>
                <a:cxn ang="0">
                  <a:pos x="38" y="44"/>
                </a:cxn>
                <a:cxn ang="0">
                  <a:pos x="48" y="44"/>
                </a:cxn>
                <a:cxn ang="0">
                  <a:pos x="54" y="44"/>
                </a:cxn>
                <a:cxn ang="0">
                  <a:pos x="60" y="42"/>
                </a:cxn>
                <a:cxn ang="0">
                  <a:pos x="70" y="36"/>
                </a:cxn>
                <a:cxn ang="0">
                  <a:pos x="78" y="34"/>
                </a:cxn>
                <a:cxn ang="0">
                  <a:pos x="100" y="30"/>
                </a:cxn>
                <a:cxn ang="0">
                  <a:pos x="122" y="24"/>
                </a:cxn>
                <a:cxn ang="0">
                  <a:pos x="132" y="20"/>
                </a:cxn>
                <a:cxn ang="0">
                  <a:pos x="142" y="14"/>
                </a:cxn>
                <a:cxn ang="0">
                  <a:pos x="134" y="8"/>
                </a:cxn>
                <a:cxn ang="0">
                  <a:pos x="128" y="4"/>
                </a:cxn>
                <a:cxn ang="0">
                  <a:pos x="124" y="4"/>
                </a:cxn>
                <a:cxn ang="0">
                  <a:pos x="118" y="4"/>
                </a:cxn>
                <a:cxn ang="0">
                  <a:pos x="118" y="8"/>
                </a:cxn>
                <a:cxn ang="0">
                  <a:pos x="112" y="8"/>
                </a:cxn>
                <a:cxn ang="0">
                  <a:pos x="106" y="6"/>
                </a:cxn>
                <a:cxn ang="0">
                  <a:pos x="102" y="2"/>
                </a:cxn>
                <a:cxn ang="0">
                  <a:pos x="96" y="0"/>
                </a:cxn>
                <a:cxn ang="0">
                  <a:pos x="76" y="2"/>
                </a:cxn>
                <a:cxn ang="0">
                  <a:pos x="60" y="4"/>
                </a:cxn>
                <a:cxn ang="0">
                  <a:pos x="48" y="14"/>
                </a:cxn>
                <a:cxn ang="0">
                  <a:pos x="44" y="18"/>
                </a:cxn>
                <a:cxn ang="0">
                  <a:pos x="38" y="22"/>
                </a:cxn>
                <a:cxn ang="0">
                  <a:pos x="24" y="28"/>
                </a:cxn>
                <a:cxn ang="0">
                  <a:pos x="12" y="34"/>
                </a:cxn>
                <a:cxn ang="0">
                  <a:pos x="6" y="36"/>
                </a:cxn>
                <a:cxn ang="0">
                  <a:pos x="0" y="40"/>
                </a:cxn>
              </a:cxnLst>
              <a:rect l="0" t="0" r="r" b="b"/>
              <a:pathLst>
                <a:path w="142" h="58">
                  <a:moveTo>
                    <a:pt x="0" y="40"/>
                  </a:moveTo>
                  <a:lnTo>
                    <a:pt x="4" y="40"/>
                  </a:lnTo>
                  <a:lnTo>
                    <a:pt x="10" y="40"/>
                  </a:lnTo>
                  <a:lnTo>
                    <a:pt x="14" y="40"/>
                  </a:lnTo>
                  <a:lnTo>
                    <a:pt x="18" y="44"/>
                  </a:lnTo>
                  <a:lnTo>
                    <a:pt x="20" y="48"/>
                  </a:lnTo>
                  <a:lnTo>
                    <a:pt x="18" y="56"/>
                  </a:lnTo>
                  <a:lnTo>
                    <a:pt x="20" y="58"/>
                  </a:lnTo>
                  <a:lnTo>
                    <a:pt x="24" y="54"/>
                  </a:lnTo>
                  <a:lnTo>
                    <a:pt x="32" y="48"/>
                  </a:lnTo>
                  <a:lnTo>
                    <a:pt x="38" y="44"/>
                  </a:lnTo>
                  <a:lnTo>
                    <a:pt x="48" y="44"/>
                  </a:lnTo>
                  <a:lnTo>
                    <a:pt x="54" y="44"/>
                  </a:lnTo>
                  <a:lnTo>
                    <a:pt x="60" y="42"/>
                  </a:lnTo>
                  <a:lnTo>
                    <a:pt x="70" y="36"/>
                  </a:lnTo>
                  <a:lnTo>
                    <a:pt x="78" y="34"/>
                  </a:lnTo>
                  <a:lnTo>
                    <a:pt x="100" y="30"/>
                  </a:lnTo>
                  <a:lnTo>
                    <a:pt x="122" y="24"/>
                  </a:lnTo>
                  <a:lnTo>
                    <a:pt x="132" y="20"/>
                  </a:lnTo>
                  <a:lnTo>
                    <a:pt x="142" y="14"/>
                  </a:lnTo>
                  <a:lnTo>
                    <a:pt x="134" y="8"/>
                  </a:lnTo>
                  <a:lnTo>
                    <a:pt x="128" y="4"/>
                  </a:lnTo>
                  <a:lnTo>
                    <a:pt x="124" y="4"/>
                  </a:lnTo>
                  <a:lnTo>
                    <a:pt x="118" y="4"/>
                  </a:lnTo>
                  <a:lnTo>
                    <a:pt x="118" y="8"/>
                  </a:lnTo>
                  <a:lnTo>
                    <a:pt x="112" y="8"/>
                  </a:lnTo>
                  <a:lnTo>
                    <a:pt x="106" y="6"/>
                  </a:lnTo>
                  <a:lnTo>
                    <a:pt x="102" y="2"/>
                  </a:lnTo>
                  <a:lnTo>
                    <a:pt x="96" y="0"/>
                  </a:lnTo>
                  <a:lnTo>
                    <a:pt x="76" y="2"/>
                  </a:lnTo>
                  <a:lnTo>
                    <a:pt x="60" y="4"/>
                  </a:lnTo>
                  <a:lnTo>
                    <a:pt x="48" y="14"/>
                  </a:lnTo>
                  <a:lnTo>
                    <a:pt x="44" y="18"/>
                  </a:lnTo>
                  <a:lnTo>
                    <a:pt x="38" y="22"/>
                  </a:lnTo>
                  <a:lnTo>
                    <a:pt x="24" y="28"/>
                  </a:lnTo>
                  <a:lnTo>
                    <a:pt x="12" y="34"/>
                  </a:lnTo>
                  <a:lnTo>
                    <a:pt x="6" y="36"/>
                  </a:lnTo>
                  <a:lnTo>
                    <a:pt x="0" y="40"/>
                  </a:lnTo>
                  <a:close/>
                </a:path>
              </a:pathLst>
            </a:custGeom>
            <a:grpFill/>
            <a:ln w="6350" cmpd="sng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AC494852-44F0-4688-AB9F-996D3F9BF1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1858" y="1689775"/>
              <a:ext cx="102720" cy="46405"/>
            </a:xfrm>
            <a:custGeom>
              <a:avLst/>
              <a:gdLst/>
              <a:ahLst/>
              <a:cxnLst>
                <a:cxn ang="0">
                  <a:pos x="34" y="26"/>
                </a:cxn>
                <a:cxn ang="0">
                  <a:pos x="32" y="24"/>
                </a:cxn>
                <a:cxn ang="0">
                  <a:pos x="30" y="22"/>
                </a:cxn>
                <a:cxn ang="0">
                  <a:pos x="26" y="18"/>
                </a:cxn>
                <a:cxn ang="0">
                  <a:pos x="20" y="18"/>
                </a:cxn>
                <a:cxn ang="0">
                  <a:pos x="12" y="18"/>
                </a:cxn>
                <a:cxn ang="0">
                  <a:pos x="6" y="18"/>
                </a:cxn>
                <a:cxn ang="0">
                  <a:pos x="0" y="16"/>
                </a:cxn>
                <a:cxn ang="0">
                  <a:pos x="8" y="6"/>
                </a:cxn>
                <a:cxn ang="0">
                  <a:pos x="14" y="2"/>
                </a:cxn>
                <a:cxn ang="0">
                  <a:pos x="24" y="0"/>
                </a:cxn>
                <a:cxn ang="0">
                  <a:pos x="28" y="2"/>
                </a:cxn>
                <a:cxn ang="0">
                  <a:pos x="30" y="4"/>
                </a:cxn>
                <a:cxn ang="0">
                  <a:pos x="32" y="6"/>
                </a:cxn>
                <a:cxn ang="0">
                  <a:pos x="34" y="8"/>
                </a:cxn>
                <a:cxn ang="0">
                  <a:pos x="40" y="8"/>
                </a:cxn>
                <a:cxn ang="0">
                  <a:pos x="48" y="10"/>
                </a:cxn>
                <a:cxn ang="0">
                  <a:pos x="52" y="12"/>
                </a:cxn>
                <a:cxn ang="0">
                  <a:pos x="52" y="16"/>
                </a:cxn>
                <a:cxn ang="0">
                  <a:pos x="52" y="22"/>
                </a:cxn>
                <a:cxn ang="0">
                  <a:pos x="48" y="24"/>
                </a:cxn>
                <a:cxn ang="0">
                  <a:pos x="42" y="26"/>
                </a:cxn>
                <a:cxn ang="0">
                  <a:pos x="34" y="26"/>
                </a:cxn>
              </a:cxnLst>
              <a:rect l="0" t="0" r="r" b="b"/>
              <a:pathLst>
                <a:path w="52" h="26">
                  <a:moveTo>
                    <a:pt x="34" y="26"/>
                  </a:moveTo>
                  <a:lnTo>
                    <a:pt x="32" y="24"/>
                  </a:lnTo>
                  <a:lnTo>
                    <a:pt x="30" y="22"/>
                  </a:lnTo>
                  <a:lnTo>
                    <a:pt x="26" y="18"/>
                  </a:lnTo>
                  <a:lnTo>
                    <a:pt x="20" y="18"/>
                  </a:lnTo>
                  <a:lnTo>
                    <a:pt x="12" y="18"/>
                  </a:lnTo>
                  <a:lnTo>
                    <a:pt x="6" y="18"/>
                  </a:lnTo>
                  <a:lnTo>
                    <a:pt x="0" y="16"/>
                  </a:lnTo>
                  <a:lnTo>
                    <a:pt x="8" y="6"/>
                  </a:lnTo>
                  <a:lnTo>
                    <a:pt x="14" y="2"/>
                  </a:lnTo>
                  <a:lnTo>
                    <a:pt x="24" y="0"/>
                  </a:lnTo>
                  <a:lnTo>
                    <a:pt x="28" y="2"/>
                  </a:lnTo>
                  <a:lnTo>
                    <a:pt x="30" y="4"/>
                  </a:lnTo>
                  <a:lnTo>
                    <a:pt x="32" y="6"/>
                  </a:lnTo>
                  <a:lnTo>
                    <a:pt x="34" y="8"/>
                  </a:lnTo>
                  <a:lnTo>
                    <a:pt x="40" y="8"/>
                  </a:lnTo>
                  <a:lnTo>
                    <a:pt x="48" y="10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22"/>
                  </a:lnTo>
                  <a:lnTo>
                    <a:pt x="48" y="24"/>
                  </a:lnTo>
                  <a:lnTo>
                    <a:pt x="42" y="26"/>
                  </a:lnTo>
                  <a:lnTo>
                    <a:pt x="34" y="26"/>
                  </a:lnTo>
                  <a:close/>
                </a:path>
              </a:pathLst>
            </a:custGeom>
            <a:grpFill/>
            <a:ln w="6350" cmpd="sng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62AFF195-F72D-4FC5-89C8-9B7570224CE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4797" y="1825421"/>
              <a:ext cx="402980" cy="146355"/>
            </a:xfrm>
            <a:custGeom>
              <a:avLst/>
              <a:gdLst/>
              <a:ahLst/>
              <a:cxnLst>
                <a:cxn ang="0">
                  <a:pos x="172" y="62"/>
                </a:cxn>
                <a:cxn ang="0">
                  <a:pos x="166" y="70"/>
                </a:cxn>
                <a:cxn ang="0">
                  <a:pos x="158" y="78"/>
                </a:cxn>
                <a:cxn ang="0">
                  <a:pos x="146" y="78"/>
                </a:cxn>
                <a:cxn ang="0">
                  <a:pos x="124" y="70"/>
                </a:cxn>
                <a:cxn ang="0">
                  <a:pos x="120" y="64"/>
                </a:cxn>
                <a:cxn ang="0">
                  <a:pos x="94" y="66"/>
                </a:cxn>
                <a:cxn ang="0">
                  <a:pos x="78" y="74"/>
                </a:cxn>
                <a:cxn ang="0">
                  <a:pos x="60" y="82"/>
                </a:cxn>
                <a:cxn ang="0">
                  <a:pos x="40" y="80"/>
                </a:cxn>
                <a:cxn ang="0">
                  <a:pos x="28" y="82"/>
                </a:cxn>
                <a:cxn ang="0">
                  <a:pos x="32" y="72"/>
                </a:cxn>
                <a:cxn ang="0">
                  <a:pos x="22" y="70"/>
                </a:cxn>
                <a:cxn ang="0">
                  <a:pos x="6" y="64"/>
                </a:cxn>
                <a:cxn ang="0">
                  <a:pos x="14" y="56"/>
                </a:cxn>
                <a:cxn ang="0">
                  <a:pos x="70" y="54"/>
                </a:cxn>
                <a:cxn ang="0">
                  <a:pos x="72" y="50"/>
                </a:cxn>
                <a:cxn ang="0">
                  <a:pos x="12" y="44"/>
                </a:cxn>
                <a:cxn ang="0">
                  <a:pos x="18" y="36"/>
                </a:cxn>
                <a:cxn ang="0">
                  <a:pos x="20" y="30"/>
                </a:cxn>
                <a:cxn ang="0">
                  <a:pos x="42" y="26"/>
                </a:cxn>
                <a:cxn ang="0">
                  <a:pos x="68" y="20"/>
                </a:cxn>
                <a:cxn ang="0">
                  <a:pos x="90" y="6"/>
                </a:cxn>
                <a:cxn ang="0">
                  <a:pos x="94" y="18"/>
                </a:cxn>
                <a:cxn ang="0">
                  <a:pos x="102" y="16"/>
                </a:cxn>
                <a:cxn ang="0">
                  <a:pos x="120" y="20"/>
                </a:cxn>
                <a:cxn ang="0">
                  <a:pos x="124" y="16"/>
                </a:cxn>
                <a:cxn ang="0">
                  <a:pos x="130" y="12"/>
                </a:cxn>
                <a:cxn ang="0">
                  <a:pos x="142" y="16"/>
                </a:cxn>
                <a:cxn ang="0">
                  <a:pos x="138" y="28"/>
                </a:cxn>
                <a:cxn ang="0">
                  <a:pos x="144" y="28"/>
                </a:cxn>
                <a:cxn ang="0">
                  <a:pos x="150" y="24"/>
                </a:cxn>
                <a:cxn ang="0">
                  <a:pos x="152" y="12"/>
                </a:cxn>
                <a:cxn ang="0">
                  <a:pos x="174" y="4"/>
                </a:cxn>
                <a:cxn ang="0">
                  <a:pos x="204" y="0"/>
                </a:cxn>
                <a:cxn ang="0">
                  <a:pos x="196" y="10"/>
                </a:cxn>
                <a:cxn ang="0">
                  <a:pos x="172" y="30"/>
                </a:cxn>
                <a:cxn ang="0">
                  <a:pos x="166" y="44"/>
                </a:cxn>
                <a:cxn ang="0">
                  <a:pos x="170" y="50"/>
                </a:cxn>
                <a:cxn ang="0">
                  <a:pos x="186" y="54"/>
                </a:cxn>
                <a:cxn ang="0">
                  <a:pos x="190" y="58"/>
                </a:cxn>
                <a:cxn ang="0">
                  <a:pos x="182" y="64"/>
                </a:cxn>
              </a:cxnLst>
              <a:rect l="0" t="0" r="r" b="b"/>
              <a:pathLst>
                <a:path w="204" h="82">
                  <a:moveTo>
                    <a:pt x="176" y="62"/>
                  </a:moveTo>
                  <a:lnTo>
                    <a:pt x="172" y="62"/>
                  </a:lnTo>
                  <a:lnTo>
                    <a:pt x="170" y="64"/>
                  </a:lnTo>
                  <a:lnTo>
                    <a:pt x="166" y="70"/>
                  </a:lnTo>
                  <a:lnTo>
                    <a:pt x="160" y="76"/>
                  </a:lnTo>
                  <a:lnTo>
                    <a:pt x="158" y="78"/>
                  </a:lnTo>
                  <a:lnTo>
                    <a:pt x="154" y="80"/>
                  </a:lnTo>
                  <a:lnTo>
                    <a:pt x="146" y="78"/>
                  </a:lnTo>
                  <a:lnTo>
                    <a:pt x="132" y="76"/>
                  </a:lnTo>
                  <a:lnTo>
                    <a:pt x="124" y="70"/>
                  </a:lnTo>
                  <a:lnTo>
                    <a:pt x="120" y="68"/>
                  </a:lnTo>
                  <a:lnTo>
                    <a:pt x="120" y="64"/>
                  </a:lnTo>
                  <a:lnTo>
                    <a:pt x="98" y="64"/>
                  </a:lnTo>
                  <a:lnTo>
                    <a:pt x="94" y="66"/>
                  </a:lnTo>
                  <a:lnTo>
                    <a:pt x="90" y="68"/>
                  </a:lnTo>
                  <a:lnTo>
                    <a:pt x="78" y="74"/>
                  </a:lnTo>
                  <a:lnTo>
                    <a:pt x="68" y="80"/>
                  </a:lnTo>
                  <a:lnTo>
                    <a:pt x="60" y="82"/>
                  </a:lnTo>
                  <a:lnTo>
                    <a:pt x="52" y="82"/>
                  </a:lnTo>
                  <a:lnTo>
                    <a:pt x="40" y="80"/>
                  </a:lnTo>
                  <a:lnTo>
                    <a:pt x="34" y="80"/>
                  </a:lnTo>
                  <a:lnTo>
                    <a:pt x="28" y="82"/>
                  </a:lnTo>
                  <a:lnTo>
                    <a:pt x="28" y="74"/>
                  </a:lnTo>
                  <a:lnTo>
                    <a:pt x="32" y="72"/>
                  </a:lnTo>
                  <a:lnTo>
                    <a:pt x="34" y="68"/>
                  </a:lnTo>
                  <a:lnTo>
                    <a:pt x="22" y="70"/>
                  </a:lnTo>
                  <a:lnTo>
                    <a:pt x="14" y="68"/>
                  </a:lnTo>
                  <a:lnTo>
                    <a:pt x="6" y="64"/>
                  </a:lnTo>
                  <a:lnTo>
                    <a:pt x="0" y="60"/>
                  </a:lnTo>
                  <a:lnTo>
                    <a:pt x="14" y="56"/>
                  </a:lnTo>
                  <a:lnTo>
                    <a:pt x="26" y="54"/>
                  </a:lnTo>
                  <a:lnTo>
                    <a:pt x="70" y="54"/>
                  </a:lnTo>
                  <a:lnTo>
                    <a:pt x="70" y="52"/>
                  </a:lnTo>
                  <a:lnTo>
                    <a:pt x="72" y="50"/>
                  </a:lnTo>
                  <a:lnTo>
                    <a:pt x="12" y="50"/>
                  </a:lnTo>
                  <a:lnTo>
                    <a:pt x="12" y="44"/>
                  </a:lnTo>
                  <a:lnTo>
                    <a:pt x="14" y="42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20" y="30"/>
                  </a:lnTo>
                  <a:lnTo>
                    <a:pt x="26" y="28"/>
                  </a:lnTo>
                  <a:lnTo>
                    <a:pt x="42" y="26"/>
                  </a:lnTo>
                  <a:lnTo>
                    <a:pt x="54" y="24"/>
                  </a:lnTo>
                  <a:lnTo>
                    <a:pt x="68" y="20"/>
                  </a:lnTo>
                  <a:lnTo>
                    <a:pt x="78" y="14"/>
                  </a:lnTo>
                  <a:lnTo>
                    <a:pt x="90" y="6"/>
                  </a:lnTo>
                  <a:lnTo>
                    <a:pt x="90" y="16"/>
                  </a:lnTo>
                  <a:lnTo>
                    <a:pt x="94" y="18"/>
                  </a:lnTo>
                  <a:lnTo>
                    <a:pt x="96" y="18"/>
                  </a:lnTo>
                  <a:lnTo>
                    <a:pt x="102" y="16"/>
                  </a:lnTo>
                  <a:lnTo>
                    <a:pt x="110" y="18"/>
                  </a:lnTo>
                  <a:lnTo>
                    <a:pt x="120" y="20"/>
                  </a:lnTo>
                  <a:lnTo>
                    <a:pt x="124" y="20"/>
                  </a:lnTo>
                  <a:lnTo>
                    <a:pt x="124" y="16"/>
                  </a:lnTo>
                  <a:lnTo>
                    <a:pt x="128" y="14"/>
                  </a:lnTo>
                  <a:lnTo>
                    <a:pt x="130" y="12"/>
                  </a:lnTo>
                  <a:lnTo>
                    <a:pt x="136" y="14"/>
                  </a:lnTo>
                  <a:lnTo>
                    <a:pt x="142" y="16"/>
                  </a:lnTo>
                  <a:lnTo>
                    <a:pt x="138" y="26"/>
                  </a:lnTo>
                  <a:lnTo>
                    <a:pt x="138" y="28"/>
                  </a:lnTo>
                  <a:lnTo>
                    <a:pt x="142" y="28"/>
                  </a:lnTo>
                  <a:lnTo>
                    <a:pt x="144" y="28"/>
                  </a:lnTo>
                  <a:lnTo>
                    <a:pt x="146" y="28"/>
                  </a:lnTo>
                  <a:lnTo>
                    <a:pt x="150" y="24"/>
                  </a:lnTo>
                  <a:lnTo>
                    <a:pt x="150" y="18"/>
                  </a:lnTo>
                  <a:lnTo>
                    <a:pt x="152" y="12"/>
                  </a:lnTo>
                  <a:lnTo>
                    <a:pt x="160" y="8"/>
                  </a:lnTo>
                  <a:lnTo>
                    <a:pt x="174" y="4"/>
                  </a:lnTo>
                  <a:lnTo>
                    <a:pt x="194" y="0"/>
                  </a:lnTo>
                  <a:lnTo>
                    <a:pt x="204" y="0"/>
                  </a:lnTo>
                  <a:lnTo>
                    <a:pt x="200" y="4"/>
                  </a:lnTo>
                  <a:lnTo>
                    <a:pt x="196" y="10"/>
                  </a:lnTo>
                  <a:lnTo>
                    <a:pt x="182" y="20"/>
                  </a:lnTo>
                  <a:lnTo>
                    <a:pt x="172" y="30"/>
                  </a:lnTo>
                  <a:lnTo>
                    <a:pt x="168" y="38"/>
                  </a:lnTo>
                  <a:lnTo>
                    <a:pt x="166" y="44"/>
                  </a:lnTo>
                  <a:lnTo>
                    <a:pt x="168" y="46"/>
                  </a:lnTo>
                  <a:lnTo>
                    <a:pt x="170" y="50"/>
                  </a:lnTo>
                  <a:lnTo>
                    <a:pt x="178" y="52"/>
                  </a:lnTo>
                  <a:lnTo>
                    <a:pt x="186" y="54"/>
                  </a:lnTo>
                  <a:lnTo>
                    <a:pt x="188" y="56"/>
                  </a:lnTo>
                  <a:lnTo>
                    <a:pt x="190" y="58"/>
                  </a:lnTo>
                  <a:lnTo>
                    <a:pt x="188" y="62"/>
                  </a:lnTo>
                  <a:lnTo>
                    <a:pt x="182" y="64"/>
                  </a:lnTo>
                  <a:lnTo>
                    <a:pt x="176" y="62"/>
                  </a:lnTo>
                  <a:close/>
                </a:path>
              </a:pathLst>
            </a:custGeom>
            <a:grpFill/>
            <a:ln w="6350" cmpd="sng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A8FB47D3-4B21-4D0B-9CF2-8A38314EC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7518" y="1729041"/>
              <a:ext cx="189638" cy="46405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6" y="24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8" y="26"/>
                </a:cxn>
                <a:cxn ang="0">
                  <a:pos x="26" y="26"/>
                </a:cxn>
                <a:cxn ang="0">
                  <a:pos x="42" y="20"/>
                </a:cxn>
                <a:cxn ang="0">
                  <a:pos x="52" y="16"/>
                </a:cxn>
                <a:cxn ang="0">
                  <a:pos x="58" y="22"/>
                </a:cxn>
                <a:cxn ang="0">
                  <a:pos x="68" y="16"/>
                </a:cxn>
                <a:cxn ang="0">
                  <a:pos x="76" y="12"/>
                </a:cxn>
                <a:cxn ang="0">
                  <a:pos x="86" y="8"/>
                </a:cxn>
                <a:cxn ang="0">
                  <a:pos x="96" y="4"/>
                </a:cxn>
                <a:cxn ang="0">
                  <a:pos x="90" y="0"/>
                </a:cxn>
                <a:cxn ang="0">
                  <a:pos x="78" y="2"/>
                </a:cxn>
                <a:cxn ang="0">
                  <a:pos x="70" y="4"/>
                </a:cxn>
                <a:cxn ang="0">
                  <a:pos x="46" y="10"/>
                </a:cxn>
                <a:cxn ang="0">
                  <a:pos x="24" y="16"/>
                </a:cxn>
                <a:cxn ang="0">
                  <a:pos x="16" y="18"/>
                </a:cxn>
                <a:cxn ang="0">
                  <a:pos x="4" y="18"/>
                </a:cxn>
                <a:cxn ang="0">
                  <a:pos x="4" y="24"/>
                </a:cxn>
                <a:cxn ang="0">
                  <a:pos x="0" y="24"/>
                </a:cxn>
              </a:cxnLst>
              <a:rect l="0" t="0" r="r" b="b"/>
              <a:pathLst>
                <a:path w="96" h="26">
                  <a:moveTo>
                    <a:pt x="0" y="24"/>
                  </a:moveTo>
                  <a:lnTo>
                    <a:pt x="6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8" y="26"/>
                  </a:lnTo>
                  <a:lnTo>
                    <a:pt x="26" y="26"/>
                  </a:lnTo>
                  <a:lnTo>
                    <a:pt x="42" y="20"/>
                  </a:lnTo>
                  <a:lnTo>
                    <a:pt x="52" y="16"/>
                  </a:lnTo>
                  <a:lnTo>
                    <a:pt x="58" y="22"/>
                  </a:lnTo>
                  <a:lnTo>
                    <a:pt x="68" y="16"/>
                  </a:lnTo>
                  <a:lnTo>
                    <a:pt x="76" y="12"/>
                  </a:lnTo>
                  <a:lnTo>
                    <a:pt x="86" y="8"/>
                  </a:lnTo>
                  <a:lnTo>
                    <a:pt x="96" y="4"/>
                  </a:lnTo>
                  <a:lnTo>
                    <a:pt x="90" y="0"/>
                  </a:lnTo>
                  <a:lnTo>
                    <a:pt x="78" y="2"/>
                  </a:lnTo>
                  <a:lnTo>
                    <a:pt x="70" y="4"/>
                  </a:lnTo>
                  <a:lnTo>
                    <a:pt x="46" y="10"/>
                  </a:lnTo>
                  <a:lnTo>
                    <a:pt x="24" y="16"/>
                  </a:lnTo>
                  <a:lnTo>
                    <a:pt x="16" y="18"/>
                  </a:lnTo>
                  <a:lnTo>
                    <a:pt x="4" y="18"/>
                  </a:lnTo>
                  <a:lnTo>
                    <a:pt x="4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6350" cmpd="sng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84BB74E3-0237-4CAD-8132-B23232BEED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4435" y="1750459"/>
              <a:ext cx="260752" cy="57114"/>
            </a:xfrm>
            <a:custGeom>
              <a:avLst/>
              <a:gdLst/>
              <a:ahLst/>
              <a:cxnLst>
                <a:cxn ang="0">
                  <a:pos x="34" y="32"/>
                </a:cxn>
                <a:cxn ang="0">
                  <a:pos x="30" y="30"/>
                </a:cxn>
                <a:cxn ang="0">
                  <a:pos x="28" y="30"/>
                </a:cxn>
                <a:cxn ang="0">
                  <a:pos x="30" y="26"/>
                </a:cxn>
                <a:cxn ang="0">
                  <a:pos x="36" y="24"/>
                </a:cxn>
                <a:cxn ang="0">
                  <a:pos x="18" y="22"/>
                </a:cxn>
                <a:cxn ang="0">
                  <a:pos x="0" y="20"/>
                </a:cxn>
                <a:cxn ang="0">
                  <a:pos x="0" y="18"/>
                </a:cxn>
                <a:cxn ang="0">
                  <a:pos x="6" y="16"/>
                </a:cxn>
                <a:cxn ang="0">
                  <a:pos x="24" y="10"/>
                </a:cxn>
                <a:cxn ang="0">
                  <a:pos x="40" y="4"/>
                </a:cxn>
                <a:cxn ang="0">
                  <a:pos x="54" y="0"/>
                </a:cxn>
                <a:cxn ang="0">
                  <a:pos x="54" y="6"/>
                </a:cxn>
                <a:cxn ang="0">
                  <a:pos x="56" y="6"/>
                </a:cxn>
                <a:cxn ang="0">
                  <a:pos x="64" y="6"/>
                </a:cxn>
                <a:cxn ang="0">
                  <a:pos x="64" y="14"/>
                </a:cxn>
                <a:cxn ang="0">
                  <a:pos x="66" y="16"/>
                </a:cxn>
                <a:cxn ang="0">
                  <a:pos x="68" y="18"/>
                </a:cxn>
                <a:cxn ang="0">
                  <a:pos x="74" y="18"/>
                </a:cxn>
                <a:cxn ang="0">
                  <a:pos x="84" y="16"/>
                </a:cxn>
                <a:cxn ang="0">
                  <a:pos x="92" y="14"/>
                </a:cxn>
                <a:cxn ang="0">
                  <a:pos x="100" y="6"/>
                </a:cxn>
                <a:cxn ang="0">
                  <a:pos x="108" y="0"/>
                </a:cxn>
                <a:cxn ang="0">
                  <a:pos x="114" y="0"/>
                </a:cxn>
                <a:cxn ang="0">
                  <a:pos x="114" y="8"/>
                </a:cxn>
                <a:cxn ang="0">
                  <a:pos x="110" y="12"/>
                </a:cxn>
                <a:cxn ang="0">
                  <a:pos x="120" y="14"/>
                </a:cxn>
                <a:cxn ang="0">
                  <a:pos x="132" y="14"/>
                </a:cxn>
                <a:cxn ang="0">
                  <a:pos x="118" y="22"/>
                </a:cxn>
                <a:cxn ang="0">
                  <a:pos x="110" y="28"/>
                </a:cxn>
                <a:cxn ang="0">
                  <a:pos x="104" y="28"/>
                </a:cxn>
                <a:cxn ang="0">
                  <a:pos x="98" y="28"/>
                </a:cxn>
                <a:cxn ang="0">
                  <a:pos x="94" y="26"/>
                </a:cxn>
                <a:cxn ang="0">
                  <a:pos x="90" y="24"/>
                </a:cxn>
                <a:cxn ang="0">
                  <a:pos x="84" y="22"/>
                </a:cxn>
                <a:cxn ang="0">
                  <a:pos x="72" y="24"/>
                </a:cxn>
                <a:cxn ang="0">
                  <a:pos x="60" y="28"/>
                </a:cxn>
                <a:cxn ang="0">
                  <a:pos x="48" y="30"/>
                </a:cxn>
                <a:cxn ang="0">
                  <a:pos x="34" y="32"/>
                </a:cxn>
              </a:cxnLst>
              <a:rect l="0" t="0" r="r" b="b"/>
              <a:pathLst>
                <a:path w="132" h="32">
                  <a:moveTo>
                    <a:pt x="34" y="32"/>
                  </a:moveTo>
                  <a:lnTo>
                    <a:pt x="30" y="30"/>
                  </a:lnTo>
                  <a:lnTo>
                    <a:pt x="28" y="30"/>
                  </a:lnTo>
                  <a:lnTo>
                    <a:pt x="30" y="26"/>
                  </a:lnTo>
                  <a:lnTo>
                    <a:pt x="36" y="24"/>
                  </a:lnTo>
                  <a:lnTo>
                    <a:pt x="18" y="22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6" y="16"/>
                  </a:lnTo>
                  <a:lnTo>
                    <a:pt x="24" y="10"/>
                  </a:lnTo>
                  <a:lnTo>
                    <a:pt x="40" y="4"/>
                  </a:lnTo>
                  <a:lnTo>
                    <a:pt x="54" y="0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64" y="6"/>
                  </a:lnTo>
                  <a:lnTo>
                    <a:pt x="64" y="14"/>
                  </a:lnTo>
                  <a:lnTo>
                    <a:pt x="66" y="16"/>
                  </a:lnTo>
                  <a:lnTo>
                    <a:pt x="68" y="18"/>
                  </a:lnTo>
                  <a:lnTo>
                    <a:pt x="74" y="18"/>
                  </a:lnTo>
                  <a:lnTo>
                    <a:pt x="84" y="16"/>
                  </a:lnTo>
                  <a:lnTo>
                    <a:pt x="92" y="14"/>
                  </a:lnTo>
                  <a:lnTo>
                    <a:pt x="100" y="6"/>
                  </a:lnTo>
                  <a:lnTo>
                    <a:pt x="108" y="0"/>
                  </a:lnTo>
                  <a:lnTo>
                    <a:pt x="114" y="0"/>
                  </a:lnTo>
                  <a:lnTo>
                    <a:pt x="114" y="8"/>
                  </a:lnTo>
                  <a:lnTo>
                    <a:pt x="110" y="12"/>
                  </a:lnTo>
                  <a:lnTo>
                    <a:pt x="120" y="14"/>
                  </a:lnTo>
                  <a:lnTo>
                    <a:pt x="132" y="14"/>
                  </a:lnTo>
                  <a:lnTo>
                    <a:pt x="118" y="22"/>
                  </a:lnTo>
                  <a:lnTo>
                    <a:pt x="110" y="28"/>
                  </a:lnTo>
                  <a:lnTo>
                    <a:pt x="104" y="28"/>
                  </a:lnTo>
                  <a:lnTo>
                    <a:pt x="98" y="28"/>
                  </a:lnTo>
                  <a:lnTo>
                    <a:pt x="94" y="26"/>
                  </a:lnTo>
                  <a:lnTo>
                    <a:pt x="90" y="24"/>
                  </a:lnTo>
                  <a:lnTo>
                    <a:pt x="84" y="22"/>
                  </a:lnTo>
                  <a:lnTo>
                    <a:pt x="72" y="24"/>
                  </a:lnTo>
                  <a:lnTo>
                    <a:pt x="60" y="28"/>
                  </a:lnTo>
                  <a:lnTo>
                    <a:pt x="48" y="30"/>
                  </a:lnTo>
                  <a:lnTo>
                    <a:pt x="34" y="32"/>
                  </a:lnTo>
                  <a:close/>
                </a:path>
              </a:pathLst>
            </a:custGeom>
            <a:grpFill/>
            <a:ln w="6350" cmpd="sng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07F12678-CE40-4E87-8F48-793AA1EFA2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0614" y="1700484"/>
              <a:ext cx="126425" cy="32127"/>
            </a:xfrm>
            <a:custGeom>
              <a:avLst/>
              <a:gdLst/>
              <a:ahLst/>
              <a:cxnLst>
                <a:cxn ang="0">
                  <a:pos x="12" y="18"/>
                </a:cxn>
                <a:cxn ang="0">
                  <a:pos x="6" y="16"/>
                </a:cxn>
                <a:cxn ang="0">
                  <a:pos x="0" y="14"/>
                </a:cxn>
                <a:cxn ang="0">
                  <a:pos x="8" y="12"/>
                </a:cxn>
                <a:cxn ang="0">
                  <a:pos x="18" y="12"/>
                </a:cxn>
                <a:cxn ang="0">
                  <a:pos x="26" y="10"/>
                </a:cxn>
                <a:cxn ang="0">
                  <a:pos x="28" y="10"/>
                </a:cxn>
                <a:cxn ang="0">
                  <a:pos x="30" y="8"/>
                </a:cxn>
                <a:cxn ang="0">
                  <a:pos x="48" y="0"/>
                </a:cxn>
                <a:cxn ang="0">
                  <a:pos x="58" y="2"/>
                </a:cxn>
                <a:cxn ang="0">
                  <a:pos x="64" y="4"/>
                </a:cxn>
                <a:cxn ang="0">
                  <a:pos x="58" y="10"/>
                </a:cxn>
                <a:cxn ang="0">
                  <a:pos x="48" y="16"/>
                </a:cxn>
                <a:cxn ang="0">
                  <a:pos x="30" y="18"/>
                </a:cxn>
                <a:cxn ang="0">
                  <a:pos x="30" y="16"/>
                </a:cxn>
                <a:cxn ang="0">
                  <a:pos x="28" y="16"/>
                </a:cxn>
                <a:cxn ang="0">
                  <a:pos x="22" y="16"/>
                </a:cxn>
                <a:cxn ang="0">
                  <a:pos x="12" y="18"/>
                </a:cxn>
              </a:cxnLst>
              <a:rect l="0" t="0" r="r" b="b"/>
              <a:pathLst>
                <a:path w="64" h="18">
                  <a:moveTo>
                    <a:pt x="12" y="18"/>
                  </a:moveTo>
                  <a:lnTo>
                    <a:pt x="6" y="16"/>
                  </a:lnTo>
                  <a:lnTo>
                    <a:pt x="0" y="14"/>
                  </a:lnTo>
                  <a:lnTo>
                    <a:pt x="8" y="12"/>
                  </a:lnTo>
                  <a:lnTo>
                    <a:pt x="18" y="12"/>
                  </a:lnTo>
                  <a:lnTo>
                    <a:pt x="26" y="10"/>
                  </a:lnTo>
                  <a:lnTo>
                    <a:pt x="28" y="10"/>
                  </a:lnTo>
                  <a:lnTo>
                    <a:pt x="30" y="8"/>
                  </a:lnTo>
                  <a:lnTo>
                    <a:pt x="48" y="0"/>
                  </a:lnTo>
                  <a:lnTo>
                    <a:pt x="58" y="2"/>
                  </a:lnTo>
                  <a:lnTo>
                    <a:pt x="64" y="4"/>
                  </a:lnTo>
                  <a:lnTo>
                    <a:pt x="58" y="10"/>
                  </a:lnTo>
                  <a:lnTo>
                    <a:pt x="48" y="16"/>
                  </a:lnTo>
                  <a:lnTo>
                    <a:pt x="30" y="18"/>
                  </a:lnTo>
                  <a:lnTo>
                    <a:pt x="30" y="16"/>
                  </a:lnTo>
                  <a:lnTo>
                    <a:pt x="28" y="16"/>
                  </a:lnTo>
                  <a:lnTo>
                    <a:pt x="22" y="16"/>
                  </a:lnTo>
                  <a:lnTo>
                    <a:pt x="12" y="18"/>
                  </a:lnTo>
                  <a:close/>
                </a:path>
              </a:pathLst>
            </a:custGeom>
            <a:grpFill/>
            <a:ln w="6350" cmpd="sng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4EC17680-1E29-4768-9E53-A6EE1B7095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3581" y="1818282"/>
              <a:ext cx="146179" cy="74962"/>
            </a:xfrm>
            <a:custGeom>
              <a:avLst/>
              <a:gdLst/>
              <a:ahLst/>
              <a:cxnLst>
                <a:cxn ang="0">
                  <a:pos x="74" y="4"/>
                </a:cxn>
                <a:cxn ang="0">
                  <a:pos x="70" y="6"/>
                </a:cxn>
                <a:cxn ang="0">
                  <a:pos x="66" y="8"/>
                </a:cxn>
                <a:cxn ang="0">
                  <a:pos x="58" y="14"/>
                </a:cxn>
                <a:cxn ang="0">
                  <a:pos x="66" y="22"/>
                </a:cxn>
                <a:cxn ang="0">
                  <a:pos x="56" y="28"/>
                </a:cxn>
                <a:cxn ang="0">
                  <a:pos x="52" y="30"/>
                </a:cxn>
                <a:cxn ang="0">
                  <a:pos x="48" y="28"/>
                </a:cxn>
                <a:cxn ang="0">
                  <a:pos x="48" y="32"/>
                </a:cxn>
                <a:cxn ang="0">
                  <a:pos x="44" y="34"/>
                </a:cxn>
                <a:cxn ang="0">
                  <a:pos x="38" y="36"/>
                </a:cxn>
                <a:cxn ang="0">
                  <a:pos x="32" y="38"/>
                </a:cxn>
                <a:cxn ang="0">
                  <a:pos x="26" y="42"/>
                </a:cxn>
                <a:cxn ang="0">
                  <a:pos x="18" y="42"/>
                </a:cxn>
                <a:cxn ang="0">
                  <a:pos x="18" y="36"/>
                </a:cxn>
                <a:cxn ang="0">
                  <a:pos x="16" y="34"/>
                </a:cxn>
                <a:cxn ang="0">
                  <a:pos x="10" y="32"/>
                </a:cxn>
                <a:cxn ang="0">
                  <a:pos x="4" y="28"/>
                </a:cxn>
                <a:cxn ang="0">
                  <a:pos x="2" y="26"/>
                </a:cxn>
                <a:cxn ang="0">
                  <a:pos x="0" y="22"/>
                </a:cxn>
                <a:cxn ang="0">
                  <a:pos x="2" y="20"/>
                </a:cxn>
                <a:cxn ang="0">
                  <a:pos x="4" y="18"/>
                </a:cxn>
                <a:cxn ang="0">
                  <a:pos x="8" y="16"/>
                </a:cxn>
                <a:cxn ang="0">
                  <a:pos x="14" y="16"/>
                </a:cxn>
                <a:cxn ang="0">
                  <a:pos x="16" y="18"/>
                </a:cxn>
                <a:cxn ang="0">
                  <a:pos x="20" y="20"/>
                </a:cxn>
                <a:cxn ang="0">
                  <a:pos x="22" y="20"/>
                </a:cxn>
                <a:cxn ang="0">
                  <a:pos x="30" y="18"/>
                </a:cxn>
                <a:cxn ang="0">
                  <a:pos x="32" y="16"/>
                </a:cxn>
                <a:cxn ang="0">
                  <a:pos x="32" y="14"/>
                </a:cxn>
                <a:cxn ang="0">
                  <a:pos x="32" y="8"/>
                </a:cxn>
                <a:cxn ang="0">
                  <a:pos x="38" y="4"/>
                </a:cxn>
                <a:cxn ang="0">
                  <a:pos x="50" y="4"/>
                </a:cxn>
                <a:cxn ang="0">
                  <a:pos x="74" y="0"/>
                </a:cxn>
                <a:cxn ang="0">
                  <a:pos x="74" y="4"/>
                </a:cxn>
              </a:cxnLst>
              <a:rect l="0" t="0" r="r" b="b"/>
              <a:pathLst>
                <a:path w="74" h="42">
                  <a:moveTo>
                    <a:pt x="74" y="4"/>
                  </a:moveTo>
                  <a:lnTo>
                    <a:pt x="70" y="6"/>
                  </a:lnTo>
                  <a:lnTo>
                    <a:pt x="66" y="8"/>
                  </a:lnTo>
                  <a:lnTo>
                    <a:pt x="58" y="14"/>
                  </a:lnTo>
                  <a:lnTo>
                    <a:pt x="66" y="22"/>
                  </a:lnTo>
                  <a:lnTo>
                    <a:pt x="56" y="28"/>
                  </a:lnTo>
                  <a:lnTo>
                    <a:pt x="52" y="30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4" y="34"/>
                  </a:lnTo>
                  <a:lnTo>
                    <a:pt x="38" y="36"/>
                  </a:lnTo>
                  <a:lnTo>
                    <a:pt x="32" y="38"/>
                  </a:lnTo>
                  <a:lnTo>
                    <a:pt x="26" y="42"/>
                  </a:lnTo>
                  <a:lnTo>
                    <a:pt x="18" y="42"/>
                  </a:lnTo>
                  <a:lnTo>
                    <a:pt x="18" y="36"/>
                  </a:lnTo>
                  <a:lnTo>
                    <a:pt x="16" y="34"/>
                  </a:lnTo>
                  <a:lnTo>
                    <a:pt x="10" y="32"/>
                  </a:lnTo>
                  <a:lnTo>
                    <a:pt x="4" y="28"/>
                  </a:lnTo>
                  <a:lnTo>
                    <a:pt x="2" y="26"/>
                  </a:lnTo>
                  <a:lnTo>
                    <a:pt x="0" y="22"/>
                  </a:lnTo>
                  <a:lnTo>
                    <a:pt x="2" y="20"/>
                  </a:lnTo>
                  <a:lnTo>
                    <a:pt x="4" y="18"/>
                  </a:lnTo>
                  <a:lnTo>
                    <a:pt x="8" y="16"/>
                  </a:lnTo>
                  <a:lnTo>
                    <a:pt x="14" y="16"/>
                  </a:lnTo>
                  <a:lnTo>
                    <a:pt x="16" y="18"/>
                  </a:lnTo>
                  <a:lnTo>
                    <a:pt x="20" y="20"/>
                  </a:lnTo>
                  <a:lnTo>
                    <a:pt x="22" y="20"/>
                  </a:lnTo>
                  <a:lnTo>
                    <a:pt x="30" y="18"/>
                  </a:lnTo>
                  <a:lnTo>
                    <a:pt x="32" y="16"/>
                  </a:lnTo>
                  <a:lnTo>
                    <a:pt x="32" y="14"/>
                  </a:lnTo>
                  <a:lnTo>
                    <a:pt x="32" y="8"/>
                  </a:lnTo>
                  <a:lnTo>
                    <a:pt x="38" y="4"/>
                  </a:lnTo>
                  <a:lnTo>
                    <a:pt x="50" y="4"/>
                  </a:lnTo>
                  <a:lnTo>
                    <a:pt x="74" y="0"/>
                  </a:lnTo>
                  <a:lnTo>
                    <a:pt x="74" y="4"/>
                  </a:lnTo>
                  <a:close/>
                </a:path>
              </a:pathLst>
            </a:custGeom>
            <a:grpFill/>
            <a:ln w="6350" cmpd="sng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120909CE-38AF-475C-9B7A-BE48C8848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5925" y="1928940"/>
              <a:ext cx="79016" cy="39266"/>
            </a:xfrm>
            <a:custGeom>
              <a:avLst/>
              <a:gdLst/>
              <a:ahLst/>
              <a:cxnLst>
                <a:cxn ang="0">
                  <a:pos x="22" y="22"/>
                </a:cxn>
                <a:cxn ang="0">
                  <a:pos x="16" y="22"/>
                </a:cxn>
                <a:cxn ang="0">
                  <a:pos x="8" y="20"/>
                </a:cxn>
                <a:cxn ang="0">
                  <a:pos x="0" y="14"/>
                </a:cxn>
                <a:cxn ang="0">
                  <a:pos x="6" y="10"/>
                </a:cxn>
                <a:cxn ang="0">
                  <a:pos x="12" y="6"/>
                </a:cxn>
                <a:cxn ang="0">
                  <a:pos x="30" y="0"/>
                </a:cxn>
                <a:cxn ang="0">
                  <a:pos x="32" y="4"/>
                </a:cxn>
                <a:cxn ang="0">
                  <a:pos x="34" y="6"/>
                </a:cxn>
                <a:cxn ang="0">
                  <a:pos x="40" y="6"/>
                </a:cxn>
                <a:cxn ang="0">
                  <a:pos x="40" y="18"/>
                </a:cxn>
                <a:cxn ang="0">
                  <a:pos x="32" y="22"/>
                </a:cxn>
                <a:cxn ang="0">
                  <a:pos x="22" y="22"/>
                </a:cxn>
              </a:cxnLst>
              <a:rect l="0" t="0" r="r" b="b"/>
              <a:pathLst>
                <a:path w="40" h="22">
                  <a:moveTo>
                    <a:pt x="22" y="22"/>
                  </a:moveTo>
                  <a:lnTo>
                    <a:pt x="16" y="22"/>
                  </a:lnTo>
                  <a:lnTo>
                    <a:pt x="8" y="20"/>
                  </a:lnTo>
                  <a:lnTo>
                    <a:pt x="0" y="14"/>
                  </a:lnTo>
                  <a:lnTo>
                    <a:pt x="6" y="10"/>
                  </a:lnTo>
                  <a:lnTo>
                    <a:pt x="12" y="6"/>
                  </a:lnTo>
                  <a:lnTo>
                    <a:pt x="30" y="0"/>
                  </a:lnTo>
                  <a:lnTo>
                    <a:pt x="32" y="4"/>
                  </a:lnTo>
                  <a:lnTo>
                    <a:pt x="34" y="6"/>
                  </a:lnTo>
                  <a:lnTo>
                    <a:pt x="40" y="6"/>
                  </a:lnTo>
                  <a:lnTo>
                    <a:pt x="40" y="18"/>
                  </a:lnTo>
                  <a:lnTo>
                    <a:pt x="32" y="22"/>
                  </a:lnTo>
                  <a:lnTo>
                    <a:pt x="22" y="22"/>
                  </a:lnTo>
                  <a:close/>
                </a:path>
              </a:pathLst>
            </a:custGeom>
            <a:grpFill/>
            <a:ln w="6350" cmpd="sng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E7AC12E6-12FE-45EB-90D9-F9B8C2D0A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1858" y="2046737"/>
              <a:ext cx="158031" cy="74962"/>
            </a:xfrm>
            <a:custGeom>
              <a:avLst/>
              <a:gdLst/>
              <a:ahLst/>
              <a:cxnLst>
                <a:cxn ang="0">
                  <a:pos x="58" y="40"/>
                </a:cxn>
                <a:cxn ang="0">
                  <a:pos x="56" y="30"/>
                </a:cxn>
                <a:cxn ang="0">
                  <a:pos x="52" y="26"/>
                </a:cxn>
                <a:cxn ang="0">
                  <a:pos x="48" y="26"/>
                </a:cxn>
                <a:cxn ang="0">
                  <a:pos x="42" y="26"/>
                </a:cxn>
                <a:cxn ang="0">
                  <a:pos x="38" y="30"/>
                </a:cxn>
                <a:cxn ang="0">
                  <a:pos x="30" y="36"/>
                </a:cxn>
                <a:cxn ang="0">
                  <a:pos x="22" y="40"/>
                </a:cxn>
                <a:cxn ang="0">
                  <a:pos x="16" y="42"/>
                </a:cxn>
                <a:cxn ang="0">
                  <a:pos x="10" y="40"/>
                </a:cxn>
                <a:cxn ang="0">
                  <a:pos x="14" y="38"/>
                </a:cxn>
                <a:cxn ang="0">
                  <a:pos x="10" y="36"/>
                </a:cxn>
                <a:cxn ang="0">
                  <a:pos x="6" y="36"/>
                </a:cxn>
                <a:cxn ang="0">
                  <a:pos x="4" y="36"/>
                </a:cxn>
                <a:cxn ang="0">
                  <a:pos x="0" y="34"/>
                </a:cxn>
                <a:cxn ang="0">
                  <a:pos x="8" y="24"/>
                </a:cxn>
                <a:cxn ang="0">
                  <a:pos x="22" y="14"/>
                </a:cxn>
                <a:cxn ang="0">
                  <a:pos x="46" y="0"/>
                </a:cxn>
                <a:cxn ang="0">
                  <a:pos x="52" y="6"/>
                </a:cxn>
                <a:cxn ang="0">
                  <a:pos x="58" y="12"/>
                </a:cxn>
                <a:cxn ang="0">
                  <a:pos x="70" y="22"/>
                </a:cxn>
                <a:cxn ang="0">
                  <a:pos x="68" y="28"/>
                </a:cxn>
                <a:cxn ang="0">
                  <a:pos x="74" y="28"/>
                </a:cxn>
                <a:cxn ang="0">
                  <a:pos x="80" y="30"/>
                </a:cxn>
                <a:cxn ang="0">
                  <a:pos x="74" y="36"/>
                </a:cxn>
                <a:cxn ang="0">
                  <a:pos x="70" y="38"/>
                </a:cxn>
                <a:cxn ang="0">
                  <a:pos x="64" y="40"/>
                </a:cxn>
                <a:cxn ang="0">
                  <a:pos x="60" y="38"/>
                </a:cxn>
                <a:cxn ang="0">
                  <a:pos x="60" y="36"/>
                </a:cxn>
                <a:cxn ang="0">
                  <a:pos x="58" y="40"/>
                </a:cxn>
              </a:cxnLst>
              <a:rect l="0" t="0" r="r" b="b"/>
              <a:pathLst>
                <a:path w="80" h="42">
                  <a:moveTo>
                    <a:pt x="58" y="40"/>
                  </a:moveTo>
                  <a:lnTo>
                    <a:pt x="56" y="30"/>
                  </a:lnTo>
                  <a:lnTo>
                    <a:pt x="52" y="26"/>
                  </a:lnTo>
                  <a:lnTo>
                    <a:pt x="48" y="26"/>
                  </a:lnTo>
                  <a:lnTo>
                    <a:pt x="42" y="26"/>
                  </a:lnTo>
                  <a:lnTo>
                    <a:pt x="38" y="30"/>
                  </a:lnTo>
                  <a:lnTo>
                    <a:pt x="30" y="36"/>
                  </a:lnTo>
                  <a:lnTo>
                    <a:pt x="22" y="40"/>
                  </a:lnTo>
                  <a:lnTo>
                    <a:pt x="16" y="42"/>
                  </a:lnTo>
                  <a:lnTo>
                    <a:pt x="10" y="40"/>
                  </a:lnTo>
                  <a:lnTo>
                    <a:pt x="14" y="38"/>
                  </a:lnTo>
                  <a:lnTo>
                    <a:pt x="10" y="36"/>
                  </a:lnTo>
                  <a:lnTo>
                    <a:pt x="6" y="36"/>
                  </a:lnTo>
                  <a:lnTo>
                    <a:pt x="4" y="36"/>
                  </a:lnTo>
                  <a:lnTo>
                    <a:pt x="0" y="34"/>
                  </a:lnTo>
                  <a:lnTo>
                    <a:pt x="8" y="24"/>
                  </a:lnTo>
                  <a:lnTo>
                    <a:pt x="22" y="14"/>
                  </a:lnTo>
                  <a:lnTo>
                    <a:pt x="46" y="0"/>
                  </a:lnTo>
                  <a:lnTo>
                    <a:pt x="52" y="6"/>
                  </a:lnTo>
                  <a:lnTo>
                    <a:pt x="58" y="12"/>
                  </a:lnTo>
                  <a:lnTo>
                    <a:pt x="70" y="22"/>
                  </a:lnTo>
                  <a:lnTo>
                    <a:pt x="68" y="28"/>
                  </a:lnTo>
                  <a:lnTo>
                    <a:pt x="74" y="28"/>
                  </a:lnTo>
                  <a:lnTo>
                    <a:pt x="80" y="30"/>
                  </a:lnTo>
                  <a:lnTo>
                    <a:pt x="74" y="36"/>
                  </a:lnTo>
                  <a:lnTo>
                    <a:pt x="70" y="38"/>
                  </a:lnTo>
                  <a:lnTo>
                    <a:pt x="64" y="40"/>
                  </a:lnTo>
                  <a:lnTo>
                    <a:pt x="60" y="38"/>
                  </a:lnTo>
                  <a:lnTo>
                    <a:pt x="60" y="36"/>
                  </a:lnTo>
                  <a:lnTo>
                    <a:pt x="58" y="40"/>
                  </a:lnTo>
                  <a:close/>
                </a:path>
              </a:pathLst>
            </a:custGeom>
            <a:grpFill/>
            <a:ln w="6350" cmpd="sng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DC8C10B2-5E99-4FCE-9DFE-6109F85D8C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2597" y="1750459"/>
              <a:ext cx="130376" cy="42835"/>
            </a:xfrm>
            <a:custGeom>
              <a:avLst/>
              <a:gdLst/>
              <a:ahLst/>
              <a:cxnLst>
                <a:cxn ang="0">
                  <a:pos x="10" y="6"/>
                </a:cxn>
                <a:cxn ang="0">
                  <a:pos x="16" y="10"/>
                </a:cxn>
                <a:cxn ang="0">
                  <a:pos x="22" y="12"/>
                </a:cxn>
                <a:cxn ang="0">
                  <a:pos x="24" y="8"/>
                </a:cxn>
                <a:cxn ang="0">
                  <a:pos x="24" y="6"/>
                </a:cxn>
                <a:cxn ang="0">
                  <a:pos x="26" y="6"/>
                </a:cxn>
                <a:cxn ang="0">
                  <a:pos x="30" y="6"/>
                </a:cxn>
                <a:cxn ang="0">
                  <a:pos x="34" y="8"/>
                </a:cxn>
                <a:cxn ang="0">
                  <a:pos x="38" y="12"/>
                </a:cxn>
                <a:cxn ang="0">
                  <a:pos x="40" y="4"/>
                </a:cxn>
                <a:cxn ang="0">
                  <a:pos x="42" y="0"/>
                </a:cxn>
                <a:cxn ang="0">
                  <a:pos x="46" y="0"/>
                </a:cxn>
                <a:cxn ang="0">
                  <a:pos x="56" y="2"/>
                </a:cxn>
                <a:cxn ang="0">
                  <a:pos x="62" y="2"/>
                </a:cxn>
                <a:cxn ang="0">
                  <a:pos x="64" y="0"/>
                </a:cxn>
                <a:cxn ang="0">
                  <a:pos x="66" y="6"/>
                </a:cxn>
                <a:cxn ang="0">
                  <a:pos x="62" y="12"/>
                </a:cxn>
                <a:cxn ang="0">
                  <a:pos x="56" y="16"/>
                </a:cxn>
                <a:cxn ang="0">
                  <a:pos x="46" y="20"/>
                </a:cxn>
                <a:cxn ang="0">
                  <a:pos x="42" y="20"/>
                </a:cxn>
                <a:cxn ang="0">
                  <a:pos x="36" y="20"/>
                </a:cxn>
                <a:cxn ang="0">
                  <a:pos x="34" y="24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0" y="22"/>
                </a:cxn>
                <a:cxn ang="0">
                  <a:pos x="18" y="20"/>
                </a:cxn>
                <a:cxn ang="0">
                  <a:pos x="18" y="14"/>
                </a:cxn>
                <a:cxn ang="0">
                  <a:pos x="6" y="14"/>
                </a:cxn>
                <a:cxn ang="0">
                  <a:pos x="2" y="14"/>
                </a:cxn>
                <a:cxn ang="0">
                  <a:pos x="0" y="10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8" y="0"/>
                </a:cxn>
                <a:cxn ang="0">
                  <a:pos x="10" y="2"/>
                </a:cxn>
                <a:cxn ang="0">
                  <a:pos x="12" y="4"/>
                </a:cxn>
                <a:cxn ang="0">
                  <a:pos x="16" y="10"/>
                </a:cxn>
                <a:cxn ang="0">
                  <a:pos x="16" y="8"/>
                </a:cxn>
                <a:cxn ang="0">
                  <a:pos x="10" y="6"/>
                </a:cxn>
              </a:cxnLst>
              <a:rect l="0" t="0" r="r" b="b"/>
              <a:pathLst>
                <a:path w="66" h="24">
                  <a:moveTo>
                    <a:pt x="10" y="6"/>
                  </a:moveTo>
                  <a:lnTo>
                    <a:pt x="16" y="10"/>
                  </a:lnTo>
                  <a:lnTo>
                    <a:pt x="22" y="12"/>
                  </a:lnTo>
                  <a:lnTo>
                    <a:pt x="24" y="8"/>
                  </a:lnTo>
                  <a:lnTo>
                    <a:pt x="24" y="6"/>
                  </a:lnTo>
                  <a:lnTo>
                    <a:pt x="26" y="6"/>
                  </a:lnTo>
                  <a:lnTo>
                    <a:pt x="30" y="6"/>
                  </a:lnTo>
                  <a:lnTo>
                    <a:pt x="34" y="8"/>
                  </a:lnTo>
                  <a:lnTo>
                    <a:pt x="38" y="12"/>
                  </a:lnTo>
                  <a:lnTo>
                    <a:pt x="40" y="4"/>
                  </a:lnTo>
                  <a:lnTo>
                    <a:pt x="42" y="0"/>
                  </a:lnTo>
                  <a:lnTo>
                    <a:pt x="46" y="0"/>
                  </a:lnTo>
                  <a:lnTo>
                    <a:pt x="56" y="2"/>
                  </a:lnTo>
                  <a:lnTo>
                    <a:pt x="62" y="2"/>
                  </a:lnTo>
                  <a:lnTo>
                    <a:pt x="64" y="0"/>
                  </a:lnTo>
                  <a:lnTo>
                    <a:pt x="66" y="6"/>
                  </a:lnTo>
                  <a:lnTo>
                    <a:pt x="62" y="12"/>
                  </a:lnTo>
                  <a:lnTo>
                    <a:pt x="56" y="16"/>
                  </a:lnTo>
                  <a:lnTo>
                    <a:pt x="46" y="20"/>
                  </a:lnTo>
                  <a:lnTo>
                    <a:pt x="42" y="20"/>
                  </a:lnTo>
                  <a:lnTo>
                    <a:pt x="36" y="20"/>
                  </a:lnTo>
                  <a:lnTo>
                    <a:pt x="34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0" y="22"/>
                  </a:lnTo>
                  <a:lnTo>
                    <a:pt x="18" y="20"/>
                  </a:lnTo>
                  <a:lnTo>
                    <a:pt x="18" y="14"/>
                  </a:lnTo>
                  <a:lnTo>
                    <a:pt x="6" y="14"/>
                  </a:lnTo>
                  <a:lnTo>
                    <a:pt x="2" y="14"/>
                  </a:lnTo>
                  <a:lnTo>
                    <a:pt x="0" y="10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8" y="0"/>
                  </a:lnTo>
                  <a:lnTo>
                    <a:pt x="10" y="2"/>
                  </a:lnTo>
                  <a:lnTo>
                    <a:pt x="12" y="4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0" y="6"/>
                  </a:lnTo>
                  <a:close/>
                </a:path>
              </a:pathLst>
            </a:custGeom>
            <a:grpFill/>
            <a:ln w="6350" cmpd="sng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BD805ED7-3E8E-4AC8-B979-36B51C434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2480" y="1739750"/>
              <a:ext cx="323965" cy="67823"/>
            </a:xfrm>
            <a:custGeom>
              <a:avLst/>
              <a:gdLst/>
              <a:ahLst/>
              <a:cxnLst>
                <a:cxn ang="0">
                  <a:pos x="30" y="22"/>
                </a:cxn>
                <a:cxn ang="0">
                  <a:pos x="36" y="18"/>
                </a:cxn>
                <a:cxn ang="0">
                  <a:pos x="32" y="16"/>
                </a:cxn>
                <a:cxn ang="0">
                  <a:pos x="28" y="16"/>
                </a:cxn>
                <a:cxn ang="0">
                  <a:pos x="22" y="16"/>
                </a:cxn>
                <a:cxn ang="0">
                  <a:pos x="12" y="18"/>
                </a:cxn>
                <a:cxn ang="0">
                  <a:pos x="8" y="16"/>
                </a:cxn>
                <a:cxn ang="0">
                  <a:pos x="4" y="14"/>
                </a:cxn>
                <a:cxn ang="0">
                  <a:pos x="0" y="6"/>
                </a:cxn>
                <a:cxn ang="0">
                  <a:pos x="8" y="2"/>
                </a:cxn>
                <a:cxn ang="0">
                  <a:pos x="20" y="0"/>
                </a:cxn>
                <a:cxn ang="0">
                  <a:pos x="28" y="2"/>
                </a:cxn>
                <a:cxn ang="0">
                  <a:pos x="32" y="6"/>
                </a:cxn>
                <a:cxn ang="0">
                  <a:pos x="38" y="8"/>
                </a:cxn>
                <a:cxn ang="0">
                  <a:pos x="44" y="10"/>
                </a:cxn>
                <a:cxn ang="0">
                  <a:pos x="58" y="10"/>
                </a:cxn>
                <a:cxn ang="0">
                  <a:pos x="60" y="8"/>
                </a:cxn>
                <a:cxn ang="0">
                  <a:pos x="64" y="6"/>
                </a:cxn>
                <a:cxn ang="0">
                  <a:pos x="68" y="6"/>
                </a:cxn>
                <a:cxn ang="0">
                  <a:pos x="62" y="10"/>
                </a:cxn>
                <a:cxn ang="0">
                  <a:pos x="60" y="12"/>
                </a:cxn>
                <a:cxn ang="0">
                  <a:pos x="58" y="16"/>
                </a:cxn>
                <a:cxn ang="0">
                  <a:pos x="60" y="18"/>
                </a:cxn>
                <a:cxn ang="0">
                  <a:pos x="60" y="20"/>
                </a:cxn>
                <a:cxn ang="0">
                  <a:pos x="66" y="20"/>
                </a:cxn>
                <a:cxn ang="0">
                  <a:pos x="80" y="20"/>
                </a:cxn>
                <a:cxn ang="0">
                  <a:pos x="94" y="20"/>
                </a:cxn>
                <a:cxn ang="0">
                  <a:pos x="108" y="20"/>
                </a:cxn>
                <a:cxn ang="0">
                  <a:pos x="120" y="18"/>
                </a:cxn>
                <a:cxn ang="0">
                  <a:pos x="136" y="18"/>
                </a:cxn>
                <a:cxn ang="0">
                  <a:pos x="144" y="18"/>
                </a:cxn>
                <a:cxn ang="0">
                  <a:pos x="152" y="20"/>
                </a:cxn>
                <a:cxn ang="0">
                  <a:pos x="164" y="22"/>
                </a:cxn>
                <a:cxn ang="0">
                  <a:pos x="160" y="30"/>
                </a:cxn>
                <a:cxn ang="0">
                  <a:pos x="156" y="36"/>
                </a:cxn>
                <a:cxn ang="0">
                  <a:pos x="148" y="38"/>
                </a:cxn>
                <a:cxn ang="0">
                  <a:pos x="140" y="38"/>
                </a:cxn>
                <a:cxn ang="0">
                  <a:pos x="132" y="38"/>
                </a:cxn>
                <a:cxn ang="0">
                  <a:pos x="124" y="36"/>
                </a:cxn>
                <a:cxn ang="0">
                  <a:pos x="118" y="36"/>
                </a:cxn>
                <a:cxn ang="0">
                  <a:pos x="110" y="34"/>
                </a:cxn>
                <a:cxn ang="0">
                  <a:pos x="104" y="34"/>
                </a:cxn>
                <a:cxn ang="0">
                  <a:pos x="96" y="32"/>
                </a:cxn>
                <a:cxn ang="0">
                  <a:pos x="90" y="30"/>
                </a:cxn>
                <a:cxn ang="0">
                  <a:pos x="86" y="30"/>
                </a:cxn>
                <a:cxn ang="0">
                  <a:pos x="78" y="32"/>
                </a:cxn>
                <a:cxn ang="0">
                  <a:pos x="72" y="34"/>
                </a:cxn>
                <a:cxn ang="0">
                  <a:pos x="68" y="38"/>
                </a:cxn>
                <a:cxn ang="0">
                  <a:pos x="62" y="38"/>
                </a:cxn>
                <a:cxn ang="0">
                  <a:pos x="42" y="36"/>
                </a:cxn>
                <a:cxn ang="0">
                  <a:pos x="32" y="36"/>
                </a:cxn>
                <a:cxn ang="0">
                  <a:pos x="28" y="36"/>
                </a:cxn>
                <a:cxn ang="0">
                  <a:pos x="24" y="38"/>
                </a:cxn>
                <a:cxn ang="0">
                  <a:pos x="24" y="30"/>
                </a:cxn>
                <a:cxn ang="0">
                  <a:pos x="28" y="24"/>
                </a:cxn>
                <a:cxn ang="0">
                  <a:pos x="32" y="20"/>
                </a:cxn>
                <a:cxn ang="0">
                  <a:pos x="36" y="20"/>
                </a:cxn>
                <a:cxn ang="0">
                  <a:pos x="30" y="22"/>
                </a:cxn>
              </a:cxnLst>
              <a:rect l="0" t="0" r="r" b="b"/>
              <a:pathLst>
                <a:path w="164" h="38">
                  <a:moveTo>
                    <a:pt x="30" y="22"/>
                  </a:moveTo>
                  <a:lnTo>
                    <a:pt x="36" y="18"/>
                  </a:lnTo>
                  <a:lnTo>
                    <a:pt x="32" y="16"/>
                  </a:lnTo>
                  <a:lnTo>
                    <a:pt x="28" y="16"/>
                  </a:lnTo>
                  <a:lnTo>
                    <a:pt x="22" y="16"/>
                  </a:lnTo>
                  <a:lnTo>
                    <a:pt x="12" y="18"/>
                  </a:lnTo>
                  <a:lnTo>
                    <a:pt x="8" y="16"/>
                  </a:lnTo>
                  <a:lnTo>
                    <a:pt x="4" y="14"/>
                  </a:lnTo>
                  <a:lnTo>
                    <a:pt x="0" y="6"/>
                  </a:lnTo>
                  <a:lnTo>
                    <a:pt x="8" y="2"/>
                  </a:lnTo>
                  <a:lnTo>
                    <a:pt x="20" y="0"/>
                  </a:lnTo>
                  <a:lnTo>
                    <a:pt x="28" y="2"/>
                  </a:lnTo>
                  <a:lnTo>
                    <a:pt x="32" y="6"/>
                  </a:lnTo>
                  <a:lnTo>
                    <a:pt x="38" y="8"/>
                  </a:lnTo>
                  <a:lnTo>
                    <a:pt x="44" y="10"/>
                  </a:lnTo>
                  <a:lnTo>
                    <a:pt x="58" y="10"/>
                  </a:lnTo>
                  <a:lnTo>
                    <a:pt x="60" y="8"/>
                  </a:lnTo>
                  <a:lnTo>
                    <a:pt x="64" y="6"/>
                  </a:lnTo>
                  <a:lnTo>
                    <a:pt x="68" y="6"/>
                  </a:lnTo>
                  <a:lnTo>
                    <a:pt x="62" y="10"/>
                  </a:lnTo>
                  <a:lnTo>
                    <a:pt x="60" y="12"/>
                  </a:lnTo>
                  <a:lnTo>
                    <a:pt x="58" y="16"/>
                  </a:lnTo>
                  <a:lnTo>
                    <a:pt x="60" y="18"/>
                  </a:lnTo>
                  <a:lnTo>
                    <a:pt x="60" y="20"/>
                  </a:lnTo>
                  <a:lnTo>
                    <a:pt x="66" y="20"/>
                  </a:lnTo>
                  <a:lnTo>
                    <a:pt x="80" y="20"/>
                  </a:lnTo>
                  <a:lnTo>
                    <a:pt x="94" y="20"/>
                  </a:lnTo>
                  <a:lnTo>
                    <a:pt x="108" y="20"/>
                  </a:lnTo>
                  <a:lnTo>
                    <a:pt x="120" y="18"/>
                  </a:lnTo>
                  <a:lnTo>
                    <a:pt x="136" y="18"/>
                  </a:lnTo>
                  <a:lnTo>
                    <a:pt x="144" y="18"/>
                  </a:lnTo>
                  <a:lnTo>
                    <a:pt x="152" y="20"/>
                  </a:lnTo>
                  <a:lnTo>
                    <a:pt x="164" y="22"/>
                  </a:lnTo>
                  <a:lnTo>
                    <a:pt x="160" y="30"/>
                  </a:lnTo>
                  <a:lnTo>
                    <a:pt x="156" y="36"/>
                  </a:lnTo>
                  <a:lnTo>
                    <a:pt x="148" y="38"/>
                  </a:lnTo>
                  <a:lnTo>
                    <a:pt x="140" y="38"/>
                  </a:lnTo>
                  <a:lnTo>
                    <a:pt x="132" y="38"/>
                  </a:lnTo>
                  <a:lnTo>
                    <a:pt x="124" y="36"/>
                  </a:lnTo>
                  <a:lnTo>
                    <a:pt x="118" y="36"/>
                  </a:lnTo>
                  <a:lnTo>
                    <a:pt x="110" y="34"/>
                  </a:lnTo>
                  <a:lnTo>
                    <a:pt x="104" y="34"/>
                  </a:lnTo>
                  <a:lnTo>
                    <a:pt x="96" y="32"/>
                  </a:lnTo>
                  <a:lnTo>
                    <a:pt x="90" y="30"/>
                  </a:lnTo>
                  <a:lnTo>
                    <a:pt x="86" y="30"/>
                  </a:lnTo>
                  <a:lnTo>
                    <a:pt x="78" y="32"/>
                  </a:lnTo>
                  <a:lnTo>
                    <a:pt x="72" y="34"/>
                  </a:lnTo>
                  <a:lnTo>
                    <a:pt x="68" y="38"/>
                  </a:lnTo>
                  <a:lnTo>
                    <a:pt x="62" y="38"/>
                  </a:lnTo>
                  <a:lnTo>
                    <a:pt x="42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4" y="38"/>
                  </a:lnTo>
                  <a:lnTo>
                    <a:pt x="24" y="30"/>
                  </a:lnTo>
                  <a:lnTo>
                    <a:pt x="28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0" y="22"/>
                  </a:lnTo>
                  <a:close/>
                </a:path>
              </a:pathLst>
            </a:custGeom>
            <a:grpFill/>
            <a:ln w="6350" cmpd="sng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57F81536-504C-41E7-9D93-06B8282C9D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5071" y="1779016"/>
              <a:ext cx="59262" cy="24987"/>
            </a:xfrm>
            <a:custGeom>
              <a:avLst/>
              <a:gdLst/>
              <a:ahLst/>
              <a:cxnLst>
                <a:cxn ang="0">
                  <a:pos x="30" y="8"/>
                </a:cxn>
                <a:cxn ang="0">
                  <a:pos x="28" y="12"/>
                </a:cxn>
                <a:cxn ang="0">
                  <a:pos x="24" y="14"/>
                </a:cxn>
                <a:cxn ang="0">
                  <a:pos x="20" y="14"/>
                </a:cxn>
                <a:cxn ang="0">
                  <a:pos x="10" y="12"/>
                </a:cxn>
                <a:cxn ang="0">
                  <a:pos x="0" y="10"/>
                </a:cxn>
                <a:cxn ang="0">
                  <a:pos x="6" y="4"/>
                </a:cxn>
                <a:cxn ang="0">
                  <a:pos x="16" y="0"/>
                </a:cxn>
                <a:cxn ang="0">
                  <a:pos x="22" y="0"/>
                </a:cxn>
                <a:cxn ang="0">
                  <a:pos x="26" y="2"/>
                </a:cxn>
                <a:cxn ang="0">
                  <a:pos x="28" y="4"/>
                </a:cxn>
                <a:cxn ang="0">
                  <a:pos x="30" y="8"/>
                </a:cxn>
              </a:cxnLst>
              <a:rect l="0" t="0" r="r" b="b"/>
              <a:pathLst>
                <a:path w="30" h="14">
                  <a:moveTo>
                    <a:pt x="30" y="8"/>
                  </a:moveTo>
                  <a:lnTo>
                    <a:pt x="28" y="12"/>
                  </a:lnTo>
                  <a:lnTo>
                    <a:pt x="24" y="14"/>
                  </a:lnTo>
                  <a:lnTo>
                    <a:pt x="20" y="14"/>
                  </a:lnTo>
                  <a:lnTo>
                    <a:pt x="10" y="12"/>
                  </a:lnTo>
                  <a:lnTo>
                    <a:pt x="0" y="10"/>
                  </a:lnTo>
                  <a:lnTo>
                    <a:pt x="6" y="4"/>
                  </a:lnTo>
                  <a:lnTo>
                    <a:pt x="16" y="0"/>
                  </a:lnTo>
                  <a:lnTo>
                    <a:pt x="22" y="0"/>
                  </a:lnTo>
                  <a:lnTo>
                    <a:pt x="26" y="2"/>
                  </a:lnTo>
                  <a:lnTo>
                    <a:pt x="28" y="4"/>
                  </a:lnTo>
                  <a:lnTo>
                    <a:pt x="30" y="8"/>
                  </a:lnTo>
                  <a:close/>
                </a:path>
              </a:pathLst>
            </a:custGeom>
            <a:grpFill/>
            <a:ln w="6350" cmpd="sng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188E6E75-037E-4A9B-9081-14BC8DA5C3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8284" y="1700484"/>
              <a:ext cx="71114" cy="32127"/>
            </a:xfrm>
            <a:custGeom>
              <a:avLst/>
              <a:gdLst/>
              <a:ahLst/>
              <a:cxnLst>
                <a:cxn ang="0">
                  <a:pos x="32" y="6"/>
                </a:cxn>
                <a:cxn ang="0">
                  <a:pos x="26" y="10"/>
                </a:cxn>
                <a:cxn ang="0">
                  <a:pos x="30" y="12"/>
                </a:cxn>
                <a:cxn ang="0">
                  <a:pos x="36" y="12"/>
                </a:cxn>
                <a:cxn ang="0">
                  <a:pos x="34" y="16"/>
                </a:cxn>
                <a:cxn ang="0">
                  <a:pos x="36" y="18"/>
                </a:cxn>
                <a:cxn ang="0">
                  <a:pos x="16" y="18"/>
                </a:cxn>
                <a:cxn ang="0">
                  <a:pos x="8" y="14"/>
                </a:cxn>
                <a:cxn ang="0">
                  <a:pos x="2" y="12"/>
                </a:cxn>
                <a:cxn ang="0">
                  <a:pos x="0" y="6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4" y="0"/>
                </a:cxn>
                <a:cxn ang="0">
                  <a:pos x="24" y="4"/>
                </a:cxn>
                <a:cxn ang="0">
                  <a:pos x="32" y="6"/>
                </a:cxn>
              </a:cxnLst>
              <a:rect l="0" t="0" r="r" b="b"/>
              <a:pathLst>
                <a:path w="36" h="18">
                  <a:moveTo>
                    <a:pt x="32" y="6"/>
                  </a:moveTo>
                  <a:lnTo>
                    <a:pt x="26" y="10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4" y="16"/>
                  </a:lnTo>
                  <a:lnTo>
                    <a:pt x="36" y="18"/>
                  </a:lnTo>
                  <a:lnTo>
                    <a:pt x="16" y="18"/>
                  </a:lnTo>
                  <a:lnTo>
                    <a:pt x="8" y="14"/>
                  </a:lnTo>
                  <a:lnTo>
                    <a:pt x="2" y="12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0"/>
                  </a:lnTo>
                  <a:lnTo>
                    <a:pt x="8" y="0"/>
                  </a:lnTo>
                  <a:lnTo>
                    <a:pt x="14" y="0"/>
                  </a:lnTo>
                  <a:lnTo>
                    <a:pt x="24" y="4"/>
                  </a:lnTo>
                  <a:lnTo>
                    <a:pt x="32" y="6"/>
                  </a:lnTo>
                  <a:close/>
                </a:path>
              </a:pathLst>
            </a:custGeom>
            <a:grpFill/>
            <a:ln w="6350" cmpd="sng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9273E69A-468F-494B-A5E7-E499ABD01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9152" y="1614813"/>
              <a:ext cx="754600" cy="153494"/>
            </a:xfrm>
            <a:custGeom>
              <a:avLst/>
              <a:gdLst/>
              <a:ahLst/>
              <a:cxnLst>
                <a:cxn ang="0">
                  <a:pos x="168" y="58"/>
                </a:cxn>
                <a:cxn ang="0">
                  <a:pos x="158" y="50"/>
                </a:cxn>
                <a:cxn ang="0">
                  <a:pos x="154" y="64"/>
                </a:cxn>
                <a:cxn ang="0">
                  <a:pos x="146" y="72"/>
                </a:cxn>
                <a:cxn ang="0">
                  <a:pos x="140" y="72"/>
                </a:cxn>
                <a:cxn ang="0">
                  <a:pos x="132" y="66"/>
                </a:cxn>
                <a:cxn ang="0">
                  <a:pos x="136" y="70"/>
                </a:cxn>
                <a:cxn ang="0">
                  <a:pos x="132" y="82"/>
                </a:cxn>
                <a:cxn ang="0">
                  <a:pos x="114" y="86"/>
                </a:cxn>
                <a:cxn ang="0">
                  <a:pos x="106" y="82"/>
                </a:cxn>
                <a:cxn ang="0">
                  <a:pos x="46" y="80"/>
                </a:cxn>
                <a:cxn ang="0">
                  <a:pos x="28" y="82"/>
                </a:cxn>
                <a:cxn ang="0">
                  <a:pos x="24" y="80"/>
                </a:cxn>
                <a:cxn ang="0">
                  <a:pos x="24" y="72"/>
                </a:cxn>
                <a:cxn ang="0">
                  <a:pos x="34" y="72"/>
                </a:cxn>
                <a:cxn ang="0">
                  <a:pos x="52" y="68"/>
                </a:cxn>
                <a:cxn ang="0">
                  <a:pos x="58" y="62"/>
                </a:cxn>
                <a:cxn ang="0">
                  <a:pos x="68" y="64"/>
                </a:cxn>
                <a:cxn ang="0">
                  <a:pos x="76" y="66"/>
                </a:cxn>
                <a:cxn ang="0">
                  <a:pos x="76" y="60"/>
                </a:cxn>
                <a:cxn ang="0">
                  <a:pos x="72" y="50"/>
                </a:cxn>
                <a:cxn ang="0">
                  <a:pos x="64" y="50"/>
                </a:cxn>
                <a:cxn ang="0">
                  <a:pos x="50" y="52"/>
                </a:cxn>
                <a:cxn ang="0">
                  <a:pos x="34" y="54"/>
                </a:cxn>
                <a:cxn ang="0">
                  <a:pos x="10" y="52"/>
                </a:cxn>
                <a:cxn ang="0">
                  <a:pos x="4" y="46"/>
                </a:cxn>
                <a:cxn ang="0">
                  <a:pos x="0" y="38"/>
                </a:cxn>
                <a:cxn ang="0">
                  <a:pos x="6" y="32"/>
                </a:cxn>
                <a:cxn ang="0">
                  <a:pos x="42" y="24"/>
                </a:cxn>
                <a:cxn ang="0">
                  <a:pos x="78" y="26"/>
                </a:cxn>
                <a:cxn ang="0">
                  <a:pos x="96" y="36"/>
                </a:cxn>
                <a:cxn ang="0">
                  <a:pos x="104" y="36"/>
                </a:cxn>
                <a:cxn ang="0">
                  <a:pos x="108" y="30"/>
                </a:cxn>
                <a:cxn ang="0">
                  <a:pos x="116" y="26"/>
                </a:cxn>
                <a:cxn ang="0">
                  <a:pos x="132" y="32"/>
                </a:cxn>
                <a:cxn ang="0">
                  <a:pos x="142" y="36"/>
                </a:cxn>
                <a:cxn ang="0">
                  <a:pos x="140" y="30"/>
                </a:cxn>
                <a:cxn ang="0">
                  <a:pos x="120" y="24"/>
                </a:cxn>
                <a:cxn ang="0">
                  <a:pos x="98" y="24"/>
                </a:cxn>
                <a:cxn ang="0">
                  <a:pos x="82" y="24"/>
                </a:cxn>
                <a:cxn ang="0">
                  <a:pos x="78" y="20"/>
                </a:cxn>
                <a:cxn ang="0">
                  <a:pos x="84" y="12"/>
                </a:cxn>
                <a:cxn ang="0">
                  <a:pos x="126" y="12"/>
                </a:cxn>
                <a:cxn ang="0">
                  <a:pos x="142" y="8"/>
                </a:cxn>
                <a:cxn ang="0">
                  <a:pos x="158" y="8"/>
                </a:cxn>
                <a:cxn ang="0">
                  <a:pos x="168" y="8"/>
                </a:cxn>
                <a:cxn ang="0">
                  <a:pos x="172" y="10"/>
                </a:cxn>
                <a:cxn ang="0">
                  <a:pos x="202" y="4"/>
                </a:cxn>
                <a:cxn ang="0">
                  <a:pos x="252" y="0"/>
                </a:cxn>
                <a:cxn ang="0">
                  <a:pos x="328" y="2"/>
                </a:cxn>
                <a:cxn ang="0">
                  <a:pos x="364" y="6"/>
                </a:cxn>
                <a:cxn ang="0">
                  <a:pos x="368" y="16"/>
                </a:cxn>
                <a:cxn ang="0">
                  <a:pos x="332" y="24"/>
                </a:cxn>
                <a:cxn ang="0">
                  <a:pos x="316" y="24"/>
                </a:cxn>
                <a:cxn ang="0">
                  <a:pos x="310" y="24"/>
                </a:cxn>
                <a:cxn ang="0">
                  <a:pos x="310" y="26"/>
                </a:cxn>
                <a:cxn ang="0">
                  <a:pos x="282" y="26"/>
                </a:cxn>
                <a:cxn ang="0">
                  <a:pos x="262" y="32"/>
                </a:cxn>
                <a:cxn ang="0">
                  <a:pos x="240" y="36"/>
                </a:cxn>
                <a:cxn ang="0">
                  <a:pos x="216" y="36"/>
                </a:cxn>
                <a:cxn ang="0">
                  <a:pos x="208" y="40"/>
                </a:cxn>
                <a:cxn ang="0">
                  <a:pos x="196" y="52"/>
                </a:cxn>
                <a:cxn ang="0">
                  <a:pos x="174" y="60"/>
                </a:cxn>
              </a:cxnLst>
              <a:rect l="0" t="0" r="r" b="b"/>
              <a:pathLst>
                <a:path w="382" h="86">
                  <a:moveTo>
                    <a:pt x="174" y="60"/>
                  </a:moveTo>
                  <a:lnTo>
                    <a:pt x="168" y="58"/>
                  </a:lnTo>
                  <a:lnTo>
                    <a:pt x="164" y="50"/>
                  </a:lnTo>
                  <a:lnTo>
                    <a:pt x="158" y="50"/>
                  </a:lnTo>
                  <a:lnTo>
                    <a:pt x="156" y="58"/>
                  </a:lnTo>
                  <a:lnTo>
                    <a:pt x="154" y="64"/>
                  </a:lnTo>
                  <a:lnTo>
                    <a:pt x="150" y="70"/>
                  </a:lnTo>
                  <a:lnTo>
                    <a:pt x="146" y="72"/>
                  </a:lnTo>
                  <a:lnTo>
                    <a:pt x="142" y="72"/>
                  </a:lnTo>
                  <a:lnTo>
                    <a:pt x="140" y="72"/>
                  </a:lnTo>
                  <a:lnTo>
                    <a:pt x="136" y="68"/>
                  </a:lnTo>
                  <a:lnTo>
                    <a:pt x="132" y="66"/>
                  </a:lnTo>
                  <a:lnTo>
                    <a:pt x="126" y="66"/>
                  </a:lnTo>
                  <a:lnTo>
                    <a:pt x="136" y="70"/>
                  </a:lnTo>
                  <a:lnTo>
                    <a:pt x="142" y="74"/>
                  </a:lnTo>
                  <a:lnTo>
                    <a:pt x="132" y="82"/>
                  </a:lnTo>
                  <a:lnTo>
                    <a:pt x="120" y="86"/>
                  </a:lnTo>
                  <a:lnTo>
                    <a:pt x="114" y="86"/>
                  </a:lnTo>
                  <a:lnTo>
                    <a:pt x="112" y="84"/>
                  </a:lnTo>
                  <a:lnTo>
                    <a:pt x="106" y="82"/>
                  </a:lnTo>
                  <a:lnTo>
                    <a:pt x="102" y="80"/>
                  </a:lnTo>
                  <a:lnTo>
                    <a:pt x="46" y="80"/>
                  </a:lnTo>
                  <a:lnTo>
                    <a:pt x="32" y="82"/>
                  </a:lnTo>
                  <a:lnTo>
                    <a:pt x="28" y="82"/>
                  </a:lnTo>
                  <a:lnTo>
                    <a:pt x="26" y="82"/>
                  </a:lnTo>
                  <a:lnTo>
                    <a:pt x="24" y="80"/>
                  </a:lnTo>
                  <a:lnTo>
                    <a:pt x="22" y="76"/>
                  </a:lnTo>
                  <a:lnTo>
                    <a:pt x="24" y="72"/>
                  </a:lnTo>
                  <a:lnTo>
                    <a:pt x="26" y="70"/>
                  </a:lnTo>
                  <a:lnTo>
                    <a:pt x="34" y="72"/>
                  </a:lnTo>
                  <a:lnTo>
                    <a:pt x="50" y="76"/>
                  </a:lnTo>
                  <a:lnTo>
                    <a:pt x="52" y="68"/>
                  </a:lnTo>
                  <a:lnTo>
                    <a:pt x="54" y="64"/>
                  </a:lnTo>
                  <a:lnTo>
                    <a:pt x="58" y="62"/>
                  </a:lnTo>
                  <a:lnTo>
                    <a:pt x="64" y="62"/>
                  </a:lnTo>
                  <a:lnTo>
                    <a:pt x="68" y="64"/>
                  </a:lnTo>
                  <a:lnTo>
                    <a:pt x="72" y="64"/>
                  </a:lnTo>
                  <a:lnTo>
                    <a:pt x="76" y="66"/>
                  </a:lnTo>
                  <a:lnTo>
                    <a:pt x="80" y="66"/>
                  </a:lnTo>
                  <a:lnTo>
                    <a:pt x="76" y="60"/>
                  </a:lnTo>
                  <a:lnTo>
                    <a:pt x="74" y="54"/>
                  </a:lnTo>
                  <a:lnTo>
                    <a:pt x="72" y="50"/>
                  </a:lnTo>
                  <a:lnTo>
                    <a:pt x="64" y="52"/>
                  </a:lnTo>
                  <a:lnTo>
                    <a:pt x="64" y="50"/>
                  </a:lnTo>
                  <a:lnTo>
                    <a:pt x="62" y="48"/>
                  </a:lnTo>
                  <a:lnTo>
                    <a:pt x="50" y="52"/>
                  </a:lnTo>
                  <a:lnTo>
                    <a:pt x="42" y="54"/>
                  </a:lnTo>
                  <a:lnTo>
                    <a:pt x="34" y="54"/>
                  </a:lnTo>
                  <a:lnTo>
                    <a:pt x="22" y="54"/>
                  </a:lnTo>
                  <a:lnTo>
                    <a:pt x="10" y="52"/>
                  </a:lnTo>
                  <a:lnTo>
                    <a:pt x="6" y="50"/>
                  </a:lnTo>
                  <a:lnTo>
                    <a:pt x="4" y="46"/>
                  </a:lnTo>
                  <a:lnTo>
                    <a:pt x="2" y="42"/>
                  </a:lnTo>
                  <a:lnTo>
                    <a:pt x="0" y="38"/>
                  </a:lnTo>
                  <a:lnTo>
                    <a:pt x="2" y="36"/>
                  </a:lnTo>
                  <a:lnTo>
                    <a:pt x="6" y="32"/>
                  </a:lnTo>
                  <a:lnTo>
                    <a:pt x="24" y="26"/>
                  </a:lnTo>
                  <a:lnTo>
                    <a:pt x="42" y="24"/>
                  </a:lnTo>
                  <a:lnTo>
                    <a:pt x="58" y="22"/>
                  </a:lnTo>
                  <a:lnTo>
                    <a:pt x="78" y="26"/>
                  </a:lnTo>
                  <a:lnTo>
                    <a:pt x="88" y="32"/>
                  </a:lnTo>
                  <a:lnTo>
                    <a:pt x="96" y="36"/>
                  </a:lnTo>
                  <a:lnTo>
                    <a:pt x="98" y="36"/>
                  </a:lnTo>
                  <a:lnTo>
                    <a:pt x="104" y="36"/>
                  </a:lnTo>
                  <a:lnTo>
                    <a:pt x="104" y="34"/>
                  </a:lnTo>
                  <a:lnTo>
                    <a:pt x="108" y="30"/>
                  </a:lnTo>
                  <a:lnTo>
                    <a:pt x="112" y="28"/>
                  </a:lnTo>
                  <a:lnTo>
                    <a:pt x="116" y="26"/>
                  </a:lnTo>
                  <a:lnTo>
                    <a:pt x="126" y="28"/>
                  </a:lnTo>
                  <a:lnTo>
                    <a:pt x="132" y="32"/>
                  </a:lnTo>
                  <a:lnTo>
                    <a:pt x="136" y="36"/>
                  </a:lnTo>
                  <a:lnTo>
                    <a:pt x="142" y="36"/>
                  </a:lnTo>
                  <a:lnTo>
                    <a:pt x="142" y="32"/>
                  </a:lnTo>
                  <a:lnTo>
                    <a:pt x="140" y="30"/>
                  </a:lnTo>
                  <a:lnTo>
                    <a:pt x="130" y="24"/>
                  </a:lnTo>
                  <a:lnTo>
                    <a:pt x="120" y="24"/>
                  </a:lnTo>
                  <a:lnTo>
                    <a:pt x="114" y="24"/>
                  </a:lnTo>
                  <a:lnTo>
                    <a:pt x="98" y="24"/>
                  </a:lnTo>
                  <a:lnTo>
                    <a:pt x="86" y="24"/>
                  </a:lnTo>
                  <a:lnTo>
                    <a:pt x="82" y="24"/>
                  </a:lnTo>
                  <a:lnTo>
                    <a:pt x="80" y="22"/>
                  </a:lnTo>
                  <a:lnTo>
                    <a:pt x="78" y="20"/>
                  </a:lnTo>
                  <a:lnTo>
                    <a:pt x="80" y="14"/>
                  </a:lnTo>
                  <a:lnTo>
                    <a:pt x="84" y="12"/>
                  </a:lnTo>
                  <a:lnTo>
                    <a:pt x="92" y="12"/>
                  </a:lnTo>
                  <a:lnTo>
                    <a:pt x="126" y="12"/>
                  </a:lnTo>
                  <a:lnTo>
                    <a:pt x="134" y="10"/>
                  </a:lnTo>
                  <a:lnTo>
                    <a:pt x="142" y="8"/>
                  </a:lnTo>
                  <a:lnTo>
                    <a:pt x="148" y="8"/>
                  </a:lnTo>
                  <a:lnTo>
                    <a:pt x="158" y="8"/>
                  </a:lnTo>
                  <a:lnTo>
                    <a:pt x="164" y="8"/>
                  </a:lnTo>
                  <a:lnTo>
                    <a:pt x="168" y="8"/>
                  </a:lnTo>
                  <a:lnTo>
                    <a:pt x="168" y="10"/>
                  </a:lnTo>
                  <a:lnTo>
                    <a:pt x="172" y="10"/>
                  </a:lnTo>
                  <a:lnTo>
                    <a:pt x="188" y="8"/>
                  </a:lnTo>
                  <a:lnTo>
                    <a:pt x="202" y="4"/>
                  </a:lnTo>
                  <a:lnTo>
                    <a:pt x="226" y="2"/>
                  </a:lnTo>
                  <a:lnTo>
                    <a:pt x="252" y="0"/>
                  </a:lnTo>
                  <a:lnTo>
                    <a:pt x="306" y="2"/>
                  </a:lnTo>
                  <a:lnTo>
                    <a:pt x="328" y="2"/>
                  </a:lnTo>
                  <a:lnTo>
                    <a:pt x="346" y="2"/>
                  </a:lnTo>
                  <a:lnTo>
                    <a:pt x="364" y="6"/>
                  </a:lnTo>
                  <a:lnTo>
                    <a:pt x="382" y="10"/>
                  </a:lnTo>
                  <a:lnTo>
                    <a:pt x="368" y="16"/>
                  </a:lnTo>
                  <a:lnTo>
                    <a:pt x="352" y="22"/>
                  </a:lnTo>
                  <a:lnTo>
                    <a:pt x="332" y="24"/>
                  </a:lnTo>
                  <a:lnTo>
                    <a:pt x="324" y="24"/>
                  </a:lnTo>
                  <a:lnTo>
                    <a:pt x="316" y="24"/>
                  </a:lnTo>
                  <a:lnTo>
                    <a:pt x="304" y="24"/>
                  </a:lnTo>
                  <a:lnTo>
                    <a:pt x="310" y="24"/>
                  </a:lnTo>
                  <a:lnTo>
                    <a:pt x="318" y="24"/>
                  </a:lnTo>
                  <a:lnTo>
                    <a:pt x="310" y="26"/>
                  </a:lnTo>
                  <a:lnTo>
                    <a:pt x="302" y="26"/>
                  </a:lnTo>
                  <a:lnTo>
                    <a:pt x="282" y="26"/>
                  </a:lnTo>
                  <a:lnTo>
                    <a:pt x="272" y="28"/>
                  </a:lnTo>
                  <a:lnTo>
                    <a:pt x="262" y="32"/>
                  </a:lnTo>
                  <a:lnTo>
                    <a:pt x="250" y="36"/>
                  </a:lnTo>
                  <a:lnTo>
                    <a:pt x="240" y="36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0" y="36"/>
                  </a:lnTo>
                  <a:lnTo>
                    <a:pt x="208" y="40"/>
                  </a:lnTo>
                  <a:lnTo>
                    <a:pt x="206" y="44"/>
                  </a:lnTo>
                  <a:lnTo>
                    <a:pt x="196" y="52"/>
                  </a:lnTo>
                  <a:lnTo>
                    <a:pt x="184" y="58"/>
                  </a:lnTo>
                  <a:lnTo>
                    <a:pt x="174" y="60"/>
                  </a:lnTo>
                  <a:close/>
                </a:path>
              </a:pathLst>
            </a:custGeom>
            <a:grpFill/>
            <a:ln w="6350" cmpd="sng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78E87CDD-0750-4A46-AF66-677D9B0CB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8530" y="1825421"/>
              <a:ext cx="561012" cy="339114"/>
            </a:xfrm>
            <a:custGeom>
              <a:avLst/>
              <a:gdLst/>
              <a:ahLst/>
              <a:cxnLst>
                <a:cxn ang="0">
                  <a:pos x="122" y="10"/>
                </a:cxn>
                <a:cxn ang="0">
                  <a:pos x="132" y="2"/>
                </a:cxn>
                <a:cxn ang="0">
                  <a:pos x="158" y="4"/>
                </a:cxn>
                <a:cxn ang="0">
                  <a:pos x="172" y="14"/>
                </a:cxn>
                <a:cxn ang="0">
                  <a:pos x="172" y="20"/>
                </a:cxn>
                <a:cxn ang="0">
                  <a:pos x="184" y="28"/>
                </a:cxn>
                <a:cxn ang="0">
                  <a:pos x="196" y="34"/>
                </a:cxn>
                <a:cxn ang="0">
                  <a:pos x="212" y="36"/>
                </a:cxn>
                <a:cxn ang="0">
                  <a:pos x="236" y="64"/>
                </a:cxn>
                <a:cxn ang="0">
                  <a:pos x="218" y="74"/>
                </a:cxn>
                <a:cxn ang="0">
                  <a:pos x="234" y="82"/>
                </a:cxn>
                <a:cxn ang="0">
                  <a:pos x="258" y="98"/>
                </a:cxn>
                <a:cxn ang="0">
                  <a:pos x="268" y="106"/>
                </a:cxn>
                <a:cxn ang="0">
                  <a:pos x="280" y="108"/>
                </a:cxn>
                <a:cxn ang="0">
                  <a:pos x="276" y="114"/>
                </a:cxn>
                <a:cxn ang="0">
                  <a:pos x="262" y="124"/>
                </a:cxn>
                <a:cxn ang="0">
                  <a:pos x="246" y="134"/>
                </a:cxn>
                <a:cxn ang="0">
                  <a:pos x="232" y="134"/>
                </a:cxn>
                <a:cxn ang="0">
                  <a:pos x="228" y="120"/>
                </a:cxn>
                <a:cxn ang="0">
                  <a:pos x="212" y="118"/>
                </a:cxn>
                <a:cxn ang="0">
                  <a:pos x="198" y="122"/>
                </a:cxn>
                <a:cxn ang="0">
                  <a:pos x="206" y="130"/>
                </a:cxn>
                <a:cxn ang="0">
                  <a:pos x="220" y="144"/>
                </a:cxn>
                <a:cxn ang="0">
                  <a:pos x="218" y="164"/>
                </a:cxn>
                <a:cxn ang="0">
                  <a:pos x="220" y="178"/>
                </a:cxn>
                <a:cxn ang="0">
                  <a:pos x="196" y="166"/>
                </a:cxn>
                <a:cxn ang="0">
                  <a:pos x="188" y="160"/>
                </a:cxn>
                <a:cxn ang="0">
                  <a:pos x="172" y="160"/>
                </a:cxn>
                <a:cxn ang="0">
                  <a:pos x="194" y="188"/>
                </a:cxn>
                <a:cxn ang="0">
                  <a:pos x="174" y="184"/>
                </a:cxn>
                <a:cxn ang="0">
                  <a:pos x="132" y="172"/>
                </a:cxn>
                <a:cxn ang="0">
                  <a:pos x="134" y="164"/>
                </a:cxn>
                <a:cxn ang="0">
                  <a:pos x="132" y="158"/>
                </a:cxn>
                <a:cxn ang="0">
                  <a:pos x="120" y="144"/>
                </a:cxn>
                <a:cxn ang="0">
                  <a:pos x="88" y="146"/>
                </a:cxn>
                <a:cxn ang="0">
                  <a:pos x="62" y="148"/>
                </a:cxn>
                <a:cxn ang="0">
                  <a:pos x="60" y="142"/>
                </a:cxn>
                <a:cxn ang="0">
                  <a:pos x="86" y="128"/>
                </a:cxn>
                <a:cxn ang="0">
                  <a:pos x="104" y="134"/>
                </a:cxn>
                <a:cxn ang="0">
                  <a:pos x="120" y="128"/>
                </a:cxn>
                <a:cxn ang="0">
                  <a:pos x="134" y="116"/>
                </a:cxn>
                <a:cxn ang="0">
                  <a:pos x="152" y="84"/>
                </a:cxn>
                <a:cxn ang="0">
                  <a:pos x="142" y="76"/>
                </a:cxn>
                <a:cxn ang="0">
                  <a:pos x="134" y="74"/>
                </a:cxn>
                <a:cxn ang="0">
                  <a:pos x="126" y="62"/>
                </a:cxn>
                <a:cxn ang="0">
                  <a:pos x="112" y="54"/>
                </a:cxn>
                <a:cxn ang="0">
                  <a:pos x="100" y="62"/>
                </a:cxn>
                <a:cxn ang="0">
                  <a:pos x="88" y="66"/>
                </a:cxn>
                <a:cxn ang="0">
                  <a:pos x="76" y="58"/>
                </a:cxn>
                <a:cxn ang="0">
                  <a:pos x="32" y="56"/>
                </a:cxn>
                <a:cxn ang="0">
                  <a:pos x="22" y="46"/>
                </a:cxn>
                <a:cxn ang="0">
                  <a:pos x="10" y="52"/>
                </a:cxn>
                <a:cxn ang="0">
                  <a:pos x="2" y="48"/>
                </a:cxn>
                <a:cxn ang="0">
                  <a:pos x="14" y="40"/>
                </a:cxn>
                <a:cxn ang="0">
                  <a:pos x="4" y="30"/>
                </a:cxn>
                <a:cxn ang="0">
                  <a:pos x="12" y="18"/>
                </a:cxn>
                <a:cxn ang="0">
                  <a:pos x="56" y="6"/>
                </a:cxn>
                <a:cxn ang="0">
                  <a:pos x="82" y="0"/>
                </a:cxn>
                <a:cxn ang="0">
                  <a:pos x="62" y="12"/>
                </a:cxn>
                <a:cxn ang="0">
                  <a:pos x="50" y="22"/>
                </a:cxn>
                <a:cxn ang="0">
                  <a:pos x="60" y="24"/>
                </a:cxn>
                <a:cxn ang="0">
                  <a:pos x="76" y="12"/>
                </a:cxn>
              </a:cxnLst>
              <a:rect l="0" t="0" r="r" b="b"/>
              <a:pathLst>
                <a:path w="284" h="190">
                  <a:moveTo>
                    <a:pt x="114" y="0"/>
                  </a:moveTo>
                  <a:lnTo>
                    <a:pt x="124" y="0"/>
                  </a:lnTo>
                  <a:lnTo>
                    <a:pt x="122" y="10"/>
                  </a:lnTo>
                  <a:lnTo>
                    <a:pt x="126" y="8"/>
                  </a:lnTo>
                  <a:lnTo>
                    <a:pt x="130" y="4"/>
                  </a:lnTo>
                  <a:lnTo>
                    <a:pt x="132" y="2"/>
                  </a:lnTo>
                  <a:lnTo>
                    <a:pt x="138" y="0"/>
                  </a:lnTo>
                  <a:lnTo>
                    <a:pt x="146" y="0"/>
                  </a:lnTo>
                  <a:lnTo>
                    <a:pt x="158" y="4"/>
                  </a:lnTo>
                  <a:lnTo>
                    <a:pt x="168" y="8"/>
                  </a:lnTo>
                  <a:lnTo>
                    <a:pt x="170" y="12"/>
                  </a:lnTo>
                  <a:lnTo>
                    <a:pt x="172" y="14"/>
                  </a:lnTo>
                  <a:lnTo>
                    <a:pt x="142" y="20"/>
                  </a:lnTo>
                  <a:lnTo>
                    <a:pt x="158" y="22"/>
                  </a:lnTo>
                  <a:lnTo>
                    <a:pt x="172" y="20"/>
                  </a:lnTo>
                  <a:lnTo>
                    <a:pt x="176" y="22"/>
                  </a:lnTo>
                  <a:lnTo>
                    <a:pt x="180" y="24"/>
                  </a:lnTo>
                  <a:lnTo>
                    <a:pt x="184" y="28"/>
                  </a:lnTo>
                  <a:lnTo>
                    <a:pt x="186" y="34"/>
                  </a:lnTo>
                  <a:lnTo>
                    <a:pt x="190" y="40"/>
                  </a:lnTo>
                  <a:lnTo>
                    <a:pt x="196" y="34"/>
                  </a:lnTo>
                  <a:lnTo>
                    <a:pt x="198" y="32"/>
                  </a:lnTo>
                  <a:lnTo>
                    <a:pt x="202" y="32"/>
                  </a:lnTo>
                  <a:lnTo>
                    <a:pt x="212" y="36"/>
                  </a:lnTo>
                  <a:lnTo>
                    <a:pt x="224" y="44"/>
                  </a:lnTo>
                  <a:lnTo>
                    <a:pt x="246" y="58"/>
                  </a:lnTo>
                  <a:lnTo>
                    <a:pt x="236" y="64"/>
                  </a:lnTo>
                  <a:lnTo>
                    <a:pt x="230" y="68"/>
                  </a:lnTo>
                  <a:lnTo>
                    <a:pt x="228" y="74"/>
                  </a:lnTo>
                  <a:lnTo>
                    <a:pt x="218" y="74"/>
                  </a:lnTo>
                  <a:lnTo>
                    <a:pt x="218" y="80"/>
                  </a:lnTo>
                  <a:lnTo>
                    <a:pt x="224" y="80"/>
                  </a:lnTo>
                  <a:lnTo>
                    <a:pt x="234" y="82"/>
                  </a:lnTo>
                  <a:lnTo>
                    <a:pt x="246" y="86"/>
                  </a:lnTo>
                  <a:lnTo>
                    <a:pt x="256" y="94"/>
                  </a:lnTo>
                  <a:lnTo>
                    <a:pt x="258" y="98"/>
                  </a:lnTo>
                  <a:lnTo>
                    <a:pt x="258" y="102"/>
                  </a:lnTo>
                  <a:lnTo>
                    <a:pt x="264" y="104"/>
                  </a:lnTo>
                  <a:lnTo>
                    <a:pt x="268" y="106"/>
                  </a:lnTo>
                  <a:lnTo>
                    <a:pt x="272" y="108"/>
                  </a:lnTo>
                  <a:lnTo>
                    <a:pt x="276" y="108"/>
                  </a:lnTo>
                  <a:lnTo>
                    <a:pt x="280" y="108"/>
                  </a:lnTo>
                  <a:lnTo>
                    <a:pt x="284" y="106"/>
                  </a:lnTo>
                  <a:lnTo>
                    <a:pt x="284" y="112"/>
                  </a:lnTo>
                  <a:lnTo>
                    <a:pt x="276" y="114"/>
                  </a:lnTo>
                  <a:lnTo>
                    <a:pt x="268" y="116"/>
                  </a:lnTo>
                  <a:lnTo>
                    <a:pt x="268" y="126"/>
                  </a:lnTo>
                  <a:lnTo>
                    <a:pt x="262" y="124"/>
                  </a:lnTo>
                  <a:lnTo>
                    <a:pt x="258" y="122"/>
                  </a:lnTo>
                  <a:lnTo>
                    <a:pt x="252" y="130"/>
                  </a:lnTo>
                  <a:lnTo>
                    <a:pt x="246" y="134"/>
                  </a:lnTo>
                  <a:lnTo>
                    <a:pt x="242" y="136"/>
                  </a:lnTo>
                  <a:lnTo>
                    <a:pt x="236" y="136"/>
                  </a:lnTo>
                  <a:lnTo>
                    <a:pt x="232" y="134"/>
                  </a:lnTo>
                  <a:lnTo>
                    <a:pt x="230" y="130"/>
                  </a:lnTo>
                  <a:lnTo>
                    <a:pt x="228" y="128"/>
                  </a:lnTo>
                  <a:lnTo>
                    <a:pt x="228" y="120"/>
                  </a:lnTo>
                  <a:lnTo>
                    <a:pt x="224" y="112"/>
                  </a:lnTo>
                  <a:lnTo>
                    <a:pt x="210" y="112"/>
                  </a:lnTo>
                  <a:lnTo>
                    <a:pt x="212" y="118"/>
                  </a:lnTo>
                  <a:lnTo>
                    <a:pt x="208" y="120"/>
                  </a:lnTo>
                  <a:lnTo>
                    <a:pt x="204" y="120"/>
                  </a:lnTo>
                  <a:lnTo>
                    <a:pt x="198" y="122"/>
                  </a:lnTo>
                  <a:lnTo>
                    <a:pt x="198" y="124"/>
                  </a:lnTo>
                  <a:lnTo>
                    <a:pt x="200" y="128"/>
                  </a:lnTo>
                  <a:lnTo>
                    <a:pt x="206" y="130"/>
                  </a:lnTo>
                  <a:lnTo>
                    <a:pt x="206" y="138"/>
                  </a:lnTo>
                  <a:lnTo>
                    <a:pt x="214" y="140"/>
                  </a:lnTo>
                  <a:lnTo>
                    <a:pt x="220" y="144"/>
                  </a:lnTo>
                  <a:lnTo>
                    <a:pt x="222" y="152"/>
                  </a:lnTo>
                  <a:lnTo>
                    <a:pt x="220" y="158"/>
                  </a:lnTo>
                  <a:lnTo>
                    <a:pt x="218" y="164"/>
                  </a:lnTo>
                  <a:lnTo>
                    <a:pt x="218" y="168"/>
                  </a:lnTo>
                  <a:lnTo>
                    <a:pt x="216" y="172"/>
                  </a:lnTo>
                  <a:lnTo>
                    <a:pt x="220" y="178"/>
                  </a:lnTo>
                  <a:lnTo>
                    <a:pt x="212" y="176"/>
                  </a:lnTo>
                  <a:lnTo>
                    <a:pt x="202" y="172"/>
                  </a:lnTo>
                  <a:lnTo>
                    <a:pt x="196" y="166"/>
                  </a:lnTo>
                  <a:lnTo>
                    <a:pt x="192" y="164"/>
                  </a:lnTo>
                  <a:lnTo>
                    <a:pt x="192" y="162"/>
                  </a:lnTo>
                  <a:lnTo>
                    <a:pt x="188" y="160"/>
                  </a:lnTo>
                  <a:lnTo>
                    <a:pt x="182" y="158"/>
                  </a:lnTo>
                  <a:lnTo>
                    <a:pt x="170" y="158"/>
                  </a:lnTo>
                  <a:lnTo>
                    <a:pt x="172" y="160"/>
                  </a:lnTo>
                  <a:lnTo>
                    <a:pt x="180" y="168"/>
                  </a:lnTo>
                  <a:lnTo>
                    <a:pt x="196" y="182"/>
                  </a:lnTo>
                  <a:lnTo>
                    <a:pt x="194" y="188"/>
                  </a:lnTo>
                  <a:lnTo>
                    <a:pt x="190" y="190"/>
                  </a:lnTo>
                  <a:lnTo>
                    <a:pt x="184" y="188"/>
                  </a:lnTo>
                  <a:lnTo>
                    <a:pt x="174" y="184"/>
                  </a:lnTo>
                  <a:lnTo>
                    <a:pt x="160" y="176"/>
                  </a:lnTo>
                  <a:lnTo>
                    <a:pt x="134" y="176"/>
                  </a:lnTo>
                  <a:lnTo>
                    <a:pt x="132" y="172"/>
                  </a:lnTo>
                  <a:lnTo>
                    <a:pt x="134" y="170"/>
                  </a:lnTo>
                  <a:lnTo>
                    <a:pt x="134" y="168"/>
                  </a:lnTo>
                  <a:lnTo>
                    <a:pt x="134" y="164"/>
                  </a:lnTo>
                  <a:lnTo>
                    <a:pt x="134" y="160"/>
                  </a:lnTo>
                  <a:lnTo>
                    <a:pt x="134" y="158"/>
                  </a:lnTo>
                  <a:lnTo>
                    <a:pt x="132" y="158"/>
                  </a:lnTo>
                  <a:lnTo>
                    <a:pt x="124" y="152"/>
                  </a:lnTo>
                  <a:lnTo>
                    <a:pt x="120" y="148"/>
                  </a:lnTo>
                  <a:lnTo>
                    <a:pt x="120" y="144"/>
                  </a:lnTo>
                  <a:lnTo>
                    <a:pt x="102" y="144"/>
                  </a:lnTo>
                  <a:lnTo>
                    <a:pt x="94" y="144"/>
                  </a:lnTo>
                  <a:lnTo>
                    <a:pt x="88" y="146"/>
                  </a:lnTo>
                  <a:lnTo>
                    <a:pt x="78" y="148"/>
                  </a:lnTo>
                  <a:lnTo>
                    <a:pt x="70" y="150"/>
                  </a:lnTo>
                  <a:lnTo>
                    <a:pt x="62" y="148"/>
                  </a:lnTo>
                  <a:lnTo>
                    <a:pt x="60" y="146"/>
                  </a:lnTo>
                  <a:lnTo>
                    <a:pt x="60" y="144"/>
                  </a:lnTo>
                  <a:lnTo>
                    <a:pt x="60" y="142"/>
                  </a:lnTo>
                  <a:lnTo>
                    <a:pt x="62" y="138"/>
                  </a:lnTo>
                  <a:lnTo>
                    <a:pt x="70" y="136"/>
                  </a:lnTo>
                  <a:lnTo>
                    <a:pt x="86" y="128"/>
                  </a:lnTo>
                  <a:lnTo>
                    <a:pt x="88" y="132"/>
                  </a:lnTo>
                  <a:lnTo>
                    <a:pt x="92" y="134"/>
                  </a:lnTo>
                  <a:lnTo>
                    <a:pt x="104" y="134"/>
                  </a:lnTo>
                  <a:lnTo>
                    <a:pt x="114" y="132"/>
                  </a:lnTo>
                  <a:lnTo>
                    <a:pt x="116" y="130"/>
                  </a:lnTo>
                  <a:lnTo>
                    <a:pt x="120" y="128"/>
                  </a:lnTo>
                  <a:lnTo>
                    <a:pt x="122" y="126"/>
                  </a:lnTo>
                  <a:lnTo>
                    <a:pt x="122" y="120"/>
                  </a:lnTo>
                  <a:lnTo>
                    <a:pt x="134" y="116"/>
                  </a:lnTo>
                  <a:lnTo>
                    <a:pt x="142" y="112"/>
                  </a:lnTo>
                  <a:lnTo>
                    <a:pt x="162" y="98"/>
                  </a:lnTo>
                  <a:lnTo>
                    <a:pt x="152" y="84"/>
                  </a:lnTo>
                  <a:lnTo>
                    <a:pt x="148" y="82"/>
                  </a:lnTo>
                  <a:lnTo>
                    <a:pt x="142" y="80"/>
                  </a:lnTo>
                  <a:lnTo>
                    <a:pt x="142" y="76"/>
                  </a:lnTo>
                  <a:lnTo>
                    <a:pt x="128" y="76"/>
                  </a:lnTo>
                  <a:lnTo>
                    <a:pt x="130" y="74"/>
                  </a:lnTo>
                  <a:lnTo>
                    <a:pt x="134" y="74"/>
                  </a:lnTo>
                  <a:lnTo>
                    <a:pt x="134" y="66"/>
                  </a:lnTo>
                  <a:lnTo>
                    <a:pt x="130" y="64"/>
                  </a:lnTo>
                  <a:lnTo>
                    <a:pt x="126" y="62"/>
                  </a:lnTo>
                  <a:lnTo>
                    <a:pt x="118" y="56"/>
                  </a:lnTo>
                  <a:lnTo>
                    <a:pt x="114" y="54"/>
                  </a:lnTo>
                  <a:lnTo>
                    <a:pt x="112" y="54"/>
                  </a:lnTo>
                  <a:lnTo>
                    <a:pt x="110" y="56"/>
                  </a:lnTo>
                  <a:lnTo>
                    <a:pt x="104" y="58"/>
                  </a:lnTo>
                  <a:lnTo>
                    <a:pt x="100" y="62"/>
                  </a:lnTo>
                  <a:lnTo>
                    <a:pt x="96" y="64"/>
                  </a:lnTo>
                  <a:lnTo>
                    <a:pt x="92" y="66"/>
                  </a:lnTo>
                  <a:lnTo>
                    <a:pt x="88" y="66"/>
                  </a:lnTo>
                  <a:lnTo>
                    <a:pt x="88" y="64"/>
                  </a:lnTo>
                  <a:lnTo>
                    <a:pt x="88" y="56"/>
                  </a:lnTo>
                  <a:lnTo>
                    <a:pt x="76" y="58"/>
                  </a:lnTo>
                  <a:lnTo>
                    <a:pt x="64" y="58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26" y="54"/>
                  </a:lnTo>
                  <a:lnTo>
                    <a:pt x="24" y="52"/>
                  </a:lnTo>
                  <a:lnTo>
                    <a:pt x="22" y="46"/>
                  </a:lnTo>
                  <a:lnTo>
                    <a:pt x="18" y="48"/>
                  </a:lnTo>
                  <a:lnTo>
                    <a:pt x="14" y="50"/>
                  </a:lnTo>
                  <a:lnTo>
                    <a:pt x="10" y="52"/>
                  </a:lnTo>
                  <a:lnTo>
                    <a:pt x="6" y="52"/>
                  </a:lnTo>
                  <a:lnTo>
                    <a:pt x="4" y="52"/>
                  </a:lnTo>
                  <a:lnTo>
                    <a:pt x="2" y="48"/>
                  </a:lnTo>
                  <a:lnTo>
                    <a:pt x="0" y="44"/>
                  </a:lnTo>
                  <a:lnTo>
                    <a:pt x="6" y="40"/>
                  </a:lnTo>
                  <a:lnTo>
                    <a:pt x="14" y="40"/>
                  </a:lnTo>
                  <a:lnTo>
                    <a:pt x="6" y="36"/>
                  </a:lnTo>
                  <a:lnTo>
                    <a:pt x="4" y="34"/>
                  </a:lnTo>
                  <a:lnTo>
                    <a:pt x="4" y="30"/>
                  </a:lnTo>
                  <a:lnTo>
                    <a:pt x="4" y="28"/>
                  </a:lnTo>
                  <a:lnTo>
                    <a:pt x="6" y="24"/>
                  </a:lnTo>
                  <a:lnTo>
                    <a:pt x="12" y="18"/>
                  </a:lnTo>
                  <a:lnTo>
                    <a:pt x="22" y="14"/>
                  </a:lnTo>
                  <a:lnTo>
                    <a:pt x="32" y="10"/>
                  </a:lnTo>
                  <a:lnTo>
                    <a:pt x="56" y="6"/>
                  </a:lnTo>
                  <a:lnTo>
                    <a:pt x="64" y="4"/>
                  </a:lnTo>
                  <a:lnTo>
                    <a:pt x="72" y="0"/>
                  </a:lnTo>
                  <a:lnTo>
                    <a:pt x="82" y="0"/>
                  </a:lnTo>
                  <a:lnTo>
                    <a:pt x="78" y="6"/>
                  </a:lnTo>
                  <a:lnTo>
                    <a:pt x="72" y="8"/>
                  </a:lnTo>
                  <a:lnTo>
                    <a:pt x="62" y="12"/>
                  </a:lnTo>
                  <a:lnTo>
                    <a:pt x="58" y="16"/>
                  </a:lnTo>
                  <a:lnTo>
                    <a:pt x="54" y="18"/>
                  </a:lnTo>
                  <a:lnTo>
                    <a:pt x="50" y="22"/>
                  </a:lnTo>
                  <a:lnTo>
                    <a:pt x="48" y="28"/>
                  </a:lnTo>
                  <a:lnTo>
                    <a:pt x="56" y="28"/>
                  </a:lnTo>
                  <a:lnTo>
                    <a:pt x="60" y="24"/>
                  </a:lnTo>
                  <a:lnTo>
                    <a:pt x="64" y="18"/>
                  </a:lnTo>
                  <a:lnTo>
                    <a:pt x="70" y="14"/>
                  </a:lnTo>
                  <a:lnTo>
                    <a:pt x="76" y="12"/>
                  </a:lnTo>
                  <a:lnTo>
                    <a:pt x="94" y="6"/>
                  </a:lnTo>
                  <a:lnTo>
                    <a:pt x="114" y="0"/>
                  </a:lnTo>
                  <a:close/>
                </a:path>
              </a:pathLst>
            </a:custGeom>
            <a:grpFill/>
            <a:ln w="6350" cmpd="sng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060B280A-FCE0-4487-AA46-8B0F0E94F7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3971" y="1971775"/>
              <a:ext cx="63213" cy="32127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28" y="0"/>
                </a:cxn>
                <a:cxn ang="0">
                  <a:pos x="30" y="0"/>
                </a:cxn>
                <a:cxn ang="0">
                  <a:pos x="32" y="2"/>
                </a:cxn>
                <a:cxn ang="0">
                  <a:pos x="30" y="6"/>
                </a:cxn>
                <a:cxn ang="0">
                  <a:pos x="28" y="10"/>
                </a:cxn>
                <a:cxn ang="0">
                  <a:pos x="22" y="14"/>
                </a:cxn>
                <a:cxn ang="0">
                  <a:pos x="14" y="18"/>
                </a:cxn>
                <a:cxn ang="0">
                  <a:pos x="6" y="18"/>
                </a:cxn>
                <a:cxn ang="0">
                  <a:pos x="2" y="16"/>
                </a:cxn>
                <a:cxn ang="0">
                  <a:pos x="0" y="14"/>
                </a:cxn>
                <a:cxn ang="0">
                  <a:pos x="2" y="10"/>
                </a:cxn>
                <a:cxn ang="0">
                  <a:pos x="8" y="6"/>
                </a:cxn>
                <a:cxn ang="0">
                  <a:pos x="12" y="2"/>
                </a:cxn>
                <a:cxn ang="0">
                  <a:pos x="18" y="2"/>
                </a:cxn>
                <a:cxn ang="0">
                  <a:pos x="18" y="0"/>
                </a:cxn>
                <a:cxn ang="0">
                  <a:pos x="16" y="2"/>
                </a:cxn>
              </a:cxnLst>
              <a:rect l="0" t="0" r="r" b="b"/>
              <a:pathLst>
                <a:path w="32" h="18">
                  <a:moveTo>
                    <a:pt x="16" y="2"/>
                  </a:moveTo>
                  <a:lnTo>
                    <a:pt x="28" y="0"/>
                  </a:lnTo>
                  <a:lnTo>
                    <a:pt x="30" y="0"/>
                  </a:lnTo>
                  <a:lnTo>
                    <a:pt x="32" y="2"/>
                  </a:lnTo>
                  <a:lnTo>
                    <a:pt x="30" y="6"/>
                  </a:lnTo>
                  <a:lnTo>
                    <a:pt x="28" y="10"/>
                  </a:lnTo>
                  <a:lnTo>
                    <a:pt x="22" y="14"/>
                  </a:lnTo>
                  <a:lnTo>
                    <a:pt x="14" y="18"/>
                  </a:lnTo>
                  <a:lnTo>
                    <a:pt x="6" y="18"/>
                  </a:lnTo>
                  <a:lnTo>
                    <a:pt x="2" y="16"/>
                  </a:lnTo>
                  <a:lnTo>
                    <a:pt x="0" y="14"/>
                  </a:lnTo>
                  <a:lnTo>
                    <a:pt x="2" y="10"/>
                  </a:lnTo>
                  <a:lnTo>
                    <a:pt x="8" y="6"/>
                  </a:lnTo>
                  <a:lnTo>
                    <a:pt x="12" y="2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6" y="2"/>
                  </a:lnTo>
                  <a:close/>
                </a:path>
              </a:pathLst>
            </a:custGeom>
            <a:grpFill/>
            <a:ln w="6350" cmpd="sng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8" name="Freeform 47">
            <a:extLst>
              <a:ext uri="{FF2B5EF4-FFF2-40B4-BE49-F238E27FC236}">
                <a16:creationId xmlns:a16="http://schemas.microsoft.com/office/drawing/2014/main" id="{11354E9F-B496-4CBF-9118-67EE6A3287CB}"/>
              </a:ext>
            </a:extLst>
          </p:cNvPr>
          <p:cNvSpPr>
            <a:spLocks/>
          </p:cNvSpPr>
          <p:nvPr/>
        </p:nvSpPr>
        <p:spPr bwMode="auto">
          <a:xfrm>
            <a:off x="739030" y="2250361"/>
            <a:ext cx="1722222" cy="774390"/>
          </a:xfrm>
          <a:custGeom>
            <a:avLst/>
            <a:gdLst/>
            <a:ahLst/>
            <a:cxnLst>
              <a:cxn ang="0">
                <a:pos x="14" y="260"/>
              </a:cxn>
              <a:cxn ang="0">
                <a:pos x="66" y="298"/>
              </a:cxn>
              <a:cxn ang="0">
                <a:pos x="198" y="318"/>
              </a:cxn>
              <a:cxn ang="0">
                <a:pos x="226" y="360"/>
              </a:cxn>
              <a:cxn ang="0">
                <a:pos x="256" y="354"/>
              </a:cxn>
              <a:cxn ang="0">
                <a:pos x="288" y="408"/>
              </a:cxn>
              <a:cxn ang="0">
                <a:pos x="322" y="402"/>
              </a:cxn>
              <a:cxn ang="0">
                <a:pos x="350" y="370"/>
              </a:cxn>
              <a:cxn ang="0">
                <a:pos x="384" y="354"/>
              </a:cxn>
              <a:cxn ang="0">
                <a:pos x="408" y="352"/>
              </a:cxn>
              <a:cxn ang="0">
                <a:pos x="444" y="358"/>
              </a:cxn>
              <a:cxn ang="0">
                <a:pos x="462" y="358"/>
              </a:cxn>
              <a:cxn ang="0">
                <a:pos x="490" y="338"/>
              </a:cxn>
              <a:cxn ang="0">
                <a:pos x="524" y="348"/>
              </a:cxn>
              <a:cxn ang="0">
                <a:pos x="552" y="354"/>
              </a:cxn>
              <a:cxn ang="0">
                <a:pos x="556" y="376"/>
              </a:cxn>
              <a:cxn ang="0">
                <a:pos x="564" y="408"/>
              </a:cxn>
              <a:cxn ang="0">
                <a:pos x="584" y="428"/>
              </a:cxn>
              <a:cxn ang="0">
                <a:pos x="588" y="370"/>
              </a:cxn>
              <a:cxn ang="0">
                <a:pos x="608" y="300"/>
              </a:cxn>
              <a:cxn ang="0">
                <a:pos x="634" y="276"/>
              </a:cxn>
              <a:cxn ang="0">
                <a:pos x="658" y="264"/>
              </a:cxn>
              <a:cxn ang="0">
                <a:pos x="688" y="244"/>
              </a:cxn>
              <a:cxn ang="0">
                <a:pos x="694" y="222"/>
              </a:cxn>
              <a:cxn ang="0">
                <a:pos x="694" y="208"/>
              </a:cxn>
              <a:cxn ang="0">
                <a:pos x="706" y="192"/>
              </a:cxn>
              <a:cxn ang="0">
                <a:pos x="718" y="174"/>
              </a:cxn>
              <a:cxn ang="0">
                <a:pos x="740" y="164"/>
              </a:cxn>
              <a:cxn ang="0">
                <a:pos x="770" y="142"/>
              </a:cxn>
              <a:cxn ang="0">
                <a:pos x="792" y="130"/>
              </a:cxn>
              <a:cxn ang="0">
                <a:pos x="800" y="128"/>
              </a:cxn>
              <a:cxn ang="0">
                <a:pos x="808" y="98"/>
              </a:cxn>
              <a:cxn ang="0">
                <a:pos x="864" y="50"/>
              </a:cxn>
              <a:cxn ang="0">
                <a:pos x="824" y="58"/>
              </a:cxn>
              <a:cxn ang="0">
                <a:pos x="750" y="80"/>
              </a:cxn>
              <a:cxn ang="0">
                <a:pos x="694" y="100"/>
              </a:cxn>
              <a:cxn ang="0">
                <a:pos x="642" y="134"/>
              </a:cxn>
              <a:cxn ang="0">
                <a:pos x="630" y="118"/>
              </a:cxn>
              <a:cxn ang="0">
                <a:pos x="636" y="94"/>
              </a:cxn>
              <a:cxn ang="0">
                <a:pos x="634" y="80"/>
              </a:cxn>
              <a:cxn ang="0">
                <a:pos x="610" y="72"/>
              </a:cxn>
              <a:cxn ang="0">
                <a:pos x="576" y="122"/>
              </a:cxn>
              <a:cxn ang="0">
                <a:pos x="552" y="122"/>
              </a:cxn>
              <a:cxn ang="0">
                <a:pos x="584" y="66"/>
              </a:cxn>
              <a:cxn ang="0">
                <a:pos x="626" y="50"/>
              </a:cxn>
              <a:cxn ang="0">
                <a:pos x="590" y="36"/>
              </a:cxn>
              <a:cxn ang="0">
                <a:pos x="540" y="42"/>
              </a:cxn>
              <a:cxn ang="0">
                <a:pos x="562" y="22"/>
              </a:cxn>
              <a:cxn ang="0">
                <a:pos x="516" y="12"/>
              </a:cxn>
              <a:cxn ang="0">
                <a:pos x="104" y="22"/>
              </a:cxn>
              <a:cxn ang="0">
                <a:pos x="64" y="52"/>
              </a:cxn>
              <a:cxn ang="0">
                <a:pos x="12" y="136"/>
              </a:cxn>
              <a:cxn ang="0">
                <a:pos x="0" y="174"/>
              </a:cxn>
              <a:cxn ang="0">
                <a:pos x="10" y="196"/>
              </a:cxn>
              <a:cxn ang="0">
                <a:pos x="4" y="216"/>
              </a:cxn>
            </a:cxnLst>
            <a:rect l="0" t="0" r="r" b="b"/>
            <a:pathLst>
              <a:path w="872" h="434">
                <a:moveTo>
                  <a:pt x="4" y="226"/>
                </a:moveTo>
                <a:lnTo>
                  <a:pt x="4" y="228"/>
                </a:lnTo>
                <a:lnTo>
                  <a:pt x="4" y="230"/>
                </a:lnTo>
                <a:lnTo>
                  <a:pt x="2" y="236"/>
                </a:lnTo>
                <a:lnTo>
                  <a:pt x="4" y="244"/>
                </a:lnTo>
                <a:lnTo>
                  <a:pt x="6" y="254"/>
                </a:lnTo>
                <a:lnTo>
                  <a:pt x="14" y="260"/>
                </a:lnTo>
                <a:lnTo>
                  <a:pt x="26" y="264"/>
                </a:lnTo>
                <a:lnTo>
                  <a:pt x="30" y="266"/>
                </a:lnTo>
                <a:lnTo>
                  <a:pt x="32" y="268"/>
                </a:lnTo>
                <a:lnTo>
                  <a:pt x="40" y="278"/>
                </a:lnTo>
                <a:lnTo>
                  <a:pt x="44" y="290"/>
                </a:lnTo>
                <a:lnTo>
                  <a:pt x="46" y="300"/>
                </a:lnTo>
                <a:lnTo>
                  <a:pt x="66" y="298"/>
                </a:lnTo>
                <a:lnTo>
                  <a:pt x="74" y="298"/>
                </a:lnTo>
                <a:lnTo>
                  <a:pt x="80" y="300"/>
                </a:lnTo>
                <a:lnTo>
                  <a:pt x="124" y="326"/>
                </a:lnTo>
                <a:lnTo>
                  <a:pt x="174" y="326"/>
                </a:lnTo>
                <a:lnTo>
                  <a:pt x="178" y="316"/>
                </a:lnTo>
                <a:lnTo>
                  <a:pt x="194" y="318"/>
                </a:lnTo>
                <a:lnTo>
                  <a:pt x="198" y="318"/>
                </a:lnTo>
                <a:lnTo>
                  <a:pt x="204" y="316"/>
                </a:lnTo>
                <a:lnTo>
                  <a:pt x="206" y="324"/>
                </a:lnTo>
                <a:lnTo>
                  <a:pt x="212" y="328"/>
                </a:lnTo>
                <a:lnTo>
                  <a:pt x="216" y="332"/>
                </a:lnTo>
                <a:lnTo>
                  <a:pt x="220" y="336"/>
                </a:lnTo>
                <a:lnTo>
                  <a:pt x="224" y="356"/>
                </a:lnTo>
                <a:lnTo>
                  <a:pt x="226" y="360"/>
                </a:lnTo>
                <a:lnTo>
                  <a:pt x="230" y="364"/>
                </a:lnTo>
                <a:lnTo>
                  <a:pt x="234" y="366"/>
                </a:lnTo>
                <a:lnTo>
                  <a:pt x="238" y="366"/>
                </a:lnTo>
                <a:lnTo>
                  <a:pt x="244" y="364"/>
                </a:lnTo>
                <a:lnTo>
                  <a:pt x="250" y="360"/>
                </a:lnTo>
                <a:lnTo>
                  <a:pt x="254" y="354"/>
                </a:lnTo>
                <a:lnTo>
                  <a:pt x="256" y="354"/>
                </a:lnTo>
                <a:lnTo>
                  <a:pt x="262" y="354"/>
                </a:lnTo>
                <a:lnTo>
                  <a:pt x="270" y="354"/>
                </a:lnTo>
                <a:lnTo>
                  <a:pt x="276" y="358"/>
                </a:lnTo>
                <a:lnTo>
                  <a:pt x="278" y="366"/>
                </a:lnTo>
                <a:lnTo>
                  <a:pt x="282" y="374"/>
                </a:lnTo>
                <a:lnTo>
                  <a:pt x="286" y="392"/>
                </a:lnTo>
                <a:lnTo>
                  <a:pt x="288" y="408"/>
                </a:lnTo>
                <a:lnTo>
                  <a:pt x="290" y="412"/>
                </a:lnTo>
                <a:lnTo>
                  <a:pt x="294" y="414"/>
                </a:lnTo>
                <a:lnTo>
                  <a:pt x="302" y="420"/>
                </a:lnTo>
                <a:lnTo>
                  <a:pt x="320" y="426"/>
                </a:lnTo>
                <a:lnTo>
                  <a:pt x="322" y="426"/>
                </a:lnTo>
                <a:lnTo>
                  <a:pt x="322" y="408"/>
                </a:lnTo>
                <a:lnTo>
                  <a:pt x="322" y="402"/>
                </a:lnTo>
                <a:lnTo>
                  <a:pt x="324" y="394"/>
                </a:lnTo>
                <a:lnTo>
                  <a:pt x="328" y="388"/>
                </a:lnTo>
                <a:lnTo>
                  <a:pt x="332" y="382"/>
                </a:lnTo>
                <a:lnTo>
                  <a:pt x="338" y="378"/>
                </a:lnTo>
                <a:lnTo>
                  <a:pt x="340" y="374"/>
                </a:lnTo>
                <a:lnTo>
                  <a:pt x="342" y="370"/>
                </a:lnTo>
                <a:lnTo>
                  <a:pt x="350" y="370"/>
                </a:lnTo>
                <a:lnTo>
                  <a:pt x="358" y="368"/>
                </a:lnTo>
                <a:lnTo>
                  <a:pt x="370" y="360"/>
                </a:lnTo>
                <a:lnTo>
                  <a:pt x="372" y="358"/>
                </a:lnTo>
                <a:lnTo>
                  <a:pt x="374" y="356"/>
                </a:lnTo>
                <a:lnTo>
                  <a:pt x="374" y="354"/>
                </a:lnTo>
                <a:lnTo>
                  <a:pt x="378" y="352"/>
                </a:lnTo>
                <a:lnTo>
                  <a:pt x="384" y="354"/>
                </a:lnTo>
                <a:lnTo>
                  <a:pt x="386" y="352"/>
                </a:lnTo>
                <a:lnTo>
                  <a:pt x="386" y="350"/>
                </a:lnTo>
                <a:lnTo>
                  <a:pt x="388" y="348"/>
                </a:lnTo>
                <a:lnTo>
                  <a:pt x="392" y="348"/>
                </a:lnTo>
                <a:lnTo>
                  <a:pt x="398" y="348"/>
                </a:lnTo>
                <a:lnTo>
                  <a:pt x="404" y="350"/>
                </a:lnTo>
                <a:lnTo>
                  <a:pt x="408" y="352"/>
                </a:lnTo>
                <a:lnTo>
                  <a:pt x="414" y="354"/>
                </a:lnTo>
                <a:lnTo>
                  <a:pt x="418" y="352"/>
                </a:lnTo>
                <a:lnTo>
                  <a:pt x="424" y="352"/>
                </a:lnTo>
                <a:lnTo>
                  <a:pt x="430" y="356"/>
                </a:lnTo>
                <a:lnTo>
                  <a:pt x="434" y="358"/>
                </a:lnTo>
                <a:lnTo>
                  <a:pt x="440" y="360"/>
                </a:lnTo>
                <a:lnTo>
                  <a:pt x="444" y="358"/>
                </a:lnTo>
                <a:lnTo>
                  <a:pt x="450" y="356"/>
                </a:lnTo>
                <a:lnTo>
                  <a:pt x="452" y="358"/>
                </a:lnTo>
                <a:lnTo>
                  <a:pt x="454" y="360"/>
                </a:lnTo>
                <a:lnTo>
                  <a:pt x="456" y="362"/>
                </a:lnTo>
                <a:lnTo>
                  <a:pt x="460" y="362"/>
                </a:lnTo>
                <a:lnTo>
                  <a:pt x="462" y="362"/>
                </a:lnTo>
                <a:lnTo>
                  <a:pt x="462" y="358"/>
                </a:lnTo>
                <a:lnTo>
                  <a:pt x="458" y="356"/>
                </a:lnTo>
                <a:lnTo>
                  <a:pt x="456" y="354"/>
                </a:lnTo>
                <a:lnTo>
                  <a:pt x="456" y="340"/>
                </a:lnTo>
                <a:lnTo>
                  <a:pt x="466" y="338"/>
                </a:lnTo>
                <a:lnTo>
                  <a:pt x="474" y="336"/>
                </a:lnTo>
                <a:lnTo>
                  <a:pt x="486" y="340"/>
                </a:lnTo>
                <a:lnTo>
                  <a:pt x="490" y="338"/>
                </a:lnTo>
                <a:lnTo>
                  <a:pt x="494" y="336"/>
                </a:lnTo>
                <a:lnTo>
                  <a:pt x="510" y="336"/>
                </a:lnTo>
                <a:lnTo>
                  <a:pt x="512" y="338"/>
                </a:lnTo>
                <a:lnTo>
                  <a:pt x="516" y="340"/>
                </a:lnTo>
                <a:lnTo>
                  <a:pt x="522" y="342"/>
                </a:lnTo>
                <a:lnTo>
                  <a:pt x="524" y="346"/>
                </a:lnTo>
                <a:lnTo>
                  <a:pt x="524" y="348"/>
                </a:lnTo>
                <a:lnTo>
                  <a:pt x="524" y="352"/>
                </a:lnTo>
                <a:lnTo>
                  <a:pt x="530" y="350"/>
                </a:lnTo>
                <a:lnTo>
                  <a:pt x="532" y="348"/>
                </a:lnTo>
                <a:lnTo>
                  <a:pt x="542" y="344"/>
                </a:lnTo>
                <a:lnTo>
                  <a:pt x="550" y="346"/>
                </a:lnTo>
                <a:lnTo>
                  <a:pt x="552" y="350"/>
                </a:lnTo>
                <a:lnTo>
                  <a:pt x="552" y="354"/>
                </a:lnTo>
                <a:lnTo>
                  <a:pt x="554" y="356"/>
                </a:lnTo>
                <a:lnTo>
                  <a:pt x="556" y="360"/>
                </a:lnTo>
                <a:lnTo>
                  <a:pt x="558" y="362"/>
                </a:lnTo>
                <a:lnTo>
                  <a:pt x="562" y="364"/>
                </a:lnTo>
                <a:lnTo>
                  <a:pt x="560" y="370"/>
                </a:lnTo>
                <a:lnTo>
                  <a:pt x="558" y="372"/>
                </a:lnTo>
                <a:lnTo>
                  <a:pt x="556" y="376"/>
                </a:lnTo>
                <a:lnTo>
                  <a:pt x="556" y="380"/>
                </a:lnTo>
                <a:lnTo>
                  <a:pt x="558" y="382"/>
                </a:lnTo>
                <a:lnTo>
                  <a:pt x="560" y="386"/>
                </a:lnTo>
                <a:lnTo>
                  <a:pt x="558" y="388"/>
                </a:lnTo>
                <a:lnTo>
                  <a:pt x="558" y="390"/>
                </a:lnTo>
                <a:lnTo>
                  <a:pt x="558" y="400"/>
                </a:lnTo>
                <a:lnTo>
                  <a:pt x="564" y="408"/>
                </a:lnTo>
                <a:lnTo>
                  <a:pt x="564" y="416"/>
                </a:lnTo>
                <a:lnTo>
                  <a:pt x="566" y="422"/>
                </a:lnTo>
                <a:lnTo>
                  <a:pt x="570" y="428"/>
                </a:lnTo>
                <a:lnTo>
                  <a:pt x="574" y="432"/>
                </a:lnTo>
                <a:lnTo>
                  <a:pt x="578" y="434"/>
                </a:lnTo>
                <a:lnTo>
                  <a:pt x="584" y="434"/>
                </a:lnTo>
                <a:lnTo>
                  <a:pt x="584" y="428"/>
                </a:lnTo>
                <a:lnTo>
                  <a:pt x="588" y="420"/>
                </a:lnTo>
                <a:lnTo>
                  <a:pt x="590" y="414"/>
                </a:lnTo>
                <a:lnTo>
                  <a:pt x="592" y="408"/>
                </a:lnTo>
                <a:lnTo>
                  <a:pt x="592" y="398"/>
                </a:lnTo>
                <a:lnTo>
                  <a:pt x="594" y="388"/>
                </a:lnTo>
                <a:lnTo>
                  <a:pt x="592" y="380"/>
                </a:lnTo>
                <a:lnTo>
                  <a:pt x="588" y="370"/>
                </a:lnTo>
                <a:lnTo>
                  <a:pt x="586" y="358"/>
                </a:lnTo>
                <a:lnTo>
                  <a:pt x="584" y="348"/>
                </a:lnTo>
                <a:lnTo>
                  <a:pt x="586" y="332"/>
                </a:lnTo>
                <a:lnTo>
                  <a:pt x="590" y="322"/>
                </a:lnTo>
                <a:lnTo>
                  <a:pt x="598" y="310"/>
                </a:lnTo>
                <a:lnTo>
                  <a:pt x="606" y="300"/>
                </a:lnTo>
                <a:lnTo>
                  <a:pt x="608" y="300"/>
                </a:lnTo>
                <a:lnTo>
                  <a:pt x="612" y="298"/>
                </a:lnTo>
                <a:lnTo>
                  <a:pt x="616" y="296"/>
                </a:lnTo>
                <a:lnTo>
                  <a:pt x="618" y="294"/>
                </a:lnTo>
                <a:lnTo>
                  <a:pt x="624" y="292"/>
                </a:lnTo>
                <a:lnTo>
                  <a:pt x="626" y="290"/>
                </a:lnTo>
                <a:lnTo>
                  <a:pt x="632" y="282"/>
                </a:lnTo>
                <a:lnTo>
                  <a:pt x="634" y="276"/>
                </a:lnTo>
                <a:lnTo>
                  <a:pt x="638" y="274"/>
                </a:lnTo>
                <a:lnTo>
                  <a:pt x="644" y="274"/>
                </a:lnTo>
                <a:lnTo>
                  <a:pt x="644" y="272"/>
                </a:lnTo>
                <a:lnTo>
                  <a:pt x="646" y="272"/>
                </a:lnTo>
                <a:lnTo>
                  <a:pt x="650" y="272"/>
                </a:lnTo>
                <a:lnTo>
                  <a:pt x="654" y="268"/>
                </a:lnTo>
                <a:lnTo>
                  <a:pt x="658" y="264"/>
                </a:lnTo>
                <a:lnTo>
                  <a:pt x="660" y="260"/>
                </a:lnTo>
                <a:lnTo>
                  <a:pt x="668" y="258"/>
                </a:lnTo>
                <a:lnTo>
                  <a:pt x="672" y="258"/>
                </a:lnTo>
                <a:lnTo>
                  <a:pt x="678" y="254"/>
                </a:lnTo>
                <a:lnTo>
                  <a:pt x="676" y="250"/>
                </a:lnTo>
                <a:lnTo>
                  <a:pt x="678" y="246"/>
                </a:lnTo>
                <a:lnTo>
                  <a:pt x="688" y="244"/>
                </a:lnTo>
                <a:lnTo>
                  <a:pt x="690" y="242"/>
                </a:lnTo>
                <a:lnTo>
                  <a:pt x="692" y="240"/>
                </a:lnTo>
                <a:lnTo>
                  <a:pt x="696" y="238"/>
                </a:lnTo>
                <a:lnTo>
                  <a:pt x="698" y="234"/>
                </a:lnTo>
                <a:lnTo>
                  <a:pt x="696" y="230"/>
                </a:lnTo>
                <a:lnTo>
                  <a:pt x="696" y="226"/>
                </a:lnTo>
                <a:lnTo>
                  <a:pt x="694" y="222"/>
                </a:lnTo>
                <a:lnTo>
                  <a:pt x="692" y="218"/>
                </a:lnTo>
                <a:lnTo>
                  <a:pt x="690" y="216"/>
                </a:lnTo>
                <a:lnTo>
                  <a:pt x="688" y="214"/>
                </a:lnTo>
                <a:lnTo>
                  <a:pt x="694" y="214"/>
                </a:lnTo>
                <a:lnTo>
                  <a:pt x="692" y="214"/>
                </a:lnTo>
                <a:lnTo>
                  <a:pt x="692" y="212"/>
                </a:lnTo>
                <a:lnTo>
                  <a:pt x="694" y="208"/>
                </a:lnTo>
                <a:lnTo>
                  <a:pt x="700" y="210"/>
                </a:lnTo>
                <a:lnTo>
                  <a:pt x="704" y="208"/>
                </a:lnTo>
                <a:lnTo>
                  <a:pt x="706" y="206"/>
                </a:lnTo>
                <a:lnTo>
                  <a:pt x="706" y="198"/>
                </a:lnTo>
                <a:lnTo>
                  <a:pt x="702" y="190"/>
                </a:lnTo>
                <a:lnTo>
                  <a:pt x="702" y="188"/>
                </a:lnTo>
                <a:lnTo>
                  <a:pt x="706" y="192"/>
                </a:lnTo>
                <a:lnTo>
                  <a:pt x="708" y="196"/>
                </a:lnTo>
                <a:lnTo>
                  <a:pt x="714" y="196"/>
                </a:lnTo>
                <a:lnTo>
                  <a:pt x="716" y="194"/>
                </a:lnTo>
                <a:lnTo>
                  <a:pt x="718" y="188"/>
                </a:lnTo>
                <a:lnTo>
                  <a:pt x="718" y="168"/>
                </a:lnTo>
                <a:lnTo>
                  <a:pt x="718" y="172"/>
                </a:lnTo>
                <a:lnTo>
                  <a:pt x="718" y="174"/>
                </a:lnTo>
                <a:lnTo>
                  <a:pt x="720" y="174"/>
                </a:lnTo>
                <a:lnTo>
                  <a:pt x="720" y="178"/>
                </a:lnTo>
                <a:lnTo>
                  <a:pt x="722" y="182"/>
                </a:lnTo>
                <a:lnTo>
                  <a:pt x="726" y="176"/>
                </a:lnTo>
                <a:lnTo>
                  <a:pt x="732" y="172"/>
                </a:lnTo>
                <a:lnTo>
                  <a:pt x="734" y="172"/>
                </a:lnTo>
                <a:lnTo>
                  <a:pt x="740" y="164"/>
                </a:lnTo>
                <a:lnTo>
                  <a:pt x="744" y="158"/>
                </a:lnTo>
                <a:lnTo>
                  <a:pt x="742" y="150"/>
                </a:lnTo>
                <a:lnTo>
                  <a:pt x="744" y="148"/>
                </a:lnTo>
                <a:lnTo>
                  <a:pt x="746" y="146"/>
                </a:lnTo>
                <a:lnTo>
                  <a:pt x="756" y="146"/>
                </a:lnTo>
                <a:lnTo>
                  <a:pt x="766" y="146"/>
                </a:lnTo>
                <a:lnTo>
                  <a:pt x="770" y="142"/>
                </a:lnTo>
                <a:lnTo>
                  <a:pt x="752" y="142"/>
                </a:lnTo>
                <a:lnTo>
                  <a:pt x="760" y="140"/>
                </a:lnTo>
                <a:lnTo>
                  <a:pt x="770" y="140"/>
                </a:lnTo>
                <a:lnTo>
                  <a:pt x="776" y="138"/>
                </a:lnTo>
                <a:lnTo>
                  <a:pt x="786" y="134"/>
                </a:lnTo>
                <a:lnTo>
                  <a:pt x="790" y="132"/>
                </a:lnTo>
                <a:lnTo>
                  <a:pt x="792" y="130"/>
                </a:lnTo>
                <a:lnTo>
                  <a:pt x="802" y="132"/>
                </a:lnTo>
                <a:lnTo>
                  <a:pt x="808" y="130"/>
                </a:lnTo>
                <a:lnTo>
                  <a:pt x="812" y="128"/>
                </a:lnTo>
                <a:lnTo>
                  <a:pt x="810" y="124"/>
                </a:lnTo>
                <a:lnTo>
                  <a:pt x="808" y="126"/>
                </a:lnTo>
                <a:lnTo>
                  <a:pt x="806" y="128"/>
                </a:lnTo>
                <a:lnTo>
                  <a:pt x="800" y="128"/>
                </a:lnTo>
                <a:lnTo>
                  <a:pt x="802" y="126"/>
                </a:lnTo>
                <a:lnTo>
                  <a:pt x="802" y="122"/>
                </a:lnTo>
                <a:lnTo>
                  <a:pt x="800" y="118"/>
                </a:lnTo>
                <a:lnTo>
                  <a:pt x="802" y="112"/>
                </a:lnTo>
                <a:lnTo>
                  <a:pt x="804" y="108"/>
                </a:lnTo>
                <a:lnTo>
                  <a:pt x="806" y="104"/>
                </a:lnTo>
                <a:lnTo>
                  <a:pt x="808" y="98"/>
                </a:lnTo>
                <a:lnTo>
                  <a:pt x="814" y="94"/>
                </a:lnTo>
                <a:lnTo>
                  <a:pt x="822" y="90"/>
                </a:lnTo>
                <a:lnTo>
                  <a:pt x="838" y="84"/>
                </a:lnTo>
                <a:lnTo>
                  <a:pt x="854" y="80"/>
                </a:lnTo>
                <a:lnTo>
                  <a:pt x="870" y="74"/>
                </a:lnTo>
                <a:lnTo>
                  <a:pt x="864" y="54"/>
                </a:lnTo>
                <a:lnTo>
                  <a:pt x="864" y="50"/>
                </a:lnTo>
                <a:lnTo>
                  <a:pt x="866" y="46"/>
                </a:lnTo>
                <a:lnTo>
                  <a:pt x="872" y="38"/>
                </a:lnTo>
                <a:lnTo>
                  <a:pt x="852" y="32"/>
                </a:lnTo>
                <a:lnTo>
                  <a:pt x="846" y="34"/>
                </a:lnTo>
                <a:lnTo>
                  <a:pt x="840" y="38"/>
                </a:lnTo>
                <a:lnTo>
                  <a:pt x="830" y="52"/>
                </a:lnTo>
                <a:lnTo>
                  <a:pt x="824" y="58"/>
                </a:lnTo>
                <a:lnTo>
                  <a:pt x="820" y="66"/>
                </a:lnTo>
                <a:lnTo>
                  <a:pt x="814" y="70"/>
                </a:lnTo>
                <a:lnTo>
                  <a:pt x="804" y="72"/>
                </a:lnTo>
                <a:lnTo>
                  <a:pt x="798" y="74"/>
                </a:lnTo>
                <a:lnTo>
                  <a:pt x="766" y="74"/>
                </a:lnTo>
                <a:lnTo>
                  <a:pt x="758" y="78"/>
                </a:lnTo>
                <a:lnTo>
                  <a:pt x="750" y="80"/>
                </a:lnTo>
                <a:lnTo>
                  <a:pt x="738" y="90"/>
                </a:lnTo>
                <a:lnTo>
                  <a:pt x="724" y="100"/>
                </a:lnTo>
                <a:lnTo>
                  <a:pt x="718" y="102"/>
                </a:lnTo>
                <a:lnTo>
                  <a:pt x="712" y="104"/>
                </a:lnTo>
                <a:lnTo>
                  <a:pt x="706" y="102"/>
                </a:lnTo>
                <a:lnTo>
                  <a:pt x="700" y="100"/>
                </a:lnTo>
                <a:lnTo>
                  <a:pt x="694" y="100"/>
                </a:lnTo>
                <a:lnTo>
                  <a:pt x="692" y="102"/>
                </a:lnTo>
                <a:lnTo>
                  <a:pt x="688" y="106"/>
                </a:lnTo>
                <a:lnTo>
                  <a:pt x="686" y="110"/>
                </a:lnTo>
                <a:lnTo>
                  <a:pt x="684" y="116"/>
                </a:lnTo>
                <a:lnTo>
                  <a:pt x="672" y="122"/>
                </a:lnTo>
                <a:lnTo>
                  <a:pt x="658" y="128"/>
                </a:lnTo>
                <a:lnTo>
                  <a:pt x="642" y="134"/>
                </a:lnTo>
                <a:lnTo>
                  <a:pt x="632" y="136"/>
                </a:lnTo>
                <a:lnTo>
                  <a:pt x="622" y="134"/>
                </a:lnTo>
                <a:lnTo>
                  <a:pt x="618" y="134"/>
                </a:lnTo>
                <a:lnTo>
                  <a:pt x="618" y="132"/>
                </a:lnTo>
                <a:lnTo>
                  <a:pt x="618" y="126"/>
                </a:lnTo>
                <a:lnTo>
                  <a:pt x="622" y="122"/>
                </a:lnTo>
                <a:lnTo>
                  <a:pt x="630" y="118"/>
                </a:lnTo>
                <a:lnTo>
                  <a:pt x="636" y="112"/>
                </a:lnTo>
                <a:lnTo>
                  <a:pt x="640" y="108"/>
                </a:lnTo>
                <a:lnTo>
                  <a:pt x="640" y="106"/>
                </a:lnTo>
                <a:lnTo>
                  <a:pt x="638" y="104"/>
                </a:lnTo>
                <a:lnTo>
                  <a:pt x="636" y="102"/>
                </a:lnTo>
                <a:lnTo>
                  <a:pt x="638" y="96"/>
                </a:lnTo>
                <a:lnTo>
                  <a:pt x="636" y="94"/>
                </a:lnTo>
                <a:lnTo>
                  <a:pt x="634" y="88"/>
                </a:lnTo>
                <a:lnTo>
                  <a:pt x="632" y="92"/>
                </a:lnTo>
                <a:lnTo>
                  <a:pt x="630" y="96"/>
                </a:lnTo>
                <a:lnTo>
                  <a:pt x="622" y="96"/>
                </a:lnTo>
                <a:lnTo>
                  <a:pt x="626" y="90"/>
                </a:lnTo>
                <a:lnTo>
                  <a:pt x="632" y="86"/>
                </a:lnTo>
                <a:lnTo>
                  <a:pt x="634" y="80"/>
                </a:lnTo>
                <a:lnTo>
                  <a:pt x="636" y="72"/>
                </a:lnTo>
                <a:lnTo>
                  <a:pt x="636" y="68"/>
                </a:lnTo>
                <a:lnTo>
                  <a:pt x="632" y="66"/>
                </a:lnTo>
                <a:lnTo>
                  <a:pt x="630" y="64"/>
                </a:lnTo>
                <a:lnTo>
                  <a:pt x="622" y="64"/>
                </a:lnTo>
                <a:lnTo>
                  <a:pt x="618" y="64"/>
                </a:lnTo>
                <a:lnTo>
                  <a:pt x="610" y="72"/>
                </a:lnTo>
                <a:lnTo>
                  <a:pt x="602" y="78"/>
                </a:lnTo>
                <a:lnTo>
                  <a:pt x="592" y="82"/>
                </a:lnTo>
                <a:lnTo>
                  <a:pt x="584" y="92"/>
                </a:lnTo>
                <a:lnTo>
                  <a:pt x="582" y="96"/>
                </a:lnTo>
                <a:lnTo>
                  <a:pt x="580" y="104"/>
                </a:lnTo>
                <a:lnTo>
                  <a:pt x="578" y="116"/>
                </a:lnTo>
                <a:lnTo>
                  <a:pt x="576" y="122"/>
                </a:lnTo>
                <a:lnTo>
                  <a:pt x="572" y="128"/>
                </a:lnTo>
                <a:lnTo>
                  <a:pt x="566" y="132"/>
                </a:lnTo>
                <a:lnTo>
                  <a:pt x="558" y="134"/>
                </a:lnTo>
                <a:lnTo>
                  <a:pt x="554" y="132"/>
                </a:lnTo>
                <a:lnTo>
                  <a:pt x="552" y="130"/>
                </a:lnTo>
                <a:lnTo>
                  <a:pt x="550" y="128"/>
                </a:lnTo>
                <a:lnTo>
                  <a:pt x="552" y="122"/>
                </a:lnTo>
                <a:lnTo>
                  <a:pt x="554" y="114"/>
                </a:lnTo>
                <a:lnTo>
                  <a:pt x="560" y="102"/>
                </a:lnTo>
                <a:lnTo>
                  <a:pt x="568" y="90"/>
                </a:lnTo>
                <a:lnTo>
                  <a:pt x="576" y="80"/>
                </a:lnTo>
                <a:lnTo>
                  <a:pt x="576" y="78"/>
                </a:lnTo>
                <a:lnTo>
                  <a:pt x="578" y="74"/>
                </a:lnTo>
                <a:lnTo>
                  <a:pt x="584" y="66"/>
                </a:lnTo>
                <a:lnTo>
                  <a:pt x="594" y="60"/>
                </a:lnTo>
                <a:lnTo>
                  <a:pt x="602" y="58"/>
                </a:lnTo>
                <a:lnTo>
                  <a:pt x="620" y="58"/>
                </a:lnTo>
                <a:lnTo>
                  <a:pt x="624" y="56"/>
                </a:lnTo>
                <a:lnTo>
                  <a:pt x="628" y="56"/>
                </a:lnTo>
                <a:lnTo>
                  <a:pt x="634" y="52"/>
                </a:lnTo>
                <a:lnTo>
                  <a:pt x="626" y="50"/>
                </a:lnTo>
                <a:lnTo>
                  <a:pt x="618" y="50"/>
                </a:lnTo>
                <a:lnTo>
                  <a:pt x="612" y="50"/>
                </a:lnTo>
                <a:lnTo>
                  <a:pt x="606" y="48"/>
                </a:lnTo>
                <a:lnTo>
                  <a:pt x="596" y="46"/>
                </a:lnTo>
                <a:lnTo>
                  <a:pt x="592" y="44"/>
                </a:lnTo>
                <a:lnTo>
                  <a:pt x="590" y="40"/>
                </a:lnTo>
                <a:lnTo>
                  <a:pt x="590" y="36"/>
                </a:lnTo>
                <a:lnTo>
                  <a:pt x="584" y="36"/>
                </a:lnTo>
                <a:lnTo>
                  <a:pt x="582" y="36"/>
                </a:lnTo>
                <a:lnTo>
                  <a:pt x="580" y="34"/>
                </a:lnTo>
                <a:lnTo>
                  <a:pt x="586" y="30"/>
                </a:lnTo>
                <a:lnTo>
                  <a:pt x="564" y="38"/>
                </a:lnTo>
                <a:lnTo>
                  <a:pt x="550" y="40"/>
                </a:lnTo>
                <a:lnTo>
                  <a:pt x="540" y="42"/>
                </a:lnTo>
                <a:lnTo>
                  <a:pt x="536" y="42"/>
                </a:lnTo>
                <a:lnTo>
                  <a:pt x="532" y="42"/>
                </a:lnTo>
                <a:lnTo>
                  <a:pt x="528" y="40"/>
                </a:lnTo>
                <a:lnTo>
                  <a:pt x="536" y="34"/>
                </a:lnTo>
                <a:lnTo>
                  <a:pt x="544" y="30"/>
                </a:lnTo>
                <a:lnTo>
                  <a:pt x="552" y="26"/>
                </a:lnTo>
                <a:lnTo>
                  <a:pt x="562" y="22"/>
                </a:lnTo>
                <a:lnTo>
                  <a:pt x="550" y="20"/>
                </a:lnTo>
                <a:lnTo>
                  <a:pt x="540" y="16"/>
                </a:lnTo>
                <a:lnTo>
                  <a:pt x="540" y="18"/>
                </a:lnTo>
                <a:lnTo>
                  <a:pt x="534" y="16"/>
                </a:lnTo>
                <a:lnTo>
                  <a:pt x="528" y="14"/>
                </a:lnTo>
                <a:lnTo>
                  <a:pt x="522" y="14"/>
                </a:lnTo>
                <a:lnTo>
                  <a:pt x="516" y="12"/>
                </a:lnTo>
                <a:lnTo>
                  <a:pt x="510" y="10"/>
                </a:lnTo>
                <a:lnTo>
                  <a:pt x="506" y="6"/>
                </a:lnTo>
                <a:lnTo>
                  <a:pt x="506" y="0"/>
                </a:lnTo>
                <a:lnTo>
                  <a:pt x="112" y="0"/>
                </a:lnTo>
                <a:lnTo>
                  <a:pt x="110" y="6"/>
                </a:lnTo>
                <a:lnTo>
                  <a:pt x="106" y="14"/>
                </a:lnTo>
                <a:lnTo>
                  <a:pt x="104" y="22"/>
                </a:lnTo>
                <a:lnTo>
                  <a:pt x="100" y="24"/>
                </a:lnTo>
                <a:lnTo>
                  <a:pt x="96" y="26"/>
                </a:lnTo>
                <a:lnTo>
                  <a:pt x="94" y="22"/>
                </a:lnTo>
                <a:lnTo>
                  <a:pt x="92" y="20"/>
                </a:lnTo>
                <a:lnTo>
                  <a:pt x="82" y="16"/>
                </a:lnTo>
                <a:lnTo>
                  <a:pt x="78" y="26"/>
                </a:lnTo>
                <a:lnTo>
                  <a:pt x="64" y="52"/>
                </a:lnTo>
                <a:lnTo>
                  <a:pt x="48" y="80"/>
                </a:lnTo>
                <a:lnTo>
                  <a:pt x="40" y="90"/>
                </a:lnTo>
                <a:lnTo>
                  <a:pt x="32" y="98"/>
                </a:lnTo>
                <a:lnTo>
                  <a:pt x="26" y="106"/>
                </a:lnTo>
                <a:lnTo>
                  <a:pt x="20" y="114"/>
                </a:lnTo>
                <a:lnTo>
                  <a:pt x="14" y="126"/>
                </a:lnTo>
                <a:lnTo>
                  <a:pt x="12" y="136"/>
                </a:lnTo>
                <a:lnTo>
                  <a:pt x="8" y="146"/>
                </a:lnTo>
                <a:lnTo>
                  <a:pt x="2" y="158"/>
                </a:lnTo>
                <a:lnTo>
                  <a:pt x="2" y="162"/>
                </a:lnTo>
                <a:lnTo>
                  <a:pt x="2" y="166"/>
                </a:lnTo>
                <a:lnTo>
                  <a:pt x="2" y="170"/>
                </a:lnTo>
                <a:lnTo>
                  <a:pt x="0" y="172"/>
                </a:lnTo>
                <a:lnTo>
                  <a:pt x="0" y="174"/>
                </a:lnTo>
                <a:lnTo>
                  <a:pt x="0" y="178"/>
                </a:lnTo>
                <a:lnTo>
                  <a:pt x="2" y="190"/>
                </a:lnTo>
                <a:lnTo>
                  <a:pt x="4" y="198"/>
                </a:lnTo>
                <a:lnTo>
                  <a:pt x="6" y="196"/>
                </a:lnTo>
                <a:lnTo>
                  <a:pt x="10" y="194"/>
                </a:lnTo>
                <a:lnTo>
                  <a:pt x="18" y="196"/>
                </a:lnTo>
                <a:lnTo>
                  <a:pt x="10" y="196"/>
                </a:lnTo>
                <a:lnTo>
                  <a:pt x="8" y="198"/>
                </a:lnTo>
                <a:lnTo>
                  <a:pt x="6" y="200"/>
                </a:lnTo>
                <a:lnTo>
                  <a:pt x="8" y="204"/>
                </a:lnTo>
                <a:lnTo>
                  <a:pt x="4" y="202"/>
                </a:lnTo>
                <a:lnTo>
                  <a:pt x="2" y="206"/>
                </a:lnTo>
                <a:lnTo>
                  <a:pt x="4" y="214"/>
                </a:lnTo>
                <a:lnTo>
                  <a:pt x="4" y="216"/>
                </a:lnTo>
                <a:lnTo>
                  <a:pt x="6" y="216"/>
                </a:lnTo>
                <a:lnTo>
                  <a:pt x="6" y="220"/>
                </a:lnTo>
                <a:lnTo>
                  <a:pt x="6" y="222"/>
                </a:lnTo>
                <a:lnTo>
                  <a:pt x="4" y="2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Freeform 48">
            <a:extLst>
              <a:ext uri="{FF2B5EF4-FFF2-40B4-BE49-F238E27FC236}">
                <a16:creationId xmlns:a16="http://schemas.microsoft.com/office/drawing/2014/main" id="{40FCEFFF-FDA4-4C9D-88FB-3278CC2F9493}"/>
              </a:ext>
            </a:extLst>
          </p:cNvPr>
          <p:cNvSpPr>
            <a:spLocks/>
          </p:cNvSpPr>
          <p:nvPr/>
        </p:nvSpPr>
        <p:spPr bwMode="auto">
          <a:xfrm>
            <a:off x="-8348" y="1586369"/>
            <a:ext cx="1135606" cy="495155"/>
          </a:xfrm>
          <a:custGeom>
            <a:avLst/>
            <a:gdLst/>
            <a:ahLst/>
            <a:cxnLst>
              <a:cxn ang="0">
                <a:pos x="376" y="184"/>
              </a:cxn>
              <a:cxn ang="0">
                <a:pos x="350" y="176"/>
              </a:cxn>
              <a:cxn ang="0">
                <a:pos x="338" y="168"/>
              </a:cxn>
              <a:cxn ang="0">
                <a:pos x="308" y="184"/>
              </a:cxn>
              <a:cxn ang="0">
                <a:pos x="282" y="192"/>
              </a:cxn>
              <a:cxn ang="0">
                <a:pos x="262" y="194"/>
              </a:cxn>
              <a:cxn ang="0">
                <a:pos x="286" y="178"/>
              </a:cxn>
              <a:cxn ang="0">
                <a:pos x="282" y="174"/>
              </a:cxn>
              <a:cxn ang="0">
                <a:pos x="246" y="192"/>
              </a:cxn>
              <a:cxn ang="0">
                <a:pos x="230" y="202"/>
              </a:cxn>
              <a:cxn ang="0">
                <a:pos x="206" y="214"/>
              </a:cxn>
              <a:cxn ang="0">
                <a:pos x="172" y="224"/>
              </a:cxn>
              <a:cxn ang="0">
                <a:pos x="154" y="234"/>
              </a:cxn>
              <a:cxn ang="0">
                <a:pos x="86" y="258"/>
              </a:cxn>
              <a:cxn ang="0">
                <a:pos x="62" y="262"/>
              </a:cxn>
              <a:cxn ang="0">
                <a:pos x="48" y="264"/>
              </a:cxn>
              <a:cxn ang="0">
                <a:pos x="14" y="278"/>
              </a:cxn>
              <a:cxn ang="0">
                <a:pos x="14" y="270"/>
              </a:cxn>
              <a:cxn ang="0">
                <a:pos x="76" y="256"/>
              </a:cxn>
              <a:cxn ang="0">
                <a:pos x="90" y="248"/>
              </a:cxn>
              <a:cxn ang="0">
                <a:pos x="120" y="236"/>
              </a:cxn>
              <a:cxn ang="0">
                <a:pos x="164" y="206"/>
              </a:cxn>
              <a:cxn ang="0">
                <a:pos x="146" y="210"/>
              </a:cxn>
              <a:cxn ang="0">
                <a:pos x="140" y="202"/>
              </a:cxn>
              <a:cxn ang="0">
                <a:pos x="124" y="208"/>
              </a:cxn>
              <a:cxn ang="0">
                <a:pos x="126" y="198"/>
              </a:cxn>
              <a:cxn ang="0">
                <a:pos x="132" y="186"/>
              </a:cxn>
              <a:cxn ang="0">
                <a:pos x="116" y="186"/>
              </a:cxn>
              <a:cxn ang="0">
                <a:pos x="110" y="160"/>
              </a:cxn>
              <a:cxn ang="0">
                <a:pos x="166" y="132"/>
              </a:cxn>
              <a:cxn ang="0">
                <a:pos x="224" y="122"/>
              </a:cxn>
              <a:cxn ang="0">
                <a:pos x="246" y="104"/>
              </a:cxn>
              <a:cxn ang="0">
                <a:pos x="220" y="112"/>
              </a:cxn>
              <a:cxn ang="0">
                <a:pos x="186" y="102"/>
              </a:cxn>
              <a:cxn ang="0">
                <a:pos x="252" y="72"/>
              </a:cxn>
              <a:cxn ang="0">
                <a:pos x="258" y="82"/>
              </a:cxn>
              <a:cxn ang="0">
                <a:pos x="272" y="80"/>
              </a:cxn>
              <a:cxn ang="0">
                <a:pos x="270" y="70"/>
              </a:cxn>
              <a:cxn ang="0">
                <a:pos x="268" y="60"/>
              </a:cxn>
              <a:cxn ang="0">
                <a:pos x="266" y="46"/>
              </a:cxn>
              <a:cxn ang="0">
                <a:pos x="296" y="40"/>
              </a:cxn>
              <a:cxn ang="0">
                <a:pos x="324" y="28"/>
              </a:cxn>
              <a:cxn ang="0">
                <a:pos x="384" y="10"/>
              </a:cxn>
              <a:cxn ang="0">
                <a:pos x="444" y="2"/>
              </a:cxn>
              <a:cxn ang="0">
                <a:pos x="472" y="6"/>
              </a:cxn>
              <a:cxn ang="0">
                <a:pos x="510" y="12"/>
              </a:cxn>
              <a:cxn ang="0">
                <a:pos x="534" y="16"/>
              </a:cxn>
              <a:cxn ang="0">
                <a:pos x="562" y="20"/>
              </a:cxn>
              <a:cxn ang="0">
                <a:pos x="400" y="178"/>
              </a:cxn>
            </a:cxnLst>
            <a:rect l="0" t="0" r="r" b="b"/>
            <a:pathLst>
              <a:path w="574" h="278">
                <a:moveTo>
                  <a:pt x="400" y="178"/>
                </a:moveTo>
                <a:lnTo>
                  <a:pt x="388" y="182"/>
                </a:lnTo>
                <a:lnTo>
                  <a:pt x="376" y="184"/>
                </a:lnTo>
                <a:lnTo>
                  <a:pt x="366" y="182"/>
                </a:lnTo>
                <a:lnTo>
                  <a:pt x="356" y="180"/>
                </a:lnTo>
                <a:lnTo>
                  <a:pt x="350" y="176"/>
                </a:lnTo>
                <a:lnTo>
                  <a:pt x="348" y="172"/>
                </a:lnTo>
                <a:lnTo>
                  <a:pt x="346" y="168"/>
                </a:lnTo>
                <a:lnTo>
                  <a:pt x="338" y="168"/>
                </a:lnTo>
                <a:lnTo>
                  <a:pt x="324" y="178"/>
                </a:lnTo>
                <a:lnTo>
                  <a:pt x="318" y="182"/>
                </a:lnTo>
                <a:lnTo>
                  <a:pt x="308" y="184"/>
                </a:lnTo>
                <a:lnTo>
                  <a:pt x="300" y="184"/>
                </a:lnTo>
                <a:lnTo>
                  <a:pt x="290" y="188"/>
                </a:lnTo>
                <a:lnTo>
                  <a:pt x="282" y="192"/>
                </a:lnTo>
                <a:lnTo>
                  <a:pt x="272" y="200"/>
                </a:lnTo>
                <a:lnTo>
                  <a:pt x="258" y="200"/>
                </a:lnTo>
                <a:lnTo>
                  <a:pt x="262" y="194"/>
                </a:lnTo>
                <a:lnTo>
                  <a:pt x="266" y="190"/>
                </a:lnTo>
                <a:lnTo>
                  <a:pt x="276" y="182"/>
                </a:lnTo>
                <a:lnTo>
                  <a:pt x="286" y="178"/>
                </a:lnTo>
                <a:lnTo>
                  <a:pt x="298" y="170"/>
                </a:lnTo>
                <a:lnTo>
                  <a:pt x="290" y="170"/>
                </a:lnTo>
                <a:lnTo>
                  <a:pt x="282" y="174"/>
                </a:lnTo>
                <a:lnTo>
                  <a:pt x="268" y="180"/>
                </a:lnTo>
                <a:lnTo>
                  <a:pt x="252" y="190"/>
                </a:lnTo>
                <a:lnTo>
                  <a:pt x="246" y="192"/>
                </a:lnTo>
                <a:lnTo>
                  <a:pt x="240" y="194"/>
                </a:lnTo>
                <a:lnTo>
                  <a:pt x="234" y="196"/>
                </a:lnTo>
                <a:lnTo>
                  <a:pt x="230" y="202"/>
                </a:lnTo>
                <a:lnTo>
                  <a:pt x="224" y="206"/>
                </a:lnTo>
                <a:lnTo>
                  <a:pt x="218" y="210"/>
                </a:lnTo>
                <a:lnTo>
                  <a:pt x="206" y="214"/>
                </a:lnTo>
                <a:lnTo>
                  <a:pt x="194" y="218"/>
                </a:lnTo>
                <a:lnTo>
                  <a:pt x="184" y="220"/>
                </a:lnTo>
                <a:lnTo>
                  <a:pt x="172" y="224"/>
                </a:lnTo>
                <a:lnTo>
                  <a:pt x="164" y="230"/>
                </a:lnTo>
                <a:lnTo>
                  <a:pt x="160" y="234"/>
                </a:lnTo>
                <a:lnTo>
                  <a:pt x="154" y="234"/>
                </a:lnTo>
                <a:lnTo>
                  <a:pt x="132" y="240"/>
                </a:lnTo>
                <a:lnTo>
                  <a:pt x="110" y="248"/>
                </a:lnTo>
                <a:lnTo>
                  <a:pt x="86" y="258"/>
                </a:lnTo>
                <a:lnTo>
                  <a:pt x="64" y="266"/>
                </a:lnTo>
                <a:lnTo>
                  <a:pt x="64" y="264"/>
                </a:lnTo>
                <a:lnTo>
                  <a:pt x="62" y="262"/>
                </a:lnTo>
                <a:lnTo>
                  <a:pt x="60" y="262"/>
                </a:lnTo>
                <a:lnTo>
                  <a:pt x="54" y="262"/>
                </a:lnTo>
                <a:lnTo>
                  <a:pt x="48" y="264"/>
                </a:lnTo>
                <a:lnTo>
                  <a:pt x="34" y="270"/>
                </a:lnTo>
                <a:lnTo>
                  <a:pt x="22" y="276"/>
                </a:lnTo>
                <a:lnTo>
                  <a:pt x="14" y="278"/>
                </a:lnTo>
                <a:lnTo>
                  <a:pt x="8" y="278"/>
                </a:lnTo>
                <a:lnTo>
                  <a:pt x="0" y="278"/>
                </a:lnTo>
                <a:lnTo>
                  <a:pt x="14" y="270"/>
                </a:lnTo>
                <a:lnTo>
                  <a:pt x="36" y="262"/>
                </a:lnTo>
                <a:lnTo>
                  <a:pt x="58" y="258"/>
                </a:lnTo>
                <a:lnTo>
                  <a:pt x="76" y="256"/>
                </a:lnTo>
                <a:lnTo>
                  <a:pt x="82" y="256"/>
                </a:lnTo>
                <a:lnTo>
                  <a:pt x="84" y="254"/>
                </a:lnTo>
                <a:lnTo>
                  <a:pt x="90" y="248"/>
                </a:lnTo>
                <a:lnTo>
                  <a:pt x="96" y="244"/>
                </a:lnTo>
                <a:lnTo>
                  <a:pt x="102" y="242"/>
                </a:lnTo>
                <a:lnTo>
                  <a:pt x="120" y="236"/>
                </a:lnTo>
                <a:lnTo>
                  <a:pt x="136" y="232"/>
                </a:lnTo>
                <a:lnTo>
                  <a:pt x="166" y="210"/>
                </a:lnTo>
                <a:lnTo>
                  <a:pt x="164" y="206"/>
                </a:lnTo>
                <a:lnTo>
                  <a:pt x="162" y="204"/>
                </a:lnTo>
                <a:lnTo>
                  <a:pt x="154" y="210"/>
                </a:lnTo>
                <a:lnTo>
                  <a:pt x="146" y="210"/>
                </a:lnTo>
                <a:lnTo>
                  <a:pt x="146" y="204"/>
                </a:lnTo>
                <a:lnTo>
                  <a:pt x="144" y="202"/>
                </a:lnTo>
                <a:lnTo>
                  <a:pt x="140" y="202"/>
                </a:lnTo>
                <a:lnTo>
                  <a:pt x="136" y="202"/>
                </a:lnTo>
                <a:lnTo>
                  <a:pt x="132" y="204"/>
                </a:lnTo>
                <a:lnTo>
                  <a:pt x="124" y="208"/>
                </a:lnTo>
                <a:lnTo>
                  <a:pt x="112" y="208"/>
                </a:lnTo>
                <a:lnTo>
                  <a:pt x="118" y="204"/>
                </a:lnTo>
                <a:lnTo>
                  <a:pt x="126" y="198"/>
                </a:lnTo>
                <a:lnTo>
                  <a:pt x="132" y="192"/>
                </a:lnTo>
                <a:lnTo>
                  <a:pt x="136" y="186"/>
                </a:lnTo>
                <a:lnTo>
                  <a:pt x="132" y="186"/>
                </a:lnTo>
                <a:lnTo>
                  <a:pt x="128" y="186"/>
                </a:lnTo>
                <a:lnTo>
                  <a:pt x="120" y="186"/>
                </a:lnTo>
                <a:lnTo>
                  <a:pt x="116" y="186"/>
                </a:lnTo>
                <a:lnTo>
                  <a:pt x="112" y="184"/>
                </a:lnTo>
                <a:lnTo>
                  <a:pt x="110" y="178"/>
                </a:lnTo>
                <a:lnTo>
                  <a:pt x="110" y="160"/>
                </a:lnTo>
                <a:lnTo>
                  <a:pt x="152" y="128"/>
                </a:lnTo>
                <a:lnTo>
                  <a:pt x="158" y="130"/>
                </a:lnTo>
                <a:lnTo>
                  <a:pt x="166" y="132"/>
                </a:lnTo>
                <a:lnTo>
                  <a:pt x="190" y="130"/>
                </a:lnTo>
                <a:lnTo>
                  <a:pt x="214" y="124"/>
                </a:lnTo>
                <a:lnTo>
                  <a:pt x="224" y="122"/>
                </a:lnTo>
                <a:lnTo>
                  <a:pt x="236" y="116"/>
                </a:lnTo>
                <a:lnTo>
                  <a:pt x="244" y="110"/>
                </a:lnTo>
                <a:lnTo>
                  <a:pt x="246" y="104"/>
                </a:lnTo>
                <a:lnTo>
                  <a:pt x="234" y="108"/>
                </a:lnTo>
                <a:lnTo>
                  <a:pt x="228" y="110"/>
                </a:lnTo>
                <a:lnTo>
                  <a:pt x="220" y="112"/>
                </a:lnTo>
                <a:lnTo>
                  <a:pt x="212" y="110"/>
                </a:lnTo>
                <a:lnTo>
                  <a:pt x="202" y="108"/>
                </a:lnTo>
                <a:lnTo>
                  <a:pt x="186" y="102"/>
                </a:lnTo>
                <a:lnTo>
                  <a:pt x="234" y="70"/>
                </a:lnTo>
                <a:lnTo>
                  <a:pt x="242" y="70"/>
                </a:lnTo>
                <a:lnTo>
                  <a:pt x="252" y="72"/>
                </a:lnTo>
                <a:lnTo>
                  <a:pt x="252" y="78"/>
                </a:lnTo>
                <a:lnTo>
                  <a:pt x="254" y="80"/>
                </a:lnTo>
                <a:lnTo>
                  <a:pt x="258" y="82"/>
                </a:lnTo>
                <a:lnTo>
                  <a:pt x="264" y="82"/>
                </a:lnTo>
                <a:lnTo>
                  <a:pt x="268" y="82"/>
                </a:lnTo>
                <a:lnTo>
                  <a:pt x="272" y="80"/>
                </a:lnTo>
                <a:lnTo>
                  <a:pt x="272" y="76"/>
                </a:lnTo>
                <a:lnTo>
                  <a:pt x="274" y="70"/>
                </a:lnTo>
                <a:lnTo>
                  <a:pt x="270" y="70"/>
                </a:lnTo>
                <a:lnTo>
                  <a:pt x="268" y="68"/>
                </a:lnTo>
                <a:lnTo>
                  <a:pt x="268" y="66"/>
                </a:lnTo>
                <a:lnTo>
                  <a:pt x="268" y="60"/>
                </a:lnTo>
                <a:lnTo>
                  <a:pt x="266" y="58"/>
                </a:lnTo>
                <a:lnTo>
                  <a:pt x="266" y="54"/>
                </a:lnTo>
                <a:lnTo>
                  <a:pt x="266" y="46"/>
                </a:lnTo>
                <a:lnTo>
                  <a:pt x="280" y="36"/>
                </a:lnTo>
                <a:lnTo>
                  <a:pt x="288" y="38"/>
                </a:lnTo>
                <a:lnTo>
                  <a:pt x="296" y="40"/>
                </a:lnTo>
                <a:lnTo>
                  <a:pt x="306" y="38"/>
                </a:lnTo>
                <a:lnTo>
                  <a:pt x="318" y="32"/>
                </a:lnTo>
                <a:lnTo>
                  <a:pt x="324" y="28"/>
                </a:lnTo>
                <a:lnTo>
                  <a:pt x="332" y="22"/>
                </a:lnTo>
                <a:lnTo>
                  <a:pt x="356" y="14"/>
                </a:lnTo>
                <a:lnTo>
                  <a:pt x="384" y="10"/>
                </a:lnTo>
                <a:lnTo>
                  <a:pt x="410" y="4"/>
                </a:lnTo>
                <a:lnTo>
                  <a:pt x="436" y="0"/>
                </a:lnTo>
                <a:lnTo>
                  <a:pt x="444" y="2"/>
                </a:lnTo>
                <a:lnTo>
                  <a:pt x="452" y="4"/>
                </a:lnTo>
                <a:lnTo>
                  <a:pt x="462" y="6"/>
                </a:lnTo>
                <a:lnTo>
                  <a:pt x="472" y="6"/>
                </a:lnTo>
                <a:lnTo>
                  <a:pt x="474" y="12"/>
                </a:lnTo>
                <a:lnTo>
                  <a:pt x="476" y="12"/>
                </a:lnTo>
                <a:lnTo>
                  <a:pt x="510" y="12"/>
                </a:lnTo>
                <a:lnTo>
                  <a:pt x="516" y="14"/>
                </a:lnTo>
                <a:lnTo>
                  <a:pt x="520" y="16"/>
                </a:lnTo>
                <a:lnTo>
                  <a:pt x="534" y="16"/>
                </a:lnTo>
                <a:lnTo>
                  <a:pt x="548" y="16"/>
                </a:lnTo>
                <a:lnTo>
                  <a:pt x="554" y="18"/>
                </a:lnTo>
                <a:lnTo>
                  <a:pt x="562" y="20"/>
                </a:lnTo>
                <a:lnTo>
                  <a:pt x="574" y="20"/>
                </a:lnTo>
                <a:lnTo>
                  <a:pt x="402" y="178"/>
                </a:lnTo>
                <a:lnTo>
                  <a:pt x="400" y="17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Freeform 49">
            <a:extLst>
              <a:ext uri="{FF2B5EF4-FFF2-40B4-BE49-F238E27FC236}">
                <a16:creationId xmlns:a16="http://schemas.microsoft.com/office/drawing/2014/main" id="{D236B83A-6B99-4E15-BB08-4AD71C5F4143}"/>
              </a:ext>
            </a:extLst>
          </p:cNvPr>
          <p:cNvSpPr>
            <a:spLocks/>
          </p:cNvSpPr>
          <p:nvPr/>
        </p:nvSpPr>
        <p:spPr bwMode="auto">
          <a:xfrm>
            <a:off x="829675" y="2782855"/>
            <a:ext cx="846573" cy="599056"/>
          </a:xfrm>
          <a:custGeom>
            <a:avLst/>
            <a:gdLst/>
            <a:ahLst/>
            <a:cxnLst>
              <a:cxn ang="0">
                <a:pos x="410" y="250"/>
              </a:cxn>
              <a:cxn ang="0">
                <a:pos x="428" y="210"/>
              </a:cxn>
              <a:cxn ang="0">
                <a:pos x="410" y="202"/>
              </a:cxn>
              <a:cxn ang="0">
                <a:pos x="368" y="216"/>
              </a:cxn>
              <a:cxn ang="0">
                <a:pos x="346" y="254"/>
              </a:cxn>
              <a:cxn ang="0">
                <a:pos x="298" y="264"/>
              </a:cxn>
              <a:cxn ang="0">
                <a:pos x="266" y="238"/>
              </a:cxn>
              <a:cxn ang="0">
                <a:pos x="256" y="194"/>
              </a:cxn>
              <a:cxn ang="0">
                <a:pos x="276" y="128"/>
              </a:cxn>
              <a:cxn ang="0">
                <a:pos x="242" y="110"/>
              </a:cxn>
              <a:cxn ang="0">
                <a:pos x="230" y="60"/>
              </a:cxn>
              <a:cxn ang="0">
                <a:pos x="208" y="56"/>
              </a:cxn>
              <a:cxn ang="0">
                <a:pos x="188" y="68"/>
              </a:cxn>
              <a:cxn ang="0">
                <a:pos x="174" y="38"/>
              </a:cxn>
              <a:cxn ang="0">
                <a:pos x="158" y="18"/>
              </a:cxn>
              <a:cxn ang="0">
                <a:pos x="128" y="28"/>
              </a:cxn>
              <a:cxn ang="0">
                <a:pos x="20" y="0"/>
              </a:cxn>
              <a:cxn ang="0">
                <a:pos x="2" y="14"/>
              </a:cxn>
              <a:cxn ang="0">
                <a:pos x="4" y="48"/>
              </a:cxn>
              <a:cxn ang="0">
                <a:pos x="20" y="70"/>
              </a:cxn>
              <a:cxn ang="0">
                <a:pos x="14" y="84"/>
              </a:cxn>
              <a:cxn ang="0">
                <a:pos x="12" y="102"/>
              </a:cxn>
              <a:cxn ang="0">
                <a:pos x="34" y="118"/>
              </a:cxn>
              <a:cxn ang="0">
                <a:pos x="40" y="134"/>
              </a:cxn>
              <a:cxn ang="0">
                <a:pos x="38" y="148"/>
              </a:cxn>
              <a:cxn ang="0">
                <a:pos x="54" y="164"/>
              </a:cxn>
              <a:cxn ang="0">
                <a:pos x="74" y="176"/>
              </a:cxn>
              <a:cxn ang="0">
                <a:pos x="66" y="152"/>
              </a:cxn>
              <a:cxn ang="0">
                <a:pos x="56" y="128"/>
              </a:cxn>
              <a:cxn ang="0">
                <a:pos x="46" y="104"/>
              </a:cxn>
              <a:cxn ang="0">
                <a:pos x="36" y="62"/>
              </a:cxn>
              <a:cxn ang="0">
                <a:pos x="30" y="56"/>
              </a:cxn>
              <a:cxn ang="0">
                <a:pos x="30" y="24"/>
              </a:cxn>
              <a:cxn ang="0">
                <a:pos x="42" y="24"/>
              </a:cxn>
              <a:cxn ang="0">
                <a:pos x="54" y="56"/>
              </a:cxn>
              <a:cxn ang="0">
                <a:pos x="50" y="72"/>
              </a:cxn>
              <a:cxn ang="0">
                <a:pos x="62" y="84"/>
              </a:cxn>
              <a:cxn ang="0">
                <a:pos x="76" y="106"/>
              </a:cxn>
              <a:cxn ang="0">
                <a:pos x="88" y="116"/>
              </a:cxn>
              <a:cxn ang="0">
                <a:pos x="92" y="140"/>
              </a:cxn>
              <a:cxn ang="0">
                <a:pos x="122" y="178"/>
              </a:cxn>
              <a:cxn ang="0">
                <a:pos x="132" y="210"/>
              </a:cxn>
              <a:cxn ang="0">
                <a:pos x="128" y="226"/>
              </a:cxn>
              <a:cxn ang="0">
                <a:pos x="130" y="244"/>
              </a:cxn>
              <a:cxn ang="0">
                <a:pos x="154" y="266"/>
              </a:cxn>
              <a:cxn ang="0">
                <a:pos x="178" y="274"/>
              </a:cxn>
              <a:cxn ang="0">
                <a:pos x="218" y="300"/>
              </a:cxn>
              <a:cxn ang="0">
                <a:pos x="260" y="314"/>
              </a:cxn>
              <a:cxn ang="0">
                <a:pos x="286" y="302"/>
              </a:cxn>
              <a:cxn ang="0">
                <a:pos x="314" y="320"/>
              </a:cxn>
              <a:cxn ang="0">
                <a:pos x="330" y="318"/>
              </a:cxn>
              <a:cxn ang="0">
                <a:pos x="352" y="302"/>
              </a:cxn>
              <a:cxn ang="0">
                <a:pos x="348" y="284"/>
              </a:cxn>
              <a:cxn ang="0">
                <a:pos x="384" y="278"/>
              </a:cxn>
              <a:cxn ang="0">
                <a:pos x="392" y="268"/>
              </a:cxn>
              <a:cxn ang="0">
                <a:pos x="400" y="274"/>
              </a:cxn>
            </a:cxnLst>
            <a:rect l="0" t="0" r="r" b="b"/>
            <a:pathLst>
              <a:path w="428" h="336">
                <a:moveTo>
                  <a:pt x="400" y="274"/>
                </a:moveTo>
                <a:lnTo>
                  <a:pt x="402" y="270"/>
                </a:lnTo>
                <a:lnTo>
                  <a:pt x="408" y="260"/>
                </a:lnTo>
                <a:lnTo>
                  <a:pt x="410" y="250"/>
                </a:lnTo>
                <a:lnTo>
                  <a:pt x="416" y="234"/>
                </a:lnTo>
                <a:lnTo>
                  <a:pt x="418" y="228"/>
                </a:lnTo>
                <a:lnTo>
                  <a:pt x="422" y="222"/>
                </a:lnTo>
                <a:lnTo>
                  <a:pt x="428" y="210"/>
                </a:lnTo>
                <a:lnTo>
                  <a:pt x="426" y="206"/>
                </a:lnTo>
                <a:lnTo>
                  <a:pt x="426" y="202"/>
                </a:lnTo>
                <a:lnTo>
                  <a:pt x="422" y="202"/>
                </a:lnTo>
                <a:lnTo>
                  <a:pt x="410" y="202"/>
                </a:lnTo>
                <a:lnTo>
                  <a:pt x="394" y="204"/>
                </a:lnTo>
                <a:lnTo>
                  <a:pt x="378" y="208"/>
                </a:lnTo>
                <a:lnTo>
                  <a:pt x="372" y="212"/>
                </a:lnTo>
                <a:lnTo>
                  <a:pt x="368" y="216"/>
                </a:lnTo>
                <a:lnTo>
                  <a:pt x="364" y="224"/>
                </a:lnTo>
                <a:lnTo>
                  <a:pt x="358" y="234"/>
                </a:lnTo>
                <a:lnTo>
                  <a:pt x="352" y="246"/>
                </a:lnTo>
                <a:lnTo>
                  <a:pt x="346" y="254"/>
                </a:lnTo>
                <a:lnTo>
                  <a:pt x="334" y="256"/>
                </a:lnTo>
                <a:lnTo>
                  <a:pt x="320" y="260"/>
                </a:lnTo>
                <a:lnTo>
                  <a:pt x="310" y="262"/>
                </a:lnTo>
                <a:lnTo>
                  <a:pt x="298" y="264"/>
                </a:lnTo>
                <a:lnTo>
                  <a:pt x="288" y="262"/>
                </a:lnTo>
                <a:lnTo>
                  <a:pt x="280" y="256"/>
                </a:lnTo>
                <a:lnTo>
                  <a:pt x="272" y="248"/>
                </a:lnTo>
                <a:lnTo>
                  <a:pt x="266" y="238"/>
                </a:lnTo>
                <a:lnTo>
                  <a:pt x="260" y="226"/>
                </a:lnTo>
                <a:lnTo>
                  <a:pt x="258" y="216"/>
                </a:lnTo>
                <a:lnTo>
                  <a:pt x="256" y="204"/>
                </a:lnTo>
                <a:lnTo>
                  <a:pt x="256" y="194"/>
                </a:lnTo>
                <a:lnTo>
                  <a:pt x="258" y="178"/>
                </a:lnTo>
                <a:lnTo>
                  <a:pt x="260" y="160"/>
                </a:lnTo>
                <a:lnTo>
                  <a:pt x="268" y="142"/>
                </a:lnTo>
                <a:lnTo>
                  <a:pt x="276" y="128"/>
                </a:lnTo>
                <a:lnTo>
                  <a:pt x="256" y="122"/>
                </a:lnTo>
                <a:lnTo>
                  <a:pt x="248" y="116"/>
                </a:lnTo>
                <a:lnTo>
                  <a:pt x="244" y="114"/>
                </a:lnTo>
                <a:lnTo>
                  <a:pt x="242" y="110"/>
                </a:lnTo>
                <a:lnTo>
                  <a:pt x="240" y="94"/>
                </a:lnTo>
                <a:lnTo>
                  <a:pt x="236" y="76"/>
                </a:lnTo>
                <a:lnTo>
                  <a:pt x="232" y="68"/>
                </a:lnTo>
                <a:lnTo>
                  <a:pt x="230" y="60"/>
                </a:lnTo>
                <a:lnTo>
                  <a:pt x="224" y="56"/>
                </a:lnTo>
                <a:lnTo>
                  <a:pt x="216" y="56"/>
                </a:lnTo>
                <a:lnTo>
                  <a:pt x="210" y="56"/>
                </a:lnTo>
                <a:lnTo>
                  <a:pt x="208" y="56"/>
                </a:lnTo>
                <a:lnTo>
                  <a:pt x="204" y="62"/>
                </a:lnTo>
                <a:lnTo>
                  <a:pt x="198" y="66"/>
                </a:lnTo>
                <a:lnTo>
                  <a:pt x="192" y="68"/>
                </a:lnTo>
                <a:lnTo>
                  <a:pt x="188" y="68"/>
                </a:lnTo>
                <a:lnTo>
                  <a:pt x="184" y="66"/>
                </a:lnTo>
                <a:lnTo>
                  <a:pt x="180" y="62"/>
                </a:lnTo>
                <a:lnTo>
                  <a:pt x="178" y="58"/>
                </a:lnTo>
                <a:lnTo>
                  <a:pt x="174" y="38"/>
                </a:lnTo>
                <a:lnTo>
                  <a:pt x="170" y="34"/>
                </a:lnTo>
                <a:lnTo>
                  <a:pt x="166" y="30"/>
                </a:lnTo>
                <a:lnTo>
                  <a:pt x="160" y="26"/>
                </a:lnTo>
                <a:lnTo>
                  <a:pt x="158" y="18"/>
                </a:lnTo>
                <a:lnTo>
                  <a:pt x="152" y="20"/>
                </a:lnTo>
                <a:lnTo>
                  <a:pt x="148" y="20"/>
                </a:lnTo>
                <a:lnTo>
                  <a:pt x="132" y="18"/>
                </a:lnTo>
                <a:lnTo>
                  <a:pt x="128" y="28"/>
                </a:lnTo>
                <a:lnTo>
                  <a:pt x="78" y="28"/>
                </a:lnTo>
                <a:lnTo>
                  <a:pt x="34" y="2"/>
                </a:lnTo>
                <a:lnTo>
                  <a:pt x="28" y="0"/>
                </a:lnTo>
                <a:lnTo>
                  <a:pt x="20" y="0"/>
                </a:lnTo>
                <a:lnTo>
                  <a:pt x="0" y="2"/>
                </a:lnTo>
                <a:lnTo>
                  <a:pt x="0" y="8"/>
                </a:lnTo>
                <a:lnTo>
                  <a:pt x="0" y="12"/>
                </a:lnTo>
                <a:lnTo>
                  <a:pt x="2" y="14"/>
                </a:lnTo>
                <a:lnTo>
                  <a:pt x="2" y="36"/>
                </a:lnTo>
                <a:lnTo>
                  <a:pt x="2" y="38"/>
                </a:lnTo>
                <a:lnTo>
                  <a:pt x="2" y="42"/>
                </a:lnTo>
                <a:lnTo>
                  <a:pt x="4" y="48"/>
                </a:lnTo>
                <a:lnTo>
                  <a:pt x="4" y="54"/>
                </a:lnTo>
                <a:lnTo>
                  <a:pt x="8" y="56"/>
                </a:lnTo>
                <a:lnTo>
                  <a:pt x="12" y="62"/>
                </a:lnTo>
                <a:lnTo>
                  <a:pt x="20" y="70"/>
                </a:lnTo>
                <a:lnTo>
                  <a:pt x="22" y="74"/>
                </a:lnTo>
                <a:lnTo>
                  <a:pt x="22" y="78"/>
                </a:lnTo>
                <a:lnTo>
                  <a:pt x="20" y="82"/>
                </a:lnTo>
                <a:lnTo>
                  <a:pt x="14" y="84"/>
                </a:lnTo>
                <a:lnTo>
                  <a:pt x="12" y="88"/>
                </a:lnTo>
                <a:lnTo>
                  <a:pt x="8" y="92"/>
                </a:lnTo>
                <a:lnTo>
                  <a:pt x="8" y="96"/>
                </a:lnTo>
                <a:lnTo>
                  <a:pt x="12" y="102"/>
                </a:lnTo>
                <a:lnTo>
                  <a:pt x="16" y="108"/>
                </a:lnTo>
                <a:lnTo>
                  <a:pt x="24" y="110"/>
                </a:lnTo>
                <a:lnTo>
                  <a:pt x="32" y="112"/>
                </a:lnTo>
                <a:lnTo>
                  <a:pt x="34" y="118"/>
                </a:lnTo>
                <a:lnTo>
                  <a:pt x="38" y="120"/>
                </a:lnTo>
                <a:lnTo>
                  <a:pt x="40" y="124"/>
                </a:lnTo>
                <a:lnTo>
                  <a:pt x="40" y="130"/>
                </a:lnTo>
                <a:lnTo>
                  <a:pt x="40" y="134"/>
                </a:lnTo>
                <a:lnTo>
                  <a:pt x="40" y="138"/>
                </a:lnTo>
                <a:lnTo>
                  <a:pt x="38" y="140"/>
                </a:lnTo>
                <a:lnTo>
                  <a:pt x="38" y="144"/>
                </a:lnTo>
                <a:lnTo>
                  <a:pt x="38" y="148"/>
                </a:lnTo>
                <a:lnTo>
                  <a:pt x="40" y="150"/>
                </a:lnTo>
                <a:lnTo>
                  <a:pt x="42" y="154"/>
                </a:lnTo>
                <a:lnTo>
                  <a:pt x="48" y="158"/>
                </a:lnTo>
                <a:lnTo>
                  <a:pt x="54" y="164"/>
                </a:lnTo>
                <a:lnTo>
                  <a:pt x="66" y="182"/>
                </a:lnTo>
                <a:lnTo>
                  <a:pt x="68" y="180"/>
                </a:lnTo>
                <a:lnTo>
                  <a:pt x="72" y="178"/>
                </a:lnTo>
                <a:lnTo>
                  <a:pt x="74" y="176"/>
                </a:lnTo>
                <a:lnTo>
                  <a:pt x="76" y="172"/>
                </a:lnTo>
                <a:lnTo>
                  <a:pt x="74" y="164"/>
                </a:lnTo>
                <a:lnTo>
                  <a:pt x="68" y="158"/>
                </a:lnTo>
                <a:lnTo>
                  <a:pt x="66" y="152"/>
                </a:lnTo>
                <a:lnTo>
                  <a:pt x="60" y="146"/>
                </a:lnTo>
                <a:lnTo>
                  <a:pt x="62" y="142"/>
                </a:lnTo>
                <a:lnTo>
                  <a:pt x="60" y="138"/>
                </a:lnTo>
                <a:lnTo>
                  <a:pt x="56" y="128"/>
                </a:lnTo>
                <a:lnTo>
                  <a:pt x="54" y="116"/>
                </a:lnTo>
                <a:lnTo>
                  <a:pt x="50" y="108"/>
                </a:lnTo>
                <a:lnTo>
                  <a:pt x="48" y="106"/>
                </a:lnTo>
                <a:lnTo>
                  <a:pt x="46" y="104"/>
                </a:lnTo>
                <a:lnTo>
                  <a:pt x="46" y="102"/>
                </a:lnTo>
                <a:lnTo>
                  <a:pt x="44" y="90"/>
                </a:lnTo>
                <a:lnTo>
                  <a:pt x="42" y="82"/>
                </a:lnTo>
                <a:lnTo>
                  <a:pt x="36" y="62"/>
                </a:lnTo>
                <a:lnTo>
                  <a:pt x="34" y="60"/>
                </a:lnTo>
                <a:lnTo>
                  <a:pt x="34" y="58"/>
                </a:lnTo>
                <a:lnTo>
                  <a:pt x="32" y="56"/>
                </a:lnTo>
                <a:lnTo>
                  <a:pt x="30" y="56"/>
                </a:lnTo>
                <a:lnTo>
                  <a:pt x="28" y="56"/>
                </a:lnTo>
                <a:lnTo>
                  <a:pt x="26" y="48"/>
                </a:lnTo>
                <a:lnTo>
                  <a:pt x="28" y="30"/>
                </a:lnTo>
                <a:lnTo>
                  <a:pt x="30" y="24"/>
                </a:lnTo>
                <a:lnTo>
                  <a:pt x="30" y="22"/>
                </a:lnTo>
                <a:lnTo>
                  <a:pt x="32" y="20"/>
                </a:lnTo>
                <a:lnTo>
                  <a:pt x="38" y="22"/>
                </a:lnTo>
                <a:lnTo>
                  <a:pt x="42" y="24"/>
                </a:lnTo>
                <a:lnTo>
                  <a:pt x="46" y="28"/>
                </a:lnTo>
                <a:lnTo>
                  <a:pt x="48" y="32"/>
                </a:lnTo>
                <a:lnTo>
                  <a:pt x="52" y="44"/>
                </a:lnTo>
                <a:lnTo>
                  <a:pt x="54" y="56"/>
                </a:lnTo>
                <a:lnTo>
                  <a:pt x="54" y="58"/>
                </a:lnTo>
                <a:lnTo>
                  <a:pt x="52" y="64"/>
                </a:lnTo>
                <a:lnTo>
                  <a:pt x="50" y="70"/>
                </a:lnTo>
                <a:lnTo>
                  <a:pt x="50" y="72"/>
                </a:lnTo>
                <a:lnTo>
                  <a:pt x="52" y="74"/>
                </a:lnTo>
                <a:lnTo>
                  <a:pt x="58" y="74"/>
                </a:lnTo>
                <a:lnTo>
                  <a:pt x="58" y="80"/>
                </a:lnTo>
                <a:lnTo>
                  <a:pt x="62" y="84"/>
                </a:lnTo>
                <a:lnTo>
                  <a:pt x="66" y="88"/>
                </a:lnTo>
                <a:lnTo>
                  <a:pt x="68" y="88"/>
                </a:lnTo>
                <a:lnTo>
                  <a:pt x="72" y="100"/>
                </a:lnTo>
                <a:lnTo>
                  <a:pt x="76" y="106"/>
                </a:lnTo>
                <a:lnTo>
                  <a:pt x="80" y="110"/>
                </a:lnTo>
                <a:lnTo>
                  <a:pt x="84" y="112"/>
                </a:lnTo>
                <a:lnTo>
                  <a:pt x="86" y="114"/>
                </a:lnTo>
                <a:lnTo>
                  <a:pt x="88" y="116"/>
                </a:lnTo>
                <a:lnTo>
                  <a:pt x="86" y="120"/>
                </a:lnTo>
                <a:lnTo>
                  <a:pt x="84" y="126"/>
                </a:lnTo>
                <a:lnTo>
                  <a:pt x="86" y="132"/>
                </a:lnTo>
                <a:lnTo>
                  <a:pt x="92" y="140"/>
                </a:lnTo>
                <a:lnTo>
                  <a:pt x="104" y="154"/>
                </a:lnTo>
                <a:lnTo>
                  <a:pt x="112" y="162"/>
                </a:lnTo>
                <a:lnTo>
                  <a:pt x="118" y="168"/>
                </a:lnTo>
                <a:lnTo>
                  <a:pt x="122" y="178"/>
                </a:lnTo>
                <a:lnTo>
                  <a:pt x="130" y="188"/>
                </a:lnTo>
                <a:lnTo>
                  <a:pt x="130" y="202"/>
                </a:lnTo>
                <a:lnTo>
                  <a:pt x="132" y="206"/>
                </a:lnTo>
                <a:lnTo>
                  <a:pt x="132" y="210"/>
                </a:lnTo>
                <a:lnTo>
                  <a:pt x="132" y="216"/>
                </a:lnTo>
                <a:lnTo>
                  <a:pt x="130" y="220"/>
                </a:lnTo>
                <a:lnTo>
                  <a:pt x="128" y="220"/>
                </a:lnTo>
                <a:lnTo>
                  <a:pt x="128" y="226"/>
                </a:lnTo>
                <a:lnTo>
                  <a:pt x="124" y="226"/>
                </a:lnTo>
                <a:lnTo>
                  <a:pt x="124" y="232"/>
                </a:lnTo>
                <a:lnTo>
                  <a:pt x="126" y="238"/>
                </a:lnTo>
                <a:lnTo>
                  <a:pt x="130" y="244"/>
                </a:lnTo>
                <a:lnTo>
                  <a:pt x="138" y="250"/>
                </a:lnTo>
                <a:lnTo>
                  <a:pt x="148" y="256"/>
                </a:lnTo>
                <a:lnTo>
                  <a:pt x="150" y="262"/>
                </a:lnTo>
                <a:lnTo>
                  <a:pt x="154" y="266"/>
                </a:lnTo>
                <a:lnTo>
                  <a:pt x="158" y="270"/>
                </a:lnTo>
                <a:lnTo>
                  <a:pt x="166" y="270"/>
                </a:lnTo>
                <a:lnTo>
                  <a:pt x="174" y="272"/>
                </a:lnTo>
                <a:lnTo>
                  <a:pt x="178" y="274"/>
                </a:lnTo>
                <a:lnTo>
                  <a:pt x="190" y="284"/>
                </a:lnTo>
                <a:lnTo>
                  <a:pt x="198" y="290"/>
                </a:lnTo>
                <a:lnTo>
                  <a:pt x="204" y="294"/>
                </a:lnTo>
                <a:lnTo>
                  <a:pt x="218" y="300"/>
                </a:lnTo>
                <a:lnTo>
                  <a:pt x="232" y="306"/>
                </a:lnTo>
                <a:lnTo>
                  <a:pt x="246" y="312"/>
                </a:lnTo>
                <a:lnTo>
                  <a:pt x="254" y="314"/>
                </a:lnTo>
                <a:lnTo>
                  <a:pt x="260" y="314"/>
                </a:lnTo>
                <a:lnTo>
                  <a:pt x="266" y="314"/>
                </a:lnTo>
                <a:lnTo>
                  <a:pt x="274" y="308"/>
                </a:lnTo>
                <a:lnTo>
                  <a:pt x="280" y="304"/>
                </a:lnTo>
                <a:lnTo>
                  <a:pt x="286" y="302"/>
                </a:lnTo>
                <a:lnTo>
                  <a:pt x="290" y="304"/>
                </a:lnTo>
                <a:lnTo>
                  <a:pt x="296" y="306"/>
                </a:lnTo>
                <a:lnTo>
                  <a:pt x="306" y="312"/>
                </a:lnTo>
                <a:lnTo>
                  <a:pt x="314" y="320"/>
                </a:lnTo>
                <a:lnTo>
                  <a:pt x="318" y="328"/>
                </a:lnTo>
                <a:lnTo>
                  <a:pt x="324" y="336"/>
                </a:lnTo>
                <a:lnTo>
                  <a:pt x="328" y="324"/>
                </a:lnTo>
                <a:lnTo>
                  <a:pt x="330" y="318"/>
                </a:lnTo>
                <a:lnTo>
                  <a:pt x="334" y="312"/>
                </a:lnTo>
                <a:lnTo>
                  <a:pt x="354" y="312"/>
                </a:lnTo>
                <a:lnTo>
                  <a:pt x="354" y="306"/>
                </a:lnTo>
                <a:lnTo>
                  <a:pt x="352" y="302"/>
                </a:lnTo>
                <a:lnTo>
                  <a:pt x="348" y="300"/>
                </a:lnTo>
                <a:lnTo>
                  <a:pt x="346" y="296"/>
                </a:lnTo>
                <a:lnTo>
                  <a:pt x="344" y="292"/>
                </a:lnTo>
                <a:lnTo>
                  <a:pt x="348" y="284"/>
                </a:lnTo>
                <a:lnTo>
                  <a:pt x="352" y="280"/>
                </a:lnTo>
                <a:lnTo>
                  <a:pt x="356" y="278"/>
                </a:lnTo>
                <a:lnTo>
                  <a:pt x="380" y="278"/>
                </a:lnTo>
                <a:lnTo>
                  <a:pt x="384" y="278"/>
                </a:lnTo>
                <a:lnTo>
                  <a:pt x="386" y="276"/>
                </a:lnTo>
                <a:lnTo>
                  <a:pt x="388" y="274"/>
                </a:lnTo>
                <a:lnTo>
                  <a:pt x="390" y="270"/>
                </a:lnTo>
                <a:lnTo>
                  <a:pt x="392" y="268"/>
                </a:lnTo>
                <a:lnTo>
                  <a:pt x="396" y="268"/>
                </a:lnTo>
                <a:lnTo>
                  <a:pt x="398" y="270"/>
                </a:lnTo>
                <a:lnTo>
                  <a:pt x="398" y="274"/>
                </a:lnTo>
                <a:lnTo>
                  <a:pt x="400" y="27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Freeform 50">
            <a:extLst>
              <a:ext uri="{FF2B5EF4-FFF2-40B4-BE49-F238E27FC236}">
                <a16:creationId xmlns:a16="http://schemas.microsoft.com/office/drawing/2014/main" id="{3D4C712F-6689-4D68-A3D3-D50186E8E585}"/>
              </a:ext>
            </a:extLst>
          </p:cNvPr>
          <p:cNvSpPr>
            <a:spLocks/>
          </p:cNvSpPr>
          <p:nvPr/>
        </p:nvSpPr>
        <p:spPr bwMode="auto">
          <a:xfrm>
            <a:off x="1512350" y="3096183"/>
            <a:ext cx="319817" cy="115266"/>
          </a:xfrm>
          <a:custGeom>
            <a:avLst/>
            <a:gdLst/>
            <a:ahLst/>
            <a:cxnLst>
              <a:cxn ang="0">
                <a:pos x="44" y="18"/>
              </a:cxn>
              <a:cxn ang="0">
                <a:pos x="44" y="16"/>
              </a:cxn>
              <a:cxn ang="0">
                <a:pos x="48" y="16"/>
              </a:cxn>
              <a:cxn ang="0">
                <a:pos x="48" y="12"/>
              </a:cxn>
              <a:cxn ang="0">
                <a:pos x="44" y="10"/>
              </a:cxn>
              <a:cxn ang="0">
                <a:pos x="44" y="12"/>
              </a:cxn>
              <a:cxn ang="0">
                <a:pos x="36" y="12"/>
              </a:cxn>
              <a:cxn ang="0">
                <a:pos x="30" y="16"/>
              </a:cxn>
              <a:cxn ang="0">
                <a:pos x="22" y="18"/>
              </a:cxn>
              <a:cxn ang="0">
                <a:pos x="16" y="20"/>
              </a:cxn>
              <a:cxn ang="0">
                <a:pos x="14" y="22"/>
              </a:cxn>
              <a:cxn ang="0">
                <a:pos x="12" y="24"/>
              </a:cxn>
              <a:cxn ang="0">
                <a:pos x="6" y="26"/>
              </a:cxn>
              <a:cxn ang="0">
                <a:pos x="0" y="26"/>
              </a:cxn>
              <a:cxn ang="0">
                <a:pos x="4" y="24"/>
              </a:cxn>
              <a:cxn ang="0">
                <a:pos x="6" y="24"/>
              </a:cxn>
              <a:cxn ang="0">
                <a:pos x="8" y="18"/>
              </a:cxn>
              <a:cxn ang="0">
                <a:pos x="12" y="14"/>
              </a:cxn>
              <a:cxn ang="0">
                <a:pos x="18" y="10"/>
              </a:cxn>
              <a:cxn ang="0">
                <a:pos x="24" y="6"/>
              </a:cxn>
              <a:cxn ang="0">
                <a:pos x="42" y="0"/>
              </a:cxn>
              <a:cxn ang="0">
                <a:pos x="56" y="0"/>
              </a:cxn>
              <a:cxn ang="0">
                <a:pos x="60" y="0"/>
              </a:cxn>
              <a:cxn ang="0">
                <a:pos x="62" y="2"/>
              </a:cxn>
              <a:cxn ang="0">
                <a:pos x="66" y="4"/>
              </a:cxn>
              <a:cxn ang="0">
                <a:pos x="78" y="8"/>
              </a:cxn>
              <a:cxn ang="0">
                <a:pos x="86" y="16"/>
              </a:cxn>
              <a:cxn ang="0">
                <a:pos x="90" y="16"/>
              </a:cxn>
              <a:cxn ang="0">
                <a:pos x="96" y="16"/>
              </a:cxn>
              <a:cxn ang="0">
                <a:pos x="102" y="18"/>
              </a:cxn>
              <a:cxn ang="0">
                <a:pos x="114" y="24"/>
              </a:cxn>
              <a:cxn ang="0">
                <a:pos x="122" y="32"/>
              </a:cxn>
              <a:cxn ang="0">
                <a:pos x="130" y="38"/>
              </a:cxn>
              <a:cxn ang="0">
                <a:pos x="142" y="42"/>
              </a:cxn>
              <a:cxn ang="0">
                <a:pos x="140" y="44"/>
              </a:cxn>
              <a:cxn ang="0">
                <a:pos x="154" y="48"/>
              </a:cxn>
              <a:cxn ang="0">
                <a:pos x="160" y="52"/>
              </a:cxn>
              <a:cxn ang="0">
                <a:pos x="162" y="58"/>
              </a:cxn>
              <a:cxn ang="0">
                <a:pos x="154" y="60"/>
              </a:cxn>
              <a:cxn ang="0">
                <a:pos x="152" y="60"/>
              </a:cxn>
              <a:cxn ang="0">
                <a:pos x="152" y="62"/>
              </a:cxn>
              <a:cxn ang="0">
                <a:pos x="142" y="64"/>
              </a:cxn>
              <a:cxn ang="0">
                <a:pos x="130" y="64"/>
              </a:cxn>
              <a:cxn ang="0">
                <a:pos x="108" y="62"/>
              </a:cxn>
              <a:cxn ang="0">
                <a:pos x="112" y="58"/>
              </a:cxn>
              <a:cxn ang="0">
                <a:pos x="118" y="52"/>
              </a:cxn>
              <a:cxn ang="0">
                <a:pos x="118" y="48"/>
              </a:cxn>
              <a:cxn ang="0">
                <a:pos x="110" y="48"/>
              </a:cxn>
              <a:cxn ang="0">
                <a:pos x="102" y="46"/>
              </a:cxn>
              <a:cxn ang="0">
                <a:pos x="100" y="44"/>
              </a:cxn>
              <a:cxn ang="0">
                <a:pos x="98" y="38"/>
              </a:cxn>
              <a:cxn ang="0">
                <a:pos x="98" y="34"/>
              </a:cxn>
              <a:cxn ang="0">
                <a:pos x="96" y="32"/>
              </a:cxn>
              <a:cxn ang="0">
                <a:pos x="92" y="30"/>
              </a:cxn>
              <a:cxn ang="0">
                <a:pos x="78" y="30"/>
              </a:cxn>
              <a:cxn ang="0">
                <a:pos x="76" y="28"/>
              </a:cxn>
              <a:cxn ang="0">
                <a:pos x="72" y="26"/>
              </a:cxn>
              <a:cxn ang="0">
                <a:pos x="60" y="22"/>
              </a:cxn>
              <a:cxn ang="0">
                <a:pos x="50" y="18"/>
              </a:cxn>
              <a:cxn ang="0">
                <a:pos x="44" y="16"/>
              </a:cxn>
              <a:cxn ang="0">
                <a:pos x="44" y="18"/>
              </a:cxn>
            </a:cxnLst>
            <a:rect l="0" t="0" r="r" b="b"/>
            <a:pathLst>
              <a:path w="162" h="64">
                <a:moveTo>
                  <a:pt x="44" y="18"/>
                </a:moveTo>
                <a:lnTo>
                  <a:pt x="44" y="16"/>
                </a:lnTo>
                <a:lnTo>
                  <a:pt x="48" y="16"/>
                </a:lnTo>
                <a:lnTo>
                  <a:pt x="48" y="12"/>
                </a:lnTo>
                <a:lnTo>
                  <a:pt x="44" y="10"/>
                </a:lnTo>
                <a:lnTo>
                  <a:pt x="44" y="12"/>
                </a:lnTo>
                <a:lnTo>
                  <a:pt x="36" y="12"/>
                </a:lnTo>
                <a:lnTo>
                  <a:pt x="30" y="16"/>
                </a:lnTo>
                <a:lnTo>
                  <a:pt x="22" y="18"/>
                </a:lnTo>
                <a:lnTo>
                  <a:pt x="16" y="20"/>
                </a:lnTo>
                <a:lnTo>
                  <a:pt x="14" y="22"/>
                </a:lnTo>
                <a:lnTo>
                  <a:pt x="12" y="24"/>
                </a:lnTo>
                <a:lnTo>
                  <a:pt x="6" y="26"/>
                </a:lnTo>
                <a:lnTo>
                  <a:pt x="0" y="26"/>
                </a:lnTo>
                <a:lnTo>
                  <a:pt x="4" y="24"/>
                </a:lnTo>
                <a:lnTo>
                  <a:pt x="6" y="24"/>
                </a:lnTo>
                <a:lnTo>
                  <a:pt x="8" y="18"/>
                </a:lnTo>
                <a:lnTo>
                  <a:pt x="12" y="14"/>
                </a:lnTo>
                <a:lnTo>
                  <a:pt x="18" y="10"/>
                </a:lnTo>
                <a:lnTo>
                  <a:pt x="24" y="6"/>
                </a:lnTo>
                <a:lnTo>
                  <a:pt x="42" y="0"/>
                </a:lnTo>
                <a:lnTo>
                  <a:pt x="56" y="0"/>
                </a:lnTo>
                <a:lnTo>
                  <a:pt x="60" y="0"/>
                </a:lnTo>
                <a:lnTo>
                  <a:pt x="62" y="2"/>
                </a:lnTo>
                <a:lnTo>
                  <a:pt x="66" y="4"/>
                </a:lnTo>
                <a:lnTo>
                  <a:pt x="78" y="8"/>
                </a:lnTo>
                <a:lnTo>
                  <a:pt x="86" y="16"/>
                </a:lnTo>
                <a:lnTo>
                  <a:pt x="90" y="16"/>
                </a:lnTo>
                <a:lnTo>
                  <a:pt x="96" y="16"/>
                </a:lnTo>
                <a:lnTo>
                  <a:pt x="102" y="18"/>
                </a:lnTo>
                <a:lnTo>
                  <a:pt x="114" y="24"/>
                </a:lnTo>
                <a:lnTo>
                  <a:pt x="122" y="32"/>
                </a:lnTo>
                <a:lnTo>
                  <a:pt x="130" y="38"/>
                </a:lnTo>
                <a:lnTo>
                  <a:pt x="142" y="42"/>
                </a:lnTo>
                <a:lnTo>
                  <a:pt x="140" y="44"/>
                </a:lnTo>
                <a:lnTo>
                  <a:pt x="154" y="48"/>
                </a:lnTo>
                <a:lnTo>
                  <a:pt x="160" y="52"/>
                </a:lnTo>
                <a:lnTo>
                  <a:pt x="162" y="58"/>
                </a:lnTo>
                <a:lnTo>
                  <a:pt x="154" y="60"/>
                </a:lnTo>
                <a:lnTo>
                  <a:pt x="152" y="60"/>
                </a:lnTo>
                <a:lnTo>
                  <a:pt x="152" y="62"/>
                </a:lnTo>
                <a:lnTo>
                  <a:pt x="142" y="64"/>
                </a:lnTo>
                <a:lnTo>
                  <a:pt x="130" y="64"/>
                </a:lnTo>
                <a:lnTo>
                  <a:pt x="108" y="62"/>
                </a:lnTo>
                <a:lnTo>
                  <a:pt x="112" y="58"/>
                </a:lnTo>
                <a:lnTo>
                  <a:pt x="118" y="52"/>
                </a:lnTo>
                <a:lnTo>
                  <a:pt x="118" y="48"/>
                </a:lnTo>
                <a:lnTo>
                  <a:pt x="110" y="48"/>
                </a:lnTo>
                <a:lnTo>
                  <a:pt x="102" y="46"/>
                </a:lnTo>
                <a:lnTo>
                  <a:pt x="100" y="44"/>
                </a:lnTo>
                <a:lnTo>
                  <a:pt x="98" y="38"/>
                </a:lnTo>
                <a:lnTo>
                  <a:pt x="98" y="34"/>
                </a:lnTo>
                <a:lnTo>
                  <a:pt x="96" y="32"/>
                </a:lnTo>
                <a:lnTo>
                  <a:pt x="92" y="30"/>
                </a:lnTo>
                <a:lnTo>
                  <a:pt x="78" y="30"/>
                </a:lnTo>
                <a:lnTo>
                  <a:pt x="76" y="28"/>
                </a:lnTo>
                <a:lnTo>
                  <a:pt x="72" y="26"/>
                </a:lnTo>
                <a:lnTo>
                  <a:pt x="60" y="22"/>
                </a:lnTo>
                <a:lnTo>
                  <a:pt x="50" y="18"/>
                </a:lnTo>
                <a:lnTo>
                  <a:pt x="44" y="16"/>
                </a:lnTo>
                <a:lnTo>
                  <a:pt x="44" y="1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Freeform 51">
            <a:extLst>
              <a:ext uri="{FF2B5EF4-FFF2-40B4-BE49-F238E27FC236}">
                <a16:creationId xmlns:a16="http://schemas.microsoft.com/office/drawing/2014/main" id="{169D0928-09C1-499E-B673-AF317B50B819}"/>
              </a:ext>
            </a:extLst>
          </p:cNvPr>
          <p:cNvSpPr>
            <a:spLocks/>
          </p:cNvSpPr>
          <p:nvPr/>
        </p:nvSpPr>
        <p:spPr bwMode="auto">
          <a:xfrm>
            <a:off x="1929366" y="3250411"/>
            <a:ext cx="58148" cy="24352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0" y="4"/>
              </a:cxn>
              <a:cxn ang="0">
                <a:pos x="2" y="2"/>
              </a:cxn>
              <a:cxn ang="0">
                <a:pos x="6" y="0"/>
              </a:cxn>
              <a:cxn ang="0">
                <a:pos x="12" y="0"/>
              </a:cxn>
              <a:cxn ang="0">
                <a:pos x="20" y="4"/>
              </a:cxn>
              <a:cxn ang="0">
                <a:pos x="30" y="12"/>
              </a:cxn>
              <a:cxn ang="0">
                <a:pos x="26" y="12"/>
              </a:cxn>
              <a:cxn ang="0">
                <a:pos x="20" y="14"/>
              </a:cxn>
              <a:cxn ang="0">
                <a:pos x="8" y="12"/>
              </a:cxn>
              <a:cxn ang="0">
                <a:pos x="4" y="10"/>
              </a:cxn>
              <a:cxn ang="0">
                <a:pos x="0" y="6"/>
              </a:cxn>
              <a:cxn ang="0">
                <a:pos x="0" y="8"/>
              </a:cxn>
            </a:cxnLst>
            <a:rect l="0" t="0" r="r" b="b"/>
            <a:pathLst>
              <a:path w="30" h="14">
                <a:moveTo>
                  <a:pt x="0" y="8"/>
                </a:moveTo>
                <a:lnTo>
                  <a:pt x="0" y="4"/>
                </a:lnTo>
                <a:lnTo>
                  <a:pt x="2" y="2"/>
                </a:lnTo>
                <a:lnTo>
                  <a:pt x="6" y="0"/>
                </a:lnTo>
                <a:lnTo>
                  <a:pt x="12" y="0"/>
                </a:lnTo>
                <a:lnTo>
                  <a:pt x="20" y="4"/>
                </a:lnTo>
                <a:lnTo>
                  <a:pt x="30" y="12"/>
                </a:lnTo>
                <a:lnTo>
                  <a:pt x="26" y="12"/>
                </a:lnTo>
                <a:lnTo>
                  <a:pt x="20" y="14"/>
                </a:lnTo>
                <a:lnTo>
                  <a:pt x="8" y="12"/>
                </a:lnTo>
                <a:lnTo>
                  <a:pt x="4" y="10"/>
                </a:lnTo>
                <a:lnTo>
                  <a:pt x="0" y="6"/>
                </a:lnTo>
                <a:lnTo>
                  <a:pt x="0" y="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Freeform 52">
            <a:extLst>
              <a:ext uri="{FF2B5EF4-FFF2-40B4-BE49-F238E27FC236}">
                <a16:creationId xmlns:a16="http://schemas.microsoft.com/office/drawing/2014/main" id="{A011EE51-FE66-4527-9FA2-82C1C3BF7DE1}"/>
              </a:ext>
            </a:extLst>
          </p:cNvPr>
          <p:cNvSpPr>
            <a:spLocks/>
          </p:cNvSpPr>
          <p:nvPr/>
        </p:nvSpPr>
        <p:spPr bwMode="auto">
          <a:xfrm>
            <a:off x="2262863" y="3250414"/>
            <a:ext cx="53018" cy="21105"/>
          </a:xfrm>
          <a:custGeom>
            <a:avLst/>
            <a:gdLst/>
            <a:ahLst/>
            <a:cxnLst>
              <a:cxn ang="0">
                <a:pos x="10" y="2"/>
              </a:cxn>
              <a:cxn ang="0">
                <a:pos x="24" y="0"/>
              </a:cxn>
              <a:cxn ang="0">
                <a:pos x="24" y="2"/>
              </a:cxn>
              <a:cxn ang="0">
                <a:pos x="26" y="6"/>
              </a:cxn>
              <a:cxn ang="0">
                <a:pos x="24" y="8"/>
              </a:cxn>
              <a:cxn ang="0">
                <a:pos x="22" y="10"/>
              </a:cxn>
              <a:cxn ang="0">
                <a:pos x="12" y="12"/>
              </a:cxn>
              <a:cxn ang="0">
                <a:pos x="4" y="10"/>
              </a:cxn>
              <a:cxn ang="0">
                <a:pos x="0" y="8"/>
              </a:cxn>
              <a:cxn ang="0">
                <a:pos x="0" y="2"/>
              </a:cxn>
              <a:cxn ang="0">
                <a:pos x="10" y="2"/>
              </a:cxn>
            </a:cxnLst>
            <a:rect l="0" t="0" r="r" b="b"/>
            <a:pathLst>
              <a:path w="26" h="12">
                <a:moveTo>
                  <a:pt x="10" y="2"/>
                </a:moveTo>
                <a:lnTo>
                  <a:pt x="24" y="0"/>
                </a:lnTo>
                <a:lnTo>
                  <a:pt x="24" y="2"/>
                </a:lnTo>
                <a:lnTo>
                  <a:pt x="26" y="6"/>
                </a:lnTo>
                <a:lnTo>
                  <a:pt x="24" y="8"/>
                </a:lnTo>
                <a:lnTo>
                  <a:pt x="22" y="10"/>
                </a:lnTo>
                <a:lnTo>
                  <a:pt x="12" y="12"/>
                </a:lnTo>
                <a:lnTo>
                  <a:pt x="4" y="10"/>
                </a:lnTo>
                <a:lnTo>
                  <a:pt x="0" y="8"/>
                </a:lnTo>
                <a:lnTo>
                  <a:pt x="0" y="2"/>
                </a:lnTo>
                <a:lnTo>
                  <a:pt x="10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Freeform 53">
            <a:extLst>
              <a:ext uri="{FF2B5EF4-FFF2-40B4-BE49-F238E27FC236}">
                <a16:creationId xmlns:a16="http://schemas.microsoft.com/office/drawing/2014/main" id="{917FE9B6-5FDB-4169-B614-0583D8C6EF69}"/>
              </a:ext>
            </a:extLst>
          </p:cNvPr>
          <p:cNvSpPr>
            <a:spLocks/>
          </p:cNvSpPr>
          <p:nvPr/>
        </p:nvSpPr>
        <p:spPr bwMode="auto">
          <a:xfrm>
            <a:off x="1953307" y="3039362"/>
            <a:ext cx="18813" cy="24352"/>
          </a:xfrm>
          <a:custGeom>
            <a:avLst/>
            <a:gdLst/>
            <a:ahLst/>
            <a:cxnLst>
              <a:cxn ang="0">
                <a:pos x="10" y="8"/>
              </a:cxn>
              <a:cxn ang="0">
                <a:pos x="8" y="12"/>
              </a:cxn>
              <a:cxn ang="0">
                <a:pos x="4" y="14"/>
              </a:cxn>
              <a:cxn ang="0">
                <a:pos x="2" y="12"/>
              </a:cxn>
              <a:cxn ang="0">
                <a:pos x="0" y="8"/>
              </a:cxn>
              <a:cxn ang="0">
                <a:pos x="2" y="4"/>
              </a:cxn>
              <a:cxn ang="0">
                <a:pos x="4" y="0"/>
              </a:cxn>
              <a:cxn ang="0">
                <a:pos x="8" y="2"/>
              </a:cxn>
              <a:cxn ang="0">
                <a:pos x="10" y="8"/>
              </a:cxn>
            </a:cxnLst>
            <a:rect l="0" t="0" r="r" b="b"/>
            <a:pathLst>
              <a:path w="10" h="14">
                <a:moveTo>
                  <a:pt x="10" y="8"/>
                </a:moveTo>
                <a:lnTo>
                  <a:pt x="8" y="12"/>
                </a:lnTo>
                <a:lnTo>
                  <a:pt x="4" y="14"/>
                </a:lnTo>
                <a:lnTo>
                  <a:pt x="2" y="12"/>
                </a:lnTo>
                <a:lnTo>
                  <a:pt x="0" y="8"/>
                </a:lnTo>
                <a:lnTo>
                  <a:pt x="2" y="4"/>
                </a:lnTo>
                <a:lnTo>
                  <a:pt x="4" y="0"/>
                </a:lnTo>
                <a:lnTo>
                  <a:pt x="8" y="2"/>
                </a:lnTo>
                <a:lnTo>
                  <a:pt x="10" y="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Freeform 54">
            <a:extLst>
              <a:ext uri="{FF2B5EF4-FFF2-40B4-BE49-F238E27FC236}">
                <a16:creationId xmlns:a16="http://schemas.microsoft.com/office/drawing/2014/main" id="{A975F3E6-1326-45A1-8546-8122D27224AB}"/>
              </a:ext>
            </a:extLst>
          </p:cNvPr>
          <p:cNvSpPr>
            <a:spLocks/>
          </p:cNvSpPr>
          <p:nvPr/>
        </p:nvSpPr>
        <p:spPr bwMode="auto">
          <a:xfrm>
            <a:off x="1749788" y="3539390"/>
            <a:ext cx="174445" cy="74679"/>
          </a:xfrm>
          <a:custGeom>
            <a:avLst/>
            <a:gdLst/>
            <a:ahLst/>
            <a:cxnLst>
              <a:cxn ang="0">
                <a:pos x="0" y="22"/>
              </a:cxn>
              <a:cxn ang="0">
                <a:pos x="0" y="18"/>
              </a:cxn>
              <a:cxn ang="0">
                <a:pos x="0" y="14"/>
              </a:cxn>
              <a:cxn ang="0">
                <a:pos x="0" y="6"/>
              </a:cxn>
              <a:cxn ang="0">
                <a:pos x="2" y="6"/>
              </a:cxn>
              <a:cxn ang="0">
                <a:pos x="8" y="6"/>
              </a:cxn>
              <a:cxn ang="0">
                <a:pos x="12" y="10"/>
              </a:cxn>
              <a:cxn ang="0">
                <a:pos x="16" y="10"/>
              </a:cxn>
              <a:cxn ang="0">
                <a:pos x="20" y="14"/>
              </a:cxn>
              <a:cxn ang="0">
                <a:pos x="26" y="14"/>
              </a:cxn>
              <a:cxn ang="0">
                <a:pos x="30" y="14"/>
              </a:cxn>
              <a:cxn ang="0">
                <a:pos x="36" y="12"/>
              </a:cxn>
              <a:cxn ang="0">
                <a:pos x="38" y="8"/>
              </a:cxn>
              <a:cxn ang="0">
                <a:pos x="44" y="2"/>
              </a:cxn>
              <a:cxn ang="0">
                <a:pos x="48" y="0"/>
              </a:cxn>
              <a:cxn ang="0">
                <a:pos x="52" y="0"/>
              </a:cxn>
              <a:cxn ang="0">
                <a:pos x="62" y="2"/>
              </a:cxn>
              <a:cxn ang="0">
                <a:pos x="70" y="8"/>
              </a:cxn>
              <a:cxn ang="0">
                <a:pos x="80" y="14"/>
              </a:cxn>
              <a:cxn ang="0">
                <a:pos x="86" y="18"/>
              </a:cxn>
              <a:cxn ang="0">
                <a:pos x="88" y="18"/>
              </a:cxn>
              <a:cxn ang="0">
                <a:pos x="86" y="20"/>
              </a:cxn>
              <a:cxn ang="0">
                <a:pos x="86" y="26"/>
              </a:cxn>
              <a:cxn ang="0">
                <a:pos x="88" y="32"/>
              </a:cxn>
              <a:cxn ang="0">
                <a:pos x="86" y="34"/>
              </a:cxn>
              <a:cxn ang="0">
                <a:pos x="82" y="38"/>
              </a:cxn>
              <a:cxn ang="0">
                <a:pos x="76" y="42"/>
              </a:cxn>
              <a:cxn ang="0">
                <a:pos x="70" y="30"/>
              </a:cxn>
              <a:cxn ang="0">
                <a:pos x="70" y="26"/>
              </a:cxn>
              <a:cxn ang="0">
                <a:pos x="76" y="26"/>
              </a:cxn>
              <a:cxn ang="0">
                <a:pos x="68" y="16"/>
              </a:cxn>
              <a:cxn ang="0">
                <a:pos x="64" y="14"/>
              </a:cxn>
              <a:cxn ang="0">
                <a:pos x="56" y="14"/>
              </a:cxn>
              <a:cxn ang="0">
                <a:pos x="52" y="14"/>
              </a:cxn>
              <a:cxn ang="0">
                <a:pos x="46" y="20"/>
              </a:cxn>
              <a:cxn ang="0">
                <a:pos x="38" y="30"/>
              </a:cxn>
              <a:cxn ang="0">
                <a:pos x="40" y="32"/>
              </a:cxn>
              <a:cxn ang="0">
                <a:pos x="44" y="32"/>
              </a:cxn>
              <a:cxn ang="0">
                <a:pos x="44" y="38"/>
              </a:cxn>
              <a:cxn ang="0">
                <a:pos x="42" y="42"/>
              </a:cxn>
              <a:cxn ang="0">
                <a:pos x="38" y="42"/>
              </a:cxn>
              <a:cxn ang="0">
                <a:pos x="36" y="42"/>
              </a:cxn>
              <a:cxn ang="0">
                <a:pos x="32" y="42"/>
              </a:cxn>
              <a:cxn ang="0">
                <a:pos x="30" y="42"/>
              </a:cxn>
              <a:cxn ang="0">
                <a:pos x="30" y="36"/>
              </a:cxn>
              <a:cxn ang="0">
                <a:pos x="24" y="34"/>
              </a:cxn>
              <a:cxn ang="0">
                <a:pos x="20" y="32"/>
              </a:cxn>
              <a:cxn ang="0">
                <a:pos x="16" y="30"/>
              </a:cxn>
              <a:cxn ang="0">
                <a:pos x="12" y="26"/>
              </a:cxn>
              <a:cxn ang="0">
                <a:pos x="0" y="22"/>
              </a:cxn>
            </a:cxnLst>
            <a:rect l="0" t="0" r="r" b="b"/>
            <a:pathLst>
              <a:path w="88" h="42">
                <a:moveTo>
                  <a:pt x="0" y="22"/>
                </a:moveTo>
                <a:lnTo>
                  <a:pt x="0" y="18"/>
                </a:lnTo>
                <a:lnTo>
                  <a:pt x="0" y="14"/>
                </a:lnTo>
                <a:lnTo>
                  <a:pt x="0" y="6"/>
                </a:lnTo>
                <a:lnTo>
                  <a:pt x="2" y="6"/>
                </a:lnTo>
                <a:lnTo>
                  <a:pt x="8" y="6"/>
                </a:lnTo>
                <a:lnTo>
                  <a:pt x="12" y="10"/>
                </a:lnTo>
                <a:lnTo>
                  <a:pt x="16" y="10"/>
                </a:lnTo>
                <a:lnTo>
                  <a:pt x="20" y="14"/>
                </a:lnTo>
                <a:lnTo>
                  <a:pt x="26" y="14"/>
                </a:lnTo>
                <a:lnTo>
                  <a:pt x="30" y="14"/>
                </a:lnTo>
                <a:lnTo>
                  <a:pt x="36" y="12"/>
                </a:lnTo>
                <a:lnTo>
                  <a:pt x="38" y="8"/>
                </a:lnTo>
                <a:lnTo>
                  <a:pt x="44" y="2"/>
                </a:lnTo>
                <a:lnTo>
                  <a:pt x="48" y="0"/>
                </a:lnTo>
                <a:lnTo>
                  <a:pt x="52" y="0"/>
                </a:lnTo>
                <a:lnTo>
                  <a:pt x="62" y="2"/>
                </a:lnTo>
                <a:lnTo>
                  <a:pt x="70" y="8"/>
                </a:lnTo>
                <a:lnTo>
                  <a:pt x="80" y="14"/>
                </a:lnTo>
                <a:lnTo>
                  <a:pt x="86" y="18"/>
                </a:lnTo>
                <a:lnTo>
                  <a:pt x="88" y="18"/>
                </a:lnTo>
                <a:lnTo>
                  <a:pt x="86" y="20"/>
                </a:lnTo>
                <a:lnTo>
                  <a:pt x="86" y="26"/>
                </a:lnTo>
                <a:lnTo>
                  <a:pt x="88" y="32"/>
                </a:lnTo>
                <a:lnTo>
                  <a:pt x="86" y="34"/>
                </a:lnTo>
                <a:lnTo>
                  <a:pt x="82" y="38"/>
                </a:lnTo>
                <a:lnTo>
                  <a:pt x="76" y="42"/>
                </a:lnTo>
                <a:lnTo>
                  <a:pt x="70" y="30"/>
                </a:lnTo>
                <a:lnTo>
                  <a:pt x="70" y="26"/>
                </a:lnTo>
                <a:lnTo>
                  <a:pt x="76" y="26"/>
                </a:lnTo>
                <a:lnTo>
                  <a:pt x="68" y="16"/>
                </a:lnTo>
                <a:lnTo>
                  <a:pt x="64" y="14"/>
                </a:lnTo>
                <a:lnTo>
                  <a:pt x="56" y="14"/>
                </a:lnTo>
                <a:lnTo>
                  <a:pt x="52" y="14"/>
                </a:lnTo>
                <a:lnTo>
                  <a:pt x="46" y="20"/>
                </a:lnTo>
                <a:lnTo>
                  <a:pt x="38" y="30"/>
                </a:lnTo>
                <a:lnTo>
                  <a:pt x="40" y="32"/>
                </a:lnTo>
                <a:lnTo>
                  <a:pt x="44" y="32"/>
                </a:lnTo>
                <a:lnTo>
                  <a:pt x="44" y="38"/>
                </a:lnTo>
                <a:lnTo>
                  <a:pt x="42" y="42"/>
                </a:lnTo>
                <a:lnTo>
                  <a:pt x="38" y="42"/>
                </a:lnTo>
                <a:lnTo>
                  <a:pt x="36" y="42"/>
                </a:lnTo>
                <a:lnTo>
                  <a:pt x="32" y="42"/>
                </a:lnTo>
                <a:lnTo>
                  <a:pt x="30" y="42"/>
                </a:lnTo>
                <a:lnTo>
                  <a:pt x="30" y="36"/>
                </a:lnTo>
                <a:lnTo>
                  <a:pt x="24" y="34"/>
                </a:lnTo>
                <a:lnTo>
                  <a:pt x="20" y="32"/>
                </a:lnTo>
                <a:lnTo>
                  <a:pt x="16" y="30"/>
                </a:lnTo>
                <a:lnTo>
                  <a:pt x="12" y="26"/>
                </a:lnTo>
                <a:lnTo>
                  <a:pt x="0" y="2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Freeform 55">
            <a:extLst>
              <a:ext uri="{FF2B5EF4-FFF2-40B4-BE49-F238E27FC236}">
                <a16:creationId xmlns:a16="http://schemas.microsoft.com/office/drawing/2014/main" id="{A14F4A03-9A75-4EF7-95A3-A21BF2450A68}"/>
              </a:ext>
            </a:extLst>
          </p:cNvPr>
          <p:cNvSpPr>
            <a:spLocks/>
          </p:cNvSpPr>
          <p:nvPr/>
        </p:nvSpPr>
        <p:spPr bwMode="auto">
          <a:xfrm>
            <a:off x="1659145" y="3500424"/>
            <a:ext cx="107746" cy="77926"/>
          </a:xfrm>
          <a:custGeom>
            <a:avLst/>
            <a:gdLst/>
            <a:ahLst/>
            <a:cxnLst>
              <a:cxn ang="0">
                <a:pos x="38" y="6"/>
              </a:cxn>
              <a:cxn ang="0">
                <a:pos x="46" y="18"/>
              </a:cxn>
              <a:cxn ang="0">
                <a:pos x="54" y="28"/>
              </a:cxn>
              <a:cxn ang="0">
                <a:pos x="46" y="28"/>
              </a:cxn>
              <a:cxn ang="0">
                <a:pos x="46" y="44"/>
              </a:cxn>
              <a:cxn ang="0">
                <a:pos x="32" y="40"/>
              </a:cxn>
              <a:cxn ang="0">
                <a:pos x="34" y="36"/>
              </a:cxn>
              <a:cxn ang="0">
                <a:pos x="34" y="34"/>
              </a:cxn>
              <a:cxn ang="0">
                <a:pos x="24" y="22"/>
              </a:cxn>
              <a:cxn ang="0">
                <a:pos x="18" y="16"/>
              </a:cxn>
              <a:cxn ang="0">
                <a:pos x="12" y="14"/>
              </a:cxn>
              <a:cxn ang="0">
                <a:pos x="16" y="22"/>
              </a:cxn>
              <a:cxn ang="0">
                <a:pos x="12" y="22"/>
              </a:cxn>
              <a:cxn ang="0">
                <a:pos x="8" y="22"/>
              </a:cxn>
              <a:cxn ang="0">
                <a:pos x="4" y="20"/>
              </a:cxn>
              <a:cxn ang="0">
                <a:pos x="2" y="16"/>
              </a:cxn>
              <a:cxn ang="0">
                <a:pos x="0" y="12"/>
              </a:cxn>
              <a:cxn ang="0">
                <a:pos x="2" y="8"/>
              </a:cxn>
              <a:cxn ang="0">
                <a:pos x="2" y="6"/>
              </a:cxn>
              <a:cxn ang="0">
                <a:pos x="2" y="4"/>
              </a:cxn>
              <a:cxn ang="0">
                <a:pos x="4" y="0"/>
              </a:cxn>
              <a:cxn ang="0">
                <a:pos x="20" y="4"/>
              </a:cxn>
              <a:cxn ang="0">
                <a:pos x="38" y="6"/>
              </a:cxn>
            </a:cxnLst>
            <a:rect l="0" t="0" r="r" b="b"/>
            <a:pathLst>
              <a:path w="54" h="44">
                <a:moveTo>
                  <a:pt x="38" y="6"/>
                </a:moveTo>
                <a:lnTo>
                  <a:pt x="46" y="18"/>
                </a:lnTo>
                <a:lnTo>
                  <a:pt x="54" y="28"/>
                </a:lnTo>
                <a:lnTo>
                  <a:pt x="46" y="28"/>
                </a:lnTo>
                <a:lnTo>
                  <a:pt x="46" y="44"/>
                </a:lnTo>
                <a:lnTo>
                  <a:pt x="32" y="40"/>
                </a:lnTo>
                <a:lnTo>
                  <a:pt x="34" y="36"/>
                </a:lnTo>
                <a:lnTo>
                  <a:pt x="34" y="34"/>
                </a:lnTo>
                <a:lnTo>
                  <a:pt x="24" y="22"/>
                </a:lnTo>
                <a:lnTo>
                  <a:pt x="18" y="16"/>
                </a:lnTo>
                <a:lnTo>
                  <a:pt x="12" y="14"/>
                </a:lnTo>
                <a:lnTo>
                  <a:pt x="16" y="22"/>
                </a:lnTo>
                <a:lnTo>
                  <a:pt x="12" y="22"/>
                </a:lnTo>
                <a:lnTo>
                  <a:pt x="8" y="22"/>
                </a:lnTo>
                <a:lnTo>
                  <a:pt x="4" y="20"/>
                </a:lnTo>
                <a:lnTo>
                  <a:pt x="2" y="16"/>
                </a:lnTo>
                <a:lnTo>
                  <a:pt x="0" y="12"/>
                </a:lnTo>
                <a:lnTo>
                  <a:pt x="2" y="8"/>
                </a:lnTo>
                <a:lnTo>
                  <a:pt x="2" y="6"/>
                </a:lnTo>
                <a:lnTo>
                  <a:pt x="2" y="4"/>
                </a:lnTo>
                <a:lnTo>
                  <a:pt x="4" y="0"/>
                </a:lnTo>
                <a:lnTo>
                  <a:pt x="20" y="4"/>
                </a:lnTo>
                <a:lnTo>
                  <a:pt x="38" y="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Freeform 56">
            <a:extLst>
              <a:ext uri="{FF2B5EF4-FFF2-40B4-BE49-F238E27FC236}">
                <a16:creationId xmlns:a16="http://schemas.microsoft.com/office/drawing/2014/main" id="{F1612569-ECDE-43B4-9A83-B0F1842D57E5}"/>
              </a:ext>
            </a:extLst>
          </p:cNvPr>
          <p:cNvSpPr>
            <a:spLocks/>
          </p:cNvSpPr>
          <p:nvPr/>
        </p:nvSpPr>
        <p:spPr bwMode="auto">
          <a:xfrm>
            <a:off x="1616389" y="3372173"/>
            <a:ext cx="141951" cy="139617"/>
          </a:xfrm>
          <a:custGeom>
            <a:avLst/>
            <a:gdLst/>
            <a:ahLst/>
            <a:cxnLst>
              <a:cxn ang="0">
                <a:pos x="72" y="0"/>
              </a:cxn>
              <a:cxn ang="0">
                <a:pos x="72" y="2"/>
              </a:cxn>
              <a:cxn ang="0">
                <a:pos x="70" y="10"/>
              </a:cxn>
              <a:cxn ang="0">
                <a:pos x="68" y="20"/>
              </a:cxn>
              <a:cxn ang="0">
                <a:pos x="66" y="26"/>
              </a:cxn>
              <a:cxn ang="0">
                <a:pos x="64" y="36"/>
              </a:cxn>
              <a:cxn ang="0">
                <a:pos x="64" y="44"/>
              </a:cxn>
              <a:cxn ang="0">
                <a:pos x="60" y="50"/>
              </a:cxn>
              <a:cxn ang="0">
                <a:pos x="56" y="54"/>
              </a:cxn>
              <a:cxn ang="0">
                <a:pos x="56" y="60"/>
              </a:cxn>
              <a:cxn ang="0">
                <a:pos x="56" y="66"/>
              </a:cxn>
              <a:cxn ang="0">
                <a:pos x="58" y="74"/>
              </a:cxn>
              <a:cxn ang="0">
                <a:pos x="60" y="78"/>
              </a:cxn>
              <a:cxn ang="0">
                <a:pos x="42" y="76"/>
              </a:cxn>
              <a:cxn ang="0">
                <a:pos x="26" y="72"/>
              </a:cxn>
              <a:cxn ang="0">
                <a:pos x="24" y="66"/>
              </a:cxn>
              <a:cxn ang="0">
                <a:pos x="24" y="62"/>
              </a:cxn>
              <a:cxn ang="0">
                <a:pos x="16" y="58"/>
              </a:cxn>
              <a:cxn ang="0">
                <a:pos x="8" y="50"/>
              </a:cxn>
              <a:cxn ang="0">
                <a:pos x="4" y="44"/>
              </a:cxn>
              <a:cxn ang="0">
                <a:pos x="0" y="36"/>
              </a:cxn>
              <a:cxn ang="0">
                <a:pos x="6" y="36"/>
              </a:cxn>
              <a:cxn ang="0">
                <a:pos x="10" y="30"/>
              </a:cxn>
              <a:cxn ang="0">
                <a:pos x="12" y="26"/>
              </a:cxn>
              <a:cxn ang="0">
                <a:pos x="14" y="24"/>
              </a:cxn>
              <a:cxn ang="0">
                <a:pos x="16" y="22"/>
              </a:cxn>
              <a:cxn ang="0">
                <a:pos x="22" y="20"/>
              </a:cxn>
              <a:cxn ang="0">
                <a:pos x="26" y="20"/>
              </a:cxn>
              <a:cxn ang="0">
                <a:pos x="32" y="18"/>
              </a:cxn>
              <a:cxn ang="0">
                <a:pos x="40" y="8"/>
              </a:cxn>
              <a:cxn ang="0">
                <a:pos x="44" y="4"/>
              </a:cxn>
              <a:cxn ang="0">
                <a:pos x="48" y="4"/>
              </a:cxn>
              <a:cxn ang="0">
                <a:pos x="50" y="4"/>
              </a:cxn>
              <a:cxn ang="0">
                <a:pos x="52" y="4"/>
              </a:cxn>
              <a:cxn ang="0">
                <a:pos x="52" y="6"/>
              </a:cxn>
              <a:cxn ang="0">
                <a:pos x="58" y="4"/>
              </a:cxn>
              <a:cxn ang="0">
                <a:pos x="62" y="2"/>
              </a:cxn>
              <a:cxn ang="0">
                <a:pos x="66" y="2"/>
              </a:cxn>
              <a:cxn ang="0">
                <a:pos x="72" y="0"/>
              </a:cxn>
            </a:cxnLst>
            <a:rect l="0" t="0" r="r" b="b"/>
            <a:pathLst>
              <a:path w="72" h="78">
                <a:moveTo>
                  <a:pt x="72" y="0"/>
                </a:moveTo>
                <a:lnTo>
                  <a:pt x="72" y="2"/>
                </a:lnTo>
                <a:lnTo>
                  <a:pt x="70" y="10"/>
                </a:lnTo>
                <a:lnTo>
                  <a:pt x="68" y="20"/>
                </a:lnTo>
                <a:lnTo>
                  <a:pt x="66" y="26"/>
                </a:lnTo>
                <a:lnTo>
                  <a:pt x="64" y="36"/>
                </a:lnTo>
                <a:lnTo>
                  <a:pt x="64" y="44"/>
                </a:lnTo>
                <a:lnTo>
                  <a:pt x="60" y="50"/>
                </a:lnTo>
                <a:lnTo>
                  <a:pt x="56" y="54"/>
                </a:lnTo>
                <a:lnTo>
                  <a:pt x="56" y="60"/>
                </a:lnTo>
                <a:lnTo>
                  <a:pt x="56" y="66"/>
                </a:lnTo>
                <a:lnTo>
                  <a:pt x="58" y="74"/>
                </a:lnTo>
                <a:lnTo>
                  <a:pt x="60" y="78"/>
                </a:lnTo>
                <a:lnTo>
                  <a:pt x="42" y="76"/>
                </a:lnTo>
                <a:lnTo>
                  <a:pt x="26" y="72"/>
                </a:lnTo>
                <a:lnTo>
                  <a:pt x="24" y="66"/>
                </a:lnTo>
                <a:lnTo>
                  <a:pt x="24" y="62"/>
                </a:lnTo>
                <a:lnTo>
                  <a:pt x="16" y="58"/>
                </a:lnTo>
                <a:lnTo>
                  <a:pt x="8" y="50"/>
                </a:lnTo>
                <a:lnTo>
                  <a:pt x="4" y="44"/>
                </a:lnTo>
                <a:lnTo>
                  <a:pt x="0" y="36"/>
                </a:lnTo>
                <a:lnTo>
                  <a:pt x="6" y="36"/>
                </a:lnTo>
                <a:lnTo>
                  <a:pt x="10" y="30"/>
                </a:lnTo>
                <a:lnTo>
                  <a:pt x="12" y="26"/>
                </a:lnTo>
                <a:lnTo>
                  <a:pt x="14" y="24"/>
                </a:lnTo>
                <a:lnTo>
                  <a:pt x="16" y="22"/>
                </a:lnTo>
                <a:lnTo>
                  <a:pt x="22" y="20"/>
                </a:lnTo>
                <a:lnTo>
                  <a:pt x="26" y="20"/>
                </a:lnTo>
                <a:lnTo>
                  <a:pt x="32" y="18"/>
                </a:lnTo>
                <a:lnTo>
                  <a:pt x="40" y="8"/>
                </a:lnTo>
                <a:lnTo>
                  <a:pt x="44" y="4"/>
                </a:lnTo>
                <a:lnTo>
                  <a:pt x="48" y="4"/>
                </a:lnTo>
                <a:lnTo>
                  <a:pt x="50" y="4"/>
                </a:lnTo>
                <a:lnTo>
                  <a:pt x="52" y="4"/>
                </a:lnTo>
                <a:lnTo>
                  <a:pt x="52" y="6"/>
                </a:lnTo>
                <a:lnTo>
                  <a:pt x="58" y="4"/>
                </a:lnTo>
                <a:lnTo>
                  <a:pt x="62" y="2"/>
                </a:lnTo>
                <a:lnTo>
                  <a:pt x="66" y="2"/>
                </a:lnTo>
                <a:lnTo>
                  <a:pt x="7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Freeform 57">
            <a:extLst>
              <a:ext uri="{FF2B5EF4-FFF2-40B4-BE49-F238E27FC236}">
                <a16:creationId xmlns:a16="http://schemas.microsoft.com/office/drawing/2014/main" id="{2B9002C9-8B77-4AC2-9235-84E06D0F2A7E}"/>
              </a:ext>
            </a:extLst>
          </p:cNvPr>
          <p:cNvSpPr>
            <a:spLocks/>
          </p:cNvSpPr>
          <p:nvPr/>
        </p:nvSpPr>
        <p:spPr bwMode="auto">
          <a:xfrm>
            <a:off x="1537716" y="3393279"/>
            <a:ext cx="75251" cy="27599"/>
          </a:xfrm>
          <a:custGeom>
            <a:avLst/>
            <a:gdLst/>
            <a:ahLst/>
            <a:cxnLst>
              <a:cxn ang="0">
                <a:pos x="36" y="16"/>
              </a:cxn>
              <a:cxn ang="0">
                <a:pos x="30" y="16"/>
              </a:cxn>
              <a:cxn ang="0">
                <a:pos x="24" y="16"/>
              </a:cxn>
              <a:cxn ang="0">
                <a:pos x="10" y="14"/>
              </a:cxn>
              <a:cxn ang="0">
                <a:pos x="4" y="12"/>
              </a:cxn>
              <a:cxn ang="0">
                <a:pos x="0" y="8"/>
              </a:cxn>
              <a:cxn ang="0">
                <a:pos x="6" y="6"/>
              </a:cxn>
              <a:cxn ang="0">
                <a:pos x="8" y="0"/>
              </a:cxn>
              <a:cxn ang="0">
                <a:pos x="12" y="0"/>
              </a:cxn>
              <a:cxn ang="0">
                <a:pos x="16" y="2"/>
              </a:cxn>
              <a:cxn ang="0">
                <a:pos x="20" y="4"/>
              </a:cxn>
              <a:cxn ang="0">
                <a:pos x="24" y="8"/>
              </a:cxn>
              <a:cxn ang="0">
                <a:pos x="30" y="10"/>
              </a:cxn>
              <a:cxn ang="0">
                <a:pos x="34" y="10"/>
              </a:cxn>
              <a:cxn ang="0">
                <a:pos x="36" y="12"/>
              </a:cxn>
              <a:cxn ang="0">
                <a:pos x="38" y="14"/>
              </a:cxn>
              <a:cxn ang="0">
                <a:pos x="38" y="16"/>
              </a:cxn>
              <a:cxn ang="0">
                <a:pos x="36" y="16"/>
              </a:cxn>
            </a:cxnLst>
            <a:rect l="0" t="0" r="r" b="b"/>
            <a:pathLst>
              <a:path w="38" h="16">
                <a:moveTo>
                  <a:pt x="36" y="16"/>
                </a:moveTo>
                <a:lnTo>
                  <a:pt x="30" y="16"/>
                </a:lnTo>
                <a:lnTo>
                  <a:pt x="24" y="16"/>
                </a:lnTo>
                <a:lnTo>
                  <a:pt x="10" y="14"/>
                </a:lnTo>
                <a:lnTo>
                  <a:pt x="4" y="12"/>
                </a:lnTo>
                <a:lnTo>
                  <a:pt x="0" y="8"/>
                </a:lnTo>
                <a:lnTo>
                  <a:pt x="6" y="6"/>
                </a:lnTo>
                <a:lnTo>
                  <a:pt x="8" y="0"/>
                </a:lnTo>
                <a:lnTo>
                  <a:pt x="12" y="0"/>
                </a:lnTo>
                <a:lnTo>
                  <a:pt x="16" y="2"/>
                </a:lnTo>
                <a:lnTo>
                  <a:pt x="20" y="4"/>
                </a:lnTo>
                <a:lnTo>
                  <a:pt x="24" y="8"/>
                </a:lnTo>
                <a:lnTo>
                  <a:pt x="30" y="10"/>
                </a:lnTo>
                <a:lnTo>
                  <a:pt x="34" y="10"/>
                </a:lnTo>
                <a:lnTo>
                  <a:pt x="36" y="12"/>
                </a:lnTo>
                <a:lnTo>
                  <a:pt x="38" y="14"/>
                </a:lnTo>
                <a:lnTo>
                  <a:pt x="38" y="16"/>
                </a:lnTo>
                <a:lnTo>
                  <a:pt x="36" y="1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Freeform 58">
            <a:extLst>
              <a:ext uri="{FF2B5EF4-FFF2-40B4-BE49-F238E27FC236}">
                <a16:creationId xmlns:a16="http://schemas.microsoft.com/office/drawing/2014/main" id="{27846088-42FF-46AA-B40B-BD56A3CCABCD}"/>
              </a:ext>
            </a:extLst>
          </p:cNvPr>
          <p:cNvSpPr>
            <a:spLocks/>
          </p:cNvSpPr>
          <p:nvPr/>
        </p:nvSpPr>
        <p:spPr bwMode="auto">
          <a:xfrm>
            <a:off x="1561661" y="3328337"/>
            <a:ext cx="196679" cy="107148"/>
          </a:xfrm>
          <a:custGeom>
            <a:avLst/>
            <a:gdLst/>
            <a:ahLst/>
            <a:cxnLst>
              <a:cxn ang="0">
                <a:pos x="100" y="24"/>
              </a:cxn>
              <a:cxn ang="0">
                <a:pos x="94" y="26"/>
              </a:cxn>
              <a:cxn ang="0">
                <a:pos x="90" y="26"/>
              </a:cxn>
              <a:cxn ang="0">
                <a:pos x="86" y="28"/>
              </a:cxn>
              <a:cxn ang="0">
                <a:pos x="80" y="30"/>
              </a:cxn>
              <a:cxn ang="0">
                <a:pos x="80" y="28"/>
              </a:cxn>
              <a:cxn ang="0">
                <a:pos x="78" y="28"/>
              </a:cxn>
              <a:cxn ang="0">
                <a:pos x="76" y="28"/>
              </a:cxn>
              <a:cxn ang="0">
                <a:pos x="72" y="28"/>
              </a:cxn>
              <a:cxn ang="0">
                <a:pos x="68" y="32"/>
              </a:cxn>
              <a:cxn ang="0">
                <a:pos x="60" y="42"/>
              </a:cxn>
              <a:cxn ang="0">
                <a:pos x="54" y="44"/>
              </a:cxn>
              <a:cxn ang="0">
                <a:pos x="50" y="44"/>
              </a:cxn>
              <a:cxn ang="0">
                <a:pos x="44" y="46"/>
              </a:cxn>
              <a:cxn ang="0">
                <a:pos x="42" y="48"/>
              </a:cxn>
              <a:cxn ang="0">
                <a:pos x="40" y="50"/>
              </a:cxn>
              <a:cxn ang="0">
                <a:pos x="38" y="54"/>
              </a:cxn>
              <a:cxn ang="0">
                <a:pos x="34" y="60"/>
              </a:cxn>
              <a:cxn ang="0">
                <a:pos x="28" y="60"/>
              </a:cxn>
              <a:cxn ang="0">
                <a:pos x="26" y="52"/>
              </a:cxn>
              <a:cxn ang="0">
                <a:pos x="26" y="50"/>
              </a:cxn>
              <a:cxn ang="0">
                <a:pos x="24" y="48"/>
              </a:cxn>
              <a:cxn ang="0">
                <a:pos x="22" y="46"/>
              </a:cxn>
              <a:cxn ang="0">
                <a:pos x="18" y="46"/>
              </a:cxn>
              <a:cxn ang="0">
                <a:pos x="12" y="44"/>
              </a:cxn>
              <a:cxn ang="0">
                <a:pos x="8" y="40"/>
              </a:cxn>
              <a:cxn ang="0">
                <a:pos x="4" y="38"/>
              </a:cxn>
              <a:cxn ang="0">
                <a:pos x="0" y="36"/>
              </a:cxn>
              <a:cxn ang="0">
                <a:pos x="4" y="28"/>
              </a:cxn>
              <a:cxn ang="0">
                <a:pos x="8" y="22"/>
              </a:cxn>
              <a:cxn ang="0">
                <a:pos x="18" y="16"/>
              </a:cxn>
              <a:cxn ang="0">
                <a:pos x="22" y="8"/>
              </a:cxn>
              <a:cxn ang="0">
                <a:pos x="26" y="2"/>
              </a:cxn>
              <a:cxn ang="0">
                <a:pos x="34" y="0"/>
              </a:cxn>
              <a:cxn ang="0">
                <a:pos x="80" y="0"/>
              </a:cxn>
              <a:cxn ang="0">
                <a:pos x="84" y="6"/>
              </a:cxn>
              <a:cxn ang="0">
                <a:pos x="90" y="12"/>
              </a:cxn>
              <a:cxn ang="0">
                <a:pos x="96" y="18"/>
              </a:cxn>
              <a:cxn ang="0">
                <a:pos x="100" y="24"/>
              </a:cxn>
            </a:cxnLst>
            <a:rect l="0" t="0" r="r" b="b"/>
            <a:pathLst>
              <a:path w="100" h="60">
                <a:moveTo>
                  <a:pt x="100" y="24"/>
                </a:moveTo>
                <a:lnTo>
                  <a:pt x="94" y="26"/>
                </a:lnTo>
                <a:lnTo>
                  <a:pt x="90" y="26"/>
                </a:lnTo>
                <a:lnTo>
                  <a:pt x="86" y="28"/>
                </a:lnTo>
                <a:lnTo>
                  <a:pt x="80" y="30"/>
                </a:lnTo>
                <a:lnTo>
                  <a:pt x="80" y="28"/>
                </a:lnTo>
                <a:lnTo>
                  <a:pt x="78" y="28"/>
                </a:lnTo>
                <a:lnTo>
                  <a:pt x="76" y="28"/>
                </a:lnTo>
                <a:lnTo>
                  <a:pt x="72" y="28"/>
                </a:lnTo>
                <a:lnTo>
                  <a:pt x="68" y="32"/>
                </a:lnTo>
                <a:lnTo>
                  <a:pt x="60" y="42"/>
                </a:lnTo>
                <a:lnTo>
                  <a:pt x="54" y="44"/>
                </a:lnTo>
                <a:lnTo>
                  <a:pt x="50" y="44"/>
                </a:lnTo>
                <a:lnTo>
                  <a:pt x="44" y="46"/>
                </a:lnTo>
                <a:lnTo>
                  <a:pt x="42" y="48"/>
                </a:lnTo>
                <a:lnTo>
                  <a:pt x="40" y="50"/>
                </a:lnTo>
                <a:lnTo>
                  <a:pt x="38" y="54"/>
                </a:lnTo>
                <a:lnTo>
                  <a:pt x="34" y="60"/>
                </a:lnTo>
                <a:lnTo>
                  <a:pt x="28" y="60"/>
                </a:lnTo>
                <a:lnTo>
                  <a:pt x="26" y="52"/>
                </a:lnTo>
                <a:lnTo>
                  <a:pt x="26" y="50"/>
                </a:lnTo>
                <a:lnTo>
                  <a:pt x="24" y="48"/>
                </a:lnTo>
                <a:lnTo>
                  <a:pt x="22" y="46"/>
                </a:lnTo>
                <a:lnTo>
                  <a:pt x="18" y="46"/>
                </a:lnTo>
                <a:lnTo>
                  <a:pt x="12" y="44"/>
                </a:lnTo>
                <a:lnTo>
                  <a:pt x="8" y="40"/>
                </a:lnTo>
                <a:lnTo>
                  <a:pt x="4" y="38"/>
                </a:lnTo>
                <a:lnTo>
                  <a:pt x="0" y="36"/>
                </a:lnTo>
                <a:lnTo>
                  <a:pt x="4" y="28"/>
                </a:lnTo>
                <a:lnTo>
                  <a:pt x="8" y="22"/>
                </a:lnTo>
                <a:lnTo>
                  <a:pt x="18" y="16"/>
                </a:lnTo>
                <a:lnTo>
                  <a:pt x="22" y="8"/>
                </a:lnTo>
                <a:lnTo>
                  <a:pt x="26" y="2"/>
                </a:lnTo>
                <a:lnTo>
                  <a:pt x="34" y="0"/>
                </a:lnTo>
                <a:lnTo>
                  <a:pt x="80" y="0"/>
                </a:lnTo>
                <a:lnTo>
                  <a:pt x="84" y="6"/>
                </a:lnTo>
                <a:lnTo>
                  <a:pt x="90" y="12"/>
                </a:lnTo>
                <a:lnTo>
                  <a:pt x="96" y="18"/>
                </a:lnTo>
                <a:lnTo>
                  <a:pt x="100" y="2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Freeform 59">
            <a:extLst>
              <a:ext uri="{FF2B5EF4-FFF2-40B4-BE49-F238E27FC236}">
                <a16:creationId xmlns:a16="http://schemas.microsoft.com/office/drawing/2014/main" id="{DC132299-26EF-43C6-A8E0-6CB16BB9E3D1}"/>
              </a:ext>
            </a:extLst>
          </p:cNvPr>
          <p:cNvSpPr>
            <a:spLocks/>
          </p:cNvSpPr>
          <p:nvPr/>
        </p:nvSpPr>
        <p:spPr bwMode="auto">
          <a:xfrm>
            <a:off x="1573634" y="3260155"/>
            <a:ext cx="46177" cy="76303"/>
          </a:xfrm>
          <a:custGeom>
            <a:avLst/>
            <a:gdLst/>
            <a:ahLst/>
            <a:cxnLst>
              <a:cxn ang="0">
                <a:pos x="24" y="6"/>
              </a:cxn>
              <a:cxn ang="0">
                <a:pos x="18" y="10"/>
              </a:cxn>
              <a:cxn ang="0">
                <a:pos x="18" y="18"/>
              </a:cxn>
              <a:cxn ang="0">
                <a:pos x="16" y="26"/>
              </a:cxn>
              <a:cxn ang="0">
                <a:pos x="14" y="32"/>
              </a:cxn>
              <a:cxn ang="0">
                <a:pos x="10" y="36"/>
              </a:cxn>
              <a:cxn ang="0">
                <a:pos x="10" y="42"/>
              </a:cxn>
              <a:cxn ang="0">
                <a:pos x="0" y="42"/>
              </a:cxn>
              <a:cxn ang="0">
                <a:pos x="4" y="10"/>
              </a:cxn>
              <a:cxn ang="0">
                <a:pos x="8" y="10"/>
              </a:cxn>
              <a:cxn ang="0">
                <a:pos x="10" y="8"/>
              </a:cxn>
              <a:cxn ang="0">
                <a:pos x="12" y="6"/>
              </a:cxn>
              <a:cxn ang="0">
                <a:pos x="14" y="2"/>
              </a:cxn>
              <a:cxn ang="0">
                <a:pos x="16" y="0"/>
              </a:cxn>
              <a:cxn ang="0">
                <a:pos x="20" y="0"/>
              </a:cxn>
              <a:cxn ang="0">
                <a:pos x="22" y="2"/>
              </a:cxn>
              <a:cxn ang="0">
                <a:pos x="22" y="6"/>
              </a:cxn>
              <a:cxn ang="0">
                <a:pos x="24" y="6"/>
              </a:cxn>
            </a:cxnLst>
            <a:rect l="0" t="0" r="r" b="b"/>
            <a:pathLst>
              <a:path w="24" h="42">
                <a:moveTo>
                  <a:pt x="24" y="6"/>
                </a:moveTo>
                <a:lnTo>
                  <a:pt x="18" y="10"/>
                </a:lnTo>
                <a:lnTo>
                  <a:pt x="18" y="18"/>
                </a:lnTo>
                <a:lnTo>
                  <a:pt x="16" y="26"/>
                </a:lnTo>
                <a:lnTo>
                  <a:pt x="14" y="32"/>
                </a:lnTo>
                <a:lnTo>
                  <a:pt x="10" y="36"/>
                </a:lnTo>
                <a:lnTo>
                  <a:pt x="10" y="42"/>
                </a:lnTo>
                <a:lnTo>
                  <a:pt x="0" y="42"/>
                </a:lnTo>
                <a:lnTo>
                  <a:pt x="4" y="10"/>
                </a:lnTo>
                <a:lnTo>
                  <a:pt x="8" y="10"/>
                </a:lnTo>
                <a:lnTo>
                  <a:pt x="10" y="8"/>
                </a:lnTo>
                <a:lnTo>
                  <a:pt x="12" y="6"/>
                </a:lnTo>
                <a:lnTo>
                  <a:pt x="14" y="2"/>
                </a:lnTo>
                <a:lnTo>
                  <a:pt x="16" y="0"/>
                </a:lnTo>
                <a:lnTo>
                  <a:pt x="20" y="0"/>
                </a:lnTo>
                <a:lnTo>
                  <a:pt x="22" y="2"/>
                </a:lnTo>
                <a:lnTo>
                  <a:pt x="22" y="6"/>
                </a:lnTo>
                <a:lnTo>
                  <a:pt x="24" y="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Freeform 60">
            <a:extLst>
              <a:ext uri="{FF2B5EF4-FFF2-40B4-BE49-F238E27FC236}">
                <a16:creationId xmlns:a16="http://schemas.microsoft.com/office/drawing/2014/main" id="{FE125AE0-A784-45C5-9CE6-4D5C2434F19F}"/>
              </a:ext>
            </a:extLst>
          </p:cNvPr>
          <p:cNvSpPr>
            <a:spLocks/>
          </p:cNvSpPr>
          <p:nvPr/>
        </p:nvSpPr>
        <p:spPr bwMode="auto">
          <a:xfrm>
            <a:off x="1469307" y="3278013"/>
            <a:ext cx="143661" cy="129877"/>
          </a:xfrm>
          <a:custGeom>
            <a:avLst/>
            <a:gdLst/>
            <a:ahLst/>
            <a:cxnLst>
              <a:cxn ang="0">
                <a:pos x="72" y="30"/>
              </a:cxn>
              <a:cxn ang="0">
                <a:pos x="68" y="32"/>
              </a:cxn>
              <a:cxn ang="0">
                <a:pos x="62" y="32"/>
              </a:cxn>
              <a:cxn ang="0">
                <a:pos x="52" y="32"/>
              </a:cxn>
              <a:cxn ang="0">
                <a:pos x="56" y="0"/>
              </a:cxn>
              <a:cxn ang="0">
                <a:pos x="32" y="0"/>
              </a:cxn>
              <a:cxn ang="0">
                <a:pos x="28" y="2"/>
              </a:cxn>
              <a:cxn ang="0">
                <a:pos x="24" y="6"/>
              </a:cxn>
              <a:cxn ang="0">
                <a:pos x="20" y="14"/>
              </a:cxn>
              <a:cxn ang="0">
                <a:pos x="22" y="18"/>
              </a:cxn>
              <a:cxn ang="0">
                <a:pos x="24" y="22"/>
              </a:cxn>
              <a:cxn ang="0">
                <a:pos x="28" y="24"/>
              </a:cxn>
              <a:cxn ang="0">
                <a:pos x="30" y="28"/>
              </a:cxn>
              <a:cxn ang="0">
                <a:pos x="30" y="34"/>
              </a:cxn>
              <a:cxn ang="0">
                <a:pos x="10" y="34"/>
              </a:cxn>
              <a:cxn ang="0">
                <a:pos x="6" y="40"/>
              </a:cxn>
              <a:cxn ang="0">
                <a:pos x="4" y="46"/>
              </a:cxn>
              <a:cxn ang="0">
                <a:pos x="0" y="58"/>
              </a:cxn>
              <a:cxn ang="0">
                <a:pos x="8" y="66"/>
              </a:cxn>
              <a:cxn ang="0">
                <a:pos x="14" y="68"/>
              </a:cxn>
              <a:cxn ang="0">
                <a:pos x="16" y="70"/>
              </a:cxn>
              <a:cxn ang="0">
                <a:pos x="26" y="70"/>
              </a:cxn>
              <a:cxn ang="0">
                <a:pos x="30" y="70"/>
              </a:cxn>
              <a:cxn ang="0">
                <a:pos x="34" y="72"/>
              </a:cxn>
              <a:cxn ang="0">
                <a:pos x="40" y="70"/>
              </a:cxn>
              <a:cxn ang="0">
                <a:pos x="42" y="64"/>
              </a:cxn>
              <a:cxn ang="0">
                <a:pos x="46" y="64"/>
              </a:cxn>
              <a:cxn ang="0">
                <a:pos x="50" y="56"/>
              </a:cxn>
              <a:cxn ang="0">
                <a:pos x="54" y="50"/>
              </a:cxn>
              <a:cxn ang="0">
                <a:pos x="64" y="44"/>
              </a:cxn>
              <a:cxn ang="0">
                <a:pos x="68" y="36"/>
              </a:cxn>
              <a:cxn ang="0">
                <a:pos x="72" y="30"/>
              </a:cxn>
            </a:cxnLst>
            <a:rect l="0" t="0" r="r" b="b"/>
            <a:pathLst>
              <a:path w="72" h="72">
                <a:moveTo>
                  <a:pt x="72" y="30"/>
                </a:moveTo>
                <a:lnTo>
                  <a:pt x="68" y="32"/>
                </a:lnTo>
                <a:lnTo>
                  <a:pt x="62" y="32"/>
                </a:lnTo>
                <a:lnTo>
                  <a:pt x="52" y="32"/>
                </a:lnTo>
                <a:lnTo>
                  <a:pt x="56" y="0"/>
                </a:lnTo>
                <a:lnTo>
                  <a:pt x="32" y="0"/>
                </a:lnTo>
                <a:lnTo>
                  <a:pt x="28" y="2"/>
                </a:lnTo>
                <a:lnTo>
                  <a:pt x="24" y="6"/>
                </a:lnTo>
                <a:lnTo>
                  <a:pt x="20" y="14"/>
                </a:lnTo>
                <a:lnTo>
                  <a:pt x="22" y="18"/>
                </a:lnTo>
                <a:lnTo>
                  <a:pt x="24" y="22"/>
                </a:lnTo>
                <a:lnTo>
                  <a:pt x="28" y="24"/>
                </a:lnTo>
                <a:lnTo>
                  <a:pt x="30" y="28"/>
                </a:lnTo>
                <a:lnTo>
                  <a:pt x="30" y="34"/>
                </a:lnTo>
                <a:lnTo>
                  <a:pt x="10" y="34"/>
                </a:lnTo>
                <a:lnTo>
                  <a:pt x="6" y="40"/>
                </a:lnTo>
                <a:lnTo>
                  <a:pt x="4" y="46"/>
                </a:lnTo>
                <a:lnTo>
                  <a:pt x="0" y="58"/>
                </a:lnTo>
                <a:lnTo>
                  <a:pt x="8" y="66"/>
                </a:lnTo>
                <a:lnTo>
                  <a:pt x="14" y="68"/>
                </a:lnTo>
                <a:lnTo>
                  <a:pt x="16" y="70"/>
                </a:lnTo>
                <a:lnTo>
                  <a:pt x="26" y="70"/>
                </a:lnTo>
                <a:lnTo>
                  <a:pt x="30" y="70"/>
                </a:lnTo>
                <a:lnTo>
                  <a:pt x="34" y="72"/>
                </a:lnTo>
                <a:lnTo>
                  <a:pt x="40" y="70"/>
                </a:lnTo>
                <a:lnTo>
                  <a:pt x="42" y="64"/>
                </a:lnTo>
                <a:lnTo>
                  <a:pt x="46" y="64"/>
                </a:lnTo>
                <a:lnTo>
                  <a:pt x="50" y="56"/>
                </a:lnTo>
                <a:lnTo>
                  <a:pt x="54" y="50"/>
                </a:lnTo>
                <a:lnTo>
                  <a:pt x="64" y="44"/>
                </a:lnTo>
                <a:lnTo>
                  <a:pt x="68" y="36"/>
                </a:lnTo>
                <a:lnTo>
                  <a:pt x="72" y="3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Freeform 61">
            <a:extLst>
              <a:ext uri="{FF2B5EF4-FFF2-40B4-BE49-F238E27FC236}">
                <a16:creationId xmlns:a16="http://schemas.microsoft.com/office/drawing/2014/main" id="{174261A0-D595-4367-8018-0A05FB7BE7B1}"/>
              </a:ext>
            </a:extLst>
          </p:cNvPr>
          <p:cNvSpPr>
            <a:spLocks/>
          </p:cNvSpPr>
          <p:nvPr/>
        </p:nvSpPr>
        <p:spPr bwMode="auto">
          <a:xfrm>
            <a:off x="2043950" y="3203331"/>
            <a:ext cx="85512" cy="64938"/>
          </a:xfrm>
          <a:custGeom>
            <a:avLst/>
            <a:gdLst/>
            <a:ahLst/>
            <a:cxnLst>
              <a:cxn ang="0">
                <a:pos x="42" y="36"/>
              </a:cxn>
              <a:cxn ang="0">
                <a:pos x="42" y="34"/>
              </a:cxn>
              <a:cxn ang="0">
                <a:pos x="14" y="34"/>
              </a:cxn>
              <a:cxn ang="0">
                <a:pos x="4" y="32"/>
              </a:cxn>
              <a:cxn ang="0">
                <a:pos x="2" y="30"/>
              </a:cxn>
              <a:cxn ang="0">
                <a:pos x="0" y="26"/>
              </a:cxn>
              <a:cxn ang="0">
                <a:pos x="14" y="22"/>
              </a:cxn>
              <a:cxn ang="0">
                <a:pos x="20" y="24"/>
              </a:cxn>
              <a:cxn ang="0">
                <a:pos x="26" y="26"/>
              </a:cxn>
              <a:cxn ang="0">
                <a:pos x="28" y="24"/>
              </a:cxn>
              <a:cxn ang="0">
                <a:pos x="30" y="20"/>
              </a:cxn>
              <a:cxn ang="0">
                <a:pos x="28" y="18"/>
              </a:cxn>
              <a:cxn ang="0">
                <a:pos x="28" y="14"/>
              </a:cxn>
              <a:cxn ang="0">
                <a:pos x="28" y="10"/>
              </a:cxn>
              <a:cxn ang="0">
                <a:pos x="24" y="8"/>
              </a:cxn>
              <a:cxn ang="0">
                <a:pos x="22" y="6"/>
              </a:cxn>
              <a:cxn ang="0">
                <a:pos x="22" y="2"/>
              </a:cxn>
              <a:cxn ang="0">
                <a:pos x="26" y="2"/>
              </a:cxn>
              <a:cxn ang="0">
                <a:pos x="28" y="0"/>
              </a:cxn>
              <a:cxn ang="0">
                <a:pos x="44" y="2"/>
              </a:cxn>
              <a:cxn ang="0">
                <a:pos x="44" y="6"/>
              </a:cxn>
              <a:cxn ang="0">
                <a:pos x="42" y="8"/>
              </a:cxn>
              <a:cxn ang="0">
                <a:pos x="42" y="18"/>
              </a:cxn>
              <a:cxn ang="0">
                <a:pos x="40" y="28"/>
              </a:cxn>
              <a:cxn ang="0">
                <a:pos x="40" y="34"/>
              </a:cxn>
              <a:cxn ang="0">
                <a:pos x="42" y="36"/>
              </a:cxn>
            </a:cxnLst>
            <a:rect l="0" t="0" r="r" b="b"/>
            <a:pathLst>
              <a:path w="44" h="36">
                <a:moveTo>
                  <a:pt x="42" y="36"/>
                </a:moveTo>
                <a:lnTo>
                  <a:pt x="42" y="34"/>
                </a:lnTo>
                <a:lnTo>
                  <a:pt x="14" y="34"/>
                </a:lnTo>
                <a:lnTo>
                  <a:pt x="4" y="32"/>
                </a:lnTo>
                <a:lnTo>
                  <a:pt x="2" y="30"/>
                </a:lnTo>
                <a:lnTo>
                  <a:pt x="0" y="26"/>
                </a:lnTo>
                <a:lnTo>
                  <a:pt x="14" y="22"/>
                </a:lnTo>
                <a:lnTo>
                  <a:pt x="20" y="24"/>
                </a:lnTo>
                <a:lnTo>
                  <a:pt x="26" y="26"/>
                </a:lnTo>
                <a:lnTo>
                  <a:pt x="28" y="24"/>
                </a:lnTo>
                <a:lnTo>
                  <a:pt x="30" y="20"/>
                </a:lnTo>
                <a:lnTo>
                  <a:pt x="28" y="18"/>
                </a:lnTo>
                <a:lnTo>
                  <a:pt x="28" y="14"/>
                </a:lnTo>
                <a:lnTo>
                  <a:pt x="28" y="10"/>
                </a:lnTo>
                <a:lnTo>
                  <a:pt x="24" y="8"/>
                </a:lnTo>
                <a:lnTo>
                  <a:pt x="22" y="6"/>
                </a:lnTo>
                <a:lnTo>
                  <a:pt x="22" y="2"/>
                </a:lnTo>
                <a:lnTo>
                  <a:pt x="26" y="2"/>
                </a:lnTo>
                <a:lnTo>
                  <a:pt x="28" y="0"/>
                </a:lnTo>
                <a:lnTo>
                  <a:pt x="44" y="2"/>
                </a:lnTo>
                <a:lnTo>
                  <a:pt x="44" y="6"/>
                </a:lnTo>
                <a:lnTo>
                  <a:pt x="42" y="8"/>
                </a:lnTo>
                <a:lnTo>
                  <a:pt x="42" y="18"/>
                </a:lnTo>
                <a:lnTo>
                  <a:pt x="40" y="28"/>
                </a:lnTo>
                <a:lnTo>
                  <a:pt x="40" y="34"/>
                </a:lnTo>
                <a:lnTo>
                  <a:pt x="42" y="3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Freeform 62">
            <a:extLst>
              <a:ext uri="{FF2B5EF4-FFF2-40B4-BE49-F238E27FC236}">
                <a16:creationId xmlns:a16="http://schemas.microsoft.com/office/drawing/2014/main" id="{1311B0E0-E490-4F64-A8B4-33766212BC35}"/>
              </a:ext>
            </a:extLst>
          </p:cNvPr>
          <p:cNvSpPr>
            <a:spLocks/>
          </p:cNvSpPr>
          <p:nvPr/>
        </p:nvSpPr>
        <p:spPr bwMode="auto">
          <a:xfrm>
            <a:off x="2122623" y="3206578"/>
            <a:ext cx="114587" cy="64938"/>
          </a:xfrm>
          <a:custGeom>
            <a:avLst/>
            <a:gdLst/>
            <a:ahLst/>
            <a:cxnLst>
              <a:cxn ang="0">
                <a:pos x="0" y="32"/>
              </a:cxn>
              <a:cxn ang="0">
                <a:pos x="0" y="26"/>
              </a:cxn>
              <a:cxn ang="0">
                <a:pos x="2" y="16"/>
              </a:cxn>
              <a:cxn ang="0">
                <a:pos x="2" y="6"/>
              </a:cxn>
              <a:cxn ang="0">
                <a:pos x="4" y="4"/>
              </a:cxn>
              <a:cxn ang="0">
                <a:pos x="4" y="0"/>
              </a:cxn>
              <a:cxn ang="0">
                <a:pos x="14" y="2"/>
              </a:cxn>
              <a:cxn ang="0">
                <a:pos x="26" y="2"/>
              </a:cxn>
              <a:cxn ang="0">
                <a:pos x="26" y="4"/>
              </a:cxn>
              <a:cxn ang="0">
                <a:pos x="28" y="4"/>
              </a:cxn>
              <a:cxn ang="0">
                <a:pos x="34" y="4"/>
              </a:cxn>
              <a:cxn ang="0">
                <a:pos x="36" y="4"/>
              </a:cxn>
              <a:cxn ang="0">
                <a:pos x="38" y="6"/>
              </a:cxn>
              <a:cxn ang="0">
                <a:pos x="40" y="8"/>
              </a:cxn>
              <a:cxn ang="0">
                <a:pos x="42" y="8"/>
              </a:cxn>
              <a:cxn ang="0">
                <a:pos x="42" y="10"/>
              </a:cxn>
              <a:cxn ang="0">
                <a:pos x="42" y="12"/>
              </a:cxn>
              <a:cxn ang="0">
                <a:pos x="48" y="14"/>
              </a:cxn>
              <a:cxn ang="0">
                <a:pos x="52" y="16"/>
              </a:cxn>
              <a:cxn ang="0">
                <a:pos x="54" y="18"/>
              </a:cxn>
              <a:cxn ang="0">
                <a:pos x="58" y="26"/>
              </a:cxn>
              <a:cxn ang="0">
                <a:pos x="52" y="28"/>
              </a:cxn>
              <a:cxn ang="0">
                <a:pos x="50" y="32"/>
              </a:cxn>
              <a:cxn ang="0">
                <a:pos x="48" y="30"/>
              </a:cxn>
              <a:cxn ang="0">
                <a:pos x="46" y="28"/>
              </a:cxn>
              <a:cxn ang="0">
                <a:pos x="30" y="28"/>
              </a:cxn>
              <a:cxn ang="0">
                <a:pos x="28" y="30"/>
              </a:cxn>
              <a:cxn ang="0">
                <a:pos x="26" y="30"/>
              </a:cxn>
              <a:cxn ang="0">
                <a:pos x="18" y="30"/>
              </a:cxn>
              <a:cxn ang="0">
                <a:pos x="14" y="30"/>
              </a:cxn>
              <a:cxn ang="0">
                <a:pos x="12" y="34"/>
              </a:cxn>
              <a:cxn ang="0">
                <a:pos x="8" y="36"/>
              </a:cxn>
              <a:cxn ang="0">
                <a:pos x="2" y="36"/>
              </a:cxn>
              <a:cxn ang="0">
                <a:pos x="2" y="34"/>
              </a:cxn>
              <a:cxn ang="0">
                <a:pos x="0" y="32"/>
              </a:cxn>
            </a:cxnLst>
            <a:rect l="0" t="0" r="r" b="b"/>
            <a:pathLst>
              <a:path w="58" h="36">
                <a:moveTo>
                  <a:pt x="0" y="32"/>
                </a:moveTo>
                <a:lnTo>
                  <a:pt x="0" y="26"/>
                </a:lnTo>
                <a:lnTo>
                  <a:pt x="2" y="16"/>
                </a:lnTo>
                <a:lnTo>
                  <a:pt x="2" y="6"/>
                </a:lnTo>
                <a:lnTo>
                  <a:pt x="4" y="4"/>
                </a:lnTo>
                <a:lnTo>
                  <a:pt x="4" y="0"/>
                </a:lnTo>
                <a:lnTo>
                  <a:pt x="14" y="2"/>
                </a:lnTo>
                <a:lnTo>
                  <a:pt x="26" y="2"/>
                </a:lnTo>
                <a:lnTo>
                  <a:pt x="26" y="4"/>
                </a:lnTo>
                <a:lnTo>
                  <a:pt x="28" y="4"/>
                </a:lnTo>
                <a:lnTo>
                  <a:pt x="34" y="4"/>
                </a:lnTo>
                <a:lnTo>
                  <a:pt x="36" y="4"/>
                </a:lnTo>
                <a:lnTo>
                  <a:pt x="38" y="6"/>
                </a:lnTo>
                <a:lnTo>
                  <a:pt x="40" y="8"/>
                </a:lnTo>
                <a:lnTo>
                  <a:pt x="42" y="8"/>
                </a:lnTo>
                <a:lnTo>
                  <a:pt x="42" y="10"/>
                </a:lnTo>
                <a:lnTo>
                  <a:pt x="42" y="12"/>
                </a:lnTo>
                <a:lnTo>
                  <a:pt x="48" y="14"/>
                </a:lnTo>
                <a:lnTo>
                  <a:pt x="52" y="16"/>
                </a:lnTo>
                <a:lnTo>
                  <a:pt x="54" y="18"/>
                </a:lnTo>
                <a:lnTo>
                  <a:pt x="58" y="26"/>
                </a:lnTo>
                <a:lnTo>
                  <a:pt x="52" y="28"/>
                </a:lnTo>
                <a:lnTo>
                  <a:pt x="50" y="32"/>
                </a:lnTo>
                <a:lnTo>
                  <a:pt x="48" y="30"/>
                </a:lnTo>
                <a:lnTo>
                  <a:pt x="46" y="28"/>
                </a:lnTo>
                <a:lnTo>
                  <a:pt x="30" y="28"/>
                </a:lnTo>
                <a:lnTo>
                  <a:pt x="28" y="30"/>
                </a:lnTo>
                <a:lnTo>
                  <a:pt x="26" y="30"/>
                </a:lnTo>
                <a:lnTo>
                  <a:pt x="18" y="30"/>
                </a:lnTo>
                <a:lnTo>
                  <a:pt x="14" y="30"/>
                </a:lnTo>
                <a:lnTo>
                  <a:pt x="12" y="34"/>
                </a:lnTo>
                <a:lnTo>
                  <a:pt x="8" y="36"/>
                </a:lnTo>
                <a:lnTo>
                  <a:pt x="2" y="36"/>
                </a:lnTo>
                <a:lnTo>
                  <a:pt x="2" y="34"/>
                </a:lnTo>
                <a:lnTo>
                  <a:pt x="0" y="3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Freeform 63">
            <a:extLst>
              <a:ext uri="{FF2B5EF4-FFF2-40B4-BE49-F238E27FC236}">
                <a16:creationId xmlns:a16="http://schemas.microsoft.com/office/drawing/2014/main" id="{B76CF5DE-F74C-4584-BD5F-89E0429D5FFB}"/>
              </a:ext>
            </a:extLst>
          </p:cNvPr>
          <p:cNvSpPr>
            <a:spLocks/>
          </p:cNvSpPr>
          <p:nvPr/>
        </p:nvSpPr>
        <p:spPr bwMode="auto">
          <a:xfrm>
            <a:off x="2418497" y="3500424"/>
            <a:ext cx="23943" cy="21105"/>
          </a:xfrm>
          <a:custGeom>
            <a:avLst/>
            <a:gdLst/>
            <a:ahLst/>
            <a:cxnLst>
              <a:cxn ang="0">
                <a:pos x="8" y="12"/>
              </a:cxn>
              <a:cxn ang="0">
                <a:pos x="10" y="8"/>
              </a:cxn>
              <a:cxn ang="0">
                <a:pos x="12" y="8"/>
              </a:cxn>
              <a:cxn ang="0">
                <a:pos x="12" y="4"/>
              </a:cxn>
              <a:cxn ang="0">
                <a:pos x="10" y="2"/>
              </a:cxn>
              <a:cxn ang="0">
                <a:pos x="6" y="0"/>
              </a:cxn>
              <a:cxn ang="0">
                <a:pos x="0" y="10"/>
              </a:cxn>
              <a:cxn ang="0">
                <a:pos x="8" y="12"/>
              </a:cxn>
            </a:cxnLst>
            <a:rect l="0" t="0" r="r" b="b"/>
            <a:pathLst>
              <a:path w="12" h="12">
                <a:moveTo>
                  <a:pt x="8" y="12"/>
                </a:moveTo>
                <a:lnTo>
                  <a:pt x="10" y="8"/>
                </a:lnTo>
                <a:lnTo>
                  <a:pt x="12" y="8"/>
                </a:lnTo>
                <a:lnTo>
                  <a:pt x="12" y="4"/>
                </a:lnTo>
                <a:lnTo>
                  <a:pt x="10" y="2"/>
                </a:lnTo>
                <a:lnTo>
                  <a:pt x="6" y="0"/>
                </a:lnTo>
                <a:lnTo>
                  <a:pt x="0" y="10"/>
                </a:lnTo>
                <a:lnTo>
                  <a:pt x="8" y="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Freeform 64">
            <a:extLst>
              <a:ext uri="{FF2B5EF4-FFF2-40B4-BE49-F238E27FC236}">
                <a16:creationId xmlns:a16="http://schemas.microsoft.com/office/drawing/2014/main" id="{F6FE8E26-E812-4125-8636-E13EE25D7BFB}"/>
              </a:ext>
            </a:extLst>
          </p:cNvPr>
          <p:cNvSpPr>
            <a:spLocks/>
          </p:cNvSpPr>
          <p:nvPr/>
        </p:nvSpPr>
        <p:spPr bwMode="auto">
          <a:xfrm>
            <a:off x="2758837" y="3851091"/>
            <a:ext cx="78671" cy="60068"/>
          </a:xfrm>
          <a:custGeom>
            <a:avLst/>
            <a:gdLst/>
            <a:ahLst/>
            <a:cxnLst>
              <a:cxn ang="0">
                <a:pos x="0" y="22"/>
              </a:cxn>
              <a:cxn ang="0">
                <a:pos x="4" y="30"/>
              </a:cxn>
              <a:cxn ang="0">
                <a:pos x="18" y="32"/>
              </a:cxn>
              <a:cxn ang="0">
                <a:pos x="26" y="34"/>
              </a:cxn>
              <a:cxn ang="0">
                <a:pos x="28" y="32"/>
              </a:cxn>
              <a:cxn ang="0">
                <a:pos x="32" y="32"/>
              </a:cxn>
              <a:cxn ang="0">
                <a:pos x="36" y="22"/>
              </a:cxn>
              <a:cxn ang="0">
                <a:pos x="38" y="12"/>
              </a:cxn>
              <a:cxn ang="0">
                <a:pos x="40" y="6"/>
              </a:cxn>
              <a:cxn ang="0">
                <a:pos x="30" y="4"/>
              </a:cxn>
              <a:cxn ang="0">
                <a:pos x="22" y="4"/>
              </a:cxn>
              <a:cxn ang="0">
                <a:pos x="16" y="0"/>
              </a:cxn>
              <a:cxn ang="0">
                <a:pos x="10" y="0"/>
              </a:cxn>
              <a:cxn ang="0">
                <a:pos x="8" y="0"/>
              </a:cxn>
              <a:cxn ang="0">
                <a:pos x="6" y="2"/>
              </a:cxn>
              <a:cxn ang="0">
                <a:pos x="4" y="4"/>
              </a:cxn>
              <a:cxn ang="0">
                <a:pos x="2" y="14"/>
              </a:cxn>
              <a:cxn ang="0">
                <a:pos x="0" y="22"/>
              </a:cxn>
            </a:cxnLst>
            <a:rect l="0" t="0" r="r" b="b"/>
            <a:pathLst>
              <a:path w="40" h="34">
                <a:moveTo>
                  <a:pt x="0" y="22"/>
                </a:moveTo>
                <a:lnTo>
                  <a:pt x="4" y="30"/>
                </a:lnTo>
                <a:lnTo>
                  <a:pt x="18" y="32"/>
                </a:lnTo>
                <a:lnTo>
                  <a:pt x="26" y="34"/>
                </a:lnTo>
                <a:lnTo>
                  <a:pt x="28" y="32"/>
                </a:lnTo>
                <a:lnTo>
                  <a:pt x="32" y="32"/>
                </a:lnTo>
                <a:lnTo>
                  <a:pt x="36" y="22"/>
                </a:lnTo>
                <a:lnTo>
                  <a:pt x="38" y="12"/>
                </a:lnTo>
                <a:lnTo>
                  <a:pt x="40" y="6"/>
                </a:lnTo>
                <a:lnTo>
                  <a:pt x="30" y="4"/>
                </a:lnTo>
                <a:lnTo>
                  <a:pt x="22" y="4"/>
                </a:lnTo>
                <a:lnTo>
                  <a:pt x="16" y="0"/>
                </a:lnTo>
                <a:lnTo>
                  <a:pt x="10" y="0"/>
                </a:lnTo>
                <a:lnTo>
                  <a:pt x="8" y="0"/>
                </a:lnTo>
                <a:lnTo>
                  <a:pt x="6" y="2"/>
                </a:lnTo>
                <a:lnTo>
                  <a:pt x="4" y="4"/>
                </a:lnTo>
                <a:lnTo>
                  <a:pt x="2" y="14"/>
                </a:lnTo>
                <a:lnTo>
                  <a:pt x="0" y="2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Freeform 66">
            <a:extLst>
              <a:ext uri="{FF2B5EF4-FFF2-40B4-BE49-F238E27FC236}">
                <a16:creationId xmlns:a16="http://schemas.microsoft.com/office/drawing/2014/main" id="{3718F6D4-63FC-465E-B666-21A340B77925}"/>
              </a:ext>
            </a:extLst>
          </p:cNvPr>
          <p:cNvSpPr>
            <a:spLocks/>
          </p:cNvSpPr>
          <p:nvPr/>
        </p:nvSpPr>
        <p:spPr bwMode="auto">
          <a:xfrm>
            <a:off x="2421916" y="3571856"/>
            <a:ext cx="138530" cy="246766"/>
          </a:xfrm>
          <a:custGeom>
            <a:avLst/>
            <a:gdLst/>
            <a:ahLst/>
            <a:cxnLst>
              <a:cxn ang="0">
                <a:pos x="26" y="0"/>
              </a:cxn>
              <a:cxn ang="0">
                <a:pos x="22" y="8"/>
              </a:cxn>
              <a:cxn ang="0">
                <a:pos x="18" y="14"/>
              </a:cxn>
              <a:cxn ang="0">
                <a:pos x="12" y="18"/>
              </a:cxn>
              <a:cxn ang="0">
                <a:pos x="10" y="24"/>
              </a:cxn>
              <a:cxn ang="0">
                <a:pos x="12" y="28"/>
              </a:cxn>
              <a:cxn ang="0">
                <a:pos x="18" y="32"/>
              </a:cxn>
              <a:cxn ang="0">
                <a:pos x="0" y="42"/>
              </a:cxn>
              <a:cxn ang="0">
                <a:pos x="0" y="54"/>
              </a:cxn>
              <a:cxn ang="0">
                <a:pos x="2" y="58"/>
              </a:cxn>
              <a:cxn ang="0">
                <a:pos x="4" y="60"/>
              </a:cxn>
              <a:cxn ang="0">
                <a:pos x="8" y="64"/>
              </a:cxn>
              <a:cxn ang="0">
                <a:pos x="8" y="68"/>
              </a:cxn>
              <a:cxn ang="0">
                <a:pos x="20" y="68"/>
              </a:cxn>
              <a:cxn ang="0">
                <a:pos x="20" y="76"/>
              </a:cxn>
              <a:cxn ang="0">
                <a:pos x="20" y="78"/>
              </a:cxn>
              <a:cxn ang="0">
                <a:pos x="24" y="82"/>
              </a:cxn>
              <a:cxn ang="0">
                <a:pos x="26" y="88"/>
              </a:cxn>
              <a:cxn ang="0">
                <a:pos x="26" y="94"/>
              </a:cxn>
              <a:cxn ang="0">
                <a:pos x="26" y="98"/>
              </a:cxn>
              <a:cxn ang="0">
                <a:pos x="26" y="102"/>
              </a:cxn>
              <a:cxn ang="0">
                <a:pos x="24" y="106"/>
              </a:cxn>
              <a:cxn ang="0">
                <a:pos x="22" y="112"/>
              </a:cxn>
              <a:cxn ang="0">
                <a:pos x="24" y="122"/>
              </a:cxn>
              <a:cxn ang="0">
                <a:pos x="26" y="130"/>
              </a:cxn>
              <a:cxn ang="0">
                <a:pos x="32" y="136"/>
              </a:cxn>
              <a:cxn ang="0">
                <a:pos x="34" y="138"/>
              </a:cxn>
              <a:cxn ang="0">
                <a:pos x="38" y="138"/>
              </a:cxn>
              <a:cxn ang="0">
                <a:pos x="44" y="138"/>
              </a:cxn>
              <a:cxn ang="0">
                <a:pos x="48" y="136"/>
              </a:cxn>
              <a:cxn ang="0">
                <a:pos x="54" y="132"/>
              </a:cxn>
              <a:cxn ang="0">
                <a:pos x="60" y="126"/>
              </a:cxn>
              <a:cxn ang="0">
                <a:pos x="64" y="124"/>
              </a:cxn>
              <a:cxn ang="0">
                <a:pos x="70" y="124"/>
              </a:cxn>
              <a:cxn ang="0">
                <a:pos x="68" y="118"/>
              </a:cxn>
              <a:cxn ang="0">
                <a:pos x="66" y="112"/>
              </a:cxn>
              <a:cxn ang="0">
                <a:pos x="60" y="104"/>
              </a:cxn>
              <a:cxn ang="0">
                <a:pos x="54" y="96"/>
              </a:cxn>
              <a:cxn ang="0">
                <a:pos x="54" y="92"/>
              </a:cxn>
              <a:cxn ang="0">
                <a:pos x="54" y="86"/>
              </a:cxn>
              <a:cxn ang="0">
                <a:pos x="54" y="82"/>
              </a:cxn>
              <a:cxn ang="0">
                <a:pos x="54" y="78"/>
              </a:cxn>
              <a:cxn ang="0">
                <a:pos x="58" y="74"/>
              </a:cxn>
              <a:cxn ang="0">
                <a:pos x="64" y="70"/>
              </a:cxn>
              <a:cxn ang="0">
                <a:pos x="68" y="64"/>
              </a:cxn>
              <a:cxn ang="0">
                <a:pos x="70" y="44"/>
              </a:cxn>
              <a:cxn ang="0">
                <a:pos x="60" y="36"/>
              </a:cxn>
              <a:cxn ang="0">
                <a:pos x="56" y="32"/>
              </a:cxn>
              <a:cxn ang="0">
                <a:pos x="52" y="32"/>
              </a:cxn>
              <a:cxn ang="0">
                <a:pos x="46" y="32"/>
              </a:cxn>
              <a:cxn ang="0">
                <a:pos x="46" y="24"/>
              </a:cxn>
              <a:cxn ang="0">
                <a:pos x="44" y="20"/>
              </a:cxn>
              <a:cxn ang="0">
                <a:pos x="40" y="12"/>
              </a:cxn>
              <a:cxn ang="0">
                <a:pos x="32" y="4"/>
              </a:cxn>
              <a:cxn ang="0">
                <a:pos x="26" y="0"/>
              </a:cxn>
            </a:cxnLst>
            <a:rect l="0" t="0" r="r" b="b"/>
            <a:pathLst>
              <a:path w="70" h="138">
                <a:moveTo>
                  <a:pt x="26" y="0"/>
                </a:moveTo>
                <a:lnTo>
                  <a:pt x="22" y="8"/>
                </a:lnTo>
                <a:lnTo>
                  <a:pt x="18" y="14"/>
                </a:lnTo>
                <a:lnTo>
                  <a:pt x="12" y="18"/>
                </a:lnTo>
                <a:lnTo>
                  <a:pt x="10" y="24"/>
                </a:lnTo>
                <a:lnTo>
                  <a:pt x="12" y="28"/>
                </a:lnTo>
                <a:lnTo>
                  <a:pt x="18" y="32"/>
                </a:lnTo>
                <a:lnTo>
                  <a:pt x="0" y="42"/>
                </a:lnTo>
                <a:lnTo>
                  <a:pt x="0" y="54"/>
                </a:lnTo>
                <a:lnTo>
                  <a:pt x="2" y="58"/>
                </a:lnTo>
                <a:lnTo>
                  <a:pt x="4" y="60"/>
                </a:lnTo>
                <a:lnTo>
                  <a:pt x="8" y="64"/>
                </a:lnTo>
                <a:lnTo>
                  <a:pt x="8" y="68"/>
                </a:lnTo>
                <a:lnTo>
                  <a:pt x="20" y="68"/>
                </a:lnTo>
                <a:lnTo>
                  <a:pt x="20" y="76"/>
                </a:lnTo>
                <a:lnTo>
                  <a:pt x="20" y="78"/>
                </a:lnTo>
                <a:lnTo>
                  <a:pt x="24" y="82"/>
                </a:lnTo>
                <a:lnTo>
                  <a:pt x="26" y="88"/>
                </a:lnTo>
                <a:lnTo>
                  <a:pt x="26" y="94"/>
                </a:lnTo>
                <a:lnTo>
                  <a:pt x="26" y="98"/>
                </a:lnTo>
                <a:lnTo>
                  <a:pt x="26" y="102"/>
                </a:lnTo>
                <a:lnTo>
                  <a:pt x="24" y="106"/>
                </a:lnTo>
                <a:lnTo>
                  <a:pt x="22" y="112"/>
                </a:lnTo>
                <a:lnTo>
                  <a:pt x="24" y="122"/>
                </a:lnTo>
                <a:lnTo>
                  <a:pt x="26" y="130"/>
                </a:lnTo>
                <a:lnTo>
                  <a:pt x="32" y="136"/>
                </a:lnTo>
                <a:lnTo>
                  <a:pt x="34" y="138"/>
                </a:lnTo>
                <a:lnTo>
                  <a:pt x="38" y="138"/>
                </a:lnTo>
                <a:lnTo>
                  <a:pt x="44" y="138"/>
                </a:lnTo>
                <a:lnTo>
                  <a:pt x="48" y="136"/>
                </a:lnTo>
                <a:lnTo>
                  <a:pt x="54" y="132"/>
                </a:lnTo>
                <a:lnTo>
                  <a:pt x="60" y="126"/>
                </a:lnTo>
                <a:lnTo>
                  <a:pt x="64" y="124"/>
                </a:lnTo>
                <a:lnTo>
                  <a:pt x="70" y="124"/>
                </a:lnTo>
                <a:lnTo>
                  <a:pt x="68" y="118"/>
                </a:lnTo>
                <a:lnTo>
                  <a:pt x="66" y="112"/>
                </a:lnTo>
                <a:lnTo>
                  <a:pt x="60" y="104"/>
                </a:lnTo>
                <a:lnTo>
                  <a:pt x="54" y="96"/>
                </a:lnTo>
                <a:lnTo>
                  <a:pt x="54" y="92"/>
                </a:lnTo>
                <a:lnTo>
                  <a:pt x="54" y="86"/>
                </a:lnTo>
                <a:lnTo>
                  <a:pt x="54" y="82"/>
                </a:lnTo>
                <a:lnTo>
                  <a:pt x="54" y="78"/>
                </a:lnTo>
                <a:lnTo>
                  <a:pt x="58" y="74"/>
                </a:lnTo>
                <a:lnTo>
                  <a:pt x="64" y="70"/>
                </a:lnTo>
                <a:lnTo>
                  <a:pt x="68" y="64"/>
                </a:lnTo>
                <a:lnTo>
                  <a:pt x="70" y="44"/>
                </a:lnTo>
                <a:lnTo>
                  <a:pt x="60" y="36"/>
                </a:lnTo>
                <a:lnTo>
                  <a:pt x="56" y="32"/>
                </a:lnTo>
                <a:lnTo>
                  <a:pt x="52" y="32"/>
                </a:lnTo>
                <a:lnTo>
                  <a:pt x="46" y="32"/>
                </a:lnTo>
                <a:lnTo>
                  <a:pt x="46" y="24"/>
                </a:lnTo>
                <a:lnTo>
                  <a:pt x="44" y="20"/>
                </a:lnTo>
                <a:lnTo>
                  <a:pt x="40" y="12"/>
                </a:lnTo>
                <a:lnTo>
                  <a:pt x="32" y="4"/>
                </a:lnTo>
                <a:lnTo>
                  <a:pt x="2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Freeform 67">
            <a:extLst>
              <a:ext uri="{FF2B5EF4-FFF2-40B4-BE49-F238E27FC236}">
                <a16:creationId xmlns:a16="http://schemas.microsoft.com/office/drawing/2014/main" id="{A027A58D-CB48-43D1-B49A-8F26C5C722D0}"/>
              </a:ext>
            </a:extLst>
          </p:cNvPr>
          <p:cNvSpPr>
            <a:spLocks/>
          </p:cNvSpPr>
          <p:nvPr/>
        </p:nvSpPr>
        <p:spPr bwMode="auto">
          <a:xfrm>
            <a:off x="2527952" y="3649785"/>
            <a:ext cx="129979" cy="154229"/>
          </a:xfrm>
          <a:custGeom>
            <a:avLst/>
            <a:gdLst/>
            <a:ahLst/>
            <a:cxnLst>
              <a:cxn ang="0">
                <a:pos x="66" y="10"/>
              </a:cxn>
              <a:cxn ang="0">
                <a:pos x="64" y="18"/>
              </a:cxn>
              <a:cxn ang="0">
                <a:pos x="60" y="24"/>
              </a:cxn>
              <a:cxn ang="0">
                <a:pos x="58" y="30"/>
              </a:cxn>
              <a:cxn ang="0">
                <a:pos x="56" y="36"/>
              </a:cxn>
              <a:cxn ang="0">
                <a:pos x="58" y="42"/>
              </a:cxn>
              <a:cxn ang="0">
                <a:pos x="60" y="46"/>
              </a:cxn>
              <a:cxn ang="0">
                <a:pos x="62" y="52"/>
              </a:cxn>
              <a:cxn ang="0">
                <a:pos x="64" y="58"/>
              </a:cxn>
              <a:cxn ang="0">
                <a:pos x="62" y="62"/>
              </a:cxn>
              <a:cxn ang="0">
                <a:pos x="58" y="66"/>
              </a:cxn>
              <a:cxn ang="0">
                <a:pos x="54" y="76"/>
              </a:cxn>
              <a:cxn ang="0">
                <a:pos x="52" y="74"/>
              </a:cxn>
              <a:cxn ang="0">
                <a:pos x="50" y="68"/>
              </a:cxn>
              <a:cxn ang="0">
                <a:pos x="40" y="72"/>
              </a:cxn>
              <a:cxn ang="0">
                <a:pos x="28" y="76"/>
              </a:cxn>
              <a:cxn ang="0">
                <a:pos x="28" y="86"/>
              </a:cxn>
              <a:cxn ang="0">
                <a:pos x="26" y="84"/>
              </a:cxn>
              <a:cxn ang="0">
                <a:pos x="22" y="82"/>
              </a:cxn>
              <a:cxn ang="0">
                <a:pos x="20" y="80"/>
              </a:cxn>
              <a:cxn ang="0">
                <a:pos x="16" y="80"/>
              </a:cxn>
              <a:cxn ang="0">
                <a:pos x="14" y="74"/>
              </a:cxn>
              <a:cxn ang="0">
                <a:pos x="12" y="68"/>
              </a:cxn>
              <a:cxn ang="0">
                <a:pos x="6" y="60"/>
              </a:cxn>
              <a:cxn ang="0">
                <a:pos x="0" y="52"/>
              </a:cxn>
              <a:cxn ang="0">
                <a:pos x="0" y="48"/>
              </a:cxn>
              <a:cxn ang="0">
                <a:pos x="0" y="42"/>
              </a:cxn>
              <a:cxn ang="0">
                <a:pos x="0" y="38"/>
              </a:cxn>
              <a:cxn ang="0">
                <a:pos x="0" y="34"/>
              </a:cxn>
              <a:cxn ang="0">
                <a:pos x="4" y="30"/>
              </a:cxn>
              <a:cxn ang="0">
                <a:pos x="10" y="26"/>
              </a:cxn>
              <a:cxn ang="0">
                <a:pos x="14" y="20"/>
              </a:cxn>
              <a:cxn ang="0">
                <a:pos x="16" y="0"/>
              </a:cxn>
              <a:cxn ang="0">
                <a:pos x="24" y="6"/>
              </a:cxn>
              <a:cxn ang="0">
                <a:pos x="28" y="6"/>
              </a:cxn>
              <a:cxn ang="0">
                <a:pos x="44" y="6"/>
              </a:cxn>
              <a:cxn ang="0">
                <a:pos x="48" y="8"/>
              </a:cxn>
              <a:cxn ang="0">
                <a:pos x="66" y="10"/>
              </a:cxn>
            </a:cxnLst>
            <a:rect l="0" t="0" r="r" b="b"/>
            <a:pathLst>
              <a:path w="66" h="86">
                <a:moveTo>
                  <a:pt x="66" y="10"/>
                </a:moveTo>
                <a:lnTo>
                  <a:pt x="64" y="18"/>
                </a:lnTo>
                <a:lnTo>
                  <a:pt x="60" y="24"/>
                </a:lnTo>
                <a:lnTo>
                  <a:pt x="58" y="30"/>
                </a:lnTo>
                <a:lnTo>
                  <a:pt x="56" y="36"/>
                </a:lnTo>
                <a:lnTo>
                  <a:pt x="58" y="42"/>
                </a:lnTo>
                <a:lnTo>
                  <a:pt x="60" y="46"/>
                </a:lnTo>
                <a:lnTo>
                  <a:pt x="62" y="52"/>
                </a:lnTo>
                <a:lnTo>
                  <a:pt x="64" y="58"/>
                </a:lnTo>
                <a:lnTo>
                  <a:pt x="62" y="62"/>
                </a:lnTo>
                <a:lnTo>
                  <a:pt x="58" y="66"/>
                </a:lnTo>
                <a:lnTo>
                  <a:pt x="54" y="76"/>
                </a:lnTo>
                <a:lnTo>
                  <a:pt x="52" y="74"/>
                </a:lnTo>
                <a:lnTo>
                  <a:pt x="50" y="68"/>
                </a:lnTo>
                <a:lnTo>
                  <a:pt x="40" y="72"/>
                </a:lnTo>
                <a:lnTo>
                  <a:pt x="28" y="76"/>
                </a:lnTo>
                <a:lnTo>
                  <a:pt x="28" y="86"/>
                </a:lnTo>
                <a:lnTo>
                  <a:pt x="26" y="84"/>
                </a:lnTo>
                <a:lnTo>
                  <a:pt x="22" y="82"/>
                </a:lnTo>
                <a:lnTo>
                  <a:pt x="20" y="80"/>
                </a:lnTo>
                <a:lnTo>
                  <a:pt x="16" y="80"/>
                </a:lnTo>
                <a:lnTo>
                  <a:pt x="14" y="74"/>
                </a:lnTo>
                <a:lnTo>
                  <a:pt x="12" y="68"/>
                </a:lnTo>
                <a:lnTo>
                  <a:pt x="6" y="60"/>
                </a:lnTo>
                <a:lnTo>
                  <a:pt x="0" y="52"/>
                </a:lnTo>
                <a:lnTo>
                  <a:pt x="0" y="48"/>
                </a:lnTo>
                <a:lnTo>
                  <a:pt x="0" y="42"/>
                </a:lnTo>
                <a:lnTo>
                  <a:pt x="0" y="38"/>
                </a:lnTo>
                <a:lnTo>
                  <a:pt x="0" y="34"/>
                </a:lnTo>
                <a:lnTo>
                  <a:pt x="4" y="30"/>
                </a:lnTo>
                <a:lnTo>
                  <a:pt x="10" y="26"/>
                </a:lnTo>
                <a:lnTo>
                  <a:pt x="14" y="20"/>
                </a:lnTo>
                <a:lnTo>
                  <a:pt x="16" y="0"/>
                </a:lnTo>
                <a:lnTo>
                  <a:pt x="24" y="6"/>
                </a:lnTo>
                <a:lnTo>
                  <a:pt x="28" y="6"/>
                </a:lnTo>
                <a:lnTo>
                  <a:pt x="44" y="6"/>
                </a:lnTo>
                <a:lnTo>
                  <a:pt x="48" y="8"/>
                </a:lnTo>
                <a:lnTo>
                  <a:pt x="66" y="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8" name="Freeform 68">
            <a:extLst>
              <a:ext uri="{FF2B5EF4-FFF2-40B4-BE49-F238E27FC236}">
                <a16:creationId xmlns:a16="http://schemas.microsoft.com/office/drawing/2014/main" id="{843C6AD2-2ABE-4B8C-B9F4-3AC9F18EC91C}"/>
              </a:ext>
            </a:extLst>
          </p:cNvPr>
          <p:cNvSpPr>
            <a:spLocks/>
          </p:cNvSpPr>
          <p:nvPr/>
        </p:nvSpPr>
        <p:spPr bwMode="auto">
          <a:xfrm>
            <a:off x="2050792" y="3471202"/>
            <a:ext cx="424142" cy="365278"/>
          </a:xfrm>
          <a:custGeom>
            <a:avLst/>
            <a:gdLst/>
            <a:ahLst/>
            <a:cxnLst>
              <a:cxn ang="0">
                <a:pos x="206" y="70"/>
              </a:cxn>
              <a:cxn ang="0">
                <a:pos x="200" y="84"/>
              </a:cxn>
              <a:cxn ang="0">
                <a:pos x="188" y="110"/>
              </a:cxn>
              <a:cxn ang="0">
                <a:pos x="196" y="120"/>
              </a:cxn>
              <a:cxn ang="0">
                <a:pos x="192" y="134"/>
              </a:cxn>
              <a:cxn ang="0">
                <a:pos x="170" y="146"/>
              </a:cxn>
              <a:cxn ang="0">
                <a:pos x="150" y="148"/>
              </a:cxn>
              <a:cxn ang="0">
                <a:pos x="142" y="162"/>
              </a:cxn>
              <a:cxn ang="0">
                <a:pos x="152" y="176"/>
              </a:cxn>
              <a:cxn ang="0">
                <a:pos x="124" y="200"/>
              </a:cxn>
              <a:cxn ang="0">
                <a:pos x="102" y="204"/>
              </a:cxn>
              <a:cxn ang="0">
                <a:pos x="96" y="188"/>
              </a:cxn>
              <a:cxn ang="0">
                <a:pos x="86" y="166"/>
              </a:cxn>
              <a:cxn ang="0">
                <a:pos x="90" y="158"/>
              </a:cxn>
              <a:cxn ang="0">
                <a:pos x="86" y="146"/>
              </a:cxn>
              <a:cxn ang="0">
                <a:pos x="82" y="130"/>
              </a:cxn>
              <a:cxn ang="0">
                <a:pos x="84" y="104"/>
              </a:cxn>
              <a:cxn ang="0">
                <a:pos x="66" y="106"/>
              </a:cxn>
              <a:cxn ang="0">
                <a:pos x="50" y="100"/>
              </a:cxn>
              <a:cxn ang="0">
                <a:pos x="24" y="90"/>
              </a:cxn>
              <a:cxn ang="0">
                <a:pos x="12" y="82"/>
              </a:cxn>
              <a:cxn ang="0">
                <a:pos x="16" y="70"/>
              </a:cxn>
              <a:cxn ang="0">
                <a:pos x="8" y="56"/>
              </a:cxn>
              <a:cxn ang="0">
                <a:pos x="0" y="44"/>
              </a:cxn>
              <a:cxn ang="0">
                <a:pos x="18" y="16"/>
              </a:cxn>
              <a:cxn ang="0">
                <a:pos x="30" y="16"/>
              </a:cxn>
              <a:cxn ang="0">
                <a:pos x="24" y="28"/>
              </a:cxn>
              <a:cxn ang="0">
                <a:pos x="28" y="48"/>
              </a:cxn>
              <a:cxn ang="0">
                <a:pos x="38" y="44"/>
              </a:cxn>
              <a:cxn ang="0">
                <a:pos x="36" y="30"/>
              </a:cxn>
              <a:cxn ang="0">
                <a:pos x="32" y="20"/>
              </a:cxn>
              <a:cxn ang="0">
                <a:pos x="50" y="4"/>
              </a:cxn>
              <a:cxn ang="0">
                <a:pos x="66" y="4"/>
              </a:cxn>
              <a:cxn ang="0">
                <a:pos x="82" y="12"/>
              </a:cxn>
              <a:cxn ang="0">
                <a:pos x="106" y="22"/>
              </a:cxn>
              <a:cxn ang="0">
                <a:pos x="126" y="26"/>
              </a:cxn>
              <a:cxn ang="0">
                <a:pos x="162" y="20"/>
              </a:cxn>
              <a:cxn ang="0">
                <a:pos x="174" y="18"/>
              </a:cxn>
              <a:cxn ang="0">
                <a:pos x="174" y="34"/>
              </a:cxn>
              <a:cxn ang="0">
                <a:pos x="190" y="38"/>
              </a:cxn>
              <a:cxn ang="0">
                <a:pos x="196" y="52"/>
              </a:cxn>
              <a:cxn ang="0">
                <a:pos x="204" y="54"/>
              </a:cxn>
            </a:cxnLst>
            <a:rect l="0" t="0" r="r" b="b"/>
            <a:pathLst>
              <a:path w="214" h="204">
                <a:moveTo>
                  <a:pt x="214" y="56"/>
                </a:moveTo>
                <a:lnTo>
                  <a:pt x="210" y="64"/>
                </a:lnTo>
                <a:lnTo>
                  <a:pt x="206" y="70"/>
                </a:lnTo>
                <a:lnTo>
                  <a:pt x="200" y="74"/>
                </a:lnTo>
                <a:lnTo>
                  <a:pt x="198" y="80"/>
                </a:lnTo>
                <a:lnTo>
                  <a:pt x="200" y="84"/>
                </a:lnTo>
                <a:lnTo>
                  <a:pt x="206" y="88"/>
                </a:lnTo>
                <a:lnTo>
                  <a:pt x="188" y="98"/>
                </a:lnTo>
                <a:lnTo>
                  <a:pt x="188" y="110"/>
                </a:lnTo>
                <a:lnTo>
                  <a:pt x="190" y="114"/>
                </a:lnTo>
                <a:lnTo>
                  <a:pt x="192" y="116"/>
                </a:lnTo>
                <a:lnTo>
                  <a:pt x="196" y="120"/>
                </a:lnTo>
                <a:lnTo>
                  <a:pt x="196" y="124"/>
                </a:lnTo>
                <a:lnTo>
                  <a:pt x="196" y="130"/>
                </a:lnTo>
                <a:lnTo>
                  <a:pt x="192" y="134"/>
                </a:lnTo>
                <a:lnTo>
                  <a:pt x="188" y="136"/>
                </a:lnTo>
                <a:lnTo>
                  <a:pt x="184" y="140"/>
                </a:lnTo>
                <a:lnTo>
                  <a:pt x="170" y="146"/>
                </a:lnTo>
                <a:lnTo>
                  <a:pt x="166" y="150"/>
                </a:lnTo>
                <a:lnTo>
                  <a:pt x="162" y="154"/>
                </a:lnTo>
                <a:lnTo>
                  <a:pt x="150" y="148"/>
                </a:lnTo>
                <a:lnTo>
                  <a:pt x="144" y="144"/>
                </a:lnTo>
                <a:lnTo>
                  <a:pt x="134" y="142"/>
                </a:lnTo>
                <a:lnTo>
                  <a:pt x="142" y="162"/>
                </a:lnTo>
                <a:lnTo>
                  <a:pt x="146" y="170"/>
                </a:lnTo>
                <a:lnTo>
                  <a:pt x="148" y="172"/>
                </a:lnTo>
                <a:lnTo>
                  <a:pt x="152" y="176"/>
                </a:lnTo>
                <a:lnTo>
                  <a:pt x="146" y="186"/>
                </a:lnTo>
                <a:lnTo>
                  <a:pt x="134" y="194"/>
                </a:lnTo>
                <a:lnTo>
                  <a:pt x="124" y="200"/>
                </a:lnTo>
                <a:lnTo>
                  <a:pt x="116" y="204"/>
                </a:lnTo>
                <a:lnTo>
                  <a:pt x="108" y="204"/>
                </a:lnTo>
                <a:lnTo>
                  <a:pt x="102" y="204"/>
                </a:lnTo>
                <a:lnTo>
                  <a:pt x="98" y="202"/>
                </a:lnTo>
                <a:lnTo>
                  <a:pt x="96" y="198"/>
                </a:lnTo>
                <a:lnTo>
                  <a:pt x="96" y="188"/>
                </a:lnTo>
                <a:lnTo>
                  <a:pt x="92" y="178"/>
                </a:lnTo>
                <a:lnTo>
                  <a:pt x="88" y="170"/>
                </a:lnTo>
                <a:lnTo>
                  <a:pt x="86" y="166"/>
                </a:lnTo>
                <a:lnTo>
                  <a:pt x="86" y="162"/>
                </a:lnTo>
                <a:lnTo>
                  <a:pt x="88" y="162"/>
                </a:lnTo>
                <a:lnTo>
                  <a:pt x="90" y="158"/>
                </a:lnTo>
                <a:lnTo>
                  <a:pt x="90" y="156"/>
                </a:lnTo>
                <a:lnTo>
                  <a:pt x="88" y="150"/>
                </a:lnTo>
                <a:lnTo>
                  <a:pt x="86" y="146"/>
                </a:lnTo>
                <a:lnTo>
                  <a:pt x="82" y="142"/>
                </a:lnTo>
                <a:lnTo>
                  <a:pt x="80" y="136"/>
                </a:lnTo>
                <a:lnTo>
                  <a:pt x="82" y="130"/>
                </a:lnTo>
                <a:lnTo>
                  <a:pt x="84" y="120"/>
                </a:lnTo>
                <a:lnTo>
                  <a:pt x="92" y="104"/>
                </a:lnTo>
                <a:lnTo>
                  <a:pt x="84" y="104"/>
                </a:lnTo>
                <a:lnTo>
                  <a:pt x="78" y="106"/>
                </a:lnTo>
                <a:lnTo>
                  <a:pt x="74" y="106"/>
                </a:lnTo>
                <a:lnTo>
                  <a:pt x="66" y="106"/>
                </a:lnTo>
                <a:lnTo>
                  <a:pt x="60" y="106"/>
                </a:lnTo>
                <a:lnTo>
                  <a:pt x="54" y="104"/>
                </a:lnTo>
                <a:lnTo>
                  <a:pt x="50" y="100"/>
                </a:lnTo>
                <a:lnTo>
                  <a:pt x="50" y="94"/>
                </a:lnTo>
                <a:lnTo>
                  <a:pt x="38" y="92"/>
                </a:lnTo>
                <a:lnTo>
                  <a:pt x="24" y="90"/>
                </a:lnTo>
                <a:lnTo>
                  <a:pt x="20" y="88"/>
                </a:lnTo>
                <a:lnTo>
                  <a:pt x="16" y="86"/>
                </a:lnTo>
                <a:lnTo>
                  <a:pt x="12" y="82"/>
                </a:lnTo>
                <a:lnTo>
                  <a:pt x="10" y="80"/>
                </a:lnTo>
                <a:lnTo>
                  <a:pt x="12" y="76"/>
                </a:lnTo>
                <a:lnTo>
                  <a:pt x="16" y="70"/>
                </a:lnTo>
                <a:lnTo>
                  <a:pt x="14" y="64"/>
                </a:lnTo>
                <a:lnTo>
                  <a:pt x="10" y="60"/>
                </a:lnTo>
                <a:lnTo>
                  <a:pt x="8" y="56"/>
                </a:lnTo>
                <a:lnTo>
                  <a:pt x="6" y="52"/>
                </a:lnTo>
                <a:lnTo>
                  <a:pt x="2" y="50"/>
                </a:lnTo>
                <a:lnTo>
                  <a:pt x="0" y="44"/>
                </a:lnTo>
                <a:lnTo>
                  <a:pt x="2" y="36"/>
                </a:lnTo>
                <a:lnTo>
                  <a:pt x="6" y="28"/>
                </a:lnTo>
                <a:lnTo>
                  <a:pt x="18" y="16"/>
                </a:lnTo>
                <a:lnTo>
                  <a:pt x="26" y="6"/>
                </a:lnTo>
                <a:lnTo>
                  <a:pt x="28" y="12"/>
                </a:lnTo>
                <a:lnTo>
                  <a:pt x="30" y="16"/>
                </a:lnTo>
                <a:lnTo>
                  <a:pt x="30" y="20"/>
                </a:lnTo>
                <a:lnTo>
                  <a:pt x="28" y="24"/>
                </a:lnTo>
                <a:lnTo>
                  <a:pt x="24" y="28"/>
                </a:lnTo>
                <a:lnTo>
                  <a:pt x="24" y="34"/>
                </a:lnTo>
                <a:lnTo>
                  <a:pt x="24" y="44"/>
                </a:lnTo>
                <a:lnTo>
                  <a:pt x="28" y="48"/>
                </a:lnTo>
                <a:lnTo>
                  <a:pt x="30" y="48"/>
                </a:lnTo>
                <a:lnTo>
                  <a:pt x="34" y="46"/>
                </a:lnTo>
                <a:lnTo>
                  <a:pt x="38" y="44"/>
                </a:lnTo>
                <a:lnTo>
                  <a:pt x="40" y="38"/>
                </a:lnTo>
                <a:lnTo>
                  <a:pt x="38" y="34"/>
                </a:lnTo>
                <a:lnTo>
                  <a:pt x="36" y="30"/>
                </a:lnTo>
                <a:lnTo>
                  <a:pt x="32" y="26"/>
                </a:lnTo>
                <a:lnTo>
                  <a:pt x="30" y="24"/>
                </a:lnTo>
                <a:lnTo>
                  <a:pt x="32" y="20"/>
                </a:lnTo>
                <a:lnTo>
                  <a:pt x="34" y="16"/>
                </a:lnTo>
                <a:lnTo>
                  <a:pt x="44" y="10"/>
                </a:lnTo>
                <a:lnTo>
                  <a:pt x="50" y="4"/>
                </a:lnTo>
                <a:lnTo>
                  <a:pt x="58" y="0"/>
                </a:lnTo>
                <a:lnTo>
                  <a:pt x="62" y="4"/>
                </a:lnTo>
                <a:lnTo>
                  <a:pt x="66" y="4"/>
                </a:lnTo>
                <a:lnTo>
                  <a:pt x="70" y="6"/>
                </a:lnTo>
                <a:lnTo>
                  <a:pt x="76" y="6"/>
                </a:lnTo>
                <a:lnTo>
                  <a:pt x="82" y="12"/>
                </a:lnTo>
                <a:lnTo>
                  <a:pt x="88" y="18"/>
                </a:lnTo>
                <a:lnTo>
                  <a:pt x="94" y="20"/>
                </a:lnTo>
                <a:lnTo>
                  <a:pt x="106" y="22"/>
                </a:lnTo>
                <a:lnTo>
                  <a:pt x="114" y="22"/>
                </a:lnTo>
                <a:lnTo>
                  <a:pt x="120" y="24"/>
                </a:lnTo>
                <a:lnTo>
                  <a:pt x="126" y="26"/>
                </a:lnTo>
                <a:lnTo>
                  <a:pt x="132" y="28"/>
                </a:lnTo>
                <a:lnTo>
                  <a:pt x="146" y="24"/>
                </a:lnTo>
                <a:lnTo>
                  <a:pt x="162" y="20"/>
                </a:lnTo>
                <a:lnTo>
                  <a:pt x="174" y="16"/>
                </a:lnTo>
                <a:lnTo>
                  <a:pt x="176" y="16"/>
                </a:lnTo>
                <a:lnTo>
                  <a:pt x="174" y="18"/>
                </a:lnTo>
                <a:lnTo>
                  <a:pt x="170" y="24"/>
                </a:lnTo>
                <a:lnTo>
                  <a:pt x="170" y="26"/>
                </a:lnTo>
                <a:lnTo>
                  <a:pt x="174" y="34"/>
                </a:lnTo>
                <a:lnTo>
                  <a:pt x="180" y="32"/>
                </a:lnTo>
                <a:lnTo>
                  <a:pt x="184" y="34"/>
                </a:lnTo>
                <a:lnTo>
                  <a:pt x="190" y="38"/>
                </a:lnTo>
                <a:lnTo>
                  <a:pt x="194" y="40"/>
                </a:lnTo>
                <a:lnTo>
                  <a:pt x="196" y="46"/>
                </a:lnTo>
                <a:lnTo>
                  <a:pt x="196" y="52"/>
                </a:lnTo>
                <a:lnTo>
                  <a:pt x="192" y="56"/>
                </a:lnTo>
                <a:lnTo>
                  <a:pt x="200" y="54"/>
                </a:lnTo>
                <a:lnTo>
                  <a:pt x="204" y="54"/>
                </a:lnTo>
                <a:lnTo>
                  <a:pt x="208" y="56"/>
                </a:lnTo>
                <a:lnTo>
                  <a:pt x="214" y="5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9" name="Freeform 69">
            <a:extLst>
              <a:ext uri="{FF2B5EF4-FFF2-40B4-BE49-F238E27FC236}">
                <a16:creationId xmlns:a16="http://schemas.microsoft.com/office/drawing/2014/main" id="{98062119-FA08-4884-8AA4-555DAB523BA1}"/>
              </a:ext>
            </a:extLst>
          </p:cNvPr>
          <p:cNvSpPr>
            <a:spLocks/>
          </p:cNvSpPr>
          <p:nvPr/>
        </p:nvSpPr>
        <p:spPr bwMode="auto">
          <a:xfrm>
            <a:off x="2026848" y="3693616"/>
            <a:ext cx="1248482" cy="1246816"/>
          </a:xfrm>
          <a:custGeom>
            <a:avLst/>
            <a:gdLst/>
            <a:ahLst/>
            <a:cxnLst>
              <a:cxn ang="0">
                <a:pos x="330" y="54"/>
              </a:cxn>
              <a:cxn ang="0">
                <a:pos x="294" y="48"/>
              </a:cxn>
              <a:cxn ang="0">
                <a:pos x="270" y="56"/>
              </a:cxn>
              <a:cxn ang="0">
                <a:pos x="238" y="70"/>
              </a:cxn>
              <a:cxn ang="0">
                <a:pos x="224" y="38"/>
              </a:cxn>
              <a:cxn ang="0">
                <a:pos x="220" y="10"/>
              </a:cxn>
              <a:cxn ang="0">
                <a:pos x="200" y="12"/>
              </a:cxn>
              <a:cxn ang="0">
                <a:pos x="156" y="20"/>
              </a:cxn>
              <a:cxn ang="0">
                <a:pos x="158" y="62"/>
              </a:cxn>
              <a:cxn ang="0">
                <a:pos x="110" y="78"/>
              </a:cxn>
              <a:cxn ang="0">
                <a:pos x="68" y="64"/>
              </a:cxn>
              <a:cxn ang="0">
                <a:pos x="72" y="84"/>
              </a:cxn>
              <a:cxn ang="0">
                <a:pos x="62" y="104"/>
              </a:cxn>
              <a:cxn ang="0">
                <a:pos x="58" y="174"/>
              </a:cxn>
              <a:cxn ang="0">
                <a:pos x="16" y="196"/>
              </a:cxn>
              <a:cxn ang="0">
                <a:pos x="0" y="230"/>
              </a:cxn>
              <a:cxn ang="0">
                <a:pos x="16" y="266"/>
              </a:cxn>
              <a:cxn ang="0">
                <a:pos x="46" y="278"/>
              </a:cxn>
              <a:cxn ang="0">
                <a:pos x="62" y="296"/>
              </a:cxn>
              <a:cxn ang="0">
                <a:pos x="102" y="290"/>
              </a:cxn>
              <a:cxn ang="0">
                <a:pos x="140" y="280"/>
              </a:cxn>
              <a:cxn ang="0">
                <a:pos x="158" y="324"/>
              </a:cxn>
              <a:cxn ang="0">
                <a:pos x="188" y="336"/>
              </a:cxn>
              <a:cxn ang="0">
                <a:pos x="212" y="342"/>
              </a:cxn>
              <a:cxn ang="0">
                <a:pos x="226" y="376"/>
              </a:cxn>
              <a:cxn ang="0">
                <a:pos x="254" y="400"/>
              </a:cxn>
              <a:cxn ang="0">
                <a:pos x="270" y="430"/>
              </a:cxn>
              <a:cxn ang="0">
                <a:pos x="270" y="480"/>
              </a:cxn>
              <a:cxn ang="0">
                <a:pos x="306" y="508"/>
              </a:cxn>
              <a:cxn ang="0">
                <a:pos x="328" y="528"/>
              </a:cxn>
              <a:cxn ang="0">
                <a:pos x="338" y="564"/>
              </a:cxn>
              <a:cxn ang="0">
                <a:pos x="340" y="596"/>
              </a:cxn>
              <a:cxn ang="0">
                <a:pos x="298" y="648"/>
              </a:cxn>
              <a:cxn ang="0">
                <a:pos x="380" y="698"/>
              </a:cxn>
              <a:cxn ang="0">
                <a:pos x="406" y="656"/>
              </a:cxn>
              <a:cxn ang="0">
                <a:pos x="430" y="614"/>
              </a:cxn>
              <a:cxn ang="0">
                <a:pos x="432" y="554"/>
              </a:cxn>
              <a:cxn ang="0">
                <a:pos x="510" y="514"/>
              </a:cxn>
              <a:cxn ang="0">
                <a:pos x="558" y="448"/>
              </a:cxn>
              <a:cxn ang="0">
                <a:pos x="562" y="412"/>
              </a:cxn>
              <a:cxn ang="0">
                <a:pos x="564" y="338"/>
              </a:cxn>
              <a:cxn ang="0">
                <a:pos x="590" y="306"/>
              </a:cxn>
              <a:cxn ang="0">
                <a:pos x="628" y="250"/>
              </a:cxn>
              <a:cxn ang="0">
                <a:pos x="622" y="186"/>
              </a:cxn>
              <a:cxn ang="0">
                <a:pos x="580" y="166"/>
              </a:cxn>
              <a:cxn ang="0">
                <a:pos x="522" y="144"/>
              </a:cxn>
              <a:cxn ang="0">
                <a:pos x="486" y="134"/>
              </a:cxn>
              <a:cxn ang="0">
                <a:pos x="460" y="120"/>
              </a:cxn>
              <a:cxn ang="0">
                <a:pos x="414" y="102"/>
              </a:cxn>
              <a:cxn ang="0">
                <a:pos x="380" y="122"/>
              </a:cxn>
              <a:cxn ang="0">
                <a:pos x="368" y="104"/>
              </a:cxn>
              <a:cxn ang="0">
                <a:pos x="382" y="70"/>
              </a:cxn>
              <a:cxn ang="0">
                <a:pos x="368" y="28"/>
              </a:cxn>
            </a:cxnLst>
            <a:rect l="0" t="0" r="r" b="b"/>
            <a:pathLst>
              <a:path w="632" h="698">
                <a:moveTo>
                  <a:pt x="362" y="12"/>
                </a:moveTo>
                <a:lnTo>
                  <a:pt x="356" y="26"/>
                </a:lnTo>
                <a:lnTo>
                  <a:pt x="348" y="38"/>
                </a:lnTo>
                <a:lnTo>
                  <a:pt x="342" y="44"/>
                </a:lnTo>
                <a:lnTo>
                  <a:pt x="336" y="50"/>
                </a:lnTo>
                <a:lnTo>
                  <a:pt x="330" y="54"/>
                </a:lnTo>
                <a:lnTo>
                  <a:pt x="320" y="54"/>
                </a:lnTo>
                <a:lnTo>
                  <a:pt x="314" y="54"/>
                </a:lnTo>
                <a:lnTo>
                  <a:pt x="308" y="52"/>
                </a:lnTo>
                <a:lnTo>
                  <a:pt x="306" y="50"/>
                </a:lnTo>
                <a:lnTo>
                  <a:pt x="304" y="44"/>
                </a:lnTo>
                <a:lnTo>
                  <a:pt x="294" y="48"/>
                </a:lnTo>
                <a:lnTo>
                  <a:pt x="282" y="52"/>
                </a:lnTo>
                <a:lnTo>
                  <a:pt x="282" y="62"/>
                </a:lnTo>
                <a:lnTo>
                  <a:pt x="280" y="60"/>
                </a:lnTo>
                <a:lnTo>
                  <a:pt x="276" y="58"/>
                </a:lnTo>
                <a:lnTo>
                  <a:pt x="274" y="56"/>
                </a:lnTo>
                <a:lnTo>
                  <a:pt x="270" y="56"/>
                </a:lnTo>
                <a:lnTo>
                  <a:pt x="264" y="56"/>
                </a:lnTo>
                <a:lnTo>
                  <a:pt x="260" y="58"/>
                </a:lnTo>
                <a:lnTo>
                  <a:pt x="254" y="64"/>
                </a:lnTo>
                <a:lnTo>
                  <a:pt x="248" y="68"/>
                </a:lnTo>
                <a:lnTo>
                  <a:pt x="244" y="70"/>
                </a:lnTo>
                <a:lnTo>
                  <a:pt x="238" y="70"/>
                </a:lnTo>
                <a:lnTo>
                  <a:pt x="234" y="70"/>
                </a:lnTo>
                <a:lnTo>
                  <a:pt x="232" y="68"/>
                </a:lnTo>
                <a:lnTo>
                  <a:pt x="226" y="62"/>
                </a:lnTo>
                <a:lnTo>
                  <a:pt x="224" y="54"/>
                </a:lnTo>
                <a:lnTo>
                  <a:pt x="222" y="44"/>
                </a:lnTo>
                <a:lnTo>
                  <a:pt x="224" y="38"/>
                </a:lnTo>
                <a:lnTo>
                  <a:pt x="226" y="34"/>
                </a:lnTo>
                <a:lnTo>
                  <a:pt x="226" y="30"/>
                </a:lnTo>
                <a:lnTo>
                  <a:pt x="226" y="26"/>
                </a:lnTo>
                <a:lnTo>
                  <a:pt x="226" y="20"/>
                </a:lnTo>
                <a:lnTo>
                  <a:pt x="224" y="14"/>
                </a:lnTo>
                <a:lnTo>
                  <a:pt x="220" y="10"/>
                </a:lnTo>
                <a:lnTo>
                  <a:pt x="220" y="8"/>
                </a:lnTo>
                <a:lnTo>
                  <a:pt x="220" y="0"/>
                </a:lnTo>
                <a:lnTo>
                  <a:pt x="208" y="0"/>
                </a:lnTo>
                <a:lnTo>
                  <a:pt x="208" y="6"/>
                </a:lnTo>
                <a:lnTo>
                  <a:pt x="204" y="10"/>
                </a:lnTo>
                <a:lnTo>
                  <a:pt x="200" y="12"/>
                </a:lnTo>
                <a:lnTo>
                  <a:pt x="196" y="16"/>
                </a:lnTo>
                <a:lnTo>
                  <a:pt x="182" y="22"/>
                </a:lnTo>
                <a:lnTo>
                  <a:pt x="178" y="26"/>
                </a:lnTo>
                <a:lnTo>
                  <a:pt x="174" y="30"/>
                </a:lnTo>
                <a:lnTo>
                  <a:pt x="162" y="24"/>
                </a:lnTo>
                <a:lnTo>
                  <a:pt x="156" y="20"/>
                </a:lnTo>
                <a:lnTo>
                  <a:pt x="146" y="18"/>
                </a:lnTo>
                <a:lnTo>
                  <a:pt x="154" y="38"/>
                </a:lnTo>
                <a:lnTo>
                  <a:pt x="158" y="46"/>
                </a:lnTo>
                <a:lnTo>
                  <a:pt x="160" y="48"/>
                </a:lnTo>
                <a:lnTo>
                  <a:pt x="164" y="52"/>
                </a:lnTo>
                <a:lnTo>
                  <a:pt x="158" y="62"/>
                </a:lnTo>
                <a:lnTo>
                  <a:pt x="146" y="70"/>
                </a:lnTo>
                <a:lnTo>
                  <a:pt x="136" y="76"/>
                </a:lnTo>
                <a:lnTo>
                  <a:pt x="128" y="80"/>
                </a:lnTo>
                <a:lnTo>
                  <a:pt x="120" y="80"/>
                </a:lnTo>
                <a:lnTo>
                  <a:pt x="114" y="80"/>
                </a:lnTo>
                <a:lnTo>
                  <a:pt x="110" y="78"/>
                </a:lnTo>
                <a:lnTo>
                  <a:pt x="108" y="74"/>
                </a:lnTo>
                <a:lnTo>
                  <a:pt x="108" y="64"/>
                </a:lnTo>
                <a:lnTo>
                  <a:pt x="104" y="54"/>
                </a:lnTo>
                <a:lnTo>
                  <a:pt x="90" y="62"/>
                </a:lnTo>
                <a:lnTo>
                  <a:pt x="80" y="64"/>
                </a:lnTo>
                <a:lnTo>
                  <a:pt x="68" y="64"/>
                </a:lnTo>
                <a:lnTo>
                  <a:pt x="62" y="68"/>
                </a:lnTo>
                <a:lnTo>
                  <a:pt x="64" y="68"/>
                </a:lnTo>
                <a:lnTo>
                  <a:pt x="66" y="70"/>
                </a:lnTo>
                <a:lnTo>
                  <a:pt x="68" y="74"/>
                </a:lnTo>
                <a:lnTo>
                  <a:pt x="72" y="76"/>
                </a:lnTo>
                <a:lnTo>
                  <a:pt x="72" y="84"/>
                </a:lnTo>
                <a:lnTo>
                  <a:pt x="66" y="84"/>
                </a:lnTo>
                <a:lnTo>
                  <a:pt x="62" y="86"/>
                </a:lnTo>
                <a:lnTo>
                  <a:pt x="60" y="90"/>
                </a:lnTo>
                <a:lnTo>
                  <a:pt x="58" y="92"/>
                </a:lnTo>
                <a:lnTo>
                  <a:pt x="60" y="98"/>
                </a:lnTo>
                <a:lnTo>
                  <a:pt x="62" y="104"/>
                </a:lnTo>
                <a:lnTo>
                  <a:pt x="66" y="110"/>
                </a:lnTo>
                <a:lnTo>
                  <a:pt x="68" y="116"/>
                </a:lnTo>
                <a:lnTo>
                  <a:pt x="66" y="140"/>
                </a:lnTo>
                <a:lnTo>
                  <a:pt x="62" y="168"/>
                </a:lnTo>
                <a:lnTo>
                  <a:pt x="62" y="172"/>
                </a:lnTo>
                <a:lnTo>
                  <a:pt x="58" y="174"/>
                </a:lnTo>
                <a:lnTo>
                  <a:pt x="46" y="176"/>
                </a:lnTo>
                <a:lnTo>
                  <a:pt x="36" y="178"/>
                </a:lnTo>
                <a:lnTo>
                  <a:pt x="26" y="180"/>
                </a:lnTo>
                <a:lnTo>
                  <a:pt x="20" y="184"/>
                </a:lnTo>
                <a:lnTo>
                  <a:pt x="18" y="188"/>
                </a:lnTo>
                <a:lnTo>
                  <a:pt x="16" y="196"/>
                </a:lnTo>
                <a:lnTo>
                  <a:pt x="14" y="204"/>
                </a:lnTo>
                <a:lnTo>
                  <a:pt x="10" y="216"/>
                </a:lnTo>
                <a:lnTo>
                  <a:pt x="8" y="220"/>
                </a:lnTo>
                <a:lnTo>
                  <a:pt x="6" y="222"/>
                </a:lnTo>
                <a:lnTo>
                  <a:pt x="2" y="226"/>
                </a:lnTo>
                <a:lnTo>
                  <a:pt x="0" y="230"/>
                </a:lnTo>
                <a:lnTo>
                  <a:pt x="2" y="236"/>
                </a:lnTo>
                <a:lnTo>
                  <a:pt x="4" y="240"/>
                </a:lnTo>
                <a:lnTo>
                  <a:pt x="8" y="248"/>
                </a:lnTo>
                <a:lnTo>
                  <a:pt x="14" y="256"/>
                </a:lnTo>
                <a:lnTo>
                  <a:pt x="16" y="260"/>
                </a:lnTo>
                <a:lnTo>
                  <a:pt x="16" y="266"/>
                </a:lnTo>
                <a:lnTo>
                  <a:pt x="24" y="268"/>
                </a:lnTo>
                <a:lnTo>
                  <a:pt x="30" y="272"/>
                </a:lnTo>
                <a:lnTo>
                  <a:pt x="36" y="278"/>
                </a:lnTo>
                <a:lnTo>
                  <a:pt x="40" y="280"/>
                </a:lnTo>
                <a:lnTo>
                  <a:pt x="44" y="278"/>
                </a:lnTo>
                <a:lnTo>
                  <a:pt x="46" y="278"/>
                </a:lnTo>
                <a:lnTo>
                  <a:pt x="48" y="270"/>
                </a:lnTo>
                <a:lnTo>
                  <a:pt x="58" y="270"/>
                </a:lnTo>
                <a:lnTo>
                  <a:pt x="58" y="286"/>
                </a:lnTo>
                <a:lnTo>
                  <a:pt x="58" y="292"/>
                </a:lnTo>
                <a:lnTo>
                  <a:pt x="60" y="294"/>
                </a:lnTo>
                <a:lnTo>
                  <a:pt x="62" y="296"/>
                </a:lnTo>
                <a:lnTo>
                  <a:pt x="64" y="296"/>
                </a:lnTo>
                <a:lnTo>
                  <a:pt x="66" y="296"/>
                </a:lnTo>
                <a:lnTo>
                  <a:pt x="74" y="298"/>
                </a:lnTo>
                <a:lnTo>
                  <a:pt x="86" y="300"/>
                </a:lnTo>
                <a:lnTo>
                  <a:pt x="94" y="296"/>
                </a:lnTo>
                <a:lnTo>
                  <a:pt x="102" y="290"/>
                </a:lnTo>
                <a:lnTo>
                  <a:pt x="116" y="280"/>
                </a:lnTo>
                <a:lnTo>
                  <a:pt x="122" y="276"/>
                </a:lnTo>
                <a:lnTo>
                  <a:pt x="130" y="274"/>
                </a:lnTo>
                <a:lnTo>
                  <a:pt x="136" y="274"/>
                </a:lnTo>
                <a:lnTo>
                  <a:pt x="138" y="276"/>
                </a:lnTo>
                <a:lnTo>
                  <a:pt x="140" y="280"/>
                </a:lnTo>
                <a:lnTo>
                  <a:pt x="140" y="284"/>
                </a:lnTo>
                <a:lnTo>
                  <a:pt x="138" y="294"/>
                </a:lnTo>
                <a:lnTo>
                  <a:pt x="140" y="304"/>
                </a:lnTo>
                <a:lnTo>
                  <a:pt x="144" y="310"/>
                </a:lnTo>
                <a:lnTo>
                  <a:pt x="148" y="318"/>
                </a:lnTo>
                <a:lnTo>
                  <a:pt x="158" y="324"/>
                </a:lnTo>
                <a:lnTo>
                  <a:pt x="168" y="328"/>
                </a:lnTo>
                <a:lnTo>
                  <a:pt x="172" y="326"/>
                </a:lnTo>
                <a:lnTo>
                  <a:pt x="174" y="328"/>
                </a:lnTo>
                <a:lnTo>
                  <a:pt x="178" y="332"/>
                </a:lnTo>
                <a:lnTo>
                  <a:pt x="182" y="334"/>
                </a:lnTo>
                <a:lnTo>
                  <a:pt x="188" y="336"/>
                </a:lnTo>
                <a:lnTo>
                  <a:pt x="188" y="340"/>
                </a:lnTo>
                <a:lnTo>
                  <a:pt x="190" y="342"/>
                </a:lnTo>
                <a:lnTo>
                  <a:pt x="194" y="342"/>
                </a:lnTo>
                <a:lnTo>
                  <a:pt x="198" y="342"/>
                </a:lnTo>
                <a:lnTo>
                  <a:pt x="208" y="340"/>
                </a:lnTo>
                <a:lnTo>
                  <a:pt x="212" y="342"/>
                </a:lnTo>
                <a:lnTo>
                  <a:pt x="216" y="344"/>
                </a:lnTo>
                <a:lnTo>
                  <a:pt x="220" y="354"/>
                </a:lnTo>
                <a:lnTo>
                  <a:pt x="222" y="364"/>
                </a:lnTo>
                <a:lnTo>
                  <a:pt x="224" y="366"/>
                </a:lnTo>
                <a:lnTo>
                  <a:pt x="226" y="368"/>
                </a:lnTo>
                <a:lnTo>
                  <a:pt x="226" y="376"/>
                </a:lnTo>
                <a:lnTo>
                  <a:pt x="226" y="382"/>
                </a:lnTo>
                <a:lnTo>
                  <a:pt x="228" y="386"/>
                </a:lnTo>
                <a:lnTo>
                  <a:pt x="232" y="390"/>
                </a:lnTo>
                <a:lnTo>
                  <a:pt x="242" y="392"/>
                </a:lnTo>
                <a:lnTo>
                  <a:pt x="254" y="394"/>
                </a:lnTo>
                <a:lnTo>
                  <a:pt x="254" y="400"/>
                </a:lnTo>
                <a:lnTo>
                  <a:pt x="254" y="404"/>
                </a:lnTo>
                <a:lnTo>
                  <a:pt x="258" y="408"/>
                </a:lnTo>
                <a:lnTo>
                  <a:pt x="260" y="412"/>
                </a:lnTo>
                <a:lnTo>
                  <a:pt x="268" y="420"/>
                </a:lnTo>
                <a:lnTo>
                  <a:pt x="270" y="422"/>
                </a:lnTo>
                <a:lnTo>
                  <a:pt x="270" y="430"/>
                </a:lnTo>
                <a:lnTo>
                  <a:pt x="270" y="436"/>
                </a:lnTo>
                <a:lnTo>
                  <a:pt x="266" y="444"/>
                </a:lnTo>
                <a:lnTo>
                  <a:pt x="264" y="448"/>
                </a:lnTo>
                <a:lnTo>
                  <a:pt x="264" y="454"/>
                </a:lnTo>
                <a:lnTo>
                  <a:pt x="264" y="464"/>
                </a:lnTo>
                <a:lnTo>
                  <a:pt x="270" y="480"/>
                </a:lnTo>
                <a:lnTo>
                  <a:pt x="276" y="496"/>
                </a:lnTo>
                <a:lnTo>
                  <a:pt x="278" y="500"/>
                </a:lnTo>
                <a:lnTo>
                  <a:pt x="282" y="502"/>
                </a:lnTo>
                <a:lnTo>
                  <a:pt x="292" y="502"/>
                </a:lnTo>
                <a:lnTo>
                  <a:pt x="300" y="504"/>
                </a:lnTo>
                <a:lnTo>
                  <a:pt x="306" y="508"/>
                </a:lnTo>
                <a:lnTo>
                  <a:pt x="308" y="514"/>
                </a:lnTo>
                <a:lnTo>
                  <a:pt x="314" y="526"/>
                </a:lnTo>
                <a:lnTo>
                  <a:pt x="320" y="536"/>
                </a:lnTo>
                <a:lnTo>
                  <a:pt x="322" y="532"/>
                </a:lnTo>
                <a:lnTo>
                  <a:pt x="326" y="530"/>
                </a:lnTo>
                <a:lnTo>
                  <a:pt x="328" y="528"/>
                </a:lnTo>
                <a:lnTo>
                  <a:pt x="332" y="530"/>
                </a:lnTo>
                <a:lnTo>
                  <a:pt x="332" y="534"/>
                </a:lnTo>
                <a:lnTo>
                  <a:pt x="332" y="540"/>
                </a:lnTo>
                <a:lnTo>
                  <a:pt x="332" y="554"/>
                </a:lnTo>
                <a:lnTo>
                  <a:pt x="332" y="564"/>
                </a:lnTo>
                <a:lnTo>
                  <a:pt x="338" y="564"/>
                </a:lnTo>
                <a:lnTo>
                  <a:pt x="344" y="562"/>
                </a:lnTo>
                <a:lnTo>
                  <a:pt x="346" y="572"/>
                </a:lnTo>
                <a:lnTo>
                  <a:pt x="348" y="582"/>
                </a:lnTo>
                <a:lnTo>
                  <a:pt x="348" y="586"/>
                </a:lnTo>
                <a:lnTo>
                  <a:pt x="346" y="590"/>
                </a:lnTo>
                <a:lnTo>
                  <a:pt x="340" y="596"/>
                </a:lnTo>
                <a:lnTo>
                  <a:pt x="326" y="602"/>
                </a:lnTo>
                <a:lnTo>
                  <a:pt x="318" y="610"/>
                </a:lnTo>
                <a:lnTo>
                  <a:pt x="308" y="622"/>
                </a:lnTo>
                <a:lnTo>
                  <a:pt x="302" y="636"/>
                </a:lnTo>
                <a:lnTo>
                  <a:pt x="298" y="642"/>
                </a:lnTo>
                <a:lnTo>
                  <a:pt x="298" y="648"/>
                </a:lnTo>
                <a:lnTo>
                  <a:pt x="308" y="648"/>
                </a:lnTo>
                <a:lnTo>
                  <a:pt x="318" y="652"/>
                </a:lnTo>
                <a:lnTo>
                  <a:pt x="330" y="660"/>
                </a:lnTo>
                <a:lnTo>
                  <a:pt x="340" y="666"/>
                </a:lnTo>
                <a:lnTo>
                  <a:pt x="362" y="684"/>
                </a:lnTo>
                <a:lnTo>
                  <a:pt x="380" y="698"/>
                </a:lnTo>
                <a:lnTo>
                  <a:pt x="382" y="686"/>
                </a:lnTo>
                <a:lnTo>
                  <a:pt x="384" y="674"/>
                </a:lnTo>
                <a:lnTo>
                  <a:pt x="390" y="672"/>
                </a:lnTo>
                <a:lnTo>
                  <a:pt x="396" y="668"/>
                </a:lnTo>
                <a:lnTo>
                  <a:pt x="402" y="664"/>
                </a:lnTo>
                <a:lnTo>
                  <a:pt x="406" y="656"/>
                </a:lnTo>
                <a:lnTo>
                  <a:pt x="414" y="638"/>
                </a:lnTo>
                <a:lnTo>
                  <a:pt x="418" y="624"/>
                </a:lnTo>
                <a:lnTo>
                  <a:pt x="422" y="620"/>
                </a:lnTo>
                <a:lnTo>
                  <a:pt x="424" y="620"/>
                </a:lnTo>
                <a:lnTo>
                  <a:pt x="426" y="618"/>
                </a:lnTo>
                <a:lnTo>
                  <a:pt x="430" y="614"/>
                </a:lnTo>
                <a:lnTo>
                  <a:pt x="436" y="596"/>
                </a:lnTo>
                <a:lnTo>
                  <a:pt x="434" y="594"/>
                </a:lnTo>
                <a:lnTo>
                  <a:pt x="432" y="592"/>
                </a:lnTo>
                <a:lnTo>
                  <a:pt x="428" y="588"/>
                </a:lnTo>
                <a:lnTo>
                  <a:pt x="428" y="560"/>
                </a:lnTo>
                <a:lnTo>
                  <a:pt x="432" y="554"/>
                </a:lnTo>
                <a:lnTo>
                  <a:pt x="438" y="546"/>
                </a:lnTo>
                <a:lnTo>
                  <a:pt x="454" y="534"/>
                </a:lnTo>
                <a:lnTo>
                  <a:pt x="472" y="524"/>
                </a:lnTo>
                <a:lnTo>
                  <a:pt x="488" y="516"/>
                </a:lnTo>
                <a:lnTo>
                  <a:pt x="498" y="514"/>
                </a:lnTo>
                <a:lnTo>
                  <a:pt x="510" y="514"/>
                </a:lnTo>
                <a:lnTo>
                  <a:pt x="522" y="512"/>
                </a:lnTo>
                <a:lnTo>
                  <a:pt x="528" y="510"/>
                </a:lnTo>
                <a:lnTo>
                  <a:pt x="528" y="506"/>
                </a:lnTo>
                <a:lnTo>
                  <a:pt x="538" y="494"/>
                </a:lnTo>
                <a:lnTo>
                  <a:pt x="546" y="478"/>
                </a:lnTo>
                <a:lnTo>
                  <a:pt x="558" y="448"/>
                </a:lnTo>
                <a:lnTo>
                  <a:pt x="560" y="438"/>
                </a:lnTo>
                <a:lnTo>
                  <a:pt x="562" y="428"/>
                </a:lnTo>
                <a:lnTo>
                  <a:pt x="562" y="420"/>
                </a:lnTo>
                <a:lnTo>
                  <a:pt x="564" y="418"/>
                </a:lnTo>
                <a:lnTo>
                  <a:pt x="568" y="414"/>
                </a:lnTo>
                <a:lnTo>
                  <a:pt x="562" y="412"/>
                </a:lnTo>
                <a:lnTo>
                  <a:pt x="572" y="380"/>
                </a:lnTo>
                <a:lnTo>
                  <a:pt x="570" y="366"/>
                </a:lnTo>
                <a:lnTo>
                  <a:pt x="568" y="360"/>
                </a:lnTo>
                <a:lnTo>
                  <a:pt x="568" y="350"/>
                </a:lnTo>
                <a:lnTo>
                  <a:pt x="566" y="340"/>
                </a:lnTo>
                <a:lnTo>
                  <a:pt x="564" y="338"/>
                </a:lnTo>
                <a:lnTo>
                  <a:pt x="566" y="332"/>
                </a:lnTo>
                <a:lnTo>
                  <a:pt x="568" y="328"/>
                </a:lnTo>
                <a:lnTo>
                  <a:pt x="572" y="326"/>
                </a:lnTo>
                <a:lnTo>
                  <a:pt x="580" y="326"/>
                </a:lnTo>
                <a:lnTo>
                  <a:pt x="584" y="316"/>
                </a:lnTo>
                <a:lnTo>
                  <a:pt x="590" y="306"/>
                </a:lnTo>
                <a:lnTo>
                  <a:pt x="590" y="304"/>
                </a:lnTo>
                <a:lnTo>
                  <a:pt x="596" y="294"/>
                </a:lnTo>
                <a:lnTo>
                  <a:pt x="602" y="284"/>
                </a:lnTo>
                <a:lnTo>
                  <a:pt x="614" y="268"/>
                </a:lnTo>
                <a:lnTo>
                  <a:pt x="622" y="258"/>
                </a:lnTo>
                <a:lnTo>
                  <a:pt x="628" y="250"/>
                </a:lnTo>
                <a:lnTo>
                  <a:pt x="630" y="236"/>
                </a:lnTo>
                <a:lnTo>
                  <a:pt x="632" y="224"/>
                </a:lnTo>
                <a:lnTo>
                  <a:pt x="632" y="208"/>
                </a:lnTo>
                <a:lnTo>
                  <a:pt x="628" y="196"/>
                </a:lnTo>
                <a:lnTo>
                  <a:pt x="626" y="192"/>
                </a:lnTo>
                <a:lnTo>
                  <a:pt x="622" y="186"/>
                </a:lnTo>
                <a:lnTo>
                  <a:pt x="618" y="184"/>
                </a:lnTo>
                <a:lnTo>
                  <a:pt x="614" y="182"/>
                </a:lnTo>
                <a:lnTo>
                  <a:pt x="604" y="182"/>
                </a:lnTo>
                <a:lnTo>
                  <a:pt x="594" y="176"/>
                </a:lnTo>
                <a:lnTo>
                  <a:pt x="586" y="172"/>
                </a:lnTo>
                <a:lnTo>
                  <a:pt x="580" y="166"/>
                </a:lnTo>
                <a:lnTo>
                  <a:pt x="566" y="152"/>
                </a:lnTo>
                <a:lnTo>
                  <a:pt x="556" y="146"/>
                </a:lnTo>
                <a:lnTo>
                  <a:pt x="548" y="142"/>
                </a:lnTo>
                <a:lnTo>
                  <a:pt x="538" y="142"/>
                </a:lnTo>
                <a:lnTo>
                  <a:pt x="530" y="142"/>
                </a:lnTo>
                <a:lnTo>
                  <a:pt x="522" y="144"/>
                </a:lnTo>
                <a:lnTo>
                  <a:pt x="512" y="142"/>
                </a:lnTo>
                <a:lnTo>
                  <a:pt x="508" y="140"/>
                </a:lnTo>
                <a:lnTo>
                  <a:pt x="504" y="136"/>
                </a:lnTo>
                <a:lnTo>
                  <a:pt x="500" y="134"/>
                </a:lnTo>
                <a:lnTo>
                  <a:pt x="494" y="132"/>
                </a:lnTo>
                <a:lnTo>
                  <a:pt x="486" y="134"/>
                </a:lnTo>
                <a:lnTo>
                  <a:pt x="480" y="136"/>
                </a:lnTo>
                <a:lnTo>
                  <a:pt x="476" y="140"/>
                </a:lnTo>
                <a:lnTo>
                  <a:pt x="472" y="142"/>
                </a:lnTo>
                <a:lnTo>
                  <a:pt x="470" y="132"/>
                </a:lnTo>
                <a:lnTo>
                  <a:pt x="466" y="124"/>
                </a:lnTo>
                <a:lnTo>
                  <a:pt x="460" y="120"/>
                </a:lnTo>
                <a:lnTo>
                  <a:pt x="454" y="114"/>
                </a:lnTo>
                <a:lnTo>
                  <a:pt x="446" y="110"/>
                </a:lnTo>
                <a:lnTo>
                  <a:pt x="440" y="106"/>
                </a:lnTo>
                <a:lnTo>
                  <a:pt x="430" y="104"/>
                </a:lnTo>
                <a:lnTo>
                  <a:pt x="422" y="104"/>
                </a:lnTo>
                <a:lnTo>
                  <a:pt x="414" y="102"/>
                </a:lnTo>
                <a:lnTo>
                  <a:pt x="412" y="114"/>
                </a:lnTo>
                <a:lnTo>
                  <a:pt x="406" y="120"/>
                </a:lnTo>
                <a:lnTo>
                  <a:pt x="400" y="126"/>
                </a:lnTo>
                <a:lnTo>
                  <a:pt x="394" y="134"/>
                </a:lnTo>
                <a:lnTo>
                  <a:pt x="392" y="122"/>
                </a:lnTo>
                <a:lnTo>
                  <a:pt x="380" y="122"/>
                </a:lnTo>
                <a:lnTo>
                  <a:pt x="370" y="120"/>
                </a:lnTo>
                <a:lnTo>
                  <a:pt x="360" y="120"/>
                </a:lnTo>
                <a:lnTo>
                  <a:pt x="348" y="120"/>
                </a:lnTo>
                <a:lnTo>
                  <a:pt x="358" y="116"/>
                </a:lnTo>
                <a:lnTo>
                  <a:pt x="366" y="112"/>
                </a:lnTo>
                <a:lnTo>
                  <a:pt x="368" y="104"/>
                </a:lnTo>
                <a:lnTo>
                  <a:pt x="358" y="106"/>
                </a:lnTo>
                <a:lnTo>
                  <a:pt x="364" y="96"/>
                </a:lnTo>
                <a:lnTo>
                  <a:pt x="370" y="86"/>
                </a:lnTo>
                <a:lnTo>
                  <a:pt x="374" y="82"/>
                </a:lnTo>
                <a:lnTo>
                  <a:pt x="380" y="76"/>
                </a:lnTo>
                <a:lnTo>
                  <a:pt x="382" y="70"/>
                </a:lnTo>
                <a:lnTo>
                  <a:pt x="386" y="64"/>
                </a:lnTo>
                <a:lnTo>
                  <a:pt x="376" y="56"/>
                </a:lnTo>
                <a:lnTo>
                  <a:pt x="370" y="50"/>
                </a:lnTo>
                <a:lnTo>
                  <a:pt x="368" y="42"/>
                </a:lnTo>
                <a:lnTo>
                  <a:pt x="368" y="36"/>
                </a:lnTo>
                <a:lnTo>
                  <a:pt x="368" y="28"/>
                </a:lnTo>
                <a:lnTo>
                  <a:pt x="368" y="20"/>
                </a:lnTo>
                <a:lnTo>
                  <a:pt x="364" y="14"/>
                </a:lnTo>
                <a:lnTo>
                  <a:pt x="362" y="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Freeform 70">
            <a:extLst>
              <a:ext uri="{FF2B5EF4-FFF2-40B4-BE49-F238E27FC236}">
                <a16:creationId xmlns:a16="http://schemas.microsoft.com/office/drawing/2014/main" id="{82A5057A-EFD0-4547-B77B-931E6625E239}"/>
              </a:ext>
            </a:extLst>
          </p:cNvPr>
          <p:cNvSpPr>
            <a:spLocks/>
          </p:cNvSpPr>
          <p:nvPr/>
        </p:nvSpPr>
        <p:spPr bwMode="auto">
          <a:xfrm>
            <a:off x="1802807" y="3810505"/>
            <a:ext cx="172735" cy="211050"/>
          </a:xfrm>
          <a:custGeom>
            <a:avLst/>
            <a:gdLst/>
            <a:ahLst/>
            <a:cxnLst>
              <a:cxn ang="0">
                <a:pos x="12" y="86"/>
              </a:cxn>
              <a:cxn ang="0">
                <a:pos x="10" y="90"/>
              </a:cxn>
              <a:cxn ang="0">
                <a:pos x="12" y="92"/>
              </a:cxn>
              <a:cxn ang="0">
                <a:pos x="12" y="98"/>
              </a:cxn>
              <a:cxn ang="0">
                <a:pos x="10" y="102"/>
              </a:cxn>
              <a:cxn ang="0">
                <a:pos x="8" y="106"/>
              </a:cxn>
              <a:cxn ang="0">
                <a:pos x="18" y="112"/>
              </a:cxn>
              <a:cxn ang="0">
                <a:pos x="30" y="118"/>
              </a:cxn>
              <a:cxn ang="0">
                <a:pos x="34" y="116"/>
              </a:cxn>
              <a:cxn ang="0">
                <a:pos x="36" y="112"/>
              </a:cxn>
              <a:cxn ang="0">
                <a:pos x="40" y="102"/>
              </a:cxn>
              <a:cxn ang="0">
                <a:pos x="46" y="88"/>
              </a:cxn>
              <a:cxn ang="0">
                <a:pos x="50" y="84"/>
              </a:cxn>
              <a:cxn ang="0">
                <a:pos x="56" y="80"/>
              </a:cxn>
              <a:cxn ang="0">
                <a:pos x="68" y="74"/>
              </a:cxn>
              <a:cxn ang="0">
                <a:pos x="78" y="66"/>
              </a:cxn>
              <a:cxn ang="0">
                <a:pos x="84" y="54"/>
              </a:cxn>
              <a:cxn ang="0">
                <a:pos x="86" y="50"/>
              </a:cxn>
              <a:cxn ang="0">
                <a:pos x="86" y="42"/>
              </a:cxn>
              <a:cxn ang="0">
                <a:pos x="88" y="40"/>
              </a:cxn>
              <a:cxn ang="0">
                <a:pos x="86" y="32"/>
              </a:cxn>
              <a:cxn ang="0">
                <a:pos x="84" y="28"/>
              </a:cxn>
              <a:cxn ang="0">
                <a:pos x="86" y="26"/>
              </a:cxn>
              <a:cxn ang="0">
                <a:pos x="70" y="24"/>
              </a:cxn>
              <a:cxn ang="0">
                <a:pos x="56" y="18"/>
              </a:cxn>
              <a:cxn ang="0">
                <a:pos x="42" y="10"/>
              </a:cxn>
              <a:cxn ang="0">
                <a:pos x="34" y="2"/>
              </a:cxn>
              <a:cxn ang="0">
                <a:pos x="28" y="0"/>
              </a:cxn>
              <a:cxn ang="0">
                <a:pos x="20" y="2"/>
              </a:cxn>
              <a:cxn ang="0">
                <a:pos x="14" y="6"/>
              </a:cxn>
              <a:cxn ang="0">
                <a:pos x="12" y="10"/>
              </a:cxn>
              <a:cxn ang="0">
                <a:pos x="12" y="14"/>
              </a:cxn>
              <a:cxn ang="0">
                <a:pos x="12" y="26"/>
              </a:cxn>
              <a:cxn ang="0">
                <a:pos x="6" y="40"/>
              </a:cxn>
              <a:cxn ang="0">
                <a:pos x="2" y="54"/>
              </a:cxn>
              <a:cxn ang="0">
                <a:pos x="0" y="64"/>
              </a:cxn>
              <a:cxn ang="0">
                <a:pos x="4" y="70"/>
              </a:cxn>
              <a:cxn ang="0">
                <a:pos x="6" y="72"/>
              </a:cxn>
              <a:cxn ang="0">
                <a:pos x="10" y="72"/>
              </a:cxn>
              <a:cxn ang="0">
                <a:pos x="14" y="70"/>
              </a:cxn>
              <a:cxn ang="0">
                <a:pos x="18" y="66"/>
              </a:cxn>
              <a:cxn ang="0">
                <a:pos x="18" y="74"/>
              </a:cxn>
              <a:cxn ang="0">
                <a:pos x="18" y="80"/>
              </a:cxn>
              <a:cxn ang="0">
                <a:pos x="12" y="84"/>
              </a:cxn>
              <a:cxn ang="0">
                <a:pos x="8" y="86"/>
              </a:cxn>
              <a:cxn ang="0">
                <a:pos x="10" y="86"/>
              </a:cxn>
              <a:cxn ang="0">
                <a:pos x="12" y="86"/>
              </a:cxn>
            </a:cxnLst>
            <a:rect l="0" t="0" r="r" b="b"/>
            <a:pathLst>
              <a:path w="88" h="118">
                <a:moveTo>
                  <a:pt x="12" y="86"/>
                </a:moveTo>
                <a:lnTo>
                  <a:pt x="10" y="90"/>
                </a:lnTo>
                <a:lnTo>
                  <a:pt x="12" y="92"/>
                </a:lnTo>
                <a:lnTo>
                  <a:pt x="12" y="98"/>
                </a:lnTo>
                <a:lnTo>
                  <a:pt x="10" y="102"/>
                </a:lnTo>
                <a:lnTo>
                  <a:pt x="8" y="106"/>
                </a:lnTo>
                <a:lnTo>
                  <a:pt x="18" y="112"/>
                </a:lnTo>
                <a:lnTo>
                  <a:pt x="30" y="118"/>
                </a:lnTo>
                <a:lnTo>
                  <a:pt x="34" y="116"/>
                </a:lnTo>
                <a:lnTo>
                  <a:pt x="36" y="112"/>
                </a:lnTo>
                <a:lnTo>
                  <a:pt x="40" y="102"/>
                </a:lnTo>
                <a:lnTo>
                  <a:pt x="46" y="88"/>
                </a:lnTo>
                <a:lnTo>
                  <a:pt x="50" y="84"/>
                </a:lnTo>
                <a:lnTo>
                  <a:pt x="56" y="80"/>
                </a:lnTo>
                <a:lnTo>
                  <a:pt x="68" y="74"/>
                </a:lnTo>
                <a:lnTo>
                  <a:pt x="78" y="66"/>
                </a:lnTo>
                <a:lnTo>
                  <a:pt x="84" y="54"/>
                </a:lnTo>
                <a:lnTo>
                  <a:pt x="86" y="50"/>
                </a:lnTo>
                <a:lnTo>
                  <a:pt x="86" y="42"/>
                </a:lnTo>
                <a:lnTo>
                  <a:pt x="88" y="40"/>
                </a:lnTo>
                <a:lnTo>
                  <a:pt x="86" y="32"/>
                </a:lnTo>
                <a:lnTo>
                  <a:pt x="84" y="28"/>
                </a:lnTo>
                <a:lnTo>
                  <a:pt x="86" y="26"/>
                </a:lnTo>
                <a:lnTo>
                  <a:pt x="70" y="24"/>
                </a:lnTo>
                <a:lnTo>
                  <a:pt x="56" y="18"/>
                </a:lnTo>
                <a:lnTo>
                  <a:pt x="42" y="10"/>
                </a:lnTo>
                <a:lnTo>
                  <a:pt x="34" y="2"/>
                </a:lnTo>
                <a:lnTo>
                  <a:pt x="28" y="0"/>
                </a:lnTo>
                <a:lnTo>
                  <a:pt x="20" y="2"/>
                </a:lnTo>
                <a:lnTo>
                  <a:pt x="14" y="6"/>
                </a:lnTo>
                <a:lnTo>
                  <a:pt x="12" y="10"/>
                </a:lnTo>
                <a:lnTo>
                  <a:pt x="12" y="14"/>
                </a:lnTo>
                <a:lnTo>
                  <a:pt x="12" y="26"/>
                </a:lnTo>
                <a:lnTo>
                  <a:pt x="6" y="40"/>
                </a:lnTo>
                <a:lnTo>
                  <a:pt x="2" y="54"/>
                </a:lnTo>
                <a:lnTo>
                  <a:pt x="0" y="64"/>
                </a:lnTo>
                <a:lnTo>
                  <a:pt x="4" y="70"/>
                </a:lnTo>
                <a:lnTo>
                  <a:pt x="6" y="72"/>
                </a:lnTo>
                <a:lnTo>
                  <a:pt x="10" y="72"/>
                </a:lnTo>
                <a:lnTo>
                  <a:pt x="14" y="70"/>
                </a:lnTo>
                <a:lnTo>
                  <a:pt x="18" y="66"/>
                </a:lnTo>
                <a:lnTo>
                  <a:pt x="18" y="74"/>
                </a:lnTo>
                <a:lnTo>
                  <a:pt x="18" y="80"/>
                </a:lnTo>
                <a:lnTo>
                  <a:pt x="12" y="84"/>
                </a:lnTo>
                <a:lnTo>
                  <a:pt x="8" y="86"/>
                </a:lnTo>
                <a:lnTo>
                  <a:pt x="10" y="86"/>
                </a:lnTo>
                <a:lnTo>
                  <a:pt x="12" y="8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1" name="Freeform 71">
            <a:extLst>
              <a:ext uri="{FF2B5EF4-FFF2-40B4-BE49-F238E27FC236}">
                <a16:creationId xmlns:a16="http://schemas.microsoft.com/office/drawing/2014/main" id="{BE3E43D9-71A0-4FDA-9270-18595D6C3239}"/>
              </a:ext>
            </a:extLst>
          </p:cNvPr>
          <p:cNvSpPr>
            <a:spLocks/>
          </p:cNvSpPr>
          <p:nvPr/>
        </p:nvSpPr>
        <p:spPr bwMode="auto">
          <a:xfrm>
            <a:off x="1794254" y="3868952"/>
            <a:ext cx="410460" cy="592563"/>
          </a:xfrm>
          <a:custGeom>
            <a:avLst/>
            <a:gdLst/>
            <a:ahLst/>
            <a:cxnLst>
              <a:cxn ang="0">
                <a:pos x="174" y="318"/>
              </a:cxn>
              <a:cxn ang="0">
                <a:pos x="136" y="292"/>
              </a:cxn>
              <a:cxn ang="0">
                <a:pos x="98" y="268"/>
              </a:cxn>
              <a:cxn ang="0">
                <a:pos x="80" y="232"/>
              </a:cxn>
              <a:cxn ang="0">
                <a:pos x="52" y="174"/>
              </a:cxn>
              <a:cxn ang="0">
                <a:pos x="32" y="132"/>
              </a:cxn>
              <a:cxn ang="0">
                <a:pos x="18" y="112"/>
              </a:cxn>
              <a:cxn ang="0">
                <a:pos x="2" y="104"/>
              </a:cxn>
              <a:cxn ang="0">
                <a:pos x="0" y="66"/>
              </a:cxn>
              <a:cxn ang="0">
                <a:pos x="12" y="54"/>
              </a:cxn>
              <a:cxn ang="0">
                <a:pos x="16" y="60"/>
              </a:cxn>
              <a:cxn ang="0">
                <a:pos x="12" y="74"/>
              </a:cxn>
              <a:cxn ang="0">
                <a:pos x="38" y="84"/>
              </a:cxn>
              <a:cxn ang="0">
                <a:pos x="50" y="56"/>
              </a:cxn>
              <a:cxn ang="0">
                <a:pos x="72" y="42"/>
              </a:cxn>
              <a:cxn ang="0">
                <a:pos x="90" y="18"/>
              </a:cxn>
              <a:cxn ang="0">
                <a:pos x="90" y="0"/>
              </a:cxn>
              <a:cxn ang="0">
                <a:pos x="106" y="8"/>
              </a:cxn>
              <a:cxn ang="0">
                <a:pos x="124" y="26"/>
              </a:cxn>
              <a:cxn ang="0">
                <a:pos x="144" y="42"/>
              </a:cxn>
              <a:cxn ang="0">
                <a:pos x="152" y="38"/>
              </a:cxn>
              <a:cxn ang="0">
                <a:pos x="160" y="44"/>
              </a:cxn>
              <a:cxn ang="0">
                <a:pos x="172" y="40"/>
              </a:cxn>
              <a:cxn ang="0">
                <a:pos x="174" y="52"/>
              </a:cxn>
              <a:cxn ang="0">
                <a:pos x="170" y="64"/>
              </a:cxn>
              <a:cxn ang="0">
                <a:pos x="180" y="74"/>
              </a:cxn>
              <a:cxn ang="0">
                <a:pos x="154" y="80"/>
              </a:cxn>
              <a:cxn ang="0">
                <a:pos x="136" y="90"/>
              </a:cxn>
              <a:cxn ang="0">
                <a:pos x="128" y="118"/>
              </a:cxn>
              <a:cxn ang="0">
                <a:pos x="120" y="128"/>
              </a:cxn>
              <a:cxn ang="0">
                <a:pos x="122" y="142"/>
              </a:cxn>
              <a:cxn ang="0">
                <a:pos x="134" y="162"/>
              </a:cxn>
              <a:cxn ang="0">
                <a:pos x="148" y="174"/>
              </a:cxn>
              <a:cxn ang="0">
                <a:pos x="162" y="180"/>
              </a:cxn>
              <a:cxn ang="0">
                <a:pos x="176" y="172"/>
              </a:cxn>
              <a:cxn ang="0">
                <a:pos x="178" y="196"/>
              </a:cxn>
              <a:cxn ang="0">
                <a:pos x="184" y="198"/>
              </a:cxn>
              <a:cxn ang="0">
                <a:pos x="206" y="218"/>
              </a:cxn>
              <a:cxn ang="0">
                <a:pos x="204" y="264"/>
              </a:cxn>
              <a:cxn ang="0">
                <a:pos x="200" y="276"/>
              </a:cxn>
              <a:cxn ang="0">
                <a:pos x="208" y="296"/>
              </a:cxn>
              <a:cxn ang="0">
                <a:pos x="200" y="322"/>
              </a:cxn>
              <a:cxn ang="0">
                <a:pos x="186" y="332"/>
              </a:cxn>
            </a:cxnLst>
            <a:rect l="0" t="0" r="r" b="b"/>
            <a:pathLst>
              <a:path w="208" h="332">
                <a:moveTo>
                  <a:pt x="186" y="332"/>
                </a:moveTo>
                <a:lnTo>
                  <a:pt x="180" y="324"/>
                </a:lnTo>
                <a:lnTo>
                  <a:pt x="174" y="318"/>
                </a:lnTo>
                <a:lnTo>
                  <a:pt x="154" y="300"/>
                </a:lnTo>
                <a:lnTo>
                  <a:pt x="146" y="294"/>
                </a:lnTo>
                <a:lnTo>
                  <a:pt x="136" y="292"/>
                </a:lnTo>
                <a:lnTo>
                  <a:pt x="118" y="282"/>
                </a:lnTo>
                <a:lnTo>
                  <a:pt x="108" y="276"/>
                </a:lnTo>
                <a:lnTo>
                  <a:pt x="98" y="268"/>
                </a:lnTo>
                <a:lnTo>
                  <a:pt x="94" y="262"/>
                </a:lnTo>
                <a:lnTo>
                  <a:pt x="90" y="254"/>
                </a:lnTo>
                <a:lnTo>
                  <a:pt x="80" y="232"/>
                </a:lnTo>
                <a:lnTo>
                  <a:pt x="72" y="212"/>
                </a:lnTo>
                <a:lnTo>
                  <a:pt x="62" y="194"/>
                </a:lnTo>
                <a:lnTo>
                  <a:pt x="52" y="174"/>
                </a:lnTo>
                <a:lnTo>
                  <a:pt x="46" y="158"/>
                </a:lnTo>
                <a:lnTo>
                  <a:pt x="40" y="146"/>
                </a:lnTo>
                <a:lnTo>
                  <a:pt x="32" y="132"/>
                </a:lnTo>
                <a:lnTo>
                  <a:pt x="24" y="118"/>
                </a:lnTo>
                <a:lnTo>
                  <a:pt x="22" y="114"/>
                </a:lnTo>
                <a:lnTo>
                  <a:pt x="18" y="112"/>
                </a:lnTo>
                <a:lnTo>
                  <a:pt x="12" y="108"/>
                </a:lnTo>
                <a:lnTo>
                  <a:pt x="4" y="106"/>
                </a:lnTo>
                <a:lnTo>
                  <a:pt x="2" y="104"/>
                </a:lnTo>
                <a:lnTo>
                  <a:pt x="0" y="100"/>
                </a:lnTo>
                <a:lnTo>
                  <a:pt x="0" y="82"/>
                </a:lnTo>
                <a:lnTo>
                  <a:pt x="0" y="66"/>
                </a:lnTo>
                <a:lnTo>
                  <a:pt x="2" y="64"/>
                </a:lnTo>
                <a:lnTo>
                  <a:pt x="4" y="60"/>
                </a:lnTo>
                <a:lnTo>
                  <a:pt x="12" y="54"/>
                </a:lnTo>
                <a:lnTo>
                  <a:pt x="16" y="54"/>
                </a:lnTo>
                <a:lnTo>
                  <a:pt x="14" y="58"/>
                </a:lnTo>
                <a:lnTo>
                  <a:pt x="16" y="60"/>
                </a:lnTo>
                <a:lnTo>
                  <a:pt x="16" y="66"/>
                </a:lnTo>
                <a:lnTo>
                  <a:pt x="14" y="70"/>
                </a:lnTo>
                <a:lnTo>
                  <a:pt x="12" y="74"/>
                </a:lnTo>
                <a:lnTo>
                  <a:pt x="22" y="80"/>
                </a:lnTo>
                <a:lnTo>
                  <a:pt x="34" y="86"/>
                </a:lnTo>
                <a:lnTo>
                  <a:pt x="38" y="84"/>
                </a:lnTo>
                <a:lnTo>
                  <a:pt x="40" y="80"/>
                </a:lnTo>
                <a:lnTo>
                  <a:pt x="44" y="70"/>
                </a:lnTo>
                <a:lnTo>
                  <a:pt x="50" y="56"/>
                </a:lnTo>
                <a:lnTo>
                  <a:pt x="54" y="52"/>
                </a:lnTo>
                <a:lnTo>
                  <a:pt x="60" y="48"/>
                </a:lnTo>
                <a:lnTo>
                  <a:pt x="72" y="42"/>
                </a:lnTo>
                <a:lnTo>
                  <a:pt x="82" y="34"/>
                </a:lnTo>
                <a:lnTo>
                  <a:pt x="88" y="22"/>
                </a:lnTo>
                <a:lnTo>
                  <a:pt x="90" y="18"/>
                </a:lnTo>
                <a:lnTo>
                  <a:pt x="90" y="10"/>
                </a:lnTo>
                <a:lnTo>
                  <a:pt x="92" y="8"/>
                </a:lnTo>
                <a:lnTo>
                  <a:pt x="90" y="0"/>
                </a:lnTo>
                <a:lnTo>
                  <a:pt x="96" y="0"/>
                </a:lnTo>
                <a:lnTo>
                  <a:pt x="100" y="4"/>
                </a:lnTo>
                <a:lnTo>
                  <a:pt x="106" y="8"/>
                </a:lnTo>
                <a:lnTo>
                  <a:pt x="114" y="14"/>
                </a:lnTo>
                <a:lnTo>
                  <a:pt x="120" y="22"/>
                </a:lnTo>
                <a:lnTo>
                  <a:pt x="124" y="26"/>
                </a:lnTo>
                <a:lnTo>
                  <a:pt x="126" y="34"/>
                </a:lnTo>
                <a:lnTo>
                  <a:pt x="128" y="42"/>
                </a:lnTo>
                <a:lnTo>
                  <a:pt x="144" y="42"/>
                </a:lnTo>
                <a:lnTo>
                  <a:pt x="146" y="42"/>
                </a:lnTo>
                <a:lnTo>
                  <a:pt x="148" y="40"/>
                </a:lnTo>
                <a:lnTo>
                  <a:pt x="152" y="38"/>
                </a:lnTo>
                <a:lnTo>
                  <a:pt x="154" y="38"/>
                </a:lnTo>
                <a:lnTo>
                  <a:pt x="156" y="40"/>
                </a:lnTo>
                <a:lnTo>
                  <a:pt x="160" y="44"/>
                </a:lnTo>
                <a:lnTo>
                  <a:pt x="160" y="40"/>
                </a:lnTo>
                <a:lnTo>
                  <a:pt x="164" y="38"/>
                </a:lnTo>
                <a:lnTo>
                  <a:pt x="172" y="40"/>
                </a:lnTo>
                <a:lnTo>
                  <a:pt x="178" y="44"/>
                </a:lnTo>
                <a:lnTo>
                  <a:pt x="176" y="48"/>
                </a:lnTo>
                <a:lnTo>
                  <a:pt x="174" y="52"/>
                </a:lnTo>
                <a:lnTo>
                  <a:pt x="170" y="56"/>
                </a:lnTo>
                <a:lnTo>
                  <a:pt x="168" y="60"/>
                </a:lnTo>
                <a:lnTo>
                  <a:pt x="170" y="64"/>
                </a:lnTo>
                <a:lnTo>
                  <a:pt x="174" y="66"/>
                </a:lnTo>
                <a:lnTo>
                  <a:pt x="180" y="70"/>
                </a:lnTo>
                <a:lnTo>
                  <a:pt x="180" y="74"/>
                </a:lnTo>
                <a:lnTo>
                  <a:pt x="176" y="76"/>
                </a:lnTo>
                <a:lnTo>
                  <a:pt x="164" y="78"/>
                </a:lnTo>
                <a:lnTo>
                  <a:pt x="154" y="80"/>
                </a:lnTo>
                <a:lnTo>
                  <a:pt x="144" y="82"/>
                </a:lnTo>
                <a:lnTo>
                  <a:pt x="138" y="86"/>
                </a:lnTo>
                <a:lnTo>
                  <a:pt x="136" y="90"/>
                </a:lnTo>
                <a:lnTo>
                  <a:pt x="134" y="98"/>
                </a:lnTo>
                <a:lnTo>
                  <a:pt x="132" y="106"/>
                </a:lnTo>
                <a:lnTo>
                  <a:pt x="128" y="118"/>
                </a:lnTo>
                <a:lnTo>
                  <a:pt x="126" y="122"/>
                </a:lnTo>
                <a:lnTo>
                  <a:pt x="124" y="124"/>
                </a:lnTo>
                <a:lnTo>
                  <a:pt x="120" y="128"/>
                </a:lnTo>
                <a:lnTo>
                  <a:pt x="118" y="132"/>
                </a:lnTo>
                <a:lnTo>
                  <a:pt x="120" y="138"/>
                </a:lnTo>
                <a:lnTo>
                  <a:pt x="122" y="142"/>
                </a:lnTo>
                <a:lnTo>
                  <a:pt x="126" y="150"/>
                </a:lnTo>
                <a:lnTo>
                  <a:pt x="132" y="158"/>
                </a:lnTo>
                <a:lnTo>
                  <a:pt x="134" y="162"/>
                </a:lnTo>
                <a:lnTo>
                  <a:pt x="134" y="168"/>
                </a:lnTo>
                <a:lnTo>
                  <a:pt x="142" y="170"/>
                </a:lnTo>
                <a:lnTo>
                  <a:pt x="148" y="174"/>
                </a:lnTo>
                <a:lnTo>
                  <a:pt x="154" y="180"/>
                </a:lnTo>
                <a:lnTo>
                  <a:pt x="158" y="182"/>
                </a:lnTo>
                <a:lnTo>
                  <a:pt x="162" y="180"/>
                </a:lnTo>
                <a:lnTo>
                  <a:pt x="164" y="180"/>
                </a:lnTo>
                <a:lnTo>
                  <a:pt x="166" y="172"/>
                </a:lnTo>
                <a:lnTo>
                  <a:pt x="176" y="172"/>
                </a:lnTo>
                <a:lnTo>
                  <a:pt x="176" y="188"/>
                </a:lnTo>
                <a:lnTo>
                  <a:pt x="176" y="194"/>
                </a:lnTo>
                <a:lnTo>
                  <a:pt x="178" y="196"/>
                </a:lnTo>
                <a:lnTo>
                  <a:pt x="180" y="198"/>
                </a:lnTo>
                <a:lnTo>
                  <a:pt x="182" y="198"/>
                </a:lnTo>
                <a:lnTo>
                  <a:pt x="184" y="198"/>
                </a:lnTo>
                <a:lnTo>
                  <a:pt x="192" y="200"/>
                </a:lnTo>
                <a:lnTo>
                  <a:pt x="202" y="212"/>
                </a:lnTo>
                <a:lnTo>
                  <a:pt x="206" y="218"/>
                </a:lnTo>
                <a:lnTo>
                  <a:pt x="208" y="226"/>
                </a:lnTo>
                <a:lnTo>
                  <a:pt x="206" y="258"/>
                </a:lnTo>
                <a:lnTo>
                  <a:pt x="204" y="264"/>
                </a:lnTo>
                <a:lnTo>
                  <a:pt x="204" y="266"/>
                </a:lnTo>
                <a:lnTo>
                  <a:pt x="202" y="270"/>
                </a:lnTo>
                <a:lnTo>
                  <a:pt x="200" y="276"/>
                </a:lnTo>
                <a:lnTo>
                  <a:pt x="202" y="290"/>
                </a:lnTo>
                <a:lnTo>
                  <a:pt x="204" y="294"/>
                </a:lnTo>
                <a:lnTo>
                  <a:pt x="208" y="296"/>
                </a:lnTo>
                <a:lnTo>
                  <a:pt x="204" y="306"/>
                </a:lnTo>
                <a:lnTo>
                  <a:pt x="202" y="316"/>
                </a:lnTo>
                <a:lnTo>
                  <a:pt x="200" y="322"/>
                </a:lnTo>
                <a:lnTo>
                  <a:pt x="196" y="326"/>
                </a:lnTo>
                <a:lnTo>
                  <a:pt x="190" y="330"/>
                </a:lnTo>
                <a:lnTo>
                  <a:pt x="186" y="33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Freeform 72">
            <a:extLst>
              <a:ext uri="{FF2B5EF4-FFF2-40B4-BE49-F238E27FC236}">
                <a16:creationId xmlns:a16="http://schemas.microsoft.com/office/drawing/2014/main" id="{8A44D2AC-12B1-4761-B771-5266BA9DCD2F}"/>
              </a:ext>
            </a:extLst>
          </p:cNvPr>
          <p:cNvSpPr>
            <a:spLocks/>
          </p:cNvSpPr>
          <p:nvPr/>
        </p:nvSpPr>
        <p:spPr bwMode="auto">
          <a:xfrm>
            <a:off x="2173930" y="4182277"/>
            <a:ext cx="386515" cy="425346"/>
          </a:xfrm>
          <a:custGeom>
            <a:avLst/>
            <a:gdLst/>
            <a:ahLst/>
            <a:cxnLst>
              <a:cxn ang="0">
                <a:pos x="10" y="34"/>
              </a:cxn>
              <a:cxn ang="0">
                <a:pos x="16" y="50"/>
              </a:cxn>
              <a:cxn ang="0">
                <a:pos x="12" y="88"/>
              </a:cxn>
              <a:cxn ang="0">
                <a:pos x="10" y="94"/>
              </a:cxn>
              <a:cxn ang="0">
                <a:pos x="10" y="114"/>
              </a:cxn>
              <a:cxn ang="0">
                <a:pos x="16" y="120"/>
              </a:cxn>
              <a:cxn ang="0">
                <a:pos x="12" y="132"/>
              </a:cxn>
              <a:cxn ang="0">
                <a:pos x="18" y="156"/>
              </a:cxn>
              <a:cxn ang="0">
                <a:pos x="26" y="198"/>
              </a:cxn>
              <a:cxn ang="0">
                <a:pos x="30" y="202"/>
              </a:cxn>
              <a:cxn ang="0">
                <a:pos x="36" y="208"/>
              </a:cxn>
              <a:cxn ang="0">
                <a:pos x="44" y="234"/>
              </a:cxn>
              <a:cxn ang="0">
                <a:pos x="50" y="238"/>
              </a:cxn>
              <a:cxn ang="0">
                <a:pos x="60" y="232"/>
              </a:cxn>
              <a:cxn ang="0">
                <a:pos x="76" y="226"/>
              </a:cxn>
              <a:cxn ang="0">
                <a:pos x="92" y="230"/>
              </a:cxn>
              <a:cxn ang="0">
                <a:pos x="100" y="232"/>
              </a:cxn>
              <a:cxn ang="0">
                <a:pos x="112" y="228"/>
              </a:cxn>
              <a:cxn ang="0">
                <a:pos x="126" y="204"/>
              </a:cxn>
              <a:cxn ang="0">
                <a:pos x="132" y="188"/>
              </a:cxn>
              <a:cxn ang="0">
                <a:pos x="144" y="176"/>
              </a:cxn>
              <a:cxn ang="0">
                <a:pos x="162" y="172"/>
              </a:cxn>
              <a:cxn ang="0">
                <a:pos x="178" y="174"/>
              </a:cxn>
              <a:cxn ang="0">
                <a:pos x="190" y="174"/>
              </a:cxn>
              <a:cxn ang="0">
                <a:pos x="196" y="162"/>
              </a:cxn>
              <a:cxn ang="0">
                <a:pos x="196" y="148"/>
              </a:cxn>
              <a:cxn ang="0">
                <a:pos x="186" y="138"/>
              </a:cxn>
              <a:cxn ang="0">
                <a:pos x="180" y="130"/>
              </a:cxn>
              <a:cxn ang="0">
                <a:pos x="180" y="120"/>
              </a:cxn>
              <a:cxn ang="0">
                <a:pos x="158" y="116"/>
              </a:cxn>
              <a:cxn ang="0">
                <a:pos x="152" y="108"/>
              </a:cxn>
              <a:cxn ang="0">
                <a:pos x="152" y="94"/>
              </a:cxn>
              <a:cxn ang="0">
                <a:pos x="148" y="90"/>
              </a:cxn>
              <a:cxn ang="0">
                <a:pos x="142" y="70"/>
              </a:cxn>
              <a:cxn ang="0">
                <a:pos x="134" y="66"/>
              </a:cxn>
              <a:cxn ang="0">
                <a:pos x="120" y="68"/>
              </a:cxn>
              <a:cxn ang="0">
                <a:pos x="114" y="66"/>
              </a:cxn>
              <a:cxn ang="0">
                <a:pos x="108" y="60"/>
              </a:cxn>
              <a:cxn ang="0">
                <a:pos x="100" y="54"/>
              </a:cxn>
              <a:cxn ang="0">
                <a:pos x="94" y="54"/>
              </a:cxn>
              <a:cxn ang="0">
                <a:pos x="74" y="44"/>
              </a:cxn>
              <a:cxn ang="0">
                <a:pos x="66" y="30"/>
              </a:cxn>
              <a:cxn ang="0">
                <a:pos x="66" y="10"/>
              </a:cxn>
              <a:cxn ang="0">
                <a:pos x="64" y="2"/>
              </a:cxn>
              <a:cxn ang="0">
                <a:pos x="56" y="0"/>
              </a:cxn>
              <a:cxn ang="0">
                <a:pos x="42" y="6"/>
              </a:cxn>
              <a:cxn ang="0">
                <a:pos x="20" y="22"/>
              </a:cxn>
              <a:cxn ang="0">
                <a:pos x="8" y="26"/>
              </a:cxn>
              <a:cxn ang="0">
                <a:pos x="0" y="24"/>
              </a:cxn>
            </a:cxnLst>
            <a:rect l="0" t="0" r="r" b="b"/>
            <a:pathLst>
              <a:path w="196" h="238">
                <a:moveTo>
                  <a:pt x="0" y="24"/>
                </a:moveTo>
                <a:lnTo>
                  <a:pt x="10" y="34"/>
                </a:lnTo>
                <a:lnTo>
                  <a:pt x="14" y="42"/>
                </a:lnTo>
                <a:lnTo>
                  <a:pt x="16" y="50"/>
                </a:lnTo>
                <a:lnTo>
                  <a:pt x="14" y="82"/>
                </a:lnTo>
                <a:lnTo>
                  <a:pt x="12" y="88"/>
                </a:lnTo>
                <a:lnTo>
                  <a:pt x="12" y="90"/>
                </a:lnTo>
                <a:lnTo>
                  <a:pt x="10" y="94"/>
                </a:lnTo>
                <a:lnTo>
                  <a:pt x="8" y="100"/>
                </a:lnTo>
                <a:lnTo>
                  <a:pt x="10" y="114"/>
                </a:lnTo>
                <a:lnTo>
                  <a:pt x="12" y="118"/>
                </a:lnTo>
                <a:lnTo>
                  <a:pt x="16" y="120"/>
                </a:lnTo>
                <a:lnTo>
                  <a:pt x="14" y="126"/>
                </a:lnTo>
                <a:lnTo>
                  <a:pt x="12" y="132"/>
                </a:lnTo>
                <a:lnTo>
                  <a:pt x="8" y="146"/>
                </a:lnTo>
                <a:lnTo>
                  <a:pt x="18" y="156"/>
                </a:lnTo>
                <a:lnTo>
                  <a:pt x="22" y="168"/>
                </a:lnTo>
                <a:lnTo>
                  <a:pt x="26" y="198"/>
                </a:lnTo>
                <a:lnTo>
                  <a:pt x="28" y="200"/>
                </a:lnTo>
                <a:lnTo>
                  <a:pt x="30" y="202"/>
                </a:lnTo>
                <a:lnTo>
                  <a:pt x="34" y="204"/>
                </a:lnTo>
                <a:lnTo>
                  <a:pt x="36" y="208"/>
                </a:lnTo>
                <a:lnTo>
                  <a:pt x="42" y="228"/>
                </a:lnTo>
                <a:lnTo>
                  <a:pt x="44" y="234"/>
                </a:lnTo>
                <a:lnTo>
                  <a:pt x="46" y="238"/>
                </a:lnTo>
                <a:lnTo>
                  <a:pt x="50" y="238"/>
                </a:lnTo>
                <a:lnTo>
                  <a:pt x="56" y="236"/>
                </a:lnTo>
                <a:lnTo>
                  <a:pt x="60" y="232"/>
                </a:lnTo>
                <a:lnTo>
                  <a:pt x="70" y="220"/>
                </a:lnTo>
                <a:lnTo>
                  <a:pt x="76" y="226"/>
                </a:lnTo>
                <a:lnTo>
                  <a:pt x="84" y="228"/>
                </a:lnTo>
                <a:lnTo>
                  <a:pt x="92" y="230"/>
                </a:lnTo>
                <a:lnTo>
                  <a:pt x="98" y="238"/>
                </a:lnTo>
                <a:lnTo>
                  <a:pt x="100" y="232"/>
                </a:lnTo>
                <a:lnTo>
                  <a:pt x="104" y="230"/>
                </a:lnTo>
                <a:lnTo>
                  <a:pt x="112" y="228"/>
                </a:lnTo>
                <a:lnTo>
                  <a:pt x="126" y="228"/>
                </a:lnTo>
                <a:lnTo>
                  <a:pt x="126" y="204"/>
                </a:lnTo>
                <a:lnTo>
                  <a:pt x="128" y="196"/>
                </a:lnTo>
                <a:lnTo>
                  <a:pt x="132" y="188"/>
                </a:lnTo>
                <a:lnTo>
                  <a:pt x="136" y="180"/>
                </a:lnTo>
                <a:lnTo>
                  <a:pt x="144" y="176"/>
                </a:lnTo>
                <a:lnTo>
                  <a:pt x="152" y="172"/>
                </a:lnTo>
                <a:lnTo>
                  <a:pt x="162" y="172"/>
                </a:lnTo>
                <a:lnTo>
                  <a:pt x="170" y="172"/>
                </a:lnTo>
                <a:lnTo>
                  <a:pt x="178" y="174"/>
                </a:lnTo>
                <a:lnTo>
                  <a:pt x="190" y="180"/>
                </a:lnTo>
                <a:lnTo>
                  <a:pt x="190" y="174"/>
                </a:lnTo>
                <a:lnTo>
                  <a:pt x="192" y="170"/>
                </a:lnTo>
                <a:lnTo>
                  <a:pt x="196" y="162"/>
                </a:lnTo>
                <a:lnTo>
                  <a:pt x="196" y="156"/>
                </a:lnTo>
                <a:lnTo>
                  <a:pt x="196" y="148"/>
                </a:lnTo>
                <a:lnTo>
                  <a:pt x="194" y="146"/>
                </a:lnTo>
                <a:lnTo>
                  <a:pt x="186" y="138"/>
                </a:lnTo>
                <a:lnTo>
                  <a:pt x="184" y="134"/>
                </a:lnTo>
                <a:lnTo>
                  <a:pt x="180" y="130"/>
                </a:lnTo>
                <a:lnTo>
                  <a:pt x="180" y="126"/>
                </a:lnTo>
                <a:lnTo>
                  <a:pt x="180" y="120"/>
                </a:lnTo>
                <a:lnTo>
                  <a:pt x="168" y="118"/>
                </a:lnTo>
                <a:lnTo>
                  <a:pt x="158" y="116"/>
                </a:lnTo>
                <a:lnTo>
                  <a:pt x="154" y="112"/>
                </a:lnTo>
                <a:lnTo>
                  <a:pt x="152" y="108"/>
                </a:lnTo>
                <a:lnTo>
                  <a:pt x="152" y="102"/>
                </a:lnTo>
                <a:lnTo>
                  <a:pt x="152" y="94"/>
                </a:lnTo>
                <a:lnTo>
                  <a:pt x="150" y="92"/>
                </a:lnTo>
                <a:lnTo>
                  <a:pt x="148" y="90"/>
                </a:lnTo>
                <a:lnTo>
                  <a:pt x="146" y="80"/>
                </a:lnTo>
                <a:lnTo>
                  <a:pt x="142" y="70"/>
                </a:lnTo>
                <a:lnTo>
                  <a:pt x="138" y="68"/>
                </a:lnTo>
                <a:lnTo>
                  <a:pt x="134" y="66"/>
                </a:lnTo>
                <a:lnTo>
                  <a:pt x="124" y="68"/>
                </a:lnTo>
                <a:lnTo>
                  <a:pt x="120" y="68"/>
                </a:lnTo>
                <a:lnTo>
                  <a:pt x="116" y="68"/>
                </a:lnTo>
                <a:lnTo>
                  <a:pt x="114" y="66"/>
                </a:lnTo>
                <a:lnTo>
                  <a:pt x="114" y="62"/>
                </a:lnTo>
                <a:lnTo>
                  <a:pt x="108" y="60"/>
                </a:lnTo>
                <a:lnTo>
                  <a:pt x="104" y="58"/>
                </a:lnTo>
                <a:lnTo>
                  <a:pt x="100" y="54"/>
                </a:lnTo>
                <a:lnTo>
                  <a:pt x="98" y="52"/>
                </a:lnTo>
                <a:lnTo>
                  <a:pt x="94" y="54"/>
                </a:lnTo>
                <a:lnTo>
                  <a:pt x="84" y="50"/>
                </a:lnTo>
                <a:lnTo>
                  <a:pt x="74" y="44"/>
                </a:lnTo>
                <a:lnTo>
                  <a:pt x="70" y="36"/>
                </a:lnTo>
                <a:lnTo>
                  <a:pt x="66" y="30"/>
                </a:lnTo>
                <a:lnTo>
                  <a:pt x="64" y="20"/>
                </a:lnTo>
                <a:lnTo>
                  <a:pt x="66" y="10"/>
                </a:lnTo>
                <a:lnTo>
                  <a:pt x="66" y="6"/>
                </a:lnTo>
                <a:lnTo>
                  <a:pt x="64" y="2"/>
                </a:lnTo>
                <a:lnTo>
                  <a:pt x="62" y="0"/>
                </a:lnTo>
                <a:lnTo>
                  <a:pt x="56" y="0"/>
                </a:lnTo>
                <a:lnTo>
                  <a:pt x="48" y="2"/>
                </a:lnTo>
                <a:lnTo>
                  <a:pt x="42" y="6"/>
                </a:lnTo>
                <a:lnTo>
                  <a:pt x="30" y="14"/>
                </a:lnTo>
                <a:lnTo>
                  <a:pt x="20" y="22"/>
                </a:lnTo>
                <a:lnTo>
                  <a:pt x="12" y="26"/>
                </a:lnTo>
                <a:lnTo>
                  <a:pt x="8" y="26"/>
                </a:lnTo>
                <a:lnTo>
                  <a:pt x="4" y="24"/>
                </a:lnTo>
                <a:lnTo>
                  <a:pt x="0" y="2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Freeform 73">
            <a:extLst>
              <a:ext uri="{FF2B5EF4-FFF2-40B4-BE49-F238E27FC236}">
                <a16:creationId xmlns:a16="http://schemas.microsoft.com/office/drawing/2014/main" id="{5FF1263B-4B80-4129-B89B-45EC8758E10F}"/>
              </a:ext>
            </a:extLst>
          </p:cNvPr>
          <p:cNvSpPr>
            <a:spLocks/>
          </p:cNvSpPr>
          <p:nvPr/>
        </p:nvSpPr>
        <p:spPr bwMode="auto">
          <a:xfrm>
            <a:off x="2421915" y="4489114"/>
            <a:ext cx="265090" cy="272741"/>
          </a:xfrm>
          <a:custGeom>
            <a:avLst/>
            <a:gdLst/>
            <a:ahLst/>
            <a:cxnLst>
              <a:cxn ang="0">
                <a:pos x="132" y="118"/>
              </a:cxn>
              <a:cxn ang="0">
                <a:pos x="134" y="122"/>
              </a:cxn>
              <a:cxn ang="0">
                <a:pos x="134" y="130"/>
              </a:cxn>
              <a:cxn ang="0">
                <a:pos x="134" y="136"/>
              </a:cxn>
              <a:cxn ang="0">
                <a:pos x="130" y="138"/>
              </a:cxn>
              <a:cxn ang="0">
                <a:pos x="122" y="146"/>
              </a:cxn>
              <a:cxn ang="0">
                <a:pos x="112" y="150"/>
              </a:cxn>
              <a:cxn ang="0">
                <a:pos x="102" y="152"/>
              </a:cxn>
              <a:cxn ang="0">
                <a:pos x="94" y="152"/>
              </a:cxn>
              <a:cxn ang="0">
                <a:pos x="86" y="150"/>
              </a:cxn>
              <a:cxn ang="0">
                <a:pos x="82" y="148"/>
              </a:cxn>
              <a:cxn ang="0">
                <a:pos x="74" y="148"/>
              </a:cxn>
              <a:cxn ang="0">
                <a:pos x="76" y="138"/>
              </a:cxn>
              <a:cxn ang="0">
                <a:pos x="80" y="132"/>
              </a:cxn>
              <a:cxn ang="0">
                <a:pos x="82" y="124"/>
              </a:cxn>
              <a:cxn ang="0">
                <a:pos x="84" y="116"/>
              </a:cxn>
              <a:cxn ang="0">
                <a:pos x="82" y="110"/>
              </a:cxn>
              <a:cxn ang="0">
                <a:pos x="78" y="106"/>
              </a:cxn>
              <a:cxn ang="0">
                <a:pos x="72" y="106"/>
              </a:cxn>
              <a:cxn ang="0">
                <a:pos x="64" y="104"/>
              </a:cxn>
              <a:cxn ang="0">
                <a:pos x="62" y="102"/>
              </a:cxn>
              <a:cxn ang="0">
                <a:pos x="60" y="98"/>
              </a:cxn>
              <a:cxn ang="0">
                <a:pos x="58" y="94"/>
              </a:cxn>
              <a:cxn ang="0">
                <a:pos x="54" y="92"/>
              </a:cxn>
              <a:cxn ang="0">
                <a:pos x="46" y="90"/>
              </a:cxn>
              <a:cxn ang="0">
                <a:pos x="40" y="88"/>
              </a:cxn>
              <a:cxn ang="0">
                <a:pos x="34" y="88"/>
              </a:cxn>
              <a:cxn ang="0">
                <a:pos x="30" y="86"/>
              </a:cxn>
              <a:cxn ang="0">
                <a:pos x="24" y="82"/>
              </a:cxn>
              <a:cxn ang="0">
                <a:pos x="12" y="66"/>
              </a:cxn>
              <a:cxn ang="0">
                <a:pos x="4" y="62"/>
              </a:cxn>
              <a:cxn ang="0">
                <a:pos x="2" y="60"/>
              </a:cxn>
              <a:cxn ang="0">
                <a:pos x="0" y="58"/>
              </a:cxn>
              <a:cxn ang="0">
                <a:pos x="0" y="56"/>
              </a:cxn>
              <a:cxn ang="0">
                <a:pos x="0" y="32"/>
              </a:cxn>
              <a:cxn ang="0">
                <a:pos x="2" y="24"/>
              </a:cxn>
              <a:cxn ang="0">
                <a:pos x="6" y="16"/>
              </a:cxn>
              <a:cxn ang="0">
                <a:pos x="10" y="8"/>
              </a:cxn>
              <a:cxn ang="0">
                <a:pos x="18" y="4"/>
              </a:cxn>
              <a:cxn ang="0">
                <a:pos x="26" y="0"/>
              </a:cxn>
              <a:cxn ang="0">
                <a:pos x="36" y="0"/>
              </a:cxn>
              <a:cxn ang="0">
                <a:pos x="44" y="0"/>
              </a:cxn>
              <a:cxn ang="0">
                <a:pos x="52" y="2"/>
              </a:cxn>
              <a:cxn ang="0">
                <a:pos x="64" y="8"/>
              </a:cxn>
              <a:cxn ang="0">
                <a:pos x="64" y="18"/>
              </a:cxn>
              <a:cxn ang="0">
                <a:pos x="70" y="34"/>
              </a:cxn>
              <a:cxn ang="0">
                <a:pos x="76" y="50"/>
              </a:cxn>
              <a:cxn ang="0">
                <a:pos x="78" y="54"/>
              </a:cxn>
              <a:cxn ang="0">
                <a:pos x="82" y="56"/>
              </a:cxn>
              <a:cxn ang="0">
                <a:pos x="92" y="56"/>
              </a:cxn>
              <a:cxn ang="0">
                <a:pos x="100" y="58"/>
              </a:cxn>
              <a:cxn ang="0">
                <a:pos x="106" y="62"/>
              </a:cxn>
              <a:cxn ang="0">
                <a:pos x="108" y="68"/>
              </a:cxn>
              <a:cxn ang="0">
                <a:pos x="114" y="80"/>
              </a:cxn>
              <a:cxn ang="0">
                <a:pos x="120" y="90"/>
              </a:cxn>
              <a:cxn ang="0">
                <a:pos x="122" y="86"/>
              </a:cxn>
              <a:cxn ang="0">
                <a:pos x="126" y="84"/>
              </a:cxn>
              <a:cxn ang="0">
                <a:pos x="128" y="82"/>
              </a:cxn>
              <a:cxn ang="0">
                <a:pos x="132" y="84"/>
              </a:cxn>
              <a:cxn ang="0">
                <a:pos x="132" y="88"/>
              </a:cxn>
              <a:cxn ang="0">
                <a:pos x="132" y="94"/>
              </a:cxn>
              <a:cxn ang="0">
                <a:pos x="132" y="106"/>
              </a:cxn>
              <a:cxn ang="0">
                <a:pos x="132" y="118"/>
              </a:cxn>
            </a:cxnLst>
            <a:rect l="0" t="0" r="r" b="b"/>
            <a:pathLst>
              <a:path w="134" h="152">
                <a:moveTo>
                  <a:pt x="132" y="118"/>
                </a:moveTo>
                <a:lnTo>
                  <a:pt x="134" y="122"/>
                </a:lnTo>
                <a:lnTo>
                  <a:pt x="134" y="130"/>
                </a:lnTo>
                <a:lnTo>
                  <a:pt x="134" y="136"/>
                </a:lnTo>
                <a:lnTo>
                  <a:pt x="130" y="138"/>
                </a:lnTo>
                <a:lnTo>
                  <a:pt x="122" y="146"/>
                </a:lnTo>
                <a:lnTo>
                  <a:pt x="112" y="150"/>
                </a:lnTo>
                <a:lnTo>
                  <a:pt x="102" y="152"/>
                </a:lnTo>
                <a:lnTo>
                  <a:pt x="94" y="152"/>
                </a:lnTo>
                <a:lnTo>
                  <a:pt x="86" y="150"/>
                </a:lnTo>
                <a:lnTo>
                  <a:pt x="82" y="148"/>
                </a:lnTo>
                <a:lnTo>
                  <a:pt x="74" y="148"/>
                </a:lnTo>
                <a:lnTo>
                  <a:pt x="76" y="138"/>
                </a:lnTo>
                <a:lnTo>
                  <a:pt x="80" y="132"/>
                </a:lnTo>
                <a:lnTo>
                  <a:pt x="82" y="124"/>
                </a:lnTo>
                <a:lnTo>
                  <a:pt x="84" y="116"/>
                </a:lnTo>
                <a:lnTo>
                  <a:pt x="82" y="110"/>
                </a:lnTo>
                <a:lnTo>
                  <a:pt x="78" y="106"/>
                </a:lnTo>
                <a:lnTo>
                  <a:pt x="72" y="106"/>
                </a:lnTo>
                <a:lnTo>
                  <a:pt x="64" y="104"/>
                </a:lnTo>
                <a:lnTo>
                  <a:pt x="62" y="102"/>
                </a:lnTo>
                <a:lnTo>
                  <a:pt x="60" y="98"/>
                </a:lnTo>
                <a:lnTo>
                  <a:pt x="58" y="94"/>
                </a:lnTo>
                <a:lnTo>
                  <a:pt x="54" y="92"/>
                </a:lnTo>
                <a:lnTo>
                  <a:pt x="46" y="90"/>
                </a:lnTo>
                <a:lnTo>
                  <a:pt x="40" y="88"/>
                </a:lnTo>
                <a:lnTo>
                  <a:pt x="34" y="88"/>
                </a:lnTo>
                <a:lnTo>
                  <a:pt x="30" y="86"/>
                </a:lnTo>
                <a:lnTo>
                  <a:pt x="24" y="82"/>
                </a:lnTo>
                <a:lnTo>
                  <a:pt x="12" y="66"/>
                </a:lnTo>
                <a:lnTo>
                  <a:pt x="4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0" y="32"/>
                </a:lnTo>
                <a:lnTo>
                  <a:pt x="2" y="24"/>
                </a:lnTo>
                <a:lnTo>
                  <a:pt x="6" y="16"/>
                </a:lnTo>
                <a:lnTo>
                  <a:pt x="10" y="8"/>
                </a:lnTo>
                <a:lnTo>
                  <a:pt x="18" y="4"/>
                </a:lnTo>
                <a:lnTo>
                  <a:pt x="26" y="0"/>
                </a:lnTo>
                <a:lnTo>
                  <a:pt x="36" y="0"/>
                </a:lnTo>
                <a:lnTo>
                  <a:pt x="44" y="0"/>
                </a:lnTo>
                <a:lnTo>
                  <a:pt x="52" y="2"/>
                </a:lnTo>
                <a:lnTo>
                  <a:pt x="64" y="8"/>
                </a:lnTo>
                <a:lnTo>
                  <a:pt x="64" y="18"/>
                </a:lnTo>
                <a:lnTo>
                  <a:pt x="70" y="34"/>
                </a:lnTo>
                <a:lnTo>
                  <a:pt x="76" y="50"/>
                </a:lnTo>
                <a:lnTo>
                  <a:pt x="78" y="54"/>
                </a:lnTo>
                <a:lnTo>
                  <a:pt x="82" y="56"/>
                </a:lnTo>
                <a:lnTo>
                  <a:pt x="92" y="56"/>
                </a:lnTo>
                <a:lnTo>
                  <a:pt x="100" y="58"/>
                </a:lnTo>
                <a:lnTo>
                  <a:pt x="106" y="62"/>
                </a:lnTo>
                <a:lnTo>
                  <a:pt x="108" y="68"/>
                </a:lnTo>
                <a:lnTo>
                  <a:pt x="114" y="80"/>
                </a:lnTo>
                <a:lnTo>
                  <a:pt x="120" y="90"/>
                </a:lnTo>
                <a:lnTo>
                  <a:pt x="122" y="86"/>
                </a:lnTo>
                <a:lnTo>
                  <a:pt x="126" y="84"/>
                </a:lnTo>
                <a:lnTo>
                  <a:pt x="128" y="82"/>
                </a:lnTo>
                <a:lnTo>
                  <a:pt x="132" y="84"/>
                </a:lnTo>
                <a:lnTo>
                  <a:pt x="132" y="88"/>
                </a:lnTo>
                <a:lnTo>
                  <a:pt x="132" y="94"/>
                </a:lnTo>
                <a:lnTo>
                  <a:pt x="132" y="106"/>
                </a:lnTo>
                <a:lnTo>
                  <a:pt x="132" y="11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Freeform 74">
            <a:extLst>
              <a:ext uri="{FF2B5EF4-FFF2-40B4-BE49-F238E27FC236}">
                <a16:creationId xmlns:a16="http://schemas.microsoft.com/office/drawing/2014/main" id="{D7BA8ECD-BD9C-49C4-9AF9-7F845727CEF8}"/>
              </a:ext>
            </a:extLst>
          </p:cNvPr>
          <p:cNvSpPr>
            <a:spLocks/>
          </p:cNvSpPr>
          <p:nvPr/>
        </p:nvSpPr>
        <p:spPr bwMode="auto">
          <a:xfrm>
            <a:off x="2611754" y="4851145"/>
            <a:ext cx="165894" cy="146111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12" y="0"/>
              </a:cxn>
              <a:cxn ang="0">
                <a:pos x="22" y="4"/>
              </a:cxn>
              <a:cxn ang="0">
                <a:pos x="34" y="12"/>
              </a:cxn>
              <a:cxn ang="0">
                <a:pos x="44" y="18"/>
              </a:cxn>
              <a:cxn ang="0">
                <a:pos x="66" y="36"/>
              </a:cxn>
              <a:cxn ang="0">
                <a:pos x="84" y="50"/>
              </a:cxn>
              <a:cxn ang="0">
                <a:pos x="78" y="62"/>
              </a:cxn>
              <a:cxn ang="0">
                <a:pos x="72" y="72"/>
              </a:cxn>
              <a:cxn ang="0">
                <a:pos x="66" y="78"/>
              </a:cxn>
              <a:cxn ang="0">
                <a:pos x="60" y="82"/>
              </a:cxn>
              <a:cxn ang="0">
                <a:pos x="58" y="82"/>
              </a:cxn>
              <a:cxn ang="0">
                <a:pos x="40" y="80"/>
              </a:cxn>
              <a:cxn ang="0">
                <a:pos x="24" y="76"/>
              </a:cxn>
              <a:cxn ang="0">
                <a:pos x="12" y="72"/>
              </a:cxn>
              <a:cxn ang="0">
                <a:pos x="0" y="66"/>
              </a:cxn>
              <a:cxn ang="0">
                <a:pos x="2" y="0"/>
              </a:cxn>
            </a:cxnLst>
            <a:rect l="0" t="0" r="r" b="b"/>
            <a:pathLst>
              <a:path w="84" h="82">
                <a:moveTo>
                  <a:pt x="2" y="0"/>
                </a:moveTo>
                <a:lnTo>
                  <a:pt x="12" y="0"/>
                </a:lnTo>
                <a:lnTo>
                  <a:pt x="22" y="4"/>
                </a:lnTo>
                <a:lnTo>
                  <a:pt x="34" y="12"/>
                </a:lnTo>
                <a:lnTo>
                  <a:pt x="44" y="18"/>
                </a:lnTo>
                <a:lnTo>
                  <a:pt x="66" y="36"/>
                </a:lnTo>
                <a:lnTo>
                  <a:pt x="84" y="50"/>
                </a:lnTo>
                <a:lnTo>
                  <a:pt x="78" y="62"/>
                </a:lnTo>
                <a:lnTo>
                  <a:pt x="72" y="72"/>
                </a:lnTo>
                <a:lnTo>
                  <a:pt x="66" y="78"/>
                </a:lnTo>
                <a:lnTo>
                  <a:pt x="60" y="82"/>
                </a:lnTo>
                <a:lnTo>
                  <a:pt x="58" y="82"/>
                </a:lnTo>
                <a:lnTo>
                  <a:pt x="40" y="80"/>
                </a:lnTo>
                <a:lnTo>
                  <a:pt x="24" y="76"/>
                </a:lnTo>
                <a:lnTo>
                  <a:pt x="12" y="72"/>
                </a:lnTo>
                <a:lnTo>
                  <a:pt x="0" y="66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Freeform 75">
            <a:extLst>
              <a:ext uri="{FF2B5EF4-FFF2-40B4-BE49-F238E27FC236}">
                <a16:creationId xmlns:a16="http://schemas.microsoft.com/office/drawing/2014/main" id="{A44094F4-519F-485E-8AA3-6C9C5E1A3B10}"/>
              </a:ext>
            </a:extLst>
          </p:cNvPr>
          <p:cNvSpPr>
            <a:spLocks/>
          </p:cNvSpPr>
          <p:nvPr/>
        </p:nvSpPr>
        <p:spPr bwMode="auto">
          <a:xfrm>
            <a:off x="2230368" y="4575154"/>
            <a:ext cx="484001" cy="985440"/>
          </a:xfrm>
          <a:custGeom>
            <a:avLst/>
            <a:gdLst/>
            <a:ahLst/>
            <a:cxnLst>
              <a:cxn ang="0">
                <a:pos x="206" y="128"/>
              </a:cxn>
              <a:cxn ang="0">
                <a:pos x="244" y="96"/>
              </a:cxn>
              <a:cxn ang="0">
                <a:pos x="242" y="68"/>
              </a:cxn>
              <a:cxn ang="0">
                <a:pos x="232" y="82"/>
              </a:cxn>
              <a:cxn ang="0">
                <a:pos x="210" y="102"/>
              </a:cxn>
              <a:cxn ang="0">
                <a:pos x="180" y="100"/>
              </a:cxn>
              <a:cxn ang="0">
                <a:pos x="180" y="76"/>
              </a:cxn>
              <a:cxn ang="0">
                <a:pos x="170" y="58"/>
              </a:cxn>
              <a:cxn ang="0">
                <a:pos x="156" y="46"/>
              </a:cxn>
              <a:cxn ang="0">
                <a:pos x="132" y="40"/>
              </a:cxn>
              <a:cxn ang="0">
                <a:pos x="102" y="14"/>
              </a:cxn>
              <a:cxn ang="0">
                <a:pos x="76" y="10"/>
              </a:cxn>
              <a:cxn ang="0">
                <a:pos x="56" y="8"/>
              </a:cxn>
              <a:cxn ang="0">
                <a:pos x="28" y="16"/>
              </a:cxn>
              <a:cxn ang="0">
                <a:pos x="22" y="46"/>
              </a:cxn>
              <a:cxn ang="0">
                <a:pos x="14" y="80"/>
              </a:cxn>
              <a:cxn ang="0">
                <a:pos x="8" y="112"/>
              </a:cxn>
              <a:cxn ang="0">
                <a:pos x="4" y="144"/>
              </a:cxn>
              <a:cxn ang="0">
                <a:pos x="2" y="170"/>
              </a:cxn>
              <a:cxn ang="0">
                <a:pos x="8" y="192"/>
              </a:cxn>
              <a:cxn ang="0">
                <a:pos x="18" y="218"/>
              </a:cxn>
              <a:cxn ang="0">
                <a:pos x="16" y="266"/>
              </a:cxn>
              <a:cxn ang="0">
                <a:pos x="18" y="292"/>
              </a:cxn>
              <a:cxn ang="0">
                <a:pos x="22" y="312"/>
              </a:cxn>
              <a:cxn ang="0">
                <a:pos x="26" y="348"/>
              </a:cxn>
              <a:cxn ang="0">
                <a:pos x="26" y="374"/>
              </a:cxn>
              <a:cxn ang="0">
                <a:pos x="54" y="414"/>
              </a:cxn>
              <a:cxn ang="0">
                <a:pos x="54" y="438"/>
              </a:cxn>
              <a:cxn ang="0">
                <a:pos x="56" y="464"/>
              </a:cxn>
              <a:cxn ang="0">
                <a:pos x="54" y="476"/>
              </a:cxn>
              <a:cxn ang="0">
                <a:pos x="52" y="504"/>
              </a:cxn>
              <a:cxn ang="0">
                <a:pos x="70" y="524"/>
              </a:cxn>
              <a:cxn ang="0">
                <a:pos x="88" y="546"/>
              </a:cxn>
              <a:cxn ang="0">
                <a:pos x="124" y="526"/>
              </a:cxn>
              <a:cxn ang="0">
                <a:pos x="124" y="514"/>
              </a:cxn>
              <a:cxn ang="0">
                <a:pos x="134" y="502"/>
              </a:cxn>
              <a:cxn ang="0">
                <a:pos x="142" y="484"/>
              </a:cxn>
              <a:cxn ang="0">
                <a:pos x="152" y="464"/>
              </a:cxn>
              <a:cxn ang="0">
                <a:pos x="128" y="450"/>
              </a:cxn>
              <a:cxn ang="0">
                <a:pos x="116" y="436"/>
              </a:cxn>
              <a:cxn ang="0">
                <a:pos x="140" y="410"/>
              </a:cxn>
              <a:cxn ang="0">
                <a:pos x="140" y="388"/>
              </a:cxn>
              <a:cxn ang="0">
                <a:pos x="142" y="378"/>
              </a:cxn>
              <a:cxn ang="0">
                <a:pos x="152" y="374"/>
              </a:cxn>
              <a:cxn ang="0">
                <a:pos x="134" y="370"/>
              </a:cxn>
              <a:cxn ang="0">
                <a:pos x="136" y="346"/>
              </a:cxn>
              <a:cxn ang="0">
                <a:pos x="164" y="344"/>
              </a:cxn>
              <a:cxn ang="0">
                <a:pos x="156" y="326"/>
              </a:cxn>
              <a:cxn ang="0">
                <a:pos x="192" y="308"/>
              </a:cxn>
              <a:cxn ang="0">
                <a:pos x="224" y="290"/>
              </a:cxn>
              <a:cxn ang="0">
                <a:pos x="226" y="258"/>
              </a:cxn>
              <a:cxn ang="0">
                <a:pos x="220" y="242"/>
              </a:cxn>
              <a:cxn ang="0">
                <a:pos x="196" y="154"/>
              </a:cxn>
              <a:cxn ang="0">
                <a:pos x="216" y="116"/>
              </a:cxn>
              <a:cxn ang="0">
                <a:pos x="246" y="92"/>
              </a:cxn>
              <a:cxn ang="0">
                <a:pos x="244" y="78"/>
              </a:cxn>
              <a:cxn ang="0">
                <a:pos x="238" y="102"/>
              </a:cxn>
              <a:cxn ang="0">
                <a:pos x="200" y="142"/>
              </a:cxn>
              <a:cxn ang="0">
                <a:pos x="196" y="154"/>
              </a:cxn>
            </a:cxnLst>
            <a:rect l="0" t="0" r="r" b="b"/>
            <a:pathLst>
              <a:path w="246" h="552">
                <a:moveTo>
                  <a:pt x="196" y="154"/>
                </a:moveTo>
                <a:lnTo>
                  <a:pt x="196" y="148"/>
                </a:lnTo>
                <a:lnTo>
                  <a:pt x="200" y="142"/>
                </a:lnTo>
                <a:lnTo>
                  <a:pt x="206" y="128"/>
                </a:lnTo>
                <a:lnTo>
                  <a:pt x="216" y="116"/>
                </a:lnTo>
                <a:lnTo>
                  <a:pt x="224" y="108"/>
                </a:lnTo>
                <a:lnTo>
                  <a:pt x="238" y="102"/>
                </a:lnTo>
                <a:lnTo>
                  <a:pt x="244" y="96"/>
                </a:lnTo>
                <a:lnTo>
                  <a:pt x="246" y="92"/>
                </a:lnTo>
                <a:lnTo>
                  <a:pt x="246" y="88"/>
                </a:lnTo>
                <a:lnTo>
                  <a:pt x="244" y="78"/>
                </a:lnTo>
                <a:lnTo>
                  <a:pt x="242" y="68"/>
                </a:lnTo>
                <a:lnTo>
                  <a:pt x="236" y="70"/>
                </a:lnTo>
                <a:lnTo>
                  <a:pt x="230" y="70"/>
                </a:lnTo>
                <a:lnTo>
                  <a:pt x="232" y="74"/>
                </a:lnTo>
                <a:lnTo>
                  <a:pt x="232" y="82"/>
                </a:lnTo>
                <a:lnTo>
                  <a:pt x="232" y="88"/>
                </a:lnTo>
                <a:lnTo>
                  <a:pt x="228" y="90"/>
                </a:lnTo>
                <a:lnTo>
                  <a:pt x="220" y="98"/>
                </a:lnTo>
                <a:lnTo>
                  <a:pt x="210" y="102"/>
                </a:lnTo>
                <a:lnTo>
                  <a:pt x="200" y="104"/>
                </a:lnTo>
                <a:lnTo>
                  <a:pt x="192" y="104"/>
                </a:lnTo>
                <a:lnTo>
                  <a:pt x="184" y="102"/>
                </a:lnTo>
                <a:lnTo>
                  <a:pt x="180" y="100"/>
                </a:lnTo>
                <a:lnTo>
                  <a:pt x="172" y="100"/>
                </a:lnTo>
                <a:lnTo>
                  <a:pt x="174" y="90"/>
                </a:lnTo>
                <a:lnTo>
                  <a:pt x="178" y="84"/>
                </a:lnTo>
                <a:lnTo>
                  <a:pt x="180" y="76"/>
                </a:lnTo>
                <a:lnTo>
                  <a:pt x="182" y="68"/>
                </a:lnTo>
                <a:lnTo>
                  <a:pt x="180" y="62"/>
                </a:lnTo>
                <a:lnTo>
                  <a:pt x="176" y="58"/>
                </a:lnTo>
                <a:lnTo>
                  <a:pt x="170" y="58"/>
                </a:lnTo>
                <a:lnTo>
                  <a:pt x="162" y="56"/>
                </a:lnTo>
                <a:lnTo>
                  <a:pt x="160" y="54"/>
                </a:lnTo>
                <a:lnTo>
                  <a:pt x="158" y="50"/>
                </a:lnTo>
                <a:lnTo>
                  <a:pt x="156" y="46"/>
                </a:lnTo>
                <a:lnTo>
                  <a:pt x="152" y="44"/>
                </a:lnTo>
                <a:lnTo>
                  <a:pt x="144" y="42"/>
                </a:lnTo>
                <a:lnTo>
                  <a:pt x="138" y="40"/>
                </a:lnTo>
                <a:lnTo>
                  <a:pt x="132" y="40"/>
                </a:lnTo>
                <a:lnTo>
                  <a:pt x="128" y="38"/>
                </a:lnTo>
                <a:lnTo>
                  <a:pt x="122" y="34"/>
                </a:lnTo>
                <a:lnTo>
                  <a:pt x="110" y="18"/>
                </a:lnTo>
                <a:lnTo>
                  <a:pt x="102" y="14"/>
                </a:lnTo>
                <a:lnTo>
                  <a:pt x="98" y="10"/>
                </a:lnTo>
                <a:lnTo>
                  <a:pt x="98" y="8"/>
                </a:lnTo>
                <a:lnTo>
                  <a:pt x="84" y="8"/>
                </a:lnTo>
                <a:lnTo>
                  <a:pt x="76" y="10"/>
                </a:lnTo>
                <a:lnTo>
                  <a:pt x="72" y="12"/>
                </a:lnTo>
                <a:lnTo>
                  <a:pt x="70" y="18"/>
                </a:lnTo>
                <a:lnTo>
                  <a:pt x="64" y="10"/>
                </a:lnTo>
                <a:lnTo>
                  <a:pt x="56" y="8"/>
                </a:lnTo>
                <a:lnTo>
                  <a:pt x="48" y="6"/>
                </a:lnTo>
                <a:lnTo>
                  <a:pt x="42" y="0"/>
                </a:lnTo>
                <a:lnTo>
                  <a:pt x="34" y="8"/>
                </a:lnTo>
                <a:lnTo>
                  <a:pt x="28" y="16"/>
                </a:lnTo>
                <a:lnTo>
                  <a:pt x="30" y="30"/>
                </a:lnTo>
                <a:lnTo>
                  <a:pt x="30" y="34"/>
                </a:lnTo>
                <a:lnTo>
                  <a:pt x="28" y="40"/>
                </a:lnTo>
                <a:lnTo>
                  <a:pt x="22" y="46"/>
                </a:lnTo>
                <a:lnTo>
                  <a:pt x="16" y="50"/>
                </a:lnTo>
                <a:lnTo>
                  <a:pt x="14" y="54"/>
                </a:lnTo>
                <a:lnTo>
                  <a:pt x="12" y="62"/>
                </a:lnTo>
                <a:lnTo>
                  <a:pt x="14" y="80"/>
                </a:lnTo>
                <a:lnTo>
                  <a:pt x="16" y="86"/>
                </a:lnTo>
                <a:lnTo>
                  <a:pt x="20" y="92"/>
                </a:lnTo>
                <a:lnTo>
                  <a:pt x="16" y="100"/>
                </a:lnTo>
                <a:lnTo>
                  <a:pt x="8" y="112"/>
                </a:lnTo>
                <a:lnTo>
                  <a:pt x="2" y="122"/>
                </a:lnTo>
                <a:lnTo>
                  <a:pt x="0" y="136"/>
                </a:lnTo>
                <a:lnTo>
                  <a:pt x="2" y="140"/>
                </a:lnTo>
                <a:lnTo>
                  <a:pt x="4" y="144"/>
                </a:lnTo>
                <a:lnTo>
                  <a:pt x="8" y="146"/>
                </a:lnTo>
                <a:lnTo>
                  <a:pt x="8" y="152"/>
                </a:lnTo>
                <a:lnTo>
                  <a:pt x="4" y="162"/>
                </a:lnTo>
                <a:lnTo>
                  <a:pt x="2" y="170"/>
                </a:lnTo>
                <a:lnTo>
                  <a:pt x="0" y="174"/>
                </a:lnTo>
                <a:lnTo>
                  <a:pt x="2" y="180"/>
                </a:lnTo>
                <a:lnTo>
                  <a:pt x="4" y="186"/>
                </a:lnTo>
                <a:lnTo>
                  <a:pt x="8" y="192"/>
                </a:lnTo>
                <a:lnTo>
                  <a:pt x="10" y="198"/>
                </a:lnTo>
                <a:lnTo>
                  <a:pt x="12" y="204"/>
                </a:lnTo>
                <a:lnTo>
                  <a:pt x="16" y="210"/>
                </a:lnTo>
                <a:lnTo>
                  <a:pt x="18" y="218"/>
                </a:lnTo>
                <a:lnTo>
                  <a:pt x="20" y="226"/>
                </a:lnTo>
                <a:lnTo>
                  <a:pt x="20" y="256"/>
                </a:lnTo>
                <a:lnTo>
                  <a:pt x="18" y="260"/>
                </a:lnTo>
                <a:lnTo>
                  <a:pt x="16" y="266"/>
                </a:lnTo>
                <a:lnTo>
                  <a:pt x="14" y="270"/>
                </a:lnTo>
                <a:lnTo>
                  <a:pt x="12" y="274"/>
                </a:lnTo>
                <a:lnTo>
                  <a:pt x="16" y="280"/>
                </a:lnTo>
                <a:lnTo>
                  <a:pt x="18" y="292"/>
                </a:lnTo>
                <a:lnTo>
                  <a:pt x="24" y="300"/>
                </a:lnTo>
                <a:lnTo>
                  <a:pt x="26" y="308"/>
                </a:lnTo>
                <a:lnTo>
                  <a:pt x="24" y="310"/>
                </a:lnTo>
                <a:lnTo>
                  <a:pt x="22" y="312"/>
                </a:lnTo>
                <a:lnTo>
                  <a:pt x="20" y="316"/>
                </a:lnTo>
                <a:lnTo>
                  <a:pt x="18" y="322"/>
                </a:lnTo>
                <a:lnTo>
                  <a:pt x="20" y="336"/>
                </a:lnTo>
                <a:lnTo>
                  <a:pt x="26" y="348"/>
                </a:lnTo>
                <a:lnTo>
                  <a:pt x="30" y="362"/>
                </a:lnTo>
                <a:lnTo>
                  <a:pt x="32" y="370"/>
                </a:lnTo>
                <a:lnTo>
                  <a:pt x="30" y="374"/>
                </a:lnTo>
                <a:lnTo>
                  <a:pt x="26" y="374"/>
                </a:lnTo>
                <a:lnTo>
                  <a:pt x="38" y="394"/>
                </a:lnTo>
                <a:lnTo>
                  <a:pt x="46" y="408"/>
                </a:lnTo>
                <a:lnTo>
                  <a:pt x="50" y="412"/>
                </a:lnTo>
                <a:lnTo>
                  <a:pt x="54" y="414"/>
                </a:lnTo>
                <a:lnTo>
                  <a:pt x="52" y="418"/>
                </a:lnTo>
                <a:lnTo>
                  <a:pt x="50" y="422"/>
                </a:lnTo>
                <a:lnTo>
                  <a:pt x="52" y="432"/>
                </a:lnTo>
                <a:lnTo>
                  <a:pt x="54" y="438"/>
                </a:lnTo>
                <a:lnTo>
                  <a:pt x="58" y="446"/>
                </a:lnTo>
                <a:lnTo>
                  <a:pt x="58" y="456"/>
                </a:lnTo>
                <a:lnTo>
                  <a:pt x="58" y="462"/>
                </a:lnTo>
                <a:lnTo>
                  <a:pt x="56" y="464"/>
                </a:lnTo>
                <a:lnTo>
                  <a:pt x="54" y="468"/>
                </a:lnTo>
                <a:lnTo>
                  <a:pt x="52" y="472"/>
                </a:lnTo>
                <a:lnTo>
                  <a:pt x="54" y="474"/>
                </a:lnTo>
                <a:lnTo>
                  <a:pt x="54" y="476"/>
                </a:lnTo>
                <a:lnTo>
                  <a:pt x="56" y="480"/>
                </a:lnTo>
                <a:lnTo>
                  <a:pt x="56" y="484"/>
                </a:lnTo>
                <a:lnTo>
                  <a:pt x="54" y="494"/>
                </a:lnTo>
                <a:lnTo>
                  <a:pt x="52" y="504"/>
                </a:lnTo>
                <a:lnTo>
                  <a:pt x="54" y="510"/>
                </a:lnTo>
                <a:lnTo>
                  <a:pt x="56" y="514"/>
                </a:lnTo>
                <a:lnTo>
                  <a:pt x="64" y="520"/>
                </a:lnTo>
                <a:lnTo>
                  <a:pt x="70" y="524"/>
                </a:lnTo>
                <a:lnTo>
                  <a:pt x="78" y="528"/>
                </a:lnTo>
                <a:lnTo>
                  <a:pt x="84" y="534"/>
                </a:lnTo>
                <a:lnTo>
                  <a:pt x="86" y="540"/>
                </a:lnTo>
                <a:lnTo>
                  <a:pt x="88" y="546"/>
                </a:lnTo>
                <a:lnTo>
                  <a:pt x="92" y="552"/>
                </a:lnTo>
                <a:lnTo>
                  <a:pt x="140" y="552"/>
                </a:lnTo>
                <a:lnTo>
                  <a:pt x="128" y="532"/>
                </a:lnTo>
                <a:lnTo>
                  <a:pt x="124" y="526"/>
                </a:lnTo>
                <a:lnTo>
                  <a:pt x="124" y="522"/>
                </a:lnTo>
                <a:lnTo>
                  <a:pt x="124" y="518"/>
                </a:lnTo>
                <a:lnTo>
                  <a:pt x="124" y="516"/>
                </a:lnTo>
                <a:lnTo>
                  <a:pt x="124" y="514"/>
                </a:lnTo>
                <a:lnTo>
                  <a:pt x="128" y="512"/>
                </a:lnTo>
                <a:lnTo>
                  <a:pt x="134" y="508"/>
                </a:lnTo>
                <a:lnTo>
                  <a:pt x="138" y="504"/>
                </a:lnTo>
                <a:lnTo>
                  <a:pt x="134" y="502"/>
                </a:lnTo>
                <a:lnTo>
                  <a:pt x="134" y="500"/>
                </a:lnTo>
                <a:lnTo>
                  <a:pt x="134" y="494"/>
                </a:lnTo>
                <a:lnTo>
                  <a:pt x="136" y="490"/>
                </a:lnTo>
                <a:lnTo>
                  <a:pt x="142" y="484"/>
                </a:lnTo>
                <a:lnTo>
                  <a:pt x="150" y="478"/>
                </a:lnTo>
                <a:lnTo>
                  <a:pt x="152" y="474"/>
                </a:lnTo>
                <a:lnTo>
                  <a:pt x="152" y="470"/>
                </a:lnTo>
                <a:lnTo>
                  <a:pt x="152" y="464"/>
                </a:lnTo>
                <a:lnTo>
                  <a:pt x="148" y="460"/>
                </a:lnTo>
                <a:lnTo>
                  <a:pt x="148" y="458"/>
                </a:lnTo>
                <a:lnTo>
                  <a:pt x="140" y="456"/>
                </a:lnTo>
                <a:lnTo>
                  <a:pt x="128" y="450"/>
                </a:lnTo>
                <a:lnTo>
                  <a:pt x="118" y="444"/>
                </a:lnTo>
                <a:lnTo>
                  <a:pt x="116" y="442"/>
                </a:lnTo>
                <a:lnTo>
                  <a:pt x="114" y="440"/>
                </a:lnTo>
                <a:lnTo>
                  <a:pt x="116" y="436"/>
                </a:lnTo>
                <a:lnTo>
                  <a:pt x="118" y="432"/>
                </a:lnTo>
                <a:lnTo>
                  <a:pt x="124" y="424"/>
                </a:lnTo>
                <a:lnTo>
                  <a:pt x="134" y="418"/>
                </a:lnTo>
                <a:lnTo>
                  <a:pt x="140" y="410"/>
                </a:lnTo>
                <a:lnTo>
                  <a:pt x="138" y="404"/>
                </a:lnTo>
                <a:lnTo>
                  <a:pt x="136" y="396"/>
                </a:lnTo>
                <a:lnTo>
                  <a:pt x="138" y="390"/>
                </a:lnTo>
                <a:lnTo>
                  <a:pt x="140" y="388"/>
                </a:lnTo>
                <a:lnTo>
                  <a:pt x="144" y="386"/>
                </a:lnTo>
                <a:lnTo>
                  <a:pt x="140" y="380"/>
                </a:lnTo>
                <a:lnTo>
                  <a:pt x="136" y="374"/>
                </a:lnTo>
                <a:lnTo>
                  <a:pt x="142" y="378"/>
                </a:lnTo>
                <a:lnTo>
                  <a:pt x="144" y="380"/>
                </a:lnTo>
                <a:lnTo>
                  <a:pt x="148" y="382"/>
                </a:lnTo>
                <a:lnTo>
                  <a:pt x="152" y="380"/>
                </a:lnTo>
                <a:lnTo>
                  <a:pt x="152" y="374"/>
                </a:lnTo>
                <a:lnTo>
                  <a:pt x="152" y="368"/>
                </a:lnTo>
                <a:lnTo>
                  <a:pt x="146" y="366"/>
                </a:lnTo>
                <a:lnTo>
                  <a:pt x="140" y="368"/>
                </a:lnTo>
                <a:lnTo>
                  <a:pt x="134" y="370"/>
                </a:lnTo>
                <a:lnTo>
                  <a:pt x="126" y="360"/>
                </a:lnTo>
                <a:lnTo>
                  <a:pt x="122" y="346"/>
                </a:lnTo>
                <a:lnTo>
                  <a:pt x="128" y="346"/>
                </a:lnTo>
                <a:lnTo>
                  <a:pt x="136" y="346"/>
                </a:lnTo>
                <a:lnTo>
                  <a:pt x="144" y="350"/>
                </a:lnTo>
                <a:lnTo>
                  <a:pt x="152" y="350"/>
                </a:lnTo>
                <a:lnTo>
                  <a:pt x="158" y="348"/>
                </a:lnTo>
                <a:lnTo>
                  <a:pt x="164" y="344"/>
                </a:lnTo>
                <a:lnTo>
                  <a:pt x="160" y="340"/>
                </a:lnTo>
                <a:lnTo>
                  <a:pt x="156" y="336"/>
                </a:lnTo>
                <a:lnTo>
                  <a:pt x="156" y="334"/>
                </a:lnTo>
                <a:lnTo>
                  <a:pt x="156" y="326"/>
                </a:lnTo>
                <a:lnTo>
                  <a:pt x="162" y="320"/>
                </a:lnTo>
                <a:lnTo>
                  <a:pt x="168" y="314"/>
                </a:lnTo>
                <a:lnTo>
                  <a:pt x="176" y="312"/>
                </a:lnTo>
                <a:lnTo>
                  <a:pt x="192" y="308"/>
                </a:lnTo>
                <a:lnTo>
                  <a:pt x="206" y="306"/>
                </a:lnTo>
                <a:lnTo>
                  <a:pt x="210" y="304"/>
                </a:lnTo>
                <a:lnTo>
                  <a:pt x="216" y="300"/>
                </a:lnTo>
                <a:lnTo>
                  <a:pt x="224" y="290"/>
                </a:lnTo>
                <a:lnTo>
                  <a:pt x="230" y="280"/>
                </a:lnTo>
                <a:lnTo>
                  <a:pt x="232" y="268"/>
                </a:lnTo>
                <a:lnTo>
                  <a:pt x="230" y="262"/>
                </a:lnTo>
                <a:lnTo>
                  <a:pt x="226" y="258"/>
                </a:lnTo>
                <a:lnTo>
                  <a:pt x="222" y="254"/>
                </a:lnTo>
                <a:lnTo>
                  <a:pt x="220" y="250"/>
                </a:lnTo>
                <a:lnTo>
                  <a:pt x="220" y="248"/>
                </a:lnTo>
                <a:lnTo>
                  <a:pt x="220" y="242"/>
                </a:lnTo>
                <a:lnTo>
                  <a:pt x="206" y="232"/>
                </a:lnTo>
                <a:lnTo>
                  <a:pt x="198" y="226"/>
                </a:lnTo>
                <a:lnTo>
                  <a:pt x="194" y="220"/>
                </a:lnTo>
                <a:lnTo>
                  <a:pt x="196" y="154"/>
                </a:lnTo>
                <a:lnTo>
                  <a:pt x="196" y="148"/>
                </a:lnTo>
                <a:lnTo>
                  <a:pt x="200" y="142"/>
                </a:lnTo>
                <a:lnTo>
                  <a:pt x="206" y="128"/>
                </a:lnTo>
                <a:lnTo>
                  <a:pt x="216" y="116"/>
                </a:lnTo>
                <a:lnTo>
                  <a:pt x="224" y="108"/>
                </a:lnTo>
                <a:lnTo>
                  <a:pt x="238" y="102"/>
                </a:lnTo>
                <a:lnTo>
                  <a:pt x="244" y="96"/>
                </a:lnTo>
                <a:lnTo>
                  <a:pt x="246" y="92"/>
                </a:lnTo>
                <a:lnTo>
                  <a:pt x="246" y="88"/>
                </a:lnTo>
                <a:lnTo>
                  <a:pt x="244" y="78"/>
                </a:lnTo>
                <a:lnTo>
                  <a:pt x="242" y="68"/>
                </a:lnTo>
                <a:lnTo>
                  <a:pt x="244" y="78"/>
                </a:lnTo>
                <a:lnTo>
                  <a:pt x="246" y="88"/>
                </a:lnTo>
                <a:lnTo>
                  <a:pt x="246" y="92"/>
                </a:lnTo>
                <a:lnTo>
                  <a:pt x="244" y="96"/>
                </a:lnTo>
                <a:lnTo>
                  <a:pt x="238" y="102"/>
                </a:lnTo>
                <a:lnTo>
                  <a:pt x="224" y="108"/>
                </a:lnTo>
                <a:lnTo>
                  <a:pt x="216" y="116"/>
                </a:lnTo>
                <a:lnTo>
                  <a:pt x="206" y="128"/>
                </a:lnTo>
                <a:lnTo>
                  <a:pt x="200" y="142"/>
                </a:lnTo>
                <a:lnTo>
                  <a:pt x="196" y="148"/>
                </a:lnTo>
                <a:lnTo>
                  <a:pt x="196" y="154"/>
                </a:lnTo>
                <a:lnTo>
                  <a:pt x="194" y="220"/>
                </a:lnTo>
                <a:lnTo>
                  <a:pt x="196" y="15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Freeform 76">
            <a:extLst>
              <a:ext uri="{FF2B5EF4-FFF2-40B4-BE49-F238E27FC236}">
                <a16:creationId xmlns:a16="http://schemas.microsoft.com/office/drawing/2014/main" id="{0A9E1B15-83D0-4CD5-971A-7A928A38C5DB}"/>
              </a:ext>
            </a:extLst>
          </p:cNvPr>
          <p:cNvSpPr>
            <a:spLocks/>
          </p:cNvSpPr>
          <p:nvPr/>
        </p:nvSpPr>
        <p:spPr bwMode="auto">
          <a:xfrm>
            <a:off x="2161958" y="4446901"/>
            <a:ext cx="377965" cy="1211100"/>
          </a:xfrm>
          <a:custGeom>
            <a:avLst/>
            <a:gdLst/>
            <a:ahLst/>
            <a:cxnLst>
              <a:cxn ang="0">
                <a:pos x="120" y="612"/>
              </a:cxn>
              <a:cxn ang="0">
                <a:pos x="98" y="592"/>
              </a:cxn>
              <a:cxn ang="0">
                <a:pos x="88" y="566"/>
              </a:cxn>
              <a:cxn ang="0">
                <a:pos x="88" y="546"/>
              </a:cxn>
              <a:cxn ang="0">
                <a:pos x="92" y="534"/>
              </a:cxn>
              <a:cxn ang="0">
                <a:pos x="86" y="504"/>
              </a:cxn>
              <a:cxn ang="0">
                <a:pos x="84" y="484"/>
              </a:cxn>
              <a:cxn ang="0">
                <a:pos x="64" y="446"/>
              </a:cxn>
              <a:cxn ang="0">
                <a:pos x="54" y="408"/>
              </a:cxn>
              <a:cxn ang="0">
                <a:pos x="58" y="382"/>
              </a:cxn>
              <a:cxn ang="0">
                <a:pos x="50" y="352"/>
              </a:cxn>
              <a:cxn ang="0">
                <a:pos x="52" y="332"/>
              </a:cxn>
              <a:cxn ang="0">
                <a:pos x="50" y="282"/>
              </a:cxn>
              <a:cxn ang="0">
                <a:pos x="38" y="258"/>
              </a:cxn>
              <a:cxn ang="0">
                <a:pos x="38" y="234"/>
              </a:cxn>
              <a:cxn ang="0">
                <a:pos x="36" y="212"/>
              </a:cxn>
              <a:cxn ang="0">
                <a:pos x="50" y="172"/>
              </a:cxn>
              <a:cxn ang="0">
                <a:pos x="46" y="134"/>
              </a:cxn>
              <a:cxn ang="0">
                <a:pos x="62" y="112"/>
              </a:cxn>
              <a:cxn ang="0">
                <a:pos x="60" y="90"/>
              </a:cxn>
              <a:cxn ang="0">
                <a:pos x="48" y="80"/>
              </a:cxn>
              <a:cxn ang="0">
                <a:pos x="34" y="52"/>
              </a:cxn>
              <a:cxn ang="0">
                <a:pos x="14" y="0"/>
              </a:cxn>
              <a:cxn ang="0">
                <a:pos x="0" y="8"/>
              </a:cxn>
              <a:cxn ang="0">
                <a:pos x="14" y="66"/>
              </a:cxn>
              <a:cxn ang="0">
                <a:pos x="16" y="106"/>
              </a:cxn>
              <a:cxn ang="0">
                <a:pos x="10" y="192"/>
              </a:cxn>
              <a:cxn ang="0">
                <a:pos x="18" y="210"/>
              </a:cxn>
              <a:cxn ang="0">
                <a:pos x="14" y="218"/>
              </a:cxn>
              <a:cxn ang="0">
                <a:pos x="24" y="286"/>
              </a:cxn>
              <a:cxn ang="0">
                <a:pos x="22" y="326"/>
              </a:cxn>
              <a:cxn ang="0">
                <a:pos x="12" y="350"/>
              </a:cxn>
              <a:cxn ang="0">
                <a:pos x="18" y="372"/>
              </a:cxn>
              <a:cxn ang="0">
                <a:pos x="26" y="418"/>
              </a:cxn>
              <a:cxn ang="0">
                <a:pos x="40" y="462"/>
              </a:cxn>
              <a:cxn ang="0">
                <a:pos x="44" y="448"/>
              </a:cxn>
              <a:cxn ang="0">
                <a:pos x="52" y="442"/>
              </a:cxn>
              <a:cxn ang="0">
                <a:pos x="56" y="480"/>
              </a:cxn>
              <a:cxn ang="0">
                <a:pos x="48" y="490"/>
              </a:cxn>
              <a:cxn ang="0">
                <a:pos x="46" y="506"/>
              </a:cxn>
              <a:cxn ang="0">
                <a:pos x="46" y="524"/>
              </a:cxn>
              <a:cxn ang="0">
                <a:pos x="58" y="540"/>
              </a:cxn>
              <a:cxn ang="0">
                <a:pos x="54" y="560"/>
              </a:cxn>
              <a:cxn ang="0">
                <a:pos x="66" y="582"/>
              </a:cxn>
              <a:cxn ang="0">
                <a:pos x="96" y="606"/>
              </a:cxn>
              <a:cxn ang="0">
                <a:pos x="96" y="630"/>
              </a:cxn>
              <a:cxn ang="0">
                <a:pos x="156" y="664"/>
              </a:cxn>
              <a:cxn ang="0">
                <a:pos x="172" y="672"/>
              </a:cxn>
            </a:cxnLst>
            <a:rect l="0" t="0" r="r" b="b"/>
            <a:pathLst>
              <a:path w="192" h="678">
                <a:moveTo>
                  <a:pt x="174" y="624"/>
                </a:moveTo>
                <a:lnTo>
                  <a:pt x="126" y="624"/>
                </a:lnTo>
                <a:lnTo>
                  <a:pt x="122" y="618"/>
                </a:lnTo>
                <a:lnTo>
                  <a:pt x="120" y="612"/>
                </a:lnTo>
                <a:lnTo>
                  <a:pt x="118" y="606"/>
                </a:lnTo>
                <a:lnTo>
                  <a:pt x="112" y="600"/>
                </a:lnTo>
                <a:lnTo>
                  <a:pt x="104" y="596"/>
                </a:lnTo>
                <a:lnTo>
                  <a:pt x="98" y="592"/>
                </a:lnTo>
                <a:lnTo>
                  <a:pt x="90" y="586"/>
                </a:lnTo>
                <a:lnTo>
                  <a:pt x="88" y="582"/>
                </a:lnTo>
                <a:lnTo>
                  <a:pt x="86" y="576"/>
                </a:lnTo>
                <a:lnTo>
                  <a:pt x="88" y="566"/>
                </a:lnTo>
                <a:lnTo>
                  <a:pt x="90" y="556"/>
                </a:lnTo>
                <a:lnTo>
                  <a:pt x="90" y="552"/>
                </a:lnTo>
                <a:lnTo>
                  <a:pt x="88" y="548"/>
                </a:lnTo>
                <a:lnTo>
                  <a:pt x="88" y="546"/>
                </a:lnTo>
                <a:lnTo>
                  <a:pt x="86" y="544"/>
                </a:lnTo>
                <a:lnTo>
                  <a:pt x="88" y="540"/>
                </a:lnTo>
                <a:lnTo>
                  <a:pt x="90" y="536"/>
                </a:lnTo>
                <a:lnTo>
                  <a:pt x="92" y="534"/>
                </a:lnTo>
                <a:lnTo>
                  <a:pt x="92" y="528"/>
                </a:lnTo>
                <a:lnTo>
                  <a:pt x="92" y="518"/>
                </a:lnTo>
                <a:lnTo>
                  <a:pt x="88" y="510"/>
                </a:lnTo>
                <a:lnTo>
                  <a:pt x="86" y="504"/>
                </a:lnTo>
                <a:lnTo>
                  <a:pt x="84" y="494"/>
                </a:lnTo>
                <a:lnTo>
                  <a:pt x="86" y="490"/>
                </a:lnTo>
                <a:lnTo>
                  <a:pt x="88" y="486"/>
                </a:lnTo>
                <a:lnTo>
                  <a:pt x="84" y="484"/>
                </a:lnTo>
                <a:lnTo>
                  <a:pt x="80" y="480"/>
                </a:lnTo>
                <a:lnTo>
                  <a:pt x="72" y="466"/>
                </a:lnTo>
                <a:lnTo>
                  <a:pt x="60" y="446"/>
                </a:lnTo>
                <a:lnTo>
                  <a:pt x="64" y="446"/>
                </a:lnTo>
                <a:lnTo>
                  <a:pt x="66" y="442"/>
                </a:lnTo>
                <a:lnTo>
                  <a:pt x="64" y="434"/>
                </a:lnTo>
                <a:lnTo>
                  <a:pt x="60" y="420"/>
                </a:lnTo>
                <a:lnTo>
                  <a:pt x="54" y="408"/>
                </a:lnTo>
                <a:lnTo>
                  <a:pt x="52" y="394"/>
                </a:lnTo>
                <a:lnTo>
                  <a:pt x="54" y="388"/>
                </a:lnTo>
                <a:lnTo>
                  <a:pt x="56" y="384"/>
                </a:lnTo>
                <a:lnTo>
                  <a:pt x="58" y="382"/>
                </a:lnTo>
                <a:lnTo>
                  <a:pt x="60" y="380"/>
                </a:lnTo>
                <a:lnTo>
                  <a:pt x="58" y="372"/>
                </a:lnTo>
                <a:lnTo>
                  <a:pt x="52" y="364"/>
                </a:lnTo>
                <a:lnTo>
                  <a:pt x="50" y="352"/>
                </a:lnTo>
                <a:lnTo>
                  <a:pt x="46" y="346"/>
                </a:lnTo>
                <a:lnTo>
                  <a:pt x="48" y="342"/>
                </a:lnTo>
                <a:lnTo>
                  <a:pt x="50" y="338"/>
                </a:lnTo>
                <a:lnTo>
                  <a:pt x="52" y="332"/>
                </a:lnTo>
                <a:lnTo>
                  <a:pt x="54" y="328"/>
                </a:lnTo>
                <a:lnTo>
                  <a:pt x="54" y="298"/>
                </a:lnTo>
                <a:lnTo>
                  <a:pt x="52" y="290"/>
                </a:lnTo>
                <a:lnTo>
                  <a:pt x="50" y="282"/>
                </a:lnTo>
                <a:lnTo>
                  <a:pt x="46" y="276"/>
                </a:lnTo>
                <a:lnTo>
                  <a:pt x="44" y="270"/>
                </a:lnTo>
                <a:lnTo>
                  <a:pt x="42" y="264"/>
                </a:lnTo>
                <a:lnTo>
                  <a:pt x="38" y="258"/>
                </a:lnTo>
                <a:lnTo>
                  <a:pt x="36" y="252"/>
                </a:lnTo>
                <a:lnTo>
                  <a:pt x="34" y="246"/>
                </a:lnTo>
                <a:lnTo>
                  <a:pt x="36" y="242"/>
                </a:lnTo>
                <a:lnTo>
                  <a:pt x="38" y="234"/>
                </a:lnTo>
                <a:lnTo>
                  <a:pt x="42" y="224"/>
                </a:lnTo>
                <a:lnTo>
                  <a:pt x="42" y="218"/>
                </a:lnTo>
                <a:lnTo>
                  <a:pt x="38" y="216"/>
                </a:lnTo>
                <a:lnTo>
                  <a:pt x="36" y="212"/>
                </a:lnTo>
                <a:lnTo>
                  <a:pt x="34" y="208"/>
                </a:lnTo>
                <a:lnTo>
                  <a:pt x="36" y="194"/>
                </a:lnTo>
                <a:lnTo>
                  <a:pt x="42" y="184"/>
                </a:lnTo>
                <a:lnTo>
                  <a:pt x="50" y="172"/>
                </a:lnTo>
                <a:lnTo>
                  <a:pt x="54" y="164"/>
                </a:lnTo>
                <a:lnTo>
                  <a:pt x="50" y="158"/>
                </a:lnTo>
                <a:lnTo>
                  <a:pt x="48" y="152"/>
                </a:lnTo>
                <a:lnTo>
                  <a:pt x="46" y="134"/>
                </a:lnTo>
                <a:lnTo>
                  <a:pt x="48" y="126"/>
                </a:lnTo>
                <a:lnTo>
                  <a:pt x="50" y="122"/>
                </a:lnTo>
                <a:lnTo>
                  <a:pt x="56" y="118"/>
                </a:lnTo>
                <a:lnTo>
                  <a:pt x="62" y="112"/>
                </a:lnTo>
                <a:lnTo>
                  <a:pt x="64" y="106"/>
                </a:lnTo>
                <a:lnTo>
                  <a:pt x="64" y="102"/>
                </a:lnTo>
                <a:lnTo>
                  <a:pt x="62" y="88"/>
                </a:lnTo>
                <a:lnTo>
                  <a:pt x="60" y="90"/>
                </a:lnTo>
                <a:lnTo>
                  <a:pt x="56" y="90"/>
                </a:lnTo>
                <a:lnTo>
                  <a:pt x="52" y="90"/>
                </a:lnTo>
                <a:lnTo>
                  <a:pt x="50" y="86"/>
                </a:lnTo>
                <a:lnTo>
                  <a:pt x="48" y="80"/>
                </a:lnTo>
                <a:lnTo>
                  <a:pt x="42" y="60"/>
                </a:lnTo>
                <a:lnTo>
                  <a:pt x="40" y="56"/>
                </a:lnTo>
                <a:lnTo>
                  <a:pt x="36" y="54"/>
                </a:lnTo>
                <a:lnTo>
                  <a:pt x="34" y="52"/>
                </a:lnTo>
                <a:lnTo>
                  <a:pt x="32" y="50"/>
                </a:lnTo>
                <a:lnTo>
                  <a:pt x="28" y="20"/>
                </a:lnTo>
                <a:lnTo>
                  <a:pt x="22" y="8"/>
                </a:lnTo>
                <a:lnTo>
                  <a:pt x="14" y="0"/>
                </a:lnTo>
                <a:lnTo>
                  <a:pt x="12" y="0"/>
                </a:lnTo>
                <a:lnTo>
                  <a:pt x="8" y="4"/>
                </a:lnTo>
                <a:lnTo>
                  <a:pt x="4" y="6"/>
                </a:lnTo>
                <a:lnTo>
                  <a:pt x="0" y="8"/>
                </a:lnTo>
                <a:lnTo>
                  <a:pt x="4" y="18"/>
                </a:lnTo>
                <a:lnTo>
                  <a:pt x="8" y="32"/>
                </a:lnTo>
                <a:lnTo>
                  <a:pt x="12" y="48"/>
                </a:lnTo>
                <a:lnTo>
                  <a:pt x="14" y="66"/>
                </a:lnTo>
                <a:lnTo>
                  <a:pt x="10" y="80"/>
                </a:lnTo>
                <a:lnTo>
                  <a:pt x="8" y="96"/>
                </a:lnTo>
                <a:lnTo>
                  <a:pt x="12" y="102"/>
                </a:lnTo>
                <a:lnTo>
                  <a:pt x="16" y="106"/>
                </a:lnTo>
                <a:lnTo>
                  <a:pt x="18" y="118"/>
                </a:lnTo>
                <a:lnTo>
                  <a:pt x="18" y="134"/>
                </a:lnTo>
                <a:lnTo>
                  <a:pt x="16" y="162"/>
                </a:lnTo>
                <a:lnTo>
                  <a:pt x="10" y="192"/>
                </a:lnTo>
                <a:lnTo>
                  <a:pt x="12" y="198"/>
                </a:lnTo>
                <a:lnTo>
                  <a:pt x="14" y="202"/>
                </a:lnTo>
                <a:lnTo>
                  <a:pt x="16" y="206"/>
                </a:lnTo>
                <a:lnTo>
                  <a:pt x="18" y="210"/>
                </a:lnTo>
                <a:lnTo>
                  <a:pt x="18" y="214"/>
                </a:lnTo>
                <a:lnTo>
                  <a:pt x="16" y="214"/>
                </a:lnTo>
                <a:lnTo>
                  <a:pt x="14" y="216"/>
                </a:lnTo>
                <a:lnTo>
                  <a:pt x="14" y="218"/>
                </a:lnTo>
                <a:lnTo>
                  <a:pt x="14" y="236"/>
                </a:lnTo>
                <a:lnTo>
                  <a:pt x="20" y="252"/>
                </a:lnTo>
                <a:lnTo>
                  <a:pt x="22" y="268"/>
                </a:lnTo>
                <a:lnTo>
                  <a:pt x="24" y="286"/>
                </a:lnTo>
                <a:lnTo>
                  <a:pt x="22" y="302"/>
                </a:lnTo>
                <a:lnTo>
                  <a:pt x="22" y="310"/>
                </a:lnTo>
                <a:lnTo>
                  <a:pt x="20" y="318"/>
                </a:lnTo>
                <a:lnTo>
                  <a:pt x="22" y="326"/>
                </a:lnTo>
                <a:lnTo>
                  <a:pt x="22" y="332"/>
                </a:lnTo>
                <a:lnTo>
                  <a:pt x="20" y="340"/>
                </a:lnTo>
                <a:lnTo>
                  <a:pt x="16" y="346"/>
                </a:lnTo>
                <a:lnTo>
                  <a:pt x="12" y="350"/>
                </a:lnTo>
                <a:lnTo>
                  <a:pt x="10" y="352"/>
                </a:lnTo>
                <a:lnTo>
                  <a:pt x="10" y="358"/>
                </a:lnTo>
                <a:lnTo>
                  <a:pt x="12" y="362"/>
                </a:lnTo>
                <a:lnTo>
                  <a:pt x="18" y="372"/>
                </a:lnTo>
                <a:lnTo>
                  <a:pt x="22" y="380"/>
                </a:lnTo>
                <a:lnTo>
                  <a:pt x="24" y="388"/>
                </a:lnTo>
                <a:lnTo>
                  <a:pt x="24" y="404"/>
                </a:lnTo>
                <a:lnTo>
                  <a:pt x="26" y="418"/>
                </a:lnTo>
                <a:lnTo>
                  <a:pt x="28" y="436"/>
                </a:lnTo>
                <a:lnTo>
                  <a:pt x="34" y="456"/>
                </a:lnTo>
                <a:lnTo>
                  <a:pt x="36" y="462"/>
                </a:lnTo>
                <a:lnTo>
                  <a:pt x="40" y="462"/>
                </a:lnTo>
                <a:lnTo>
                  <a:pt x="44" y="462"/>
                </a:lnTo>
                <a:lnTo>
                  <a:pt x="46" y="462"/>
                </a:lnTo>
                <a:lnTo>
                  <a:pt x="46" y="460"/>
                </a:lnTo>
                <a:lnTo>
                  <a:pt x="44" y="448"/>
                </a:lnTo>
                <a:lnTo>
                  <a:pt x="40" y="436"/>
                </a:lnTo>
                <a:lnTo>
                  <a:pt x="44" y="434"/>
                </a:lnTo>
                <a:lnTo>
                  <a:pt x="50" y="434"/>
                </a:lnTo>
                <a:lnTo>
                  <a:pt x="52" y="442"/>
                </a:lnTo>
                <a:lnTo>
                  <a:pt x="52" y="456"/>
                </a:lnTo>
                <a:lnTo>
                  <a:pt x="54" y="462"/>
                </a:lnTo>
                <a:lnTo>
                  <a:pt x="56" y="466"/>
                </a:lnTo>
                <a:lnTo>
                  <a:pt x="56" y="480"/>
                </a:lnTo>
                <a:lnTo>
                  <a:pt x="50" y="482"/>
                </a:lnTo>
                <a:lnTo>
                  <a:pt x="44" y="482"/>
                </a:lnTo>
                <a:lnTo>
                  <a:pt x="46" y="486"/>
                </a:lnTo>
                <a:lnTo>
                  <a:pt x="48" y="490"/>
                </a:lnTo>
                <a:lnTo>
                  <a:pt x="50" y="492"/>
                </a:lnTo>
                <a:lnTo>
                  <a:pt x="50" y="496"/>
                </a:lnTo>
                <a:lnTo>
                  <a:pt x="50" y="502"/>
                </a:lnTo>
                <a:lnTo>
                  <a:pt x="46" y="506"/>
                </a:lnTo>
                <a:lnTo>
                  <a:pt x="42" y="512"/>
                </a:lnTo>
                <a:lnTo>
                  <a:pt x="40" y="518"/>
                </a:lnTo>
                <a:lnTo>
                  <a:pt x="42" y="522"/>
                </a:lnTo>
                <a:lnTo>
                  <a:pt x="46" y="524"/>
                </a:lnTo>
                <a:lnTo>
                  <a:pt x="56" y="526"/>
                </a:lnTo>
                <a:lnTo>
                  <a:pt x="54" y="530"/>
                </a:lnTo>
                <a:lnTo>
                  <a:pt x="56" y="534"/>
                </a:lnTo>
                <a:lnTo>
                  <a:pt x="58" y="540"/>
                </a:lnTo>
                <a:lnTo>
                  <a:pt x="58" y="544"/>
                </a:lnTo>
                <a:lnTo>
                  <a:pt x="50" y="544"/>
                </a:lnTo>
                <a:lnTo>
                  <a:pt x="50" y="554"/>
                </a:lnTo>
                <a:lnTo>
                  <a:pt x="54" y="560"/>
                </a:lnTo>
                <a:lnTo>
                  <a:pt x="62" y="568"/>
                </a:lnTo>
                <a:lnTo>
                  <a:pt x="62" y="572"/>
                </a:lnTo>
                <a:lnTo>
                  <a:pt x="62" y="576"/>
                </a:lnTo>
                <a:lnTo>
                  <a:pt x="66" y="582"/>
                </a:lnTo>
                <a:lnTo>
                  <a:pt x="74" y="594"/>
                </a:lnTo>
                <a:lnTo>
                  <a:pt x="80" y="602"/>
                </a:lnTo>
                <a:lnTo>
                  <a:pt x="86" y="606"/>
                </a:lnTo>
                <a:lnTo>
                  <a:pt x="96" y="606"/>
                </a:lnTo>
                <a:lnTo>
                  <a:pt x="94" y="618"/>
                </a:lnTo>
                <a:lnTo>
                  <a:pt x="96" y="622"/>
                </a:lnTo>
                <a:lnTo>
                  <a:pt x="100" y="626"/>
                </a:lnTo>
                <a:lnTo>
                  <a:pt x="96" y="630"/>
                </a:lnTo>
                <a:lnTo>
                  <a:pt x="106" y="640"/>
                </a:lnTo>
                <a:lnTo>
                  <a:pt x="122" y="648"/>
                </a:lnTo>
                <a:lnTo>
                  <a:pt x="154" y="660"/>
                </a:lnTo>
                <a:lnTo>
                  <a:pt x="156" y="664"/>
                </a:lnTo>
                <a:lnTo>
                  <a:pt x="158" y="666"/>
                </a:lnTo>
                <a:lnTo>
                  <a:pt x="160" y="668"/>
                </a:lnTo>
                <a:lnTo>
                  <a:pt x="164" y="670"/>
                </a:lnTo>
                <a:lnTo>
                  <a:pt x="172" y="672"/>
                </a:lnTo>
                <a:lnTo>
                  <a:pt x="178" y="674"/>
                </a:lnTo>
                <a:lnTo>
                  <a:pt x="192" y="678"/>
                </a:lnTo>
                <a:lnTo>
                  <a:pt x="174" y="62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7" name="Freeform 77">
            <a:extLst>
              <a:ext uri="{FF2B5EF4-FFF2-40B4-BE49-F238E27FC236}">
                <a16:creationId xmlns:a16="http://schemas.microsoft.com/office/drawing/2014/main" id="{8D762ED9-F68C-42DB-960B-B52F1E48D6E8}"/>
              </a:ext>
            </a:extLst>
          </p:cNvPr>
          <p:cNvSpPr>
            <a:spLocks/>
          </p:cNvSpPr>
          <p:nvPr/>
        </p:nvSpPr>
        <p:spPr bwMode="auto">
          <a:xfrm>
            <a:off x="2505718" y="5560594"/>
            <a:ext cx="133400" cy="10065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" y="6"/>
              </a:cxn>
              <a:cxn ang="0">
                <a:pos x="12" y="14"/>
              </a:cxn>
              <a:cxn ang="0">
                <a:pos x="28" y="26"/>
              </a:cxn>
              <a:cxn ang="0">
                <a:pos x="40" y="30"/>
              </a:cxn>
              <a:cxn ang="0">
                <a:pos x="50" y="32"/>
              </a:cxn>
              <a:cxn ang="0">
                <a:pos x="62" y="36"/>
              </a:cxn>
              <a:cxn ang="0">
                <a:pos x="66" y="38"/>
              </a:cxn>
              <a:cxn ang="0">
                <a:pos x="68" y="42"/>
              </a:cxn>
              <a:cxn ang="0">
                <a:pos x="48" y="52"/>
              </a:cxn>
              <a:cxn ang="0">
                <a:pos x="40" y="54"/>
              </a:cxn>
              <a:cxn ang="0">
                <a:pos x="28" y="56"/>
              </a:cxn>
              <a:cxn ang="0">
                <a:pos x="18" y="54"/>
              </a:cxn>
              <a:cxn ang="0">
                <a:pos x="0" y="0"/>
              </a:cxn>
            </a:cxnLst>
            <a:rect l="0" t="0" r="r" b="b"/>
            <a:pathLst>
              <a:path w="68" h="56">
                <a:moveTo>
                  <a:pt x="0" y="0"/>
                </a:moveTo>
                <a:lnTo>
                  <a:pt x="6" y="6"/>
                </a:lnTo>
                <a:lnTo>
                  <a:pt x="12" y="14"/>
                </a:lnTo>
                <a:lnTo>
                  <a:pt x="28" y="26"/>
                </a:lnTo>
                <a:lnTo>
                  <a:pt x="40" y="30"/>
                </a:lnTo>
                <a:lnTo>
                  <a:pt x="50" y="32"/>
                </a:lnTo>
                <a:lnTo>
                  <a:pt x="62" y="36"/>
                </a:lnTo>
                <a:lnTo>
                  <a:pt x="66" y="38"/>
                </a:lnTo>
                <a:lnTo>
                  <a:pt x="68" y="42"/>
                </a:lnTo>
                <a:lnTo>
                  <a:pt x="48" y="52"/>
                </a:lnTo>
                <a:lnTo>
                  <a:pt x="40" y="54"/>
                </a:lnTo>
                <a:lnTo>
                  <a:pt x="28" y="56"/>
                </a:lnTo>
                <a:lnTo>
                  <a:pt x="18" y="54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Freeform 78">
            <a:extLst>
              <a:ext uri="{FF2B5EF4-FFF2-40B4-BE49-F238E27FC236}">
                <a16:creationId xmlns:a16="http://schemas.microsoft.com/office/drawing/2014/main" id="{A0332351-395E-4B79-911B-C09FA20A8071}"/>
              </a:ext>
            </a:extLst>
          </p:cNvPr>
          <p:cNvSpPr>
            <a:spLocks/>
          </p:cNvSpPr>
          <p:nvPr/>
        </p:nvSpPr>
        <p:spPr bwMode="auto">
          <a:xfrm>
            <a:off x="1867797" y="3450100"/>
            <a:ext cx="365993" cy="543859"/>
          </a:xfrm>
          <a:custGeom>
            <a:avLst/>
            <a:gdLst/>
            <a:ahLst/>
            <a:cxnLst>
              <a:cxn ang="0">
                <a:pos x="6" y="184"/>
              </a:cxn>
              <a:cxn ang="0">
                <a:pos x="18" y="172"/>
              </a:cxn>
              <a:cxn ang="0">
                <a:pos x="28" y="158"/>
              </a:cxn>
              <a:cxn ang="0">
                <a:pos x="26" y="118"/>
              </a:cxn>
              <a:cxn ang="0">
                <a:pos x="22" y="100"/>
              </a:cxn>
              <a:cxn ang="0">
                <a:pos x="16" y="90"/>
              </a:cxn>
              <a:cxn ang="0">
                <a:pos x="26" y="76"/>
              </a:cxn>
              <a:cxn ang="0">
                <a:pos x="32" y="72"/>
              </a:cxn>
              <a:cxn ang="0">
                <a:pos x="46" y="62"/>
              </a:cxn>
              <a:cxn ang="0">
                <a:pos x="56" y="54"/>
              </a:cxn>
              <a:cxn ang="0">
                <a:pos x="60" y="34"/>
              </a:cxn>
              <a:cxn ang="0">
                <a:pos x="72" y="24"/>
              </a:cxn>
              <a:cxn ang="0">
                <a:pos x="86" y="18"/>
              </a:cxn>
              <a:cxn ang="0">
                <a:pos x="118" y="4"/>
              </a:cxn>
              <a:cxn ang="0">
                <a:pos x="128" y="8"/>
              </a:cxn>
              <a:cxn ang="0">
                <a:pos x="118" y="18"/>
              </a:cxn>
              <a:cxn ang="0">
                <a:pos x="94" y="48"/>
              </a:cxn>
              <a:cxn ang="0">
                <a:pos x="98" y="64"/>
              </a:cxn>
              <a:cxn ang="0">
                <a:pos x="106" y="76"/>
              </a:cxn>
              <a:cxn ang="0">
                <a:pos x="102" y="92"/>
              </a:cxn>
              <a:cxn ang="0">
                <a:pos x="112" y="100"/>
              </a:cxn>
              <a:cxn ang="0">
                <a:pos x="142" y="106"/>
              </a:cxn>
              <a:cxn ang="0">
                <a:pos x="152" y="118"/>
              </a:cxn>
              <a:cxn ang="0">
                <a:pos x="170" y="118"/>
              </a:cxn>
              <a:cxn ang="0">
                <a:pos x="176" y="132"/>
              </a:cxn>
              <a:cxn ang="0">
                <a:pos x="174" y="154"/>
              </a:cxn>
              <a:cxn ang="0">
                <a:pos x="182" y="168"/>
              </a:cxn>
              <a:cxn ang="0">
                <a:pos x="178" y="174"/>
              </a:cxn>
              <a:cxn ang="0">
                <a:pos x="184" y="190"/>
              </a:cxn>
              <a:cxn ang="0">
                <a:pos x="148" y="200"/>
              </a:cxn>
              <a:cxn ang="0">
                <a:pos x="146" y="206"/>
              </a:cxn>
              <a:cxn ang="0">
                <a:pos x="152" y="220"/>
              </a:cxn>
              <a:cxn ang="0">
                <a:pos x="140" y="226"/>
              </a:cxn>
              <a:cxn ang="0">
                <a:pos x="142" y="240"/>
              </a:cxn>
              <a:cxn ang="0">
                <a:pos x="146" y="276"/>
              </a:cxn>
              <a:cxn ang="0">
                <a:pos x="132" y="298"/>
              </a:cxn>
              <a:cxn ang="0">
                <a:pos x="136" y="286"/>
              </a:cxn>
              <a:cxn ang="0">
                <a:pos x="134" y="274"/>
              </a:cxn>
              <a:cxn ang="0">
                <a:pos x="122" y="278"/>
              </a:cxn>
              <a:cxn ang="0">
                <a:pos x="114" y="272"/>
              </a:cxn>
              <a:cxn ang="0">
                <a:pos x="106" y="276"/>
              </a:cxn>
              <a:cxn ang="0">
                <a:pos x="86" y="260"/>
              </a:cxn>
              <a:cxn ang="0">
                <a:pos x="68" y="242"/>
              </a:cxn>
              <a:cxn ang="0">
                <a:pos x="52" y="234"/>
              </a:cxn>
              <a:cxn ang="0">
                <a:pos x="36" y="226"/>
              </a:cxn>
              <a:cxn ang="0">
                <a:pos x="0" y="204"/>
              </a:cxn>
            </a:cxnLst>
            <a:rect l="0" t="0" r="r" b="b"/>
            <a:pathLst>
              <a:path w="184" h="304">
                <a:moveTo>
                  <a:pt x="2" y="204"/>
                </a:moveTo>
                <a:lnTo>
                  <a:pt x="2" y="194"/>
                </a:lnTo>
                <a:lnTo>
                  <a:pt x="6" y="184"/>
                </a:lnTo>
                <a:lnTo>
                  <a:pt x="8" y="178"/>
                </a:lnTo>
                <a:lnTo>
                  <a:pt x="18" y="176"/>
                </a:lnTo>
                <a:lnTo>
                  <a:pt x="18" y="172"/>
                </a:lnTo>
                <a:lnTo>
                  <a:pt x="22" y="166"/>
                </a:lnTo>
                <a:lnTo>
                  <a:pt x="26" y="162"/>
                </a:lnTo>
                <a:lnTo>
                  <a:pt x="28" y="158"/>
                </a:lnTo>
                <a:lnTo>
                  <a:pt x="26" y="142"/>
                </a:lnTo>
                <a:lnTo>
                  <a:pt x="24" y="124"/>
                </a:lnTo>
                <a:lnTo>
                  <a:pt x="26" y="118"/>
                </a:lnTo>
                <a:lnTo>
                  <a:pt x="28" y="114"/>
                </a:lnTo>
                <a:lnTo>
                  <a:pt x="26" y="106"/>
                </a:lnTo>
                <a:lnTo>
                  <a:pt x="22" y="100"/>
                </a:lnTo>
                <a:lnTo>
                  <a:pt x="18" y="96"/>
                </a:lnTo>
                <a:lnTo>
                  <a:pt x="18" y="90"/>
                </a:lnTo>
                <a:lnTo>
                  <a:pt x="16" y="90"/>
                </a:lnTo>
                <a:lnTo>
                  <a:pt x="22" y="86"/>
                </a:lnTo>
                <a:lnTo>
                  <a:pt x="28" y="82"/>
                </a:lnTo>
                <a:lnTo>
                  <a:pt x="26" y="76"/>
                </a:lnTo>
                <a:lnTo>
                  <a:pt x="26" y="70"/>
                </a:lnTo>
                <a:lnTo>
                  <a:pt x="28" y="68"/>
                </a:lnTo>
                <a:lnTo>
                  <a:pt x="32" y="72"/>
                </a:lnTo>
                <a:lnTo>
                  <a:pt x="40" y="74"/>
                </a:lnTo>
                <a:lnTo>
                  <a:pt x="42" y="64"/>
                </a:lnTo>
                <a:lnTo>
                  <a:pt x="46" y="62"/>
                </a:lnTo>
                <a:lnTo>
                  <a:pt x="48" y="58"/>
                </a:lnTo>
                <a:lnTo>
                  <a:pt x="52" y="58"/>
                </a:lnTo>
                <a:lnTo>
                  <a:pt x="56" y="54"/>
                </a:lnTo>
                <a:lnTo>
                  <a:pt x="58" y="48"/>
                </a:lnTo>
                <a:lnTo>
                  <a:pt x="60" y="42"/>
                </a:lnTo>
                <a:lnTo>
                  <a:pt x="60" y="34"/>
                </a:lnTo>
                <a:lnTo>
                  <a:pt x="62" y="30"/>
                </a:lnTo>
                <a:lnTo>
                  <a:pt x="66" y="26"/>
                </a:lnTo>
                <a:lnTo>
                  <a:pt x="72" y="24"/>
                </a:lnTo>
                <a:lnTo>
                  <a:pt x="80" y="24"/>
                </a:lnTo>
                <a:lnTo>
                  <a:pt x="82" y="20"/>
                </a:lnTo>
                <a:lnTo>
                  <a:pt x="86" y="18"/>
                </a:lnTo>
                <a:lnTo>
                  <a:pt x="98" y="14"/>
                </a:lnTo>
                <a:lnTo>
                  <a:pt x="110" y="10"/>
                </a:lnTo>
                <a:lnTo>
                  <a:pt x="118" y="4"/>
                </a:lnTo>
                <a:lnTo>
                  <a:pt x="124" y="2"/>
                </a:lnTo>
                <a:lnTo>
                  <a:pt x="128" y="0"/>
                </a:lnTo>
                <a:lnTo>
                  <a:pt x="128" y="8"/>
                </a:lnTo>
                <a:lnTo>
                  <a:pt x="124" y="10"/>
                </a:lnTo>
                <a:lnTo>
                  <a:pt x="120" y="14"/>
                </a:lnTo>
                <a:lnTo>
                  <a:pt x="118" y="18"/>
                </a:lnTo>
                <a:lnTo>
                  <a:pt x="110" y="28"/>
                </a:lnTo>
                <a:lnTo>
                  <a:pt x="98" y="40"/>
                </a:lnTo>
                <a:lnTo>
                  <a:pt x="94" y="48"/>
                </a:lnTo>
                <a:lnTo>
                  <a:pt x="92" y="56"/>
                </a:lnTo>
                <a:lnTo>
                  <a:pt x="94" y="62"/>
                </a:lnTo>
                <a:lnTo>
                  <a:pt x="98" y="64"/>
                </a:lnTo>
                <a:lnTo>
                  <a:pt x="100" y="68"/>
                </a:lnTo>
                <a:lnTo>
                  <a:pt x="102" y="72"/>
                </a:lnTo>
                <a:lnTo>
                  <a:pt x="106" y="76"/>
                </a:lnTo>
                <a:lnTo>
                  <a:pt x="108" y="82"/>
                </a:lnTo>
                <a:lnTo>
                  <a:pt x="104" y="88"/>
                </a:lnTo>
                <a:lnTo>
                  <a:pt x="102" y="92"/>
                </a:lnTo>
                <a:lnTo>
                  <a:pt x="104" y="94"/>
                </a:lnTo>
                <a:lnTo>
                  <a:pt x="108" y="98"/>
                </a:lnTo>
                <a:lnTo>
                  <a:pt x="112" y="100"/>
                </a:lnTo>
                <a:lnTo>
                  <a:pt x="116" y="102"/>
                </a:lnTo>
                <a:lnTo>
                  <a:pt x="130" y="104"/>
                </a:lnTo>
                <a:lnTo>
                  <a:pt x="142" y="106"/>
                </a:lnTo>
                <a:lnTo>
                  <a:pt x="142" y="112"/>
                </a:lnTo>
                <a:lnTo>
                  <a:pt x="146" y="116"/>
                </a:lnTo>
                <a:lnTo>
                  <a:pt x="152" y="118"/>
                </a:lnTo>
                <a:lnTo>
                  <a:pt x="158" y="118"/>
                </a:lnTo>
                <a:lnTo>
                  <a:pt x="166" y="118"/>
                </a:lnTo>
                <a:lnTo>
                  <a:pt x="170" y="118"/>
                </a:lnTo>
                <a:lnTo>
                  <a:pt x="176" y="116"/>
                </a:lnTo>
                <a:lnTo>
                  <a:pt x="184" y="116"/>
                </a:lnTo>
                <a:lnTo>
                  <a:pt x="176" y="132"/>
                </a:lnTo>
                <a:lnTo>
                  <a:pt x="174" y="142"/>
                </a:lnTo>
                <a:lnTo>
                  <a:pt x="172" y="148"/>
                </a:lnTo>
                <a:lnTo>
                  <a:pt x="174" y="154"/>
                </a:lnTo>
                <a:lnTo>
                  <a:pt x="178" y="158"/>
                </a:lnTo>
                <a:lnTo>
                  <a:pt x="180" y="162"/>
                </a:lnTo>
                <a:lnTo>
                  <a:pt x="182" y="168"/>
                </a:lnTo>
                <a:lnTo>
                  <a:pt x="182" y="170"/>
                </a:lnTo>
                <a:lnTo>
                  <a:pt x="180" y="174"/>
                </a:lnTo>
                <a:lnTo>
                  <a:pt x="178" y="174"/>
                </a:lnTo>
                <a:lnTo>
                  <a:pt x="178" y="178"/>
                </a:lnTo>
                <a:lnTo>
                  <a:pt x="180" y="182"/>
                </a:lnTo>
                <a:lnTo>
                  <a:pt x="184" y="190"/>
                </a:lnTo>
                <a:lnTo>
                  <a:pt x="170" y="198"/>
                </a:lnTo>
                <a:lnTo>
                  <a:pt x="160" y="200"/>
                </a:lnTo>
                <a:lnTo>
                  <a:pt x="148" y="200"/>
                </a:lnTo>
                <a:lnTo>
                  <a:pt x="142" y="204"/>
                </a:lnTo>
                <a:lnTo>
                  <a:pt x="144" y="204"/>
                </a:lnTo>
                <a:lnTo>
                  <a:pt x="146" y="206"/>
                </a:lnTo>
                <a:lnTo>
                  <a:pt x="148" y="210"/>
                </a:lnTo>
                <a:lnTo>
                  <a:pt x="152" y="212"/>
                </a:lnTo>
                <a:lnTo>
                  <a:pt x="152" y="220"/>
                </a:lnTo>
                <a:lnTo>
                  <a:pt x="146" y="220"/>
                </a:lnTo>
                <a:lnTo>
                  <a:pt x="142" y="222"/>
                </a:lnTo>
                <a:lnTo>
                  <a:pt x="140" y="226"/>
                </a:lnTo>
                <a:lnTo>
                  <a:pt x="138" y="228"/>
                </a:lnTo>
                <a:lnTo>
                  <a:pt x="140" y="234"/>
                </a:lnTo>
                <a:lnTo>
                  <a:pt x="142" y="240"/>
                </a:lnTo>
                <a:lnTo>
                  <a:pt x="146" y="246"/>
                </a:lnTo>
                <a:lnTo>
                  <a:pt x="148" y="252"/>
                </a:lnTo>
                <a:lnTo>
                  <a:pt x="146" y="276"/>
                </a:lnTo>
                <a:lnTo>
                  <a:pt x="142" y="304"/>
                </a:lnTo>
                <a:lnTo>
                  <a:pt x="136" y="300"/>
                </a:lnTo>
                <a:lnTo>
                  <a:pt x="132" y="298"/>
                </a:lnTo>
                <a:lnTo>
                  <a:pt x="130" y="294"/>
                </a:lnTo>
                <a:lnTo>
                  <a:pt x="132" y="290"/>
                </a:lnTo>
                <a:lnTo>
                  <a:pt x="136" y="286"/>
                </a:lnTo>
                <a:lnTo>
                  <a:pt x="138" y="282"/>
                </a:lnTo>
                <a:lnTo>
                  <a:pt x="140" y="278"/>
                </a:lnTo>
                <a:lnTo>
                  <a:pt x="134" y="274"/>
                </a:lnTo>
                <a:lnTo>
                  <a:pt x="126" y="272"/>
                </a:lnTo>
                <a:lnTo>
                  <a:pt x="122" y="274"/>
                </a:lnTo>
                <a:lnTo>
                  <a:pt x="122" y="278"/>
                </a:lnTo>
                <a:lnTo>
                  <a:pt x="118" y="274"/>
                </a:lnTo>
                <a:lnTo>
                  <a:pt x="116" y="272"/>
                </a:lnTo>
                <a:lnTo>
                  <a:pt x="114" y="272"/>
                </a:lnTo>
                <a:lnTo>
                  <a:pt x="110" y="274"/>
                </a:lnTo>
                <a:lnTo>
                  <a:pt x="108" y="276"/>
                </a:lnTo>
                <a:lnTo>
                  <a:pt x="106" y="276"/>
                </a:lnTo>
                <a:lnTo>
                  <a:pt x="90" y="276"/>
                </a:lnTo>
                <a:lnTo>
                  <a:pt x="88" y="268"/>
                </a:lnTo>
                <a:lnTo>
                  <a:pt x="86" y="260"/>
                </a:lnTo>
                <a:lnTo>
                  <a:pt x="82" y="256"/>
                </a:lnTo>
                <a:lnTo>
                  <a:pt x="76" y="248"/>
                </a:lnTo>
                <a:lnTo>
                  <a:pt x="68" y="242"/>
                </a:lnTo>
                <a:lnTo>
                  <a:pt x="62" y="238"/>
                </a:lnTo>
                <a:lnTo>
                  <a:pt x="58" y="234"/>
                </a:lnTo>
                <a:lnTo>
                  <a:pt x="52" y="234"/>
                </a:lnTo>
                <a:lnTo>
                  <a:pt x="50" y="230"/>
                </a:lnTo>
                <a:lnTo>
                  <a:pt x="52" y="228"/>
                </a:lnTo>
                <a:lnTo>
                  <a:pt x="36" y="226"/>
                </a:lnTo>
                <a:lnTo>
                  <a:pt x="22" y="220"/>
                </a:lnTo>
                <a:lnTo>
                  <a:pt x="10" y="212"/>
                </a:lnTo>
                <a:lnTo>
                  <a:pt x="0" y="204"/>
                </a:lnTo>
                <a:lnTo>
                  <a:pt x="2" y="20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9" name="Freeform 79">
            <a:extLst>
              <a:ext uri="{FF2B5EF4-FFF2-40B4-BE49-F238E27FC236}">
                <a16:creationId xmlns:a16="http://schemas.microsoft.com/office/drawing/2014/main" id="{7D6E4412-6579-48A5-9935-12D5E50E89C0}"/>
              </a:ext>
            </a:extLst>
          </p:cNvPr>
          <p:cNvSpPr>
            <a:spLocks/>
          </p:cNvSpPr>
          <p:nvPr/>
        </p:nvSpPr>
        <p:spPr bwMode="auto">
          <a:xfrm>
            <a:off x="4814840" y="3099433"/>
            <a:ext cx="521626" cy="633149"/>
          </a:xfrm>
          <a:custGeom>
            <a:avLst/>
            <a:gdLst/>
            <a:ahLst/>
            <a:cxnLst>
              <a:cxn ang="0">
                <a:pos x="20" y="220"/>
              </a:cxn>
              <a:cxn ang="0">
                <a:pos x="24" y="232"/>
              </a:cxn>
              <a:cxn ang="0">
                <a:pos x="28" y="248"/>
              </a:cxn>
              <a:cxn ang="0">
                <a:pos x="40" y="260"/>
              </a:cxn>
              <a:cxn ang="0">
                <a:pos x="42" y="266"/>
              </a:cxn>
              <a:cxn ang="0">
                <a:pos x="52" y="274"/>
              </a:cxn>
              <a:cxn ang="0">
                <a:pos x="54" y="282"/>
              </a:cxn>
              <a:cxn ang="0">
                <a:pos x="62" y="290"/>
              </a:cxn>
              <a:cxn ang="0">
                <a:pos x="80" y="308"/>
              </a:cxn>
              <a:cxn ang="0">
                <a:pos x="88" y="316"/>
              </a:cxn>
              <a:cxn ang="0">
                <a:pos x="88" y="326"/>
              </a:cxn>
              <a:cxn ang="0">
                <a:pos x="98" y="336"/>
              </a:cxn>
              <a:cxn ang="0">
                <a:pos x="112" y="342"/>
              </a:cxn>
              <a:cxn ang="0">
                <a:pos x="116" y="338"/>
              </a:cxn>
              <a:cxn ang="0">
                <a:pos x="124" y="338"/>
              </a:cxn>
              <a:cxn ang="0">
                <a:pos x="134" y="342"/>
              </a:cxn>
              <a:cxn ang="0">
                <a:pos x="146" y="354"/>
              </a:cxn>
              <a:cxn ang="0">
                <a:pos x="156" y="350"/>
              </a:cxn>
              <a:cxn ang="0">
                <a:pos x="186" y="350"/>
              </a:cxn>
              <a:cxn ang="0">
                <a:pos x="198" y="342"/>
              </a:cxn>
              <a:cxn ang="0">
                <a:pos x="228" y="338"/>
              </a:cxn>
              <a:cxn ang="0">
                <a:pos x="220" y="324"/>
              </a:cxn>
              <a:cxn ang="0">
                <a:pos x="212" y="314"/>
              </a:cxn>
              <a:cxn ang="0">
                <a:pos x="206" y="296"/>
              </a:cxn>
              <a:cxn ang="0">
                <a:pos x="190" y="284"/>
              </a:cxn>
              <a:cxn ang="0">
                <a:pos x="180" y="274"/>
              </a:cxn>
              <a:cxn ang="0">
                <a:pos x="182" y="270"/>
              </a:cxn>
              <a:cxn ang="0">
                <a:pos x="192" y="266"/>
              </a:cxn>
              <a:cxn ang="0">
                <a:pos x="198" y="252"/>
              </a:cxn>
              <a:cxn ang="0">
                <a:pos x="198" y="234"/>
              </a:cxn>
              <a:cxn ang="0">
                <a:pos x="204" y="224"/>
              </a:cxn>
              <a:cxn ang="0">
                <a:pos x="212" y="212"/>
              </a:cxn>
              <a:cxn ang="0">
                <a:pos x="222" y="190"/>
              </a:cxn>
              <a:cxn ang="0">
                <a:pos x="232" y="170"/>
              </a:cxn>
              <a:cxn ang="0">
                <a:pos x="232" y="138"/>
              </a:cxn>
              <a:cxn ang="0">
                <a:pos x="236" y="126"/>
              </a:cxn>
              <a:cxn ang="0">
                <a:pos x="238" y="108"/>
              </a:cxn>
              <a:cxn ang="0">
                <a:pos x="254" y="102"/>
              </a:cxn>
              <a:cxn ang="0">
                <a:pos x="264" y="92"/>
              </a:cxn>
              <a:cxn ang="0">
                <a:pos x="258" y="84"/>
              </a:cxn>
              <a:cxn ang="0">
                <a:pos x="250" y="76"/>
              </a:cxn>
              <a:cxn ang="0">
                <a:pos x="242" y="58"/>
              </a:cxn>
              <a:cxn ang="0">
                <a:pos x="236" y="28"/>
              </a:cxn>
              <a:cxn ang="0">
                <a:pos x="230" y="12"/>
              </a:cxn>
              <a:cxn ang="0">
                <a:pos x="216" y="4"/>
              </a:cxn>
              <a:cxn ang="0">
                <a:pos x="206" y="0"/>
              </a:cxn>
              <a:cxn ang="0">
                <a:pos x="194" y="10"/>
              </a:cxn>
              <a:cxn ang="0">
                <a:pos x="178" y="22"/>
              </a:cxn>
              <a:cxn ang="0">
                <a:pos x="44" y="16"/>
              </a:cxn>
              <a:cxn ang="0">
                <a:pos x="32" y="54"/>
              </a:cxn>
              <a:cxn ang="0">
                <a:pos x="34" y="130"/>
              </a:cxn>
              <a:cxn ang="0">
                <a:pos x="18" y="136"/>
              </a:cxn>
              <a:cxn ang="0">
                <a:pos x="12" y="150"/>
              </a:cxn>
              <a:cxn ang="0">
                <a:pos x="6" y="164"/>
              </a:cxn>
              <a:cxn ang="0">
                <a:pos x="4" y="186"/>
              </a:cxn>
              <a:cxn ang="0">
                <a:pos x="0" y="194"/>
              </a:cxn>
              <a:cxn ang="0">
                <a:pos x="10" y="198"/>
              </a:cxn>
              <a:cxn ang="0">
                <a:pos x="14" y="208"/>
              </a:cxn>
              <a:cxn ang="0">
                <a:pos x="18" y="218"/>
              </a:cxn>
            </a:cxnLst>
            <a:rect l="0" t="0" r="r" b="b"/>
            <a:pathLst>
              <a:path w="264" h="354">
                <a:moveTo>
                  <a:pt x="18" y="220"/>
                </a:moveTo>
                <a:lnTo>
                  <a:pt x="20" y="220"/>
                </a:lnTo>
                <a:lnTo>
                  <a:pt x="20" y="226"/>
                </a:lnTo>
                <a:lnTo>
                  <a:pt x="24" y="232"/>
                </a:lnTo>
                <a:lnTo>
                  <a:pt x="26" y="240"/>
                </a:lnTo>
                <a:lnTo>
                  <a:pt x="28" y="248"/>
                </a:lnTo>
                <a:lnTo>
                  <a:pt x="28" y="260"/>
                </a:lnTo>
                <a:lnTo>
                  <a:pt x="40" y="260"/>
                </a:lnTo>
                <a:lnTo>
                  <a:pt x="40" y="264"/>
                </a:lnTo>
                <a:lnTo>
                  <a:pt x="42" y="266"/>
                </a:lnTo>
                <a:lnTo>
                  <a:pt x="46" y="270"/>
                </a:lnTo>
                <a:lnTo>
                  <a:pt x="52" y="274"/>
                </a:lnTo>
                <a:lnTo>
                  <a:pt x="54" y="276"/>
                </a:lnTo>
                <a:lnTo>
                  <a:pt x="54" y="282"/>
                </a:lnTo>
                <a:lnTo>
                  <a:pt x="58" y="288"/>
                </a:lnTo>
                <a:lnTo>
                  <a:pt x="62" y="290"/>
                </a:lnTo>
                <a:lnTo>
                  <a:pt x="70" y="300"/>
                </a:lnTo>
                <a:lnTo>
                  <a:pt x="80" y="308"/>
                </a:lnTo>
                <a:lnTo>
                  <a:pt x="84" y="312"/>
                </a:lnTo>
                <a:lnTo>
                  <a:pt x="88" y="316"/>
                </a:lnTo>
                <a:lnTo>
                  <a:pt x="88" y="322"/>
                </a:lnTo>
                <a:lnTo>
                  <a:pt x="88" y="326"/>
                </a:lnTo>
                <a:lnTo>
                  <a:pt x="90" y="328"/>
                </a:lnTo>
                <a:lnTo>
                  <a:pt x="98" y="336"/>
                </a:lnTo>
                <a:lnTo>
                  <a:pt x="104" y="338"/>
                </a:lnTo>
                <a:lnTo>
                  <a:pt x="112" y="342"/>
                </a:lnTo>
                <a:lnTo>
                  <a:pt x="112" y="338"/>
                </a:lnTo>
                <a:lnTo>
                  <a:pt x="116" y="338"/>
                </a:lnTo>
                <a:lnTo>
                  <a:pt x="120" y="342"/>
                </a:lnTo>
                <a:lnTo>
                  <a:pt x="124" y="338"/>
                </a:lnTo>
                <a:lnTo>
                  <a:pt x="132" y="338"/>
                </a:lnTo>
                <a:lnTo>
                  <a:pt x="134" y="342"/>
                </a:lnTo>
                <a:lnTo>
                  <a:pt x="136" y="346"/>
                </a:lnTo>
                <a:lnTo>
                  <a:pt x="146" y="354"/>
                </a:lnTo>
                <a:lnTo>
                  <a:pt x="150" y="352"/>
                </a:lnTo>
                <a:lnTo>
                  <a:pt x="156" y="350"/>
                </a:lnTo>
                <a:lnTo>
                  <a:pt x="178" y="350"/>
                </a:lnTo>
                <a:lnTo>
                  <a:pt x="186" y="350"/>
                </a:lnTo>
                <a:lnTo>
                  <a:pt x="192" y="346"/>
                </a:lnTo>
                <a:lnTo>
                  <a:pt x="198" y="342"/>
                </a:lnTo>
                <a:lnTo>
                  <a:pt x="202" y="338"/>
                </a:lnTo>
                <a:lnTo>
                  <a:pt x="228" y="338"/>
                </a:lnTo>
                <a:lnTo>
                  <a:pt x="224" y="330"/>
                </a:lnTo>
                <a:lnTo>
                  <a:pt x="220" y="324"/>
                </a:lnTo>
                <a:lnTo>
                  <a:pt x="216" y="318"/>
                </a:lnTo>
                <a:lnTo>
                  <a:pt x="212" y="314"/>
                </a:lnTo>
                <a:lnTo>
                  <a:pt x="210" y="300"/>
                </a:lnTo>
                <a:lnTo>
                  <a:pt x="206" y="296"/>
                </a:lnTo>
                <a:lnTo>
                  <a:pt x="204" y="292"/>
                </a:lnTo>
                <a:lnTo>
                  <a:pt x="190" y="284"/>
                </a:lnTo>
                <a:lnTo>
                  <a:pt x="184" y="278"/>
                </a:lnTo>
                <a:lnTo>
                  <a:pt x="180" y="274"/>
                </a:lnTo>
                <a:lnTo>
                  <a:pt x="180" y="272"/>
                </a:lnTo>
                <a:lnTo>
                  <a:pt x="182" y="270"/>
                </a:lnTo>
                <a:lnTo>
                  <a:pt x="186" y="268"/>
                </a:lnTo>
                <a:lnTo>
                  <a:pt x="192" y="266"/>
                </a:lnTo>
                <a:lnTo>
                  <a:pt x="196" y="262"/>
                </a:lnTo>
                <a:lnTo>
                  <a:pt x="198" y="252"/>
                </a:lnTo>
                <a:lnTo>
                  <a:pt x="198" y="244"/>
                </a:lnTo>
                <a:lnTo>
                  <a:pt x="198" y="234"/>
                </a:lnTo>
                <a:lnTo>
                  <a:pt x="200" y="226"/>
                </a:lnTo>
                <a:lnTo>
                  <a:pt x="204" y="224"/>
                </a:lnTo>
                <a:lnTo>
                  <a:pt x="210" y="222"/>
                </a:lnTo>
                <a:lnTo>
                  <a:pt x="212" y="212"/>
                </a:lnTo>
                <a:lnTo>
                  <a:pt x="214" y="204"/>
                </a:lnTo>
                <a:lnTo>
                  <a:pt x="222" y="190"/>
                </a:lnTo>
                <a:lnTo>
                  <a:pt x="232" y="178"/>
                </a:lnTo>
                <a:lnTo>
                  <a:pt x="232" y="170"/>
                </a:lnTo>
                <a:lnTo>
                  <a:pt x="232" y="162"/>
                </a:lnTo>
                <a:lnTo>
                  <a:pt x="232" y="138"/>
                </a:lnTo>
                <a:lnTo>
                  <a:pt x="234" y="134"/>
                </a:lnTo>
                <a:lnTo>
                  <a:pt x="236" y="126"/>
                </a:lnTo>
                <a:lnTo>
                  <a:pt x="238" y="120"/>
                </a:lnTo>
                <a:lnTo>
                  <a:pt x="238" y="108"/>
                </a:lnTo>
                <a:lnTo>
                  <a:pt x="246" y="106"/>
                </a:lnTo>
                <a:lnTo>
                  <a:pt x="254" y="102"/>
                </a:lnTo>
                <a:lnTo>
                  <a:pt x="260" y="96"/>
                </a:lnTo>
                <a:lnTo>
                  <a:pt x="264" y="92"/>
                </a:lnTo>
                <a:lnTo>
                  <a:pt x="260" y="88"/>
                </a:lnTo>
                <a:lnTo>
                  <a:pt x="258" y="84"/>
                </a:lnTo>
                <a:lnTo>
                  <a:pt x="254" y="80"/>
                </a:lnTo>
                <a:lnTo>
                  <a:pt x="250" y="76"/>
                </a:lnTo>
                <a:lnTo>
                  <a:pt x="246" y="68"/>
                </a:lnTo>
                <a:lnTo>
                  <a:pt x="242" y="58"/>
                </a:lnTo>
                <a:lnTo>
                  <a:pt x="238" y="38"/>
                </a:lnTo>
                <a:lnTo>
                  <a:pt x="236" y="28"/>
                </a:lnTo>
                <a:lnTo>
                  <a:pt x="232" y="18"/>
                </a:lnTo>
                <a:lnTo>
                  <a:pt x="230" y="12"/>
                </a:lnTo>
                <a:lnTo>
                  <a:pt x="222" y="8"/>
                </a:lnTo>
                <a:lnTo>
                  <a:pt x="216" y="4"/>
                </a:lnTo>
                <a:lnTo>
                  <a:pt x="212" y="0"/>
                </a:lnTo>
                <a:lnTo>
                  <a:pt x="206" y="0"/>
                </a:lnTo>
                <a:lnTo>
                  <a:pt x="204" y="4"/>
                </a:lnTo>
                <a:lnTo>
                  <a:pt x="194" y="10"/>
                </a:lnTo>
                <a:lnTo>
                  <a:pt x="188" y="16"/>
                </a:lnTo>
                <a:lnTo>
                  <a:pt x="178" y="22"/>
                </a:lnTo>
                <a:lnTo>
                  <a:pt x="174" y="16"/>
                </a:lnTo>
                <a:lnTo>
                  <a:pt x="44" y="16"/>
                </a:lnTo>
                <a:lnTo>
                  <a:pt x="44" y="54"/>
                </a:lnTo>
                <a:lnTo>
                  <a:pt x="32" y="54"/>
                </a:lnTo>
                <a:lnTo>
                  <a:pt x="28" y="62"/>
                </a:lnTo>
                <a:lnTo>
                  <a:pt x="34" y="130"/>
                </a:lnTo>
                <a:lnTo>
                  <a:pt x="24" y="132"/>
                </a:lnTo>
                <a:lnTo>
                  <a:pt x="18" y="136"/>
                </a:lnTo>
                <a:lnTo>
                  <a:pt x="14" y="142"/>
                </a:lnTo>
                <a:lnTo>
                  <a:pt x="12" y="150"/>
                </a:lnTo>
                <a:lnTo>
                  <a:pt x="8" y="156"/>
                </a:lnTo>
                <a:lnTo>
                  <a:pt x="6" y="164"/>
                </a:lnTo>
                <a:lnTo>
                  <a:pt x="6" y="182"/>
                </a:lnTo>
                <a:lnTo>
                  <a:pt x="4" y="186"/>
                </a:lnTo>
                <a:lnTo>
                  <a:pt x="0" y="192"/>
                </a:lnTo>
                <a:lnTo>
                  <a:pt x="0" y="194"/>
                </a:lnTo>
                <a:lnTo>
                  <a:pt x="2" y="194"/>
                </a:lnTo>
                <a:lnTo>
                  <a:pt x="10" y="198"/>
                </a:lnTo>
                <a:lnTo>
                  <a:pt x="12" y="206"/>
                </a:lnTo>
                <a:lnTo>
                  <a:pt x="14" y="208"/>
                </a:lnTo>
                <a:lnTo>
                  <a:pt x="16" y="212"/>
                </a:lnTo>
                <a:lnTo>
                  <a:pt x="18" y="218"/>
                </a:lnTo>
                <a:lnTo>
                  <a:pt x="18" y="22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Freeform 80">
            <a:extLst>
              <a:ext uri="{FF2B5EF4-FFF2-40B4-BE49-F238E27FC236}">
                <a16:creationId xmlns:a16="http://schemas.microsoft.com/office/drawing/2014/main" id="{8BF037BD-6835-463E-9CE4-46D3366A6B2F}"/>
              </a:ext>
            </a:extLst>
          </p:cNvPr>
          <p:cNvSpPr>
            <a:spLocks/>
          </p:cNvSpPr>
          <p:nvPr/>
        </p:nvSpPr>
        <p:spPr bwMode="auto">
          <a:xfrm>
            <a:off x="5427109" y="3456591"/>
            <a:ext cx="331788" cy="436710"/>
          </a:xfrm>
          <a:custGeom>
            <a:avLst/>
            <a:gdLst/>
            <a:ahLst/>
            <a:cxnLst>
              <a:cxn ang="0">
                <a:pos x="24" y="142"/>
              </a:cxn>
              <a:cxn ang="0">
                <a:pos x="38" y="134"/>
              </a:cxn>
              <a:cxn ang="0">
                <a:pos x="50" y="128"/>
              </a:cxn>
              <a:cxn ang="0">
                <a:pos x="60" y="130"/>
              </a:cxn>
              <a:cxn ang="0">
                <a:pos x="66" y="126"/>
              </a:cxn>
              <a:cxn ang="0">
                <a:pos x="74" y="114"/>
              </a:cxn>
              <a:cxn ang="0">
                <a:pos x="100" y="86"/>
              </a:cxn>
              <a:cxn ang="0">
                <a:pos x="92" y="72"/>
              </a:cxn>
              <a:cxn ang="0">
                <a:pos x="66" y="64"/>
              </a:cxn>
              <a:cxn ang="0">
                <a:pos x="44" y="52"/>
              </a:cxn>
              <a:cxn ang="0">
                <a:pos x="30" y="32"/>
              </a:cxn>
              <a:cxn ang="0">
                <a:pos x="28" y="16"/>
              </a:cxn>
              <a:cxn ang="0">
                <a:pos x="38" y="10"/>
              </a:cxn>
              <a:cxn ang="0">
                <a:pos x="38" y="16"/>
              </a:cxn>
              <a:cxn ang="0">
                <a:pos x="48" y="24"/>
              </a:cxn>
              <a:cxn ang="0">
                <a:pos x="58" y="28"/>
              </a:cxn>
              <a:cxn ang="0">
                <a:pos x="66" y="24"/>
              </a:cxn>
              <a:cxn ang="0">
                <a:pos x="74" y="20"/>
              </a:cxn>
              <a:cxn ang="0">
                <a:pos x="96" y="18"/>
              </a:cxn>
              <a:cxn ang="0">
                <a:pos x="118" y="12"/>
              </a:cxn>
              <a:cxn ang="0">
                <a:pos x="136" y="12"/>
              </a:cxn>
              <a:cxn ang="0">
                <a:pos x="144" y="6"/>
              </a:cxn>
              <a:cxn ang="0">
                <a:pos x="152" y="2"/>
              </a:cxn>
              <a:cxn ang="0">
                <a:pos x="162" y="2"/>
              </a:cxn>
              <a:cxn ang="0">
                <a:pos x="164" y="6"/>
              </a:cxn>
              <a:cxn ang="0">
                <a:pos x="162" y="26"/>
              </a:cxn>
              <a:cxn ang="0">
                <a:pos x="154" y="50"/>
              </a:cxn>
              <a:cxn ang="0">
                <a:pos x="126" y="112"/>
              </a:cxn>
              <a:cxn ang="0">
                <a:pos x="96" y="156"/>
              </a:cxn>
              <a:cxn ang="0">
                <a:pos x="70" y="182"/>
              </a:cxn>
              <a:cxn ang="0">
                <a:pos x="40" y="208"/>
              </a:cxn>
              <a:cxn ang="0">
                <a:pos x="10" y="244"/>
              </a:cxn>
              <a:cxn ang="0">
                <a:pos x="0" y="236"/>
              </a:cxn>
              <a:cxn ang="0">
                <a:pos x="8" y="152"/>
              </a:cxn>
              <a:cxn ang="0">
                <a:pos x="18" y="146"/>
              </a:cxn>
            </a:cxnLst>
            <a:rect l="0" t="0" r="r" b="b"/>
            <a:pathLst>
              <a:path w="168" h="244">
                <a:moveTo>
                  <a:pt x="18" y="146"/>
                </a:moveTo>
                <a:lnTo>
                  <a:pt x="24" y="142"/>
                </a:lnTo>
                <a:lnTo>
                  <a:pt x="32" y="138"/>
                </a:lnTo>
                <a:lnTo>
                  <a:pt x="38" y="134"/>
                </a:lnTo>
                <a:lnTo>
                  <a:pt x="44" y="130"/>
                </a:lnTo>
                <a:lnTo>
                  <a:pt x="50" y="128"/>
                </a:lnTo>
                <a:lnTo>
                  <a:pt x="56" y="128"/>
                </a:lnTo>
                <a:lnTo>
                  <a:pt x="60" y="130"/>
                </a:lnTo>
                <a:lnTo>
                  <a:pt x="64" y="128"/>
                </a:lnTo>
                <a:lnTo>
                  <a:pt x="66" y="126"/>
                </a:lnTo>
                <a:lnTo>
                  <a:pt x="70" y="122"/>
                </a:lnTo>
                <a:lnTo>
                  <a:pt x="74" y="114"/>
                </a:lnTo>
                <a:lnTo>
                  <a:pt x="90" y="94"/>
                </a:lnTo>
                <a:lnTo>
                  <a:pt x="100" y="86"/>
                </a:lnTo>
                <a:lnTo>
                  <a:pt x="106" y="74"/>
                </a:lnTo>
                <a:lnTo>
                  <a:pt x="92" y="72"/>
                </a:lnTo>
                <a:lnTo>
                  <a:pt x="80" y="70"/>
                </a:lnTo>
                <a:lnTo>
                  <a:pt x="66" y="64"/>
                </a:lnTo>
                <a:lnTo>
                  <a:pt x="54" y="60"/>
                </a:lnTo>
                <a:lnTo>
                  <a:pt x="44" y="52"/>
                </a:lnTo>
                <a:lnTo>
                  <a:pt x="34" y="44"/>
                </a:lnTo>
                <a:lnTo>
                  <a:pt x="30" y="32"/>
                </a:lnTo>
                <a:lnTo>
                  <a:pt x="28" y="24"/>
                </a:lnTo>
                <a:lnTo>
                  <a:pt x="28" y="16"/>
                </a:lnTo>
                <a:lnTo>
                  <a:pt x="38" y="6"/>
                </a:lnTo>
                <a:lnTo>
                  <a:pt x="38" y="10"/>
                </a:lnTo>
                <a:lnTo>
                  <a:pt x="38" y="12"/>
                </a:lnTo>
                <a:lnTo>
                  <a:pt x="38" y="16"/>
                </a:lnTo>
                <a:lnTo>
                  <a:pt x="42" y="20"/>
                </a:lnTo>
                <a:lnTo>
                  <a:pt x="48" y="24"/>
                </a:lnTo>
                <a:lnTo>
                  <a:pt x="52" y="28"/>
                </a:lnTo>
                <a:lnTo>
                  <a:pt x="58" y="28"/>
                </a:lnTo>
                <a:lnTo>
                  <a:pt x="62" y="28"/>
                </a:lnTo>
                <a:lnTo>
                  <a:pt x="66" y="24"/>
                </a:lnTo>
                <a:lnTo>
                  <a:pt x="70" y="20"/>
                </a:lnTo>
                <a:lnTo>
                  <a:pt x="74" y="20"/>
                </a:lnTo>
                <a:lnTo>
                  <a:pt x="86" y="20"/>
                </a:lnTo>
                <a:lnTo>
                  <a:pt x="96" y="18"/>
                </a:lnTo>
                <a:lnTo>
                  <a:pt x="106" y="16"/>
                </a:lnTo>
                <a:lnTo>
                  <a:pt x="118" y="12"/>
                </a:lnTo>
                <a:lnTo>
                  <a:pt x="132" y="12"/>
                </a:lnTo>
                <a:lnTo>
                  <a:pt x="136" y="12"/>
                </a:lnTo>
                <a:lnTo>
                  <a:pt x="140" y="10"/>
                </a:lnTo>
                <a:lnTo>
                  <a:pt x="144" y="6"/>
                </a:lnTo>
                <a:lnTo>
                  <a:pt x="148" y="2"/>
                </a:lnTo>
                <a:lnTo>
                  <a:pt x="152" y="2"/>
                </a:lnTo>
                <a:lnTo>
                  <a:pt x="156" y="0"/>
                </a:lnTo>
                <a:lnTo>
                  <a:pt x="162" y="2"/>
                </a:lnTo>
                <a:lnTo>
                  <a:pt x="168" y="2"/>
                </a:lnTo>
                <a:lnTo>
                  <a:pt x="164" y="6"/>
                </a:lnTo>
                <a:lnTo>
                  <a:pt x="162" y="14"/>
                </a:lnTo>
                <a:lnTo>
                  <a:pt x="162" y="26"/>
                </a:lnTo>
                <a:lnTo>
                  <a:pt x="160" y="36"/>
                </a:lnTo>
                <a:lnTo>
                  <a:pt x="154" y="50"/>
                </a:lnTo>
                <a:lnTo>
                  <a:pt x="144" y="76"/>
                </a:lnTo>
                <a:lnTo>
                  <a:pt x="126" y="112"/>
                </a:lnTo>
                <a:lnTo>
                  <a:pt x="106" y="142"/>
                </a:lnTo>
                <a:lnTo>
                  <a:pt x="96" y="156"/>
                </a:lnTo>
                <a:lnTo>
                  <a:pt x="84" y="170"/>
                </a:lnTo>
                <a:lnTo>
                  <a:pt x="70" y="182"/>
                </a:lnTo>
                <a:lnTo>
                  <a:pt x="56" y="196"/>
                </a:lnTo>
                <a:lnTo>
                  <a:pt x="40" y="208"/>
                </a:lnTo>
                <a:lnTo>
                  <a:pt x="32" y="218"/>
                </a:lnTo>
                <a:lnTo>
                  <a:pt x="10" y="244"/>
                </a:lnTo>
                <a:lnTo>
                  <a:pt x="4" y="240"/>
                </a:lnTo>
                <a:lnTo>
                  <a:pt x="0" y="236"/>
                </a:lnTo>
                <a:lnTo>
                  <a:pt x="0" y="170"/>
                </a:lnTo>
                <a:lnTo>
                  <a:pt x="8" y="152"/>
                </a:lnTo>
                <a:lnTo>
                  <a:pt x="14" y="148"/>
                </a:lnTo>
                <a:lnTo>
                  <a:pt x="18" y="1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1" name="Freeform 81">
            <a:extLst>
              <a:ext uri="{FF2B5EF4-FFF2-40B4-BE49-F238E27FC236}">
                <a16:creationId xmlns:a16="http://schemas.microsoft.com/office/drawing/2014/main" id="{67B840CA-77F7-4B4C-A3EE-8EC5DC125939}"/>
              </a:ext>
            </a:extLst>
          </p:cNvPr>
          <p:cNvSpPr>
            <a:spLocks/>
          </p:cNvSpPr>
          <p:nvPr/>
        </p:nvSpPr>
        <p:spPr bwMode="auto">
          <a:xfrm>
            <a:off x="4424902" y="3774792"/>
            <a:ext cx="54728" cy="43833"/>
          </a:xfrm>
          <a:custGeom>
            <a:avLst/>
            <a:gdLst/>
            <a:ahLst/>
            <a:cxnLst>
              <a:cxn ang="0">
                <a:pos x="28" y="24"/>
              </a:cxn>
              <a:cxn ang="0">
                <a:pos x="18" y="24"/>
              </a:cxn>
              <a:cxn ang="0">
                <a:pos x="12" y="24"/>
              </a:cxn>
              <a:cxn ang="0">
                <a:pos x="0" y="22"/>
              </a:cxn>
              <a:cxn ang="0">
                <a:pos x="6" y="2"/>
              </a:cxn>
              <a:cxn ang="0">
                <a:pos x="28" y="4"/>
              </a:cxn>
              <a:cxn ang="0">
                <a:pos x="28" y="0"/>
              </a:cxn>
              <a:cxn ang="0">
                <a:pos x="28" y="24"/>
              </a:cxn>
            </a:cxnLst>
            <a:rect l="0" t="0" r="r" b="b"/>
            <a:pathLst>
              <a:path w="28" h="24">
                <a:moveTo>
                  <a:pt x="28" y="24"/>
                </a:moveTo>
                <a:lnTo>
                  <a:pt x="18" y="24"/>
                </a:lnTo>
                <a:lnTo>
                  <a:pt x="12" y="24"/>
                </a:lnTo>
                <a:lnTo>
                  <a:pt x="0" y="22"/>
                </a:lnTo>
                <a:lnTo>
                  <a:pt x="6" y="2"/>
                </a:lnTo>
                <a:lnTo>
                  <a:pt x="28" y="4"/>
                </a:lnTo>
                <a:lnTo>
                  <a:pt x="28" y="0"/>
                </a:lnTo>
                <a:lnTo>
                  <a:pt x="28" y="2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2" name="Freeform 82">
            <a:extLst>
              <a:ext uri="{FF2B5EF4-FFF2-40B4-BE49-F238E27FC236}">
                <a16:creationId xmlns:a16="http://schemas.microsoft.com/office/drawing/2014/main" id="{97A1ED8B-1C17-40CE-A171-C586A56501DA}"/>
              </a:ext>
            </a:extLst>
          </p:cNvPr>
          <p:cNvSpPr>
            <a:spLocks/>
          </p:cNvSpPr>
          <p:nvPr/>
        </p:nvSpPr>
        <p:spPr bwMode="auto">
          <a:xfrm>
            <a:off x="5469864" y="4239101"/>
            <a:ext cx="244566" cy="446451"/>
          </a:xfrm>
          <a:custGeom>
            <a:avLst/>
            <a:gdLst/>
            <a:ahLst/>
            <a:cxnLst>
              <a:cxn ang="0">
                <a:pos x="30" y="84"/>
              </a:cxn>
              <a:cxn ang="0">
                <a:pos x="38" y="76"/>
              </a:cxn>
              <a:cxn ang="0">
                <a:pos x="44" y="68"/>
              </a:cxn>
              <a:cxn ang="0">
                <a:pos x="56" y="68"/>
              </a:cxn>
              <a:cxn ang="0">
                <a:pos x="64" y="64"/>
              </a:cxn>
              <a:cxn ang="0">
                <a:pos x="88" y="32"/>
              </a:cxn>
              <a:cxn ang="0">
                <a:pos x="92" y="28"/>
              </a:cxn>
              <a:cxn ang="0">
                <a:pos x="100" y="26"/>
              </a:cxn>
              <a:cxn ang="0">
                <a:pos x="104" y="12"/>
              </a:cxn>
              <a:cxn ang="0">
                <a:pos x="110" y="0"/>
              </a:cxn>
              <a:cxn ang="0">
                <a:pos x="112" y="16"/>
              </a:cxn>
              <a:cxn ang="0">
                <a:pos x="122" y="52"/>
              </a:cxn>
              <a:cxn ang="0">
                <a:pos x="124" y="68"/>
              </a:cxn>
              <a:cxn ang="0">
                <a:pos x="120" y="74"/>
              </a:cxn>
              <a:cxn ang="0">
                <a:pos x="118" y="70"/>
              </a:cxn>
              <a:cxn ang="0">
                <a:pos x="112" y="68"/>
              </a:cxn>
              <a:cxn ang="0">
                <a:pos x="110" y="78"/>
              </a:cxn>
              <a:cxn ang="0">
                <a:pos x="112" y="86"/>
              </a:cxn>
              <a:cxn ang="0">
                <a:pos x="114" y="90"/>
              </a:cxn>
              <a:cxn ang="0">
                <a:pos x="106" y="106"/>
              </a:cxn>
              <a:cxn ang="0">
                <a:pos x="82" y="162"/>
              </a:cxn>
              <a:cxn ang="0">
                <a:pos x="70" y="206"/>
              </a:cxn>
              <a:cxn ang="0">
                <a:pos x="64" y="222"/>
              </a:cxn>
              <a:cxn ang="0">
                <a:pos x="58" y="240"/>
              </a:cxn>
              <a:cxn ang="0">
                <a:pos x="42" y="246"/>
              </a:cxn>
              <a:cxn ang="0">
                <a:pos x="28" y="250"/>
              </a:cxn>
              <a:cxn ang="0">
                <a:pos x="14" y="244"/>
              </a:cxn>
              <a:cxn ang="0">
                <a:pos x="8" y="228"/>
              </a:cxn>
              <a:cxn ang="0">
                <a:pos x="0" y="192"/>
              </a:cxn>
              <a:cxn ang="0">
                <a:pos x="6" y="174"/>
              </a:cxn>
              <a:cxn ang="0">
                <a:pos x="12" y="164"/>
              </a:cxn>
              <a:cxn ang="0">
                <a:pos x="24" y="144"/>
              </a:cxn>
              <a:cxn ang="0">
                <a:pos x="24" y="128"/>
              </a:cxn>
              <a:cxn ang="0">
                <a:pos x="18" y="114"/>
              </a:cxn>
              <a:cxn ang="0">
                <a:pos x="26" y="84"/>
              </a:cxn>
            </a:cxnLst>
            <a:rect l="0" t="0" r="r" b="b"/>
            <a:pathLst>
              <a:path w="124" h="250">
                <a:moveTo>
                  <a:pt x="26" y="84"/>
                </a:moveTo>
                <a:lnTo>
                  <a:pt x="30" y="84"/>
                </a:lnTo>
                <a:lnTo>
                  <a:pt x="32" y="82"/>
                </a:lnTo>
                <a:lnTo>
                  <a:pt x="38" y="76"/>
                </a:lnTo>
                <a:lnTo>
                  <a:pt x="40" y="70"/>
                </a:lnTo>
                <a:lnTo>
                  <a:pt x="44" y="68"/>
                </a:lnTo>
                <a:lnTo>
                  <a:pt x="48" y="68"/>
                </a:lnTo>
                <a:lnTo>
                  <a:pt x="56" y="68"/>
                </a:lnTo>
                <a:lnTo>
                  <a:pt x="62" y="66"/>
                </a:lnTo>
                <a:lnTo>
                  <a:pt x="64" y="64"/>
                </a:lnTo>
                <a:lnTo>
                  <a:pt x="74" y="56"/>
                </a:lnTo>
                <a:lnTo>
                  <a:pt x="88" y="32"/>
                </a:lnTo>
                <a:lnTo>
                  <a:pt x="90" y="30"/>
                </a:lnTo>
                <a:lnTo>
                  <a:pt x="92" y="28"/>
                </a:lnTo>
                <a:lnTo>
                  <a:pt x="96" y="26"/>
                </a:lnTo>
                <a:lnTo>
                  <a:pt x="100" y="26"/>
                </a:lnTo>
                <a:lnTo>
                  <a:pt x="104" y="18"/>
                </a:lnTo>
                <a:lnTo>
                  <a:pt x="104" y="12"/>
                </a:lnTo>
                <a:lnTo>
                  <a:pt x="106" y="6"/>
                </a:lnTo>
                <a:lnTo>
                  <a:pt x="110" y="0"/>
                </a:lnTo>
                <a:lnTo>
                  <a:pt x="110" y="8"/>
                </a:lnTo>
                <a:lnTo>
                  <a:pt x="112" y="16"/>
                </a:lnTo>
                <a:lnTo>
                  <a:pt x="118" y="32"/>
                </a:lnTo>
                <a:lnTo>
                  <a:pt x="122" y="52"/>
                </a:lnTo>
                <a:lnTo>
                  <a:pt x="124" y="58"/>
                </a:lnTo>
                <a:lnTo>
                  <a:pt x="124" y="68"/>
                </a:lnTo>
                <a:lnTo>
                  <a:pt x="122" y="72"/>
                </a:lnTo>
                <a:lnTo>
                  <a:pt x="120" y="74"/>
                </a:lnTo>
                <a:lnTo>
                  <a:pt x="118" y="72"/>
                </a:lnTo>
                <a:lnTo>
                  <a:pt x="118" y="70"/>
                </a:lnTo>
                <a:lnTo>
                  <a:pt x="116" y="64"/>
                </a:lnTo>
                <a:lnTo>
                  <a:pt x="112" y="68"/>
                </a:lnTo>
                <a:lnTo>
                  <a:pt x="110" y="70"/>
                </a:lnTo>
                <a:lnTo>
                  <a:pt x="110" y="78"/>
                </a:lnTo>
                <a:lnTo>
                  <a:pt x="110" y="82"/>
                </a:lnTo>
                <a:lnTo>
                  <a:pt x="112" y="86"/>
                </a:lnTo>
                <a:lnTo>
                  <a:pt x="114" y="86"/>
                </a:lnTo>
                <a:lnTo>
                  <a:pt x="114" y="90"/>
                </a:lnTo>
                <a:lnTo>
                  <a:pt x="112" y="96"/>
                </a:lnTo>
                <a:lnTo>
                  <a:pt x="106" y="106"/>
                </a:lnTo>
                <a:lnTo>
                  <a:pt x="98" y="118"/>
                </a:lnTo>
                <a:lnTo>
                  <a:pt x="82" y="162"/>
                </a:lnTo>
                <a:lnTo>
                  <a:pt x="74" y="182"/>
                </a:lnTo>
                <a:lnTo>
                  <a:pt x="70" y="206"/>
                </a:lnTo>
                <a:lnTo>
                  <a:pt x="66" y="216"/>
                </a:lnTo>
                <a:lnTo>
                  <a:pt x="64" y="222"/>
                </a:lnTo>
                <a:lnTo>
                  <a:pt x="60" y="230"/>
                </a:lnTo>
                <a:lnTo>
                  <a:pt x="58" y="240"/>
                </a:lnTo>
                <a:lnTo>
                  <a:pt x="48" y="242"/>
                </a:lnTo>
                <a:lnTo>
                  <a:pt x="42" y="246"/>
                </a:lnTo>
                <a:lnTo>
                  <a:pt x="38" y="250"/>
                </a:lnTo>
                <a:lnTo>
                  <a:pt x="28" y="250"/>
                </a:lnTo>
                <a:lnTo>
                  <a:pt x="20" y="250"/>
                </a:lnTo>
                <a:lnTo>
                  <a:pt x="14" y="244"/>
                </a:lnTo>
                <a:lnTo>
                  <a:pt x="10" y="238"/>
                </a:lnTo>
                <a:lnTo>
                  <a:pt x="8" y="228"/>
                </a:lnTo>
                <a:lnTo>
                  <a:pt x="2" y="210"/>
                </a:lnTo>
                <a:lnTo>
                  <a:pt x="0" y="192"/>
                </a:lnTo>
                <a:lnTo>
                  <a:pt x="2" y="182"/>
                </a:lnTo>
                <a:lnTo>
                  <a:pt x="6" y="174"/>
                </a:lnTo>
                <a:lnTo>
                  <a:pt x="10" y="168"/>
                </a:lnTo>
                <a:lnTo>
                  <a:pt x="12" y="164"/>
                </a:lnTo>
                <a:lnTo>
                  <a:pt x="22" y="152"/>
                </a:lnTo>
                <a:lnTo>
                  <a:pt x="24" y="144"/>
                </a:lnTo>
                <a:lnTo>
                  <a:pt x="26" y="136"/>
                </a:lnTo>
                <a:lnTo>
                  <a:pt x="24" y="128"/>
                </a:lnTo>
                <a:lnTo>
                  <a:pt x="20" y="120"/>
                </a:lnTo>
                <a:lnTo>
                  <a:pt x="18" y="114"/>
                </a:lnTo>
                <a:lnTo>
                  <a:pt x="16" y="108"/>
                </a:lnTo>
                <a:lnTo>
                  <a:pt x="26" y="8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3" name="Freeform 83">
            <a:extLst>
              <a:ext uri="{FF2B5EF4-FFF2-40B4-BE49-F238E27FC236}">
                <a16:creationId xmlns:a16="http://schemas.microsoft.com/office/drawing/2014/main" id="{11500B39-D8B5-4A68-A4BD-5093598A957D}"/>
              </a:ext>
            </a:extLst>
          </p:cNvPr>
          <p:cNvSpPr>
            <a:spLocks/>
          </p:cNvSpPr>
          <p:nvPr/>
        </p:nvSpPr>
        <p:spPr bwMode="auto">
          <a:xfrm>
            <a:off x="4876409" y="2813704"/>
            <a:ext cx="360863" cy="326315"/>
          </a:xfrm>
          <a:custGeom>
            <a:avLst/>
            <a:gdLst/>
            <a:ahLst/>
            <a:cxnLst>
              <a:cxn ang="0">
                <a:pos x="174" y="160"/>
              </a:cxn>
              <a:cxn ang="0">
                <a:pos x="162" y="170"/>
              </a:cxn>
              <a:cxn ang="0">
                <a:pos x="146" y="182"/>
              </a:cxn>
              <a:cxn ang="0">
                <a:pos x="12" y="176"/>
              </a:cxn>
              <a:cxn ang="0">
                <a:pos x="8" y="44"/>
              </a:cxn>
              <a:cxn ang="0">
                <a:pos x="2" y="38"/>
              </a:cxn>
              <a:cxn ang="0">
                <a:pos x="0" y="26"/>
              </a:cxn>
              <a:cxn ang="0">
                <a:pos x="4" y="18"/>
              </a:cxn>
              <a:cxn ang="0">
                <a:pos x="2" y="12"/>
              </a:cxn>
              <a:cxn ang="0">
                <a:pos x="0" y="8"/>
              </a:cxn>
              <a:cxn ang="0">
                <a:pos x="6" y="0"/>
              </a:cxn>
              <a:cxn ang="0">
                <a:pos x="54" y="12"/>
              </a:cxn>
              <a:cxn ang="0">
                <a:pos x="76" y="12"/>
              </a:cxn>
              <a:cxn ang="0">
                <a:pos x="92" y="4"/>
              </a:cxn>
              <a:cxn ang="0">
                <a:pos x="104" y="2"/>
              </a:cxn>
              <a:cxn ang="0">
                <a:pos x="112" y="8"/>
              </a:cxn>
              <a:cxn ang="0">
                <a:pos x="124" y="10"/>
              </a:cxn>
              <a:cxn ang="0">
                <a:pos x="138" y="8"/>
              </a:cxn>
              <a:cxn ang="0">
                <a:pos x="142" y="10"/>
              </a:cxn>
              <a:cxn ang="0">
                <a:pos x="152" y="22"/>
              </a:cxn>
              <a:cxn ang="0">
                <a:pos x="158" y="42"/>
              </a:cxn>
              <a:cxn ang="0">
                <a:pos x="154" y="64"/>
              </a:cxn>
              <a:cxn ang="0">
                <a:pos x="152" y="68"/>
              </a:cxn>
              <a:cxn ang="0">
                <a:pos x="150" y="66"/>
              </a:cxn>
              <a:cxn ang="0">
                <a:pos x="142" y="64"/>
              </a:cxn>
              <a:cxn ang="0">
                <a:pos x="128" y="40"/>
              </a:cxn>
              <a:cxn ang="0">
                <a:pos x="122" y="38"/>
              </a:cxn>
              <a:cxn ang="0">
                <a:pos x="136" y="66"/>
              </a:cxn>
              <a:cxn ang="0">
                <a:pos x="162" y="112"/>
              </a:cxn>
              <a:cxn ang="0">
                <a:pos x="174" y="126"/>
              </a:cxn>
              <a:cxn ang="0">
                <a:pos x="178" y="150"/>
              </a:cxn>
              <a:cxn ang="0">
                <a:pos x="180" y="160"/>
              </a:cxn>
            </a:cxnLst>
            <a:rect l="0" t="0" r="r" b="b"/>
            <a:pathLst>
              <a:path w="182" h="182">
                <a:moveTo>
                  <a:pt x="180" y="160"/>
                </a:moveTo>
                <a:lnTo>
                  <a:pt x="174" y="160"/>
                </a:lnTo>
                <a:lnTo>
                  <a:pt x="172" y="164"/>
                </a:lnTo>
                <a:lnTo>
                  <a:pt x="162" y="170"/>
                </a:lnTo>
                <a:lnTo>
                  <a:pt x="156" y="176"/>
                </a:lnTo>
                <a:lnTo>
                  <a:pt x="146" y="182"/>
                </a:lnTo>
                <a:lnTo>
                  <a:pt x="142" y="176"/>
                </a:lnTo>
                <a:lnTo>
                  <a:pt x="12" y="176"/>
                </a:lnTo>
                <a:lnTo>
                  <a:pt x="8" y="50"/>
                </a:lnTo>
                <a:lnTo>
                  <a:pt x="8" y="44"/>
                </a:lnTo>
                <a:lnTo>
                  <a:pt x="4" y="40"/>
                </a:lnTo>
                <a:lnTo>
                  <a:pt x="2" y="38"/>
                </a:lnTo>
                <a:lnTo>
                  <a:pt x="0" y="30"/>
                </a:lnTo>
                <a:lnTo>
                  <a:pt x="0" y="26"/>
                </a:lnTo>
                <a:lnTo>
                  <a:pt x="2" y="22"/>
                </a:lnTo>
                <a:lnTo>
                  <a:pt x="4" y="18"/>
                </a:lnTo>
                <a:lnTo>
                  <a:pt x="6" y="14"/>
                </a:lnTo>
                <a:lnTo>
                  <a:pt x="2" y="12"/>
                </a:lnTo>
                <a:lnTo>
                  <a:pt x="0" y="10"/>
                </a:lnTo>
                <a:lnTo>
                  <a:pt x="0" y="8"/>
                </a:lnTo>
                <a:lnTo>
                  <a:pt x="2" y="4"/>
                </a:lnTo>
                <a:lnTo>
                  <a:pt x="6" y="0"/>
                </a:lnTo>
                <a:lnTo>
                  <a:pt x="36" y="8"/>
                </a:lnTo>
                <a:lnTo>
                  <a:pt x="54" y="12"/>
                </a:lnTo>
                <a:lnTo>
                  <a:pt x="68" y="14"/>
                </a:lnTo>
                <a:lnTo>
                  <a:pt x="76" y="12"/>
                </a:lnTo>
                <a:lnTo>
                  <a:pt x="84" y="8"/>
                </a:lnTo>
                <a:lnTo>
                  <a:pt x="92" y="4"/>
                </a:lnTo>
                <a:lnTo>
                  <a:pt x="100" y="2"/>
                </a:lnTo>
                <a:lnTo>
                  <a:pt x="104" y="2"/>
                </a:lnTo>
                <a:lnTo>
                  <a:pt x="108" y="6"/>
                </a:lnTo>
                <a:lnTo>
                  <a:pt x="112" y="8"/>
                </a:lnTo>
                <a:lnTo>
                  <a:pt x="118" y="10"/>
                </a:lnTo>
                <a:lnTo>
                  <a:pt x="124" y="10"/>
                </a:lnTo>
                <a:lnTo>
                  <a:pt x="132" y="8"/>
                </a:lnTo>
                <a:lnTo>
                  <a:pt x="138" y="8"/>
                </a:lnTo>
                <a:lnTo>
                  <a:pt x="140" y="8"/>
                </a:lnTo>
                <a:lnTo>
                  <a:pt x="142" y="10"/>
                </a:lnTo>
                <a:lnTo>
                  <a:pt x="146" y="14"/>
                </a:lnTo>
                <a:lnTo>
                  <a:pt x="152" y="22"/>
                </a:lnTo>
                <a:lnTo>
                  <a:pt x="156" y="32"/>
                </a:lnTo>
                <a:lnTo>
                  <a:pt x="158" y="42"/>
                </a:lnTo>
                <a:lnTo>
                  <a:pt x="154" y="56"/>
                </a:lnTo>
                <a:lnTo>
                  <a:pt x="154" y="64"/>
                </a:lnTo>
                <a:lnTo>
                  <a:pt x="158" y="66"/>
                </a:lnTo>
                <a:lnTo>
                  <a:pt x="152" y="68"/>
                </a:lnTo>
                <a:lnTo>
                  <a:pt x="152" y="66"/>
                </a:lnTo>
                <a:lnTo>
                  <a:pt x="150" y="66"/>
                </a:lnTo>
                <a:lnTo>
                  <a:pt x="146" y="66"/>
                </a:lnTo>
                <a:lnTo>
                  <a:pt x="142" y="64"/>
                </a:lnTo>
                <a:lnTo>
                  <a:pt x="134" y="52"/>
                </a:lnTo>
                <a:lnTo>
                  <a:pt x="128" y="40"/>
                </a:lnTo>
                <a:lnTo>
                  <a:pt x="120" y="32"/>
                </a:lnTo>
                <a:lnTo>
                  <a:pt x="122" y="38"/>
                </a:lnTo>
                <a:lnTo>
                  <a:pt x="124" y="46"/>
                </a:lnTo>
                <a:lnTo>
                  <a:pt x="136" y="66"/>
                </a:lnTo>
                <a:lnTo>
                  <a:pt x="156" y="102"/>
                </a:lnTo>
                <a:lnTo>
                  <a:pt x="162" y="112"/>
                </a:lnTo>
                <a:lnTo>
                  <a:pt x="168" y="120"/>
                </a:lnTo>
                <a:lnTo>
                  <a:pt x="174" y="126"/>
                </a:lnTo>
                <a:lnTo>
                  <a:pt x="176" y="138"/>
                </a:lnTo>
                <a:lnTo>
                  <a:pt x="178" y="150"/>
                </a:lnTo>
                <a:lnTo>
                  <a:pt x="182" y="160"/>
                </a:lnTo>
                <a:lnTo>
                  <a:pt x="180" y="16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Freeform 84">
            <a:extLst>
              <a:ext uri="{FF2B5EF4-FFF2-40B4-BE49-F238E27FC236}">
                <a16:creationId xmlns:a16="http://schemas.microsoft.com/office/drawing/2014/main" id="{B348C4D7-538C-4F25-87B2-17A6E47ADE74}"/>
              </a:ext>
            </a:extLst>
          </p:cNvPr>
          <p:cNvSpPr>
            <a:spLocks/>
          </p:cNvSpPr>
          <p:nvPr/>
        </p:nvSpPr>
        <p:spPr bwMode="auto">
          <a:xfrm>
            <a:off x="4414644" y="2760127"/>
            <a:ext cx="487421" cy="451322"/>
          </a:xfrm>
          <a:custGeom>
            <a:avLst/>
            <a:gdLst/>
            <a:ahLst/>
            <a:cxnLst>
              <a:cxn ang="0">
                <a:pos x="243" y="80"/>
              </a:cxn>
              <a:cxn ang="0">
                <a:pos x="239" y="70"/>
              </a:cxn>
              <a:cxn ang="0">
                <a:pos x="235" y="60"/>
              </a:cxn>
              <a:cxn ang="0">
                <a:pos x="237" y="52"/>
              </a:cxn>
              <a:cxn ang="0">
                <a:pos x="241" y="44"/>
              </a:cxn>
              <a:cxn ang="0">
                <a:pos x="235" y="40"/>
              </a:cxn>
              <a:cxn ang="0">
                <a:pos x="237" y="34"/>
              </a:cxn>
              <a:cxn ang="0">
                <a:pos x="215" y="20"/>
              </a:cxn>
              <a:cxn ang="0">
                <a:pos x="203" y="12"/>
              </a:cxn>
              <a:cxn ang="0">
                <a:pos x="193" y="4"/>
              </a:cxn>
              <a:cxn ang="0">
                <a:pos x="181" y="6"/>
              </a:cxn>
              <a:cxn ang="0">
                <a:pos x="163" y="20"/>
              </a:cxn>
              <a:cxn ang="0">
                <a:pos x="161" y="28"/>
              </a:cxn>
              <a:cxn ang="0">
                <a:pos x="163" y="38"/>
              </a:cxn>
              <a:cxn ang="0">
                <a:pos x="163" y="44"/>
              </a:cxn>
              <a:cxn ang="0">
                <a:pos x="157" y="52"/>
              </a:cxn>
              <a:cxn ang="0">
                <a:pos x="145" y="54"/>
              </a:cxn>
              <a:cxn ang="0">
                <a:pos x="133" y="46"/>
              </a:cxn>
              <a:cxn ang="0">
                <a:pos x="115" y="38"/>
              </a:cxn>
              <a:cxn ang="0">
                <a:pos x="107" y="36"/>
              </a:cxn>
              <a:cxn ang="0">
                <a:pos x="99" y="34"/>
              </a:cxn>
              <a:cxn ang="0">
                <a:pos x="89" y="24"/>
              </a:cxn>
              <a:cxn ang="0">
                <a:pos x="81" y="16"/>
              </a:cxn>
              <a:cxn ang="0">
                <a:pos x="53" y="10"/>
              </a:cxn>
              <a:cxn ang="0">
                <a:pos x="30" y="0"/>
              </a:cxn>
              <a:cxn ang="0">
                <a:pos x="26" y="10"/>
              </a:cxn>
              <a:cxn ang="0">
                <a:pos x="26" y="18"/>
              </a:cxn>
              <a:cxn ang="0">
                <a:pos x="12" y="30"/>
              </a:cxn>
              <a:cxn ang="0">
                <a:pos x="8" y="40"/>
              </a:cxn>
              <a:cxn ang="0">
                <a:pos x="4" y="52"/>
              </a:cxn>
              <a:cxn ang="0">
                <a:pos x="0" y="62"/>
              </a:cxn>
              <a:cxn ang="0">
                <a:pos x="2" y="74"/>
              </a:cxn>
              <a:cxn ang="0">
                <a:pos x="4" y="88"/>
              </a:cxn>
              <a:cxn ang="0">
                <a:pos x="2" y="124"/>
              </a:cxn>
              <a:cxn ang="0">
                <a:pos x="2" y="136"/>
              </a:cxn>
              <a:cxn ang="0">
                <a:pos x="10" y="152"/>
              </a:cxn>
              <a:cxn ang="0">
                <a:pos x="18" y="162"/>
              </a:cxn>
              <a:cxn ang="0">
                <a:pos x="32" y="168"/>
              </a:cxn>
              <a:cxn ang="0">
                <a:pos x="40" y="182"/>
              </a:cxn>
              <a:cxn ang="0">
                <a:pos x="46" y="182"/>
              </a:cxn>
              <a:cxn ang="0">
                <a:pos x="61" y="184"/>
              </a:cxn>
              <a:cxn ang="0">
                <a:pos x="71" y="190"/>
              </a:cxn>
              <a:cxn ang="0">
                <a:pos x="105" y="182"/>
              </a:cxn>
              <a:cxn ang="0">
                <a:pos x="235" y="244"/>
              </a:cxn>
              <a:cxn ang="0">
                <a:pos x="247" y="206"/>
              </a:cxn>
            </a:cxnLst>
            <a:rect l="0" t="0" r="r" b="b"/>
            <a:pathLst>
              <a:path w="247" h="252">
                <a:moveTo>
                  <a:pt x="247" y="206"/>
                </a:moveTo>
                <a:lnTo>
                  <a:pt x="243" y="80"/>
                </a:lnTo>
                <a:lnTo>
                  <a:pt x="243" y="74"/>
                </a:lnTo>
                <a:lnTo>
                  <a:pt x="239" y="70"/>
                </a:lnTo>
                <a:lnTo>
                  <a:pt x="237" y="68"/>
                </a:lnTo>
                <a:lnTo>
                  <a:pt x="235" y="60"/>
                </a:lnTo>
                <a:lnTo>
                  <a:pt x="235" y="56"/>
                </a:lnTo>
                <a:lnTo>
                  <a:pt x="237" y="52"/>
                </a:lnTo>
                <a:lnTo>
                  <a:pt x="239" y="48"/>
                </a:lnTo>
                <a:lnTo>
                  <a:pt x="241" y="44"/>
                </a:lnTo>
                <a:lnTo>
                  <a:pt x="237" y="42"/>
                </a:lnTo>
                <a:lnTo>
                  <a:pt x="235" y="40"/>
                </a:lnTo>
                <a:lnTo>
                  <a:pt x="235" y="38"/>
                </a:lnTo>
                <a:lnTo>
                  <a:pt x="237" y="34"/>
                </a:lnTo>
                <a:lnTo>
                  <a:pt x="241" y="30"/>
                </a:lnTo>
                <a:lnTo>
                  <a:pt x="215" y="20"/>
                </a:lnTo>
                <a:lnTo>
                  <a:pt x="209" y="16"/>
                </a:lnTo>
                <a:lnTo>
                  <a:pt x="203" y="12"/>
                </a:lnTo>
                <a:lnTo>
                  <a:pt x="197" y="6"/>
                </a:lnTo>
                <a:lnTo>
                  <a:pt x="193" y="4"/>
                </a:lnTo>
                <a:lnTo>
                  <a:pt x="189" y="4"/>
                </a:lnTo>
                <a:lnTo>
                  <a:pt x="181" y="6"/>
                </a:lnTo>
                <a:lnTo>
                  <a:pt x="171" y="12"/>
                </a:lnTo>
                <a:lnTo>
                  <a:pt x="163" y="20"/>
                </a:lnTo>
                <a:lnTo>
                  <a:pt x="163" y="24"/>
                </a:lnTo>
                <a:lnTo>
                  <a:pt x="161" y="28"/>
                </a:lnTo>
                <a:lnTo>
                  <a:pt x="163" y="36"/>
                </a:lnTo>
                <a:lnTo>
                  <a:pt x="163" y="38"/>
                </a:lnTo>
                <a:lnTo>
                  <a:pt x="165" y="40"/>
                </a:lnTo>
                <a:lnTo>
                  <a:pt x="163" y="44"/>
                </a:lnTo>
                <a:lnTo>
                  <a:pt x="161" y="48"/>
                </a:lnTo>
                <a:lnTo>
                  <a:pt x="157" y="52"/>
                </a:lnTo>
                <a:lnTo>
                  <a:pt x="149" y="54"/>
                </a:lnTo>
                <a:lnTo>
                  <a:pt x="145" y="54"/>
                </a:lnTo>
                <a:lnTo>
                  <a:pt x="139" y="52"/>
                </a:lnTo>
                <a:lnTo>
                  <a:pt x="133" y="46"/>
                </a:lnTo>
                <a:lnTo>
                  <a:pt x="125" y="40"/>
                </a:lnTo>
                <a:lnTo>
                  <a:pt x="115" y="38"/>
                </a:lnTo>
                <a:lnTo>
                  <a:pt x="111" y="36"/>
                </a:lnTo>
                <a:lnTo>
                  <a:pt x="107" y="36"/>
                </a:lnTo>
                <a:lnTo>
                  <a:pt x="103" y="36"/>
                </a:lnTo>
                <a:lnTo>
                  <a:pt x="99" y="34"/>
                </a:lnTo>
                <a:lnTo>
                  <a:pt x="93" y="30"/>
                </a:lnTo>
                <a:lnTo>
                  <a:pt x="89" y="24"/>
                </a:lnTo>
                <a:lnTo>
                  <a:pt x="85" y="18"/>
                </a:lnTo>
                <a:lnTo>
                  <a:pt x="81" y="16"/>
                </a:lnTo>
                <a:lnTo>
                  <a:pt x="77" y="14"/>
                </a:lnTo>
                <a:lnTo>
                  <a:pt x="53" y="10"/>
                </a:lnTo>
                <a:lnTo>
                  <a:pt x="42" y="6"/>
                </a:lnTo>
                <a:lnTo>
                  <a:pt x="30" y="0"/>
                </a:lnTo>
                <a:lnTo>
                  <a:pt x="26" y="4"/>
                </a:lnTo>
                <a:lnTo>
                  <a:pt x="26" y="10"/>
                </a:lnTo>
                <a:lnTo>
                  <a:pt x="26" y="12"/>
                </a:lnTo>
                <a:lnTo>
                  <a:pt x="26" y="18"/>
                </a:lnTo>
                <a:lnTo>
                  <a:pt x="18" y="24"/>
                </a:lnTo>
                <a:lnTo>
                  <a:pt x="12" y="30"/>
                </a:lnTo>
                <a:lnTo>
                  <a:pt x="8" y="36"/>
                </a:lnTo>
                <a:lnTo>
                  <a:pt x="8" y="40"/>
                </a:lnTo>
                <a:lnTo>
                  <a:pt x="10" y="40"/>
                </a:lnTo>
                <a:lnTo>
                  <a:pt x="4" y="52"/>
                </a:lnTo>
                <a:lnTo>
                  <a:pt x="0" y="56"/>
                </a:lnTo>
                <a:lnTo>
                  <a:pt x="0" y="62"/>
                </a:lnTo>
                <a:lnTo>
                  <a:pt x="0" y="68"/>
                </a:lnTo>
                <a:lnTo>
                  <a:pt x="2" y="74"/>
                </a:lnTo>
                <a:lnTo>
                  <a:pt x="4" y="80"/>
                </a:lnTo>
                <a:lnTo>
                  <a:pt x="4" y="88"/>
                </a:lnTo>
                <a:lnTo>
                  <a:pt x="6" y="120"/>
                </a:lnTo>
                <a:lnTo>
                  <a:pt x="2" y="124"/>
                </a:lnTo>
                <a:lnTo>
                  <a:pt x="0" y="132"/>
                </a:lnTo>
                <a:lnTo>
                  <a:pt x="2" y="136"/>
                </a:lnTo>
                <a:lnTo>
                  <a:pt x="4" y="140"/>
                </a:lnTo>
                <a:lnTo>
                  <a:pt x="10" y="152"/>
                </a:lnTo>
                <a:lnTo>
                  <a:pt x="12" y="158"/>
                </a:lnTo>
                <a:lnTo>
                  <a:pt x="18" y="162"/>
                </a:lnTo>
                <a:lnTo>
                  <a:pt x="28" y="166"/>
                </a:lnTo>
                <a:lnTo>
                  <a:pt x="32" y="168"/>
                </a:lnTo>
                <a:lnTo>
                  <a:pt x="36" y="174"/>
                </a:lnTo>
                <a:lnTo>
                  <a:pt x="40" y="182"/>
                </a:lnTo>
                <a:lnTo>
                  <a:pt x="42" y="182"/>
                </a:lnTo>
                <a:lnTo>
                  <a:pt x="46" y="182"/>
                </a:lnTo>
                <a:lnTo>
                  <a:pt x="55" y="182"/>
                </a:lnTo>
                <a:lnTo>
                  <a:pt x="61" y="184"/>
                </a:lnTo>
                <a:lnTo>
                  <a:pt x="67" y="186"/>
                </a:lnTo>
                <a:lnTo>
                  <a:pt x="71" y="190"/>
                </a:lnTo>
                <a:lnTo>
                  <a:pt x="75" y="196"/>
                </a:lnTo>
                <a:lnTo>
                  <a:pt x="105" y="182"/>
                </a:lnTo>
                <a:lnTo>
                  <a:pt x="231" y="252"/>
                </a:lnTo>
                <a:lnTo>
                  <a:pt x="235" y="244"/>
                </a:lnTo>
                <a:lnTo>
                  <a:pt x="247" y="244"/>
                </a:lnTo>
                <a:lnTo>
                  <a:pt x="247" y="20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5" name="Freeform 85">
            <a:extLst>
              <a:ext uri="{FF2B5EF4-FFF2-40B4-BE49-F238E27FC236}">
                <a16:creationId xmlns:a16="http://schemas.microsoft.com/office/drawing/2014/main" id="{8B123172-5812-427A-B08F-F389D2BA3E15}"/>
              </a:ext>
            </a:extLst>
          </p:cNvPr>
          <p:cNvSpPr>
            <a:spLocks/>
          </p:cNvSpPr>
          <p:nvPr/>
        </p:nvSpPr>
        <p:spPr bwMode="auto">
          <a:xfrm>
            <a:off x="4349653" y="2631874"/>
            <a:ext cx="123138" cy="240272"/>
          </a:xfrm>
          <a:custGeom>
            <a:avLst/>
            <a:gdLst/>
            <a:ahLst/>
            <a:cxnLst>
              <a:cxn ang="0">
                <a:pos x="30" y="128"/>
              </a:cxn>
              <a:cxn ang="0">
                <a:pos x="30" y="130"/>
              </a:cxn>
              <a:cxn ang="0">
                <a:pos x="26" y="104"/>
              </a:cxn>
              <a:cxn ang="0">
                <a:pos x="22" y="98"/>
              </a:cxn>
              <a:cxn ang="0">
                <a:pos x="18" y="92"/>
              </a:cxn>
              <a:cxn ang="0">
                <a:pos x="14" y="86"/>
              </a:cxn>
              <a:cxn ang="0">
                <a:pos x="10" y="82"/>
              </a:cxn>
              <a:cxn ang="0">
                <a:pos x="8" y="78"/>
              </a:cxn>
              <a:cxn ang="0">
                <a:pos x="4" y="74"/>
              </a:cxn>
              <a:cxn ang="0">
                <a:pos x="0" y="68"/>
              </a:cxn>
              <a:cxn ang="0">
                <a:pos x="0" y="62"/>
              </a:cxn>
              <a:cxn ang="0">
                <a:pos x="0" y="58"/>
              </a:cxn>
              <a:cxn ang="0">
                <a:pos x="2" y="56"/>
              </a:cxn>
              <a:cxn ang="0">
                <a:pos x="6" y="54"/>
              </a:cxn>
              <a:cxn ang="0">
                <a:pos x="8" y="50"/>
              </a:cxn>
              <a:cxn ang="0">
                <a:pos x="10" y="42"/>
              </a:cxn>
              <a:cxn ang="0">
                <a:pos x="10" y="36"/>
              </a:cxn>
              <a:cxn ang="0">
                <a:pos x="10" y="24"/>
              </a:cxn>
              <a:cxn ang="0">
                <a:pos x="12" y="14"/>
              </a:cxn>
              <a:cxn ang="0">
                <a:pos x="14" y="4"/>
              </a:cxn>
              <a:cxn ang="0">
                <a:pos x="14" y="2"/>
              </a:cxn>
              <a:cxn ang="0">
                <a:pos x="20" y="0"/>
              </a:cxn>
              <a:cxn ang="0">
                <a:pos x="30" y="0"/>
              </a:cxn>
              <a:cxn ang="0">
                <a:pos x="34" y="0"/>
              </a:cxn>
              <a:cxn ang="0">
                <a:pos x="38" y="2"/>
              </a:cxn>
              <a:cxn ang="0">
                <a:pos x="42" y="2"/>
              </a:cxn>
              <a:cxn ang="0">
                <a:pos x="48" y="4"/>
              </a:cxn>
              <a:cxn ang="0">
                <a:pos x="46" y="8"/>
              </a:cxn>
              <a:cxn ang="0">
                <a:pos x="44" y="12"/>
              </a:cxn>
              <a:cxn ang="0">
                <a:pos x="44" y="16"/>
              </a:cxn>
              <a:cxn ang="0">
                <a:pos x="42" y="20"/>
              </a:cxn>
              <a:cxn ang="0">
                <a:pos x="44" y="24"/>
              </a:cxn>
              <a:cxn ang="0">
                <a:pos x="46" y="28"/>
              </a:cxn>
              <a:cxn ang="0">
                <a:pos x="50" y="30"/>
              </a:cxn>
              <a:cxn ang="0">
                <a:pos x="52" y="32"/>
              </a:cxn>
              <a:cxn ang="0">
                <a:pos x="50" y="42"/>
              </a:cxn>
              <a:cxn ang="0">
                <a:pos x="46" y="46"/>
              </a:cxn>
              <a:cxn ang="0">
                <a:pos x="42" y="52"/>
              </a:cxn>
              <a:cxn ang="0">
                <a:pos x="40" y="58"/>
              </a:cxn>
              <a:cxn ang="0">
                <a:pos x="42" y="60"/>
              </a:cxn>
              <a:cxn ang="0">
                <a:pos x="46" y="64"/>
              </a:cxn>
              <a:cxn ang="0">
                <a:pos x="54" y="66"/>
              </a:cxn>
              <a:cxn ang="0">
                <a:pos x="62" y="72"/>
              </a:cxn>
              <a:cxn ang="0">
                <a:pos x="58" y="76"/>
              </a:cxn>
              <a:cxn ang="0">
                <a:pos x="58" y="82"/>
              </a:cxn>
              <a:cxn ang="0">
                <a:pos x="58" y="84"/>
              </a:cxn>
              <a:cxn ang="0">
                <a:pos x="58" y="90"/>
              </a:cxn>
              <a:cxn ang="0">
                <a:pos x="50" y="96"/>
              </a:cxn>
              <a:cxn ang="0">
                <a:pos x="44" y="102"/>
              </a:cxn>
              <a:cxn ang="0">
                <a:pos x="40" y="108"/>
              </a:cxn>
              <a:cxn ang="0">
                <a:pos x="40" y="112"/>
              </a:cxn>
              <a:cxn ang="0">
                <a:pos x="42" y="112"/>
              </a:cxn>
              <a:cxn ang="0">
                <a:pos x="36" y="124"/>
              </a:cxn>
              <a:cxn ang="0">
                <a:pos x="32" y="128"/>
              </a:cxn>
              <a:cxn ang="0">
                <a:pos x="32" y="134"/>
              </a:cxn>
              <a:cxn ang="0">
                <a:pos x="30" y="128"/>
              </a:cxn>
            </a:cxnLst>
            <a:rect l="0" t="0" r="r" b="b"/>
            <a:pathLst>
              <a:path w="62" h="134">
                <a:moveTo>
                  <a:pt x="30" y="128"/>
                </a:moveTo>
                <a:lnTo>
                  <a:pt x="30" y="130"/>
                </a:lnTo>
                <a:lnTo>
                  <a:pt x="26" y="104"/>
                </a:lnTo>
                <a:lnTo>
                  <a:pt x="22" y="98"/>
                </a:lnTo>
                <a:lnTo>
                  <a:pt x="18" y="92"/>
                </a:lnTo>
                <a:lnTo>
                  <a:pt x="14" y="86"/>
                </a:lnTo>
                <a:lnTo>
                  <a:pt x="10" y="82"/>
                </a:lnTo>
                <a:lnTo>
                  <a:pt x="8" y="78"/>
                </a:lnTo>
                <a:lnTo>
                  <a:pt x="4" y="74"/>
                </a:lnTo>
                <a:lnTo>
                  <a:pt x="0" y="68"/>
                </a:lnTo>
                <a:lnTo>
                  <a:pt x="0" y="62"/>
                </a:lnTo>
                <a:lnTo>
                  <a:pt x="0" y="58"/>
                </a:lnTo>
                <a:lnTo>
                  <a:pt x="2" y="56"/>
                </a:lnTo>
                <a:lnTo>
                  <a:pt x="6" y="54"/>
                </a:lnTo>
                <a:lnTo>
                  <a:pt x="8" y="50"/>
                </a:lnTo>
                <a:lnTo>
                  <a:pt x="10" y="42"/>
                </a:lnTo>
                <a:lnTo>
                  <a:pt x="10" y="36"/>
                </a:lnTo>
                <a:lnTo>
                  <a:pt x="10" y="24"/>
                </a:lnTo>
                <a:lnTo>
                  <a:pt x="12" y="14"/>
                </a:lnTo>
                <a:lnTo>
                  <a:pt x="14" y="4"/>
                </a:lnTo>
                <a:lnTo>
                  <a:pt x="14" y="2"/>
                </a:lnTo>
                <a:lnTo>
                  <a:pt x="20" y="0"/>
                </a:lnTo>
                <a:lnTo>
                  <a:pt x="30" y="0"/>
                </a:lnTo>
                <a:lnTo>
                  <a:pt x="34" y="0"/>
                </a:lnTo>
                <a:lnTo>
                  <a:pt x="38" y="2"/>
                </a:lnTo>
                <a:lnTo>
                  <a:pt x="42" y="2"/>
                </a:lnTo>
                <a:lnTo>
                  <a:pt x="48" y="4"/>
                </a:lnTo>
                <a:lnTo>
                  <a:pt x="46" y="8"/>
                </a:lnTo>
                <a:lnTo>
                  <a:pt x="44" y="12"/>
                </a:lnTo>
                <a:lnTo>
                  <a:pt x="44" y="16"/>
                </a:lnTo>
                <a:lnTo>
                  <a:pt x="42" y="20"/>
                </a:lnTo>
                <a:lnTo>
                  <a:pt x="44" y="24"/>
                </a:lnTo>
                <a:lnTo>
                  <a:pt x="46" y="28"/>
                </a:lnTo>
                <a:lnTo>
                  <a:pt x="50" y="30"/>
                </a:lnTo>
                <a:lnTo>
                  <a:pt x="52" y="32"/>
                </a:lnTo>
                <a:lnTo>
                  <a:pt x="50" y="42"/>
                </a:lnTo>
                <a:lnTo>
                  <a:pt x="46" y="46"/>
                </a:lnTo>
                <a:lnTo>
                  <a:pt x="42" y="52"/>
                </a:lnTo>
                <a:lnTo>
                  <a:pt x="40" y="58"/>
                </a:lnTo>
                <a:lnTo>
                  <a:pt x="42" y="60"/>
                </a:lnTo>
                <a:lnTo>
                  <a:pt x="46" y="64"/>
                </a:lnTo>
                <a:lnTo>
                  <a:pt x="54" y="66"/>
                </a:lnTo>
                <a:lnTo>
                  <a:pt x="62" y="72"/>
                </a:lnTo>
                <a:lnTo>
                  <a:pt x="58" y="76"/>
                </a:lnTo>
                <a:lnTo>
                  <a:pt x="58" y="82"/>
                </a:lnTo>
                <a:lnTo>
                  <a:pt x="58" y="84"/>
                </a:lnTo>
                <a:lnTo>
                  <a:pt x="58" y="90"/>
                </a:lnTo>
                <a:lnTo>
                  <a:pt x="50" y="96"/>
                </a:lnTo>
                <a:lnTo>
                  <a:pt x="44" y="102"/>
                </a:lnTo>
                <a:lnTo>
                  <a:pt x="40" y="108"/>
                </a:lnTo>
                <a:lnTo>
                  <a:pt x="40" y="112"/>
                </a:lnTo>
                <a:lnTo>
                  <a:pt x="42" y="112"/>
                </a:lnTo>
                <a:lnTo>
                  <a:pt x="36" y="124"/>
                </a:lnTo>
                <a:lnTo>
                  <a:pt x="32" y="128"/>
                </a:lnTo>
                <a:lnTo>
                  <a:pt x="32" y="134"/>
                </a:lnTo>
                <a:lnTo>
                  <a:pt x="30" y="12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6" name="Freeform 86">
            <a:extLst>
              <a:ext uri="{FF2B5EF4-FFF2-40B4-BE49-F238E27FC236}">
                <a16:creationId xmlns:a16="http://schemas.microsoft.com/office/drawing/2014/main" id="{C7538D36-DD37-47B3-9FA1-78564B760267}"/>
              </a:ext>
            </a:extLst>
          </p:cNvPr>
          <p:cNvSpPr>
            <a:spLocks/>
          </p:cNvSpPr>
          <p:nvPr/>
        </p:nvSpPr>
        <p:spPr bwMode="auto">
          <a:xfrm>
            <a:off x="3865651" y="2635120"/>
            <a:ext cx="627662" cy="594186"/>
          </a:xfrm>
          <a:custGeom>
            <a:avLst/>
            <a:gdLst/>
            <a:ahLst/>
            <a:cxnLst>
              <a:cxn ang="0">
                <a:pos x="110" y="34"/>
              </a:cxn>
              <a:cxn ang="0">
                <a:pos x="124" y="26"/>
              </a:cxn>
              <a:cxn ang="0">
                <a:pos x="146" y="14"/>
              </a:cxn>
              <a:cxn ang="0">
                <a:pos x="186" y="4"/>
              </a:cxn>
              <a:cxn ang="0">
                <a:pos x="202" y="4"/>
              </a:cxn>
              <a:cxn ang="0">
                <a:pos x="210" y="8"/>
              </a:cxn>
              <a:cxn ang="0">
                <a:pos x="220" y="6"/>
              </a:cxn>
              <a:cxn ang="0">
                <a:pos x="224" y="2"/>
              </a:cxn>
              <a:cxn ang="0">
                <a:pos x="248" y="0"/>
              </a:cxn>
              <a:cxn ang="0">
                <a:pos x="258" y="10"/>
              </a:cxn>
              <a:cxn ang="0">
                <a:pos x="256" y="34"/>
              </a:cxn>
              <a:cxn ang="0">
                <a:pos x="254" y="48"/>
              </a:cxn>
              <a:cxn ang="0">
                <a:pos x="248" y="54"/>
              </a:cxn>
              <a:cxn ang="0">
                <a:pos x="246" y="60"/>
              </a:cxn>
              <a:cxn ang="0">
                <a:pos x="250" y="72"/>
              </a:cxn>
              <a:cxn ang="0">
                <a:pos x="256" y="80"/>
              </a:cxn>
              <a:cxn ang="0">
                <a:pos x="264" y="90"/>
              </a:cxn>
              <a:cxn ang="0">
                <a:pos x="272" y="102"/>
              </a:cxn>
              <a:cxn ang="0">
                <a:pos x="276" y="126"/>
              </a:cxn>
              <a:cxn ang="0">
                <a:pos x="278" y="138"/>
              </a:cxn>
              <a:cxn ang="0">
                <a:pos x="282" y="150"/>
              </a:cxn>
              <a:cxn ang="0">
                <a:pos x="284" y="190"/>
              </a:cxn>
              <a:cxn ang="0">
                <a:pos x="278" y="202"/>
              </a:cxn>
              <a:cxn ang="0">
                <a:pos x="282" y="210"/>
              </a:cxn>
              <a:cxn ang="0">
                <a:pos x="290" y="228"/>
              </a:cxn>
              <a:cxn ang="0">
                <a:pos x="306" y="236"/>
              </a:cxn>
              <a:cxn ang="0">
                <a:pos x="314" y="244"/>
              </a:cxn>
              <a:cxn ang="0">
                <a:pos x="248" y="300"/>
              </a:cxn>
              <a:cxn ang="0">
                <a:pos x="182" y="332"/>
              </a:cxn>
              <a:cxn ang="0">
                <a:pos x="170" y="314"/>
              </a:cxn>
              <a:cxn ang="0">
                <a:pos x="152" y="302"/>
              </a:cxn>
              <a:cxn ang="0">
                <a:pos x="148" y="294"/>
              </a:cxn>
              <a:cxn ang="0">
                <a:pos x="0" y="160"/>
              </a:cxn>
              <a:cxn ang="0">
                <a:pos x="18" y="144"/>
              </a:cxn>
              <a:cxn ang="0">
                <a:pos x="48" y="132"/>
              </a:cxn>
              <a:cxn ang="0">
                <a:pos x="56" y="124"/>
              </a:cxn>
              <a:cxn ang="0">
                <a:pos x="66" y="116"/>
              </a:cxn>
              <a:cxn ang="0">
                <a:pos x="72" y="112"/>
              </a:cxn>
              <a:cxn ang="0">
                <a:pos x="72" y="102"/>
              </a:cxn>
              <a:cxn ang="0">
                <a:pos x="84" y="96"/>
              </a:cxn>
              <a:cxn ang="0">
                <a:pos x="96" y="92"/>
              </a:cxn>
              <a:cxn ang="0">
                <a:pos x="110" y="92"/>
              </a:cxn>
              <a:cxn ang="0">
                <a:pos x="112" y="86"/>
              </a:cxn>
              <a:cxn ang="0">
                <a:pos x="96" y="36"/>
              </a:cxn>
            </a:cxnLst>
            <a:rect l="0" t="0" r="r" b="b"/>
            <a:pathLst>
              <a:path w="318" h="332">
                <a:moveTo>
                  <a:pt x="98" y="36"/>
                </a:moveTo>
                <a:lnTo>
                  <a:pt x="110" y="34"/>
                </a:lnTo>
                <a:lnTo>
                  <a:pt x="116" y="30"/>
                </a:lnTo>
                <a:lnTo>
                  <a:pt x="124" y="26"/>
                </a:lnTo>
                <a:lnTo>
                  <a:pt x="132" y="20"/>
                </a:lnTo>
                <a:lnTo>
                  <a:pt x="146" y="14"/>
                </a:lnTo>
                <a:lnTo>
                  <a:pt x="166" y="8"/>
                </a:lnTo>
                <a:lnTo>
                  <a:pt x="186" y="4"/>
                </a:lnTo>
                <a:lnTo>
                  <a:pt x="198" y="4"/>
                </a:lnTo>
                <a:lnTo>
                  <a:pt x="202" y="4"/>
                </a:lnTo>
                <a:lnTo>
                  <a:pt x="206" y="6"/>
                </a:lnTo>
                <a:lnTo>
                  <a:pt x="210" y="8"/>
                </a:lnTo>
                <a:lnTo>
                  <a:pt x="214" y="8"/>
                </a:lnTo>
                <a:lnTo>
                  <a:pt x="220" y="6"/>
                </a:lnTo>
                <a:lnTo>
                  <a:pt x="222" y="4"/>
                </a:lnTo>
                <a:lnTo>
                  <a:pt x="224" y="2"/>
                </a:lnTo>
                <a:lnTo>
                  <a:pt x="230" y="0"/>
                </a:lnTo>
                <a:lnTo>
                  <a:pt x="248" y="0"/>
                </a:lnTo>
                <a:lnTo>
                  <a:pt x="260" y="0"/>
                </a:lnTo>
                <a:lnTo>
                  <a:pt x="258" y="10"/>
                </a:lnTo>
                <a:lnTo>
                  <a:pt x="256" y="22"/>
                </a:lnTo>
                <a:lnTo>
                  <a:pt x="256" y="34"/>
                </a:lnTo>
                <a:lnTo>
                  <a:pt x="256" y="40"/>
                </a:lnTo>
                <a:lnTo>
                  <a:pt x="254" y="48"/>
                </a:lnTo>
                <a:lnTo>
                  <a:pt x="252" y="52"/>
                </a:lnTo>
                <a:lnTo>
                  <a:pt x="248" y="54"/>
                </a:lnTo>
                <a:lnTo>
                  <a:pt x="246" y="56"/>
                </a:lnTo>
                <a:lnTo>
                  <a:pt x="246" y="60"/>
                </a:lnTo>
                <a:lnTo>
                  <a:pt x="246" y="66"/>
                </a:lnTo>
                <a:lnTo>
                  <a:pt x="250" y="72"/>
                </a:lnTo>
                <a:lnTo>
                  <a:pt x="254" y="76"/>
                </a:lnTo>
                <a:lnTo>
                  <a:pt x="256" y="80"/>
                </a:lnTo>
                <a:lnTo>
                  <a:pt x="260" y="84"/>
                </a:lnTo>
                <a:lnTo>
                  <a:pt x="264" y="90"/>
                </a:lnTo>
                <a:lnTo>
                  <a:pt x="268" y="96"/>
                </a:lnTo>
                <a:lnTo>
                  <a:pt x="272" y="102"/>
                </a:lnTo>
                <a:lnTo>
                  <a:pt x="276" y="128"/>
                </a:lnTo>
                <a:lnTo>
                  <a:pt x="276" y="126"/>
                </a:lnTo>
                <a:lnTo>
                  <a:pt x="278" y="132"/>
                </a:lnTo>
                <a:lnTo>
                  <a:pt x="278" y="138"/>
                </a:lnTo>
                <a:lnTo>
                  <a:pt x="280" y="144"/>
                </a:lnTo>
                <a:lnTo>
                  <a:pt x="282" y="150"/>
                </a:lnTo>
                <a:lnTo>
                  <a:pt x="282" y="158"/>
                </a:lnTo>
                <a:lnTo>
                  <a:pt x="284" y="190"/>
                </a:lnTo>
                <a:lnTo>
                  <a:pt x="280" y="194"/>
                </a:lnTo>
                <a:lnTo>
                  <a:pt x="278" y="202"/>
                </a:lnTo>
                <a:lnTo>
                  <a:pt x="280" y="206"/>
                </a:lnTo>
                <a:lnTo>
                  <a:pt x="282" y="210"/>
                </a:lnTo>
                <a:lnTo>
                  <a:pt x="288" y="222"/>
                </a:lnTo>
                <a:lnTo>
                  <a:pt x="290" y="228"/>
                </a:lnTo>
                <a:lnTo>
                  <a:pt x="296" y="232"/>
                </a:lnTo>
                <a:lnTo>
                  <a:pt x="306" y="236"/>
                </a:lnTo>
                <a:lnTo>
                  <a:pt x="310" y="238"/>
                </a:lnTo>
                <a:lnTo>
                  <a:pt x="314" y="244"/>
                </a:lnTo>
                <a:lnTo>
                  <a:pt x="318" y="252"/>
                </a:lnTo>
                <a:lnTo>
                  <a:pt x="248" y="300"/>
                </a:lnTo>
                <a:lnTo>
                  <a:pt x="220" y="328"/>
                </a:lnTo>
                <a:lnTo>
                  <a:pt x="182" y="332"/>
                </a:lnTo>
                <a:lnTo>
                  <a:pt x="182" y="318"/>
                </a:lnTo>
                <a:lnTo>
                  <a:pt x="170" y="314"/>
                </a:lnTo>
                <a:lnTo>
                  <a:pt x="160" y="310"/>
                </a:lnTo>
                <a:lnTo>
                  <a:pt x="152" y="302"/>
                </a:lnTo>
                <a:lnTo>
                  <a:pt x="148" y="298"/>
                </a:lnTo>
                <a:lnTo>
                  <a:pt x="148" y="294"/>
                </a:lnTo>
                <a:lnTo>
                  <a:pt x="0" y="182"/>
                </a:lnTo>
                <a:lnTo>
                  <a:pt x="0" y="160"/>
                </a:lnTo>
                <a:lnTo>
                  <a:pt x="8" y="148"/>
                </a:lnTo>
                <a:lnTo>
                  <a:pt x="18" y="144"/>
                </a:lnTo>
                <a:lnTo>
                  <a:pt x="32" y="138"/>
                </a:lnTo>
                <a:lnTo>
                  <a:pt x="48" y="132"/>
                </a:lnTo>
                <a:lnTo>
                  <a:pt x="54" y="128"/>
                </a:lnTo>
                <a:lnTo>
                  <a:pt x="56" y="124"/>
                </a:lnTo>
                <a:lnTo>
                  <a:pt x="60" y="118"/>
                </a:lnTo>
                <a:lnTo>
                  <a:pt x="66" y="116"/>
                </a:lnTo>
                <a:lnTo>
                  <a:pt x="70" y="114"/>
                </a:lnTo>
                <a:lnTo>
                  <a:pt x="72" y="112"/>
                </a:lnTo>
                <a:lnTo>
                  <a:pt x="72" y="110"/>
                </a:lnTo>
                <a:lnTo>
                  <a:pt x="72" y="102"/>
                </a:lnTo>
                <a:lnTo>
                  <a:pt x="80" y="100"/>
                </a:lnTo>
                <a:lnTo>
                  <a:pt x="84" y="96"/>
                </a:lnTo>
                <a:lnTo>
                  <a:pt x="90" y="92"/>
                </a:lnTo>
                <a:lnTo>
                  <a:pt x="96" y="92"/>
                </a:lnTo>
                <a:lnTo>
                  <a:pt x="106" y="92"/>
                </a:lnTo>
                <a:lnTo>
                  <a:pt x="110" y="92"/>
                </a:lnTo>
                <a:lnTo>
                  <a:pt x="112" y="90"/>
                </a:lnTo>
                <a:lnTo>
                  <a:pt x="112" y="86"/>
                </a:lnTo>
                <a:lnTo>
                  <a:pt x="104" y="60"/>
                </a:lnTo>
                <a:lnTo>
                  <a:pt x="96" y="36"/>
                </a:lnTo>
                <a:lnTo>
                  <a:pt x="98" y="3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7" name="Freeform 87">
            <a:extLst>
              <a:ext uri="{FF2B5EF4-FFF2-40B4-BE49-F238E27FC236}">
                <a16:creationId xmlns:a16="http://schemas.microsoft.com/office/drawing/2014/main" id="{CC324E08-70A4-4872-A112-5E2AA33C5EA6}"/>
              </a:ext>
            </a:extLst>
          </p:cNvPr>
          <p:cNvSpPr>
            <a:spLocks/>
          </p:cNvSpPr>
          <p:nvPr/>
        </p:nvSpPr>
        <p:spPr bwMode="auto">
          <a:xfrm>
            <a:off x="3728831" y="2678957"/>
            <a:ext cx="355732" cy="274365"/>
          </a:xfrm>
          <a:custGeom>
            <a:avLst/>
            <a:gdLst/>
            <a:ahLst/>
            <a:cxnLst>
              <a:cxn ang="0">
                <a:pos x="68" y="152"/>
              </a:cxn>
              <a:cxn ang="0">
                <a:pos x="68" y="136"/>
              </a:cxn>
              <a:cxn ang="0">
                <a:pos x="76" y="124"/>
              </a:cxn>
              <a:cxn ang="0">
                <a:pos x="86" y="120"/>
              </a:cxn>
              <a:cxn ang="0">
                <a:pos x="100" y="114"/>
              </a:cxn>
              <a:cxn ang="0">
                <a:pos x="116" y="108"/>
              </a:cxn>
              <a:cxn ang="0">
                <a:pos x="122" y="104"/>
              </a:cxn>
              <a:cxn ang="0">
                <a:pos x="124" y="100"/>
              </a:cxn>
              <a:cxn ang="0">
                <a:pos x="128" y="94"/>
              </a:cxn>
              <a:cxn ang="0">
                <a:pos x="134" y="92"/>
              </a:cxn>
              <a:cxn ang="0">
                <a:pos x="138" y="90"/>
              </a:cxn>
              <a:cxn ang="0">
                <a:pos x="140" y="88"/>
              </a:cxn>
              <a:cxn ang="0">
                <a:pos x="140" y="86"/>
              </a:cxn>
              <a:cxn ang="0">
                <a:pos x="140" y="78"/>
              </a:cxn>
              <a:cxn ang="0">
                <a:pos x="148" y="76"/>
              </a:cxn>
              <a:cxn ang="0">
                <a:pos x="152" y="72"/>
              </a:cxn>
              <a:cxn ang="0">
                <a:pos x="158" y="68"/>
              </a:cxn>
              <a:cxn ang="0">
                <a:pos x="164" y="68"/>
              </a:cxn>
              <a:cxn ang="0">
                <a:pos x="174" y="68"/>
              </a:cxn>
              <a:cxn ang="0">
                <a:pos x="178" y="68"/>
              </a:cxn>
              <a:cxn ang="0">
                <a:pos x="180" y="66"/>
              </a:cxn>
              <a:cxn ang="0">
                <a:pos x="180" y="62"/>
              </a:cxn>
              <a:cxn ang="0">
                <a:pos x="172" y="36"/>
              </a:cxn>
              <a:cxn ang="0">
                <a:pos x="164" y="12"/>
              </a:cxn>
              <a:cxn ang="0">
                <a:pos x="166" y="12"/>
              </a:cxn>
              <a:cxn ang="0">
                <a:pos x="148" y="14"/>
              </a:cxn>
              <a:cxn ang="0">
                <a:pos x="136" y="12"/>
              </a:cxn>
              <a:cxn ang="0">
                <a:pos x="126" y="10"/>
              </a:cxn>
              <a:cxn ang="0">
                <a:pos x="124" y="8"/>
              </a:cxn>
              <a:cxn ang="0">
                <a:pos x="124" y="4"/>
              </a:cxn>
              <a:cxn ang="0">
                <a:pos x="122" y="2"/>
              </a:cxn>
              <a:cxn ang="0">
                <a:pos x="118" y="0"/>
              </a:cxn>
              <a:cxn ang="0">
                <a:pos x="114" y="2"/>
              </a:cxn>
              <a:cxn ang="0">
                <a:pos x="110" y="4"/>
              </a:cxn>
              <a:cxn ang="0">
                <a:pos x="106" y="14"/>
              </a:cxn>
              <a:cxn ang="0">
                <a:pos x="102" y="26"/>
              </a:cxn>
              <a:cxn ang="0">
                <a:pos x="98" y="32"/>
              </a:cxn>
              <a:cxn ang="0">
                <a:pos x="92" y="40"/>
              </a:cxn>
              <a:cxn ang="0">
                <a:pos x="82" y="44"/>
              </a:cxn>
              <a:cxn ang="0">
                <a:pos x="74" y="52"/>
              </a:cxn>
              <a:cxn ang="0">
                <a:pos x="66" y="58"/>
              </a:cxn>
              <a:cxn ang="0">
                <a:pos x="62" y="64"/>
              </a:cxn>
              <a:cxn ang="0">
                <a:pos x="60" y="70"/>
              </a:cxn>
              <a:cxn ang="0">
                <a:pos x="60" y="82"/>
              </a:cxn>
              <a:cxn ang="0">
                <a:pos x="58" y="94"/>
              </a:cxn>
              <a:cxn ang="0">
                <a:pos x="54" y="108"/>
              </a:cxn>
              <a:cxn ang="0">
                <a:pos x="50" y="114"/>
              </a:cxn>
              <a:cxn ang="0">
                <a:pos x="44" y="118"/>
              </a:cxn>
              <a:cxn ang="0">
                <a:pos x="32" y="130"/>
              </a:cxn>
              <a:cxn ang="0">
                <a:pos x="24" y="136"/>
              </a:cxn>
              <a:cxn ang="0">
                <a:pos x="18" y="140"/>
              </a:cxn>
              <a:cxn ang="0">
                <a:pos x="12" y="142"/>
              </a:cxn>
              <a:cxn ang="0">
                <a:pos x="4" y="146"/>
              </a:cxn>
              <a:cxn ang="0">
                <a:pos x="0" y="154"/>
              </a:cxn>
              <a:cxn ang="0">
                <a:pos x="68" y="152"/>
              </a:cxn>
            </a:cxnLst>
            <a:rect l="0" t="0" r="r" b="b"/>
            <a:pathLst>
              <a:path w="180" h="154">
                <a:moveTo>
                  <a:pt x="68" y="152"/>
                </a:moveTo>
                <a:lnTo>
                  <a:pt x="68" y="136"/>
                </a:lnTo>
                <a:lnTo>
                  <a:pt x="76" y="124"/>
                </a:lnTo>
                <a:lnTo>
                  <a:pt x="86" y="120"/>
                </a:lnTo>
                <a:lnTo>
                  <a:pt x="100" y="114"/>
                </a:lnTo>
                <a:lnTo>
                  <a:pt x="116" y="108"/>
                </a:lnTo>
                <a:lnTo>
                  <a:pt x="122" y="104"/>
                </a:lnTo>
                <a:lnTo>
                  <a:pt x="124" y="100"/>
                </a:lnTo>
                <a:lnTo>
                  <a:pt x="128" y="94"/>
                </a:lnTo>
                <a:lnTo>
                  <a:pt x="134" y="92"/>
                </a:lnTo>
                <a:lnTo>
                  <a:pt x="138" y="90"/>
                </a:lnTo>
                <a:lnTo>
                  <a:pt x="140" y="88"/>
                </a:lnTo>
                <a:lnTo>
                  <a:pt x="140" y="86"/>
                </a:lnTo>
                <a:lnTo>
                  <a:pt x="140" y="78"/>
                </a:lnTo>
                <a:lnTo>
                  <a:pt x="148" y="76"/>
                </a:lnTo>
                <a:lnTo>
                  <a:pt x="152" y="72"/>
                </a:lnTo>
                <a:lnTo>
                  <a:pt x="158" y="68"/>
                </a:lnTo>
                <a:lnTo>
                  <a:pt x="164" y="68"/>
                </a:lnTo>
                <a:lnTo>
                  <a:pt x="174" y="68"/>
                </a:lnTo>
                <a:lnTo>
                  <a:pt x="178" y="68"/>
                </a:lnTo>
                <a:lnTo>
                  <a:pt x="180" y="66"/>
                </a:lnTo>
                <a:lnTo>
                  <a:pt x="180" y="62"/>
                </a:lnTo>
                <a:lnTo>
                  <a:pt x="172" y="36"/>
                </a:lnTo>
                <a:lnTo>
                  <a:pt x="164" y="12"/>
                </a:lnTo>
                <a:lnTo>
                  <a:pt x="166" y="12"/>
                </a:lnTo>
                <a:lnTo>
                  <a:pt x="148" y="14"/>
                </a:lnTo>
                <a:lnTo>
                  <a:pt x="136" y="12"/>
                </a:lnTo>
                <a:lnTo>
                  <a:pt x="126" y="10"/>
                </a:lnTo>
                <a:lnTo>
                  <a:pt x="124" y="8"/>
                </a:lnTo>
                <a:lnTo>
                  <a:pt x="124" y="4"/>
                </a:lnTo>
                <a:lnTo>
                  <a:pt x="122" y="2"/>
                </a:lnTo>
                <a:lnTo>
                  <a:pt x="118" y="0"/>
                </a:lnTo>
                <a:lnTo>
                  <a:pt x="114" y="2"/>
                </a:lnTo>
                <a:lnTo>
                  <a:pt x="110" y="4"/>
                </a:lnTo>
                <a:lnTo>
                  <a:pt x="106" y="14"/>
                </a:lnTo>
                <a:lnTo>
                  <a:pt x="102" y="26"/>
                </a:lnTo>
                <a:lnTo>
                  <a:pt x="98" y="32"/>
                </a:lnTo>
                <a:lnTo>
                  <a:pt x="92" y="40"/>
                </a:lnTo>
                <a:lnTo>
                  <a:pt x="82" y="44"/>
                </a:lnTo>
                <a:lnTo>
                  <a:pt x="74" y="52"/>
                </a:lnTo>
                <a:lnTo>
                  <a:pt x="66" y="58"/>
                </a:lnTo>
                <a:lnTo>
                  <a:pt x="62" y="64"/>
                </a:lnTo>
                <a:lnTo>
                  <a:pt x="60" y="70"/>
                </a:lnTo>
                <a:lnTo>
                  <a:pt x="60" y="82"/>
                </a:lnTo>
                <a:lnTo>
                  <a:pt x="58" y="94"/>
                </a:lnTo>
                <a:lnTo>
                  <a:pt x="54" y="108"/>
                </a:lnTo>
                <a:lnTo>
                  <a:pt x="50" y="114"/>
                </a:lnTo>
                <a:lnTo>
                  <a:pt x="44" y="118"/>
                </a:lnTo>
                <a:lnTo>
                  <a:pt x="32" y="130"/>
                </a:lnTo>
                <a:lnTo>
                  <a:pt x="24" y="136"/>
                </a:lnTo>
                <a:lnTo>
                  <a:pt x="18" y="140"/>
                </a:lnTo>
                <a:lnTo>
                  <a:pt x="12" y="142"/>
                </a:lnTo>
                <a:lnTo>
                  <a:pt x="4" y="146"/>
                </a:lnTo>
                <a:lnTo>
                  <a:pt x="0" y="154"/>
                </a:lnTo>
                <a:lnTo>
                  <a:pt x="68" y="15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Freeform 88">
            <a:extLst>
              <a:ext uri="{FF2B5EF4-FFF2-40B4-BE49-F238E27FC236}">
                <a16:creationId xmlns:a16="http://schemas.microsoft.com/office/drawing/2014/main" id="{525DE978-C91C-4EBB-B22E-3A4D281AC2AA}"/>
              </a:ext>
            </a:extLst>
          </p:cNvPr>
          <p:cNvSpPr>
            <a:spLocks/>
          </p:cNvSpPr>
          <p:nvPr/>
        </p:nvSpPr>
        <p:spPr bwMode="auto">
          <a:xfrm>
            <a:off x="3610826" y="2950075"/>
            <a:ext cx="249696" cy="207803"/>
          </a:xfrm>
          <a:custGeom>
            <a:avLst/>
            <a:gdLst/>
            <a:ahLst/>
            <a:cxnLst>
              <a:cxn ang="0">
                <a:pos x="126" y="0"/>
              </a:cxn>
              <a:cxn ang="0">
                <a:pos x="126" y="32"/>
              </a:cxn>
              <a:cxn ang="0">
                <a:pos x="76" y="32"/>
              </a:cxn>
              <a:cxn ang="0">
                <a:pos x="76" y="78"/>
              </a:cxn>
              <a:cxn ang="0">
                <a:pos x="66" y="82"/>
              </a:cxn>
              <a:cxn ang="0">
                <a:pos x="58" y="90"/>
              </a:cxn>
              <a:cxn ang="0">
                <a:pos x="56" y="116"/>
              </a:cxn>
              <a:cxn ang="0">
                <a:pos x="0" y="116"/>
              </a:cxn>
              <a:cxn ang="0">
                <a:pos x="0" y="108"/>
              </a:cxn>
              <a:cxn ang="0">
                <a:pos x="2" y="100"/>
              </a:cxn>
              <a:cxn ang="0">
                <a:pos x="10" y="88"/>
              </a:cxn>
              <a:cxn ang="0">
                <a:pos x="20" y="74"/>
              </a:cxn>
              <a:cxn ang="0">
                <a:pos x="24" y="66"/>
              </a:cxn>
              <a:cxn ang="0">
                <a:pos x="38" y="42"/>
              </a:cxn>
              <a:cxn ang="0">
                <a:pos x="50" y="20"/>
              </a:cxn>
              <a:cxn ang="0">
                <a:pos x="56" y="12"/>
              </a:cxn>
              <a:cxn ang="0">
                <a:pos x="60" y="2"/>
              </a:cxn>
              <a:cxn ang="0">
                <a:pos x="126" y="0"/>
              </a:cxn>
            </a:cxnLst>
            <a:rect l="0" t="0" r="r" b="b"/>
            <a:pathLst>
              <a:path w="126" h="116">
                <a:moveTo>
                  <a:pt x="126" y="0"/>
                </a:moveTo>
                <a:lnTo>
                  <a:pt x="126" y="32"/>
                </a:lnTo>
                <a:lnTo>
                  <a:pt x="76" y="32"/>
                </a:lnTo>
                <a:lnTo>
                  <a:pt x="76" y="78"/>
                </a:lnTo>
                <a:lnTo>
                  <a:pt x="66" y="82"/>
                </a:lnTo>
                <a:lnTo>
                  <a:pt x="58" y="90"/>
                </a:lnTo>
                <a:lnTo>
                  <a:pt x="56" y="116"/>
                </a:lnTo>
                <a:lnTo>
                  <a:pt x="0" y="116"/>
                </a:lnTo>
                <a:lnTo>
                  <a:pt x="0" y="108"/>
                </a:lnTo>
                <a:lnTo>
                  <a:pt x="2" y="100"/>
                </a:lnTo>
                <a:lnTo>
                  <a:pt x="10" y="88"/>
                </a:lnTo>
                <a:lnTo>
                  <a:pt x="20" y="74"/>
                </a:lnTo>
                <a:lnTo>
                  <a:pt x="24" y="66"/>
                </a:lnTo>
                <a:lnTo>
                  <a:pt x="38" y="42"/>
                </a:lnTo>
                <a:lnTo>
                  <a:pt x="50" y="20"/>
                </a:lnTo>
                <a:lnTo>
                  <a:pt x="56" y="12"/>
                </a:lnTo>
                <a:lnTo>
                  <a:pt x="60" y="2"/>
                </a:lnTo>
                <a:lnTo>
                  <a:pt x="12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9" name="Freeform 89">
            <a:extLst>
              <a:ext uri="{FF2B5EF4-FFF2-40B4-BE49-F238E27FC236}">
                <a16:creationId xmlns:a16="http://schemas.microsoft.com/office/drawing/2014/main" id="{73D0F48F-9A71-4C87-B196-788C1477FB30}"/>
              </a:ext>
            </a:extLst>
          </p:cNvPr>
          <p:cNvSpPr>
            <a:spLocks/>
          </p:cNvSpPr>
          <p:nvPr/>
        </p:nvSpPr>
        <p:spPr bwMode="auto">
          <a:xfrm>
            <a:off x="3610826" y="2950072"/>
            <a:ext cx="369415" cy="425346"/>
          </a:xfrm>
          <a:custGeom>
            <a:avLst/>
            <a:gdLst/>
            <a:ahLst/>
            <a:cxnLst>
              <a:cxn ang="0">
                <a:pos x="128" y="0"/>
              </a:cxn>
              <a:cxn ang="0">
                <a:pos x="126" y="0"/>
              </a:cxn>
              <a:cxn ang="0">
                <a:pos x="126" y="32"/>
              </a:cxn>
              <a:cxn ang="0">
                <a:pos x="76" y="32"/>
              </a:cxn>
              <a:cxn ang="0">
                <a:pos x="76" y="78"/>
              </a:cxn>
              <a:cxn ang="0">
                <a:pos x="66" y="82"/>
              </a:cxn>
              <a:cxn ang="0">
                <a:pos x="58" y="90"/>
              </a:cxn>
              <a:cxn ang="0">
                <a:pos x="56" y="116"/>
              </a:cxn>
              <a:cxn ang="0">
                <a:pos x="0" y="116"/>
              </a:cxn>
              <a:cxn ang="0">
                <a:pos x="2" y="124"/>
              </a:cxn>
              <a:cxn ang="0">
                <a:pos x="6" y="128"/>
              </a:cxn>
              <a:cxn ang="0">
                <a:pos x="10" y="134"/>
              </a:cxn>
              <a:cxn ang="0">
                <a:pos x="12" y="138"/>
              </a:cxn>
              <a:cxn ang="0">
                <a:pos x="10" y="142"/>
              </a:cxn>
              <a:cxn ang="0">
                <a:pos x="8" y="146"/>
              </a:cxn>
              <a:cxn ang="0">
                <a:pos x="6" y="150"/>
              </a:cxn>
              <a:cxn ang="0">
                <a:pos x="6" y="152"/>
              </a:cxn>
              <a:cxn ang="0">
                <a:pos x="6" y="156"/>
              </a:cxn>
              <a:cxn ang="0">
                <a:pos x="10" y="158"/>
              </a:cxn>
              <a:cxn ang="0">
                <a:pos x="14" y="166"/>
              </a:cxn>
              <a:cxn ang="0">
                <a:pos x="12" y="166"/>
              </a:cxn>
              <a:cxn ang="0">
                <a:pos x="14" y="176"/>
              </a:cxn>
              <a:cxn ang="0">
                <a:pos x="12" y="186"/>
              </a:cxn>
              <a:cxn ang="0">
                <a:pos x="10" y="196"/>
              </a:cxn>
              <a:cxn ang="0">
                <a:pos x="6" y="206"/>
              </a:cxn>
              <a:cxn ang="0">
                <a:pos x="10" y="206"/>
              </a:cxn>
              <a:cxn ang="0">
                <a:pos x="12" y="206"/>
              </a:cxn>
              <a:cxn ang="0">
                <a:pos x="16" y="206"/>
              </a:cxn>
              <a:cxn ang="0">
                <a:pos x="18" y="204"/>
              </a:cxn>
              <a:cxn ang="0">
                <a:pos x="22" y="202"/>
              </a:cxn>
              <a:cxn ang="0">
                <a:pos x="26" y="202"/>
              </a:cxn>
              <a:cxn ang="0">
                <a:pos x="34" y="204"/>
              </a:cxn>
              <a:cxn ang="0">
                <a:pos x="42" y="208"/>
              </a:cxn>
              <a:cxn ang="0">
                <a:pos x="48" y="210"/>
              </a:cxn>
              <a:cxn ang="0">
                <a:pos x="50" y="216"/>
              </a:cxn>
              <a:cxn ang="0">
                <a:pos x="60" y="230"/>
              </a:cxn>
              <a:cxn ang="0">
                <a:pos x="64" y="234"/>
              </a:cxn>
              <a:cxn ang="0">
                <a:pos x="70" y="238"/>
              </a:cxn>
              <a:cxn ang="0">
                <a:pos x="76" y="228"/>
              </a:cxn>
              <a:cxn ang="0">
                <a:pos x="78" y="222"/>
              </a:cxn>
              <a:cxn ang="0">
                <a:pos x="82" y="222"/>
              </a:cxn>
              <a:cxn ang="0">
                <a:pos x="88" y="220"/>
              </a:cxn>
              <a:cxn ang="0">
                <a:pos x="86" y="226"/>
              </a:cxn>
              <a:cxn ang="0">
                <a:pos x="88" y="230"/>
              </a:cxn>
              <a:cxn ang="0">
                <a:pos x="92" y="224"/>
              </a:cxn>
              <a:cxn ang="0">
                <a:pos x="94" y="224"/>
              </a:cxn>
              <a:cxn ang="0">
                <a:pos x="96" y="222"/>
              </a:cxn>
              <a:cxn ang="0">
                <a:pos x="98" y="224"/>
              </a:cxn>
              <a:cxn ang="0">
                <a:pos x="100" y="226"/>
              </a:cxn>
              <a:cxn ang="0">
                <a:pos x="102" y="228"/>
              </a:cxn>
              <a:cxn ang="0">
                <a:pos x="106" y="226"/>
              </a:cxn>
              <a:cxn ang="0">
                <a:pos x="110" y="224"/>
              </a:cxn>
              <a:cxn ang="0">
                <a:pos x="172" y="224"/>
              </a:cxn>
              <a:cxn ang="0">
                <a:pos x="174" y="216"/>
              </a:cxn>
              <a:cxn ang="0">
                <a:pos x="176" y="208"/>
              </a:cxn>
              <a:cxn ang="0">
                <a:pos x="172" y="208"/>
              </a:cxn>
              <a:cxn ang="0">
                <a:pos x="170" y="206"/>
              </a:cxn>
              <a:cxn ang="0">
                <a:pos x="158" y="50"/>
              </a:cxn>
              <a:cxn ang="0">
                <a:pos x="186" y="50"/>
              </a:cxn>
              <a:cxn ang="0">
                <a:pos x="128" y="6"/>
              </a:cxn>
              <a:cxn ang="0">
                <a:pos x="128" y="0"/>
              </a:cxn>
            </a:cxnLst>
            <a:rect l="0" t="0" r="r" b="b"/>
            <a:pathLst>
              <a:path w="186" h="238">
                <a:moveTo>
                  <a:pt x="128" y="0"/>
                </a:moveTo>
                <a:lnTo>
                  <a:pt x="126" y="0"/>
                </a:lnTo>
                <a:lnTo>
                  <a:pt x="126" y="32"/>
                </a:lnTo>
                <a:lnTo>
                  <a:pt x="76" y="32"/>
                </a:lnTo>
                <a:lnTo>
                  <a:pt x="76" y="78"/>
                </a:lnTo>
                <a:lnTo>
                  <a:pt x="66" y="82"/>
                </a:lnTo>
                <a:lnTo>
                  <a:pt x="58" y="90"/>
                </a:lnTo>
                <a:lnTo>
                  <a:pt x="56" y="116"/>
                </a:lnTo>
                <a:lnTo>
                  <a:pt x="0" y="116"/>
                </a:lnTo>
                <a:lnTo>
                  <a:pt x="2" y="124"/>
                </a:lnTo>
                <a:lnTo>
                  <a:pt x="6" y="128"/>
                </a:lnTo>
                <a:lnTo>
                  <a:pt x="10" y="134"/>
                </a:lnTo>
                <a:lnTo>
                  <a:pt x="12" y="138"/>
                </a:lnTo>
                <a:lnTo>
                  <a:pt x="10" y="142"/>
                </a:lnTo>
                <a:lnTo>
                  <a:pt x="8" y="146"/>
                </a:lnTo>
                <a:lnTo>
                  <a:pt x="6" y="150"/>
                </a:lnTo>
                <a:lnTo>
                  <a:pt x="6" y="152"/>
                </a:lnTo>
                <a:lnTo>
                  <a:pt x="6" y="156"/>
                </a:lnTo>
                <a:lnTo>
                  <a:pt x="10" y="158"/>
                </a:lnTo>
                <a:lnTo>
                  <a:pt x="14" y="166"/>
                </a:lnTo>
                <a:lnTo>
                  <a:pt x="12" y="166"/>
                </a:lnTo>
                <a:lnTo>
                  <a:pt x="14" y="176"/>
                </a:lnTo>
                <a:lnTo>
                  <a:pt x="12" y="186"/>
                </a:lnTo>
                <a:lnTo>
                  <a:pt x="10" y="196"/>
                </a:lnTo>
                <a:lnTo>
                  <a:pt x="6" y="206"/>
                </a:lnTo>
                <a:lnTo>
                  <a:pt x="10" y="206"/>
                </a:lnTo>
                <a:lnTo>
                  <a:pt x="12" y="206"/>
                </a:lnTo>
                <a:lnTo>
                  <a:pt x="16" y="206"/>
                </a:lnTo>
                <a:lnTo>
                  <a:pt x="18" y="204"/>
                </a:lnTo>
                <a:lnTo>
                  <a:pt x="22" y="202"/>
                </a:lnTo>
                <a:lnTo>
                  <a:pt x="26" y="202"/>
                </a:lnTo>
                <a:lnTo>
                  <a:pt x="34" y="204"/>
                </a:lnTo>
                <a:lnTo>
                  <a:pt x="42" y="208"/>
                </a:lnTo>
                <a:lnTo>
                  <a:pt x="48" y="210"/>
                </a:lnTo>
                <a:lnTo>
                  <a:pt x="50" y="216"/>
                </a:lnTo>
                <a:lnTo>
                  <a:pt x="60" y="230"/>
                </a:lnTo>
                <a:lnTo>
                  <a:pt x="64" y="234"/>
                </a:lnTo>
                <a:lnTo>
                  <a:pt x="70" y="238"/>
                </a:lnTo>
                <a:lnTo>
                  <a:pt x="76" y="228"/>
                </a:lnTo>
                <a:lnTo>
                  <a:pt x="78" y="222"/>
                </a:lnTo>
                <a:lnTo>
                  <a:pt x="82" y="222"/>
                </a:lnTo>
                <a:lnTo>
                  <a:pt x="88" y="220"/>
                </a:lnTo>
                <a:lnTo>
                  <a:pt x="86" y="226"/>
                </a:lnTo>
                <a:lnTo>
                  <a:pt x="88" y="230"/>
                </a:lnTo>
                <a:lnTo>
                  <a:pt x="92" y="224"/>
                </a:lnTo>
                <a:lnTo>
                  <a:pt x="94" y="224"/>
                </a:lnTo>
                <a:lnTo>
                  <a:pt x="96" y="222"/>
                </a:lnTo>
                <a:lnTo>
                  <a:pt x="98" y="224"/>
                </a:lnTo>
                <a:lnTo>
                  <a:pt x="100" y="226"/>
                </a:lnTo>
                <a:lnTo>
                  <a:pt x="102" y="228"/>
                </a:lnTo>
                <a:lnTo>
                  <a:pt x="106" y="226"/>
                </a:lnTo>
                <a:lnTo>
                  <a:pt x="110" y="224"/>
                </a:lnTo>
                <a:lnTo>
                  <a:pt x="172" y="224"/>
                </a:lnTo>
                <a:lnTo>
                  <a:pt x="174" y="216"/>
                </a:lnTo>
                <a:lnTo>
                  <a:pt x="176" y="208"/>
                </a:lnTo>
                <a:lnTo>
                  <a:pt x="172" y="208"/>
                </a:lnTo>
                <a:lnTo>
                  <a:pt x="170" y="206"/>
                </a:lnTo>
                <a:lnTo>
                  <a:pt x="158" y="50"/>
                </a:lnTo>
                <a:lnTo>
                  <a:pt x="186" y="50"/>
                </a:lnTo>
                <a:lnTo>
                  <a:pt x="128" y="6"/>
                </a:lnTo>
                <a:lnTo>
                  <a:pt x="128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0" name="Freeform 90">
            <a:extLst>
              <a:ext uri="{FF2B5EF4-FFF2-40B4-BE49-F238E27FC236}">
                <a16:creationId xmlns:a16="http://schemas.microsoft.com/office/drawing/2014/main" id="{C9EE2A21-A30B-4DDC-93E9-220CDBF6C7BA}"/>
              </a:ext>
            </a:extLst>
          </p:cNvPr>
          <p:cNvSpPr>
            <a:spLocks/>
          </p:cNvSpPr>
          <p:nvPr/>
        </p:nvSpPr>
        <p:spPr bwMode="auto">
          <a:xfrm>
            <a:off x="3745934" y="3039365"/>
            <a:ext cx="504524" cy="482167"/>
          </a:xfrm>
          <a:custGeom>
            <a:avLst/>
            <a:gdLst/>
            <a:ahLst/>
            <a:cxnLst>
              <a:cxn ang="0">
                <a:pos x="8" y="178"/>
              </a:cxn>
              <a:cxn ang="0">
                <a:pos x="14" y="172"/>
              </a:cxn>
              <a:cxn ang="0">
                <a:pos x="18" y="176"/>
              </a:cxn>
              <a:cxn ang="0">
                <a:pos x="24" y="174"/>
              </a:cxn>
              <a:cxn ang="0">
                <a:pos x="28" y="172"/>
              </a:cxn>
              <a:cxn ang="0">
                <a:pos x="32" y="176"/>
              </a:cxn>
              <a:cxn ang="0">
                <a:pos x="38" y="176"/>
              </a:cxn>
              <a:cxn ang="0">
                <a:pos x="104" y="174"/>
              </a:cxn>
              <a:cxn ang="0">
                <a:pos x="108" y="158"/>
              </a:cxn>
              <a:cxn ang="0">
                <a:pos x="102" y="156"/>
              </a:cxn>
              <a:cxn ang="0">
                <a:pos x="118" y="0"/>
              </a:cxn>
              <a:cxn ang="0">
                <a:pos x="208" y="72"/>
              </a:cxn>
              <a:cxn ang="0">
                <a:pos x="220" y="84"/>
              </a:cxn>
              <a:cxn ang="0">
                <a:pos x="242" y="92"/>
              </a:cxn>
              <a:cxn ang="0">
                <a:pos x="256" y="104"/>
              </a:cxn>
              <a:cxn ang="0">
                <a:pos x="252" y="162"/>
              </a:cxn>
              <a:cxn ang="0">
                <a:pos x="240" y="174"/>
              </a:cxn>
              <a:cxn ang="0">
                <a:pos x="218" y="176"/>
              </a:cxn>
              <a:cxn ang="0">
                <a:pos x="186" y="184"/>
              </a:cxn>
              <a:cxn ang="0">
                <a:pos x="146" y="198"/>
              </a:cxn>
              <a:cxn ang="0">
                <a:pos x="142" y="206"/>
              </a:cxn>
              <a:cxn ang="0">
                <a:pos x="136" y="212"/>
              </a:cxn>
              <a:cxn ang="0">
                <a:pos x="124" y="212"/>
              </a:cxn>
              <a:cxn ang="0">
                <a:pos x="124" y="228"/>
              </a:cxn>
              <a:cxn ang="0">
                <a:pos x="116" y="236"/>
              </a:cxn>
              <a:cxn ang="0">
                <a:pos x="108" y="244"/>
              </a:cxn>
              <a:cxn ang="0">
                <a:pos x="106" y="256"/>
              </a:cxn>
              <a:cxn ang="0">
                <a:pos x="100" y="266"/>
              </a:cxn>
              <a:cxn ang="0">
                <a:pos x="90" y="264"/>
              </a:cxn>
              <a:cxn ang="0">
                <a:pos x="76" y="268"/>
              </a:cxn>
              <a:cxn ang="0">
                <a:pos x="64" y="268"/>
              </a:cxn>
              <a:cxn ang="0">
                <a:pos x="58" y="252"/>
              </a:cxn>
              <a:cxn ang="0">
                <a:pos x="50" y="234"/>
              </a:cxn>
              <a:cxn ang="0">
                <a:pos x="42" y="234"/>
              </a:cxn>
              <a:cxn ang="0">
                <a:pos x="34" y="236"/>
              </a:cxn>
              <a:cxn ang="0">
                <a:pos x="10" y="232"/>
              </a:cxn>
              <a:cxn ang="0">
                <a:pos x="10" y="218"/>
              </a:cxn>
              <a:cxn ang="0">
                <a:pos x="4" y="200"/>
              </a:cxn>
              <a:cxn ang="0">
                <a:pos x="2" y="186"/>
              </a:cxn>
            </a:cxnLst>
            <a:rect l="0" t="0" r="r" b="b"/>
            <a:pathLst>
              <a:path w="256" h="270">
                <a:moveTo>
                  <a:pt x="2" y="188"/>
                </a:moveTo>
                <a:lnTo>
                  <a:pt x="8" y="178"/>
                </a:lnTo>
                <a:lnTo>
                  <a:pt x="10" y="172"/>
                </a:lnTo>
                <a:lnTo>
                  <a:pt x="14" y="172"/>
                </a:lnTo>
                <a:lnTo>
                  <a:pt x="20" y="170"/>
                </a:lnTo>
                <a:lnTo>
                  <a:pt x="18" y="176"/>
                </a:lnTo>
                <a:lnTo>
                  <a:pt x="20" y="180"/>
                </a:lnTo>
                <a:lnTo>
                  <a:pt x="24" y="174"/>
                </a:lnTo>
                <a:lnTo>
                  <a:pt x="26" y="174"/>
                </a:lnTo>
                <a:lnTo>
                  <a:pt x="28" y="172"/>
                </a:lnTo>
                <a:lnTo>
                  <a:pt x="30" y="174"/>
                </a:lnTo>
                <a:lnTo>
                  <a:pt x="32" y="176"/>
                </a:lnTo>
                <a:lnTo>
                  <a:pt x="34" y="178"/>
                </a:lnTo>
                <a:lnTo>
                  <a:pt x="38" y="176"/>
                </a:lnTo>
                <a:lnTo>
                  <a:pt x="42" y="174"/>
                </a:lnTo>
                <a:lnTo>
                  <a:pt x="104" y="174"/>
                </a:lnTo>
                <a:lnTo>
                  <a:pt x="106" y="166"/>
                </a:lnTo>
                <a:lnTo>
                  <a:pt x="108" y="158"/>
                </a:lnTo>
                <a:lnTo>
                  <a:pt x="104" y="158"/>
                </a:lnTo>
                <a:lnTo>
                  <a:pt x="102" y="156"/>
                </a:lnTo>
                <a:lnTo>
                  <a:pt x="90" y="0"/>
                </a:lnTo>
                <a:lnTo>
                  <a:pt x="118" y="0"/>
                </a:lnTo>
                <a:lnTo>
                  <a:pt x="208" y="68"/>
                </a:lnTo>
                <a:lnTo>
                  <a:pt x="208" y="72"/>
                </a:lnTo>
                <a:lnTo>
                  <a:pt x="212" y="76"/>
                </a:lnTo>
                <a:lnTo>
                  <a:pt x="220" y="84"/>
                </a:lnTo>
                <a:lnTo>
                  <a:pt x="230" y="88"/>
                </a:lnTo>
                <a:lnTo>
                  <a:pt x="242" y="92"/>
                </a:lnTo>
                <a:lnTo>
                  <a:pt x="242" y="106"/>
                </a:lnTo>
                <a:lnTo>
                  <a:pt x="256" y="104"/>
                </a:lnTo>
                <a:lnTo>
                  <a:pt x="256" y="154"/>
                </a:lnTo>
                <a:lnTo>
                  <a:pt x="252" y="162"/>
                </a:lnTo>
                <a:lnTo>
                  <a:pt x="248" y="170"/>
                </a:lnTo>
                <a:lnTo>
                  <a:pt x="240" y="174"/>
                </a:lnTo>
                <a:lnTo>
                  <a:pt x="230" y="176"/>
                </a:lnTo>
                <a:lnTo>
                  <a:pt x="218" y="176"/>
                </a:lnTo>
                <a:lnTo>
                  <a:pt x="206" y="178"/>
                </a:lnTo>
                <a:lnTo>
                  <a:pt x="186" y="184"/>
                </a:lnTo>
                <a:lnTo>
                  <a:pt x="150" y="196"/>
                </a:lnTo>
                <a:lnTo>
                  <a:pt x="146" y="198"/>
                </a:lnTo>
                <a:lnTo>
                  <a:pt x="144" y="200"/>
                </a:lnTo>
                <a:lnTo>
                  <a:pt x="142" y="206"/>
                </a:lnTo>
                <a:lnTo>
                  <a:pt x="138" y="212"/>
                </a:lnTo>
                <a:lnTo>
                  <a:pt x="136" y="212"/>
                </a:lnTo>
                <a:lnTo>
                  <a:pt x="132" y="212"/>
                </a:lnTo>
                <a:lnTo>
                  <a:pt x="124" y="212"/>
                </a:lnTo>
                <a:lnTo>
                  <a:pt x="124" y="222"/>
                </a:lnTo>
                <a:lnTo>
                  <a:pt x="124" y="228"/>
                </a:lnTo>
                <a:lnTo>
                  <a:pt x="122" y="232"/>
                </a:lnTo>
                <a:lnTo>
                  <a:pt x="116" y="236"/>
                </a:lnTo>
                <a:lnTo>
                  <a:pt x="110" y="240"/>
                </a:lnTo>
                <a:lnTo>
                  <a:pt x="108" y="244"/>
                </a:lnTo>
                <a:lnTo>
                  <a:pt x="108" y="248"/>
                </a:lnTo>
                <a:lnTo>
                  <a:pt x="106" y="256"/>
                </a:lnTo>
                <a:lnTo>
                  <a:pt x="104" y="264"/>
                </a:lnTo>
                <a:lnTo>
                  <a:pt x="100" y="266"/>
                </a:lnTo>
                <a:lnTo>
                  <a:pt x="94" y="270"/>
                </a:lnTo>
                <a:lnTo>
                  <a:pt x="90" y="264"/>
                </a:lnTo>
                <a:lnTo>
                  <a:pt x="82" y="266"/>
                </a:lnTo>
                <a:lnTo>
                  <a:pt x="76" y="268"/>
                </a:lnTo>
                <a:lnTo>
                  <a:pt x="70" y="270"/>
                </a:lnTo>
                <a:lnTo>
                  <a:pt x="64" y="268"/>
                </a:lnTo>
                <a:lnTo>
                  <a:pt x="62" y="266"/>
                </a:lnTo>
                <a:lnTo>
                  <a:pt x="58" y="252"/>
                </a:lnTo>
                <a:lnTo>
                  <a:pt x="54" y="240"/>
                </a:lnTo>
                <a:lnTo>
                  <a:pt x="50" y="234"/>
                </a:lnTo>
                <a:lnTo>
                  <a:pt x="44" y="232"/>
                </a:lnTo>
                <a:lnTo>
                  <a:pt x="42" y="234"/>
                </a:lnTo>
                <a:lnTo>
                  <a:pt x="40" y="236"/>
                </a:lnTo>
                <a:lnTo>
                  <a:pt x="34" y="236"/>
                </a:lnTo>
                <a:lnTo>
                  <a:pt x="20" y="234"/>
                </a:lnTo>
                <a:lnTo>
                  <a:pt x="10" y="232"/>
                </a:lnTo>
                <a:lnTo>
                  <a:pt x="10" y="224"/>
                </a:lnTo>
                <a:lnTo>
                  <a:pt x="10" y="218"/>
                </a:lnTo>
                <a:lnTo>
                  <a:pt x="8" y="210"/>
                </a:lnTo>
                <a:lnTo>
                  <a:pt x="4" y="200"/>
                </a:lnTo>
                <a:lnTo>
                  <a:pt x="0" y="186"/>
                </a:lnTo>
                <a:lnTo>
                  <a:pt x="2" y="186"/>
                </a:lnTo>
                <a:lnTo>
                  <a:pt x="2" y="1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1" name="Freeform 91">
            <a:extLst>
              <a:ext uri="{FF2B5EF4-FFF2-40B4-BE49-F238E27FC236}">
                <a16:creationId xmlns:a16="http://schemas.microsoft.com/office/drawing/2014/main" id="{1F7B15B6-800F-4758-82B2-64FDE10997EB}"/>
              </a:ext>
            </a:extLst>
          </p:cNvPr>
          <p:cNvSpPr>
            <a:spLocks/>
          </p:cNvSpPr>
          <p:nvPr/>
        </p:nvSpPr>
        <p:spPr bwMode="auto">
          <a:xfrm>
            <a:off x="4129031" y="3086442"/>
            <a:ext cx="492552" cy="384760"/>
          </a:xfrm>
          <a:custGeom>
            <a:avLst/>
            <a:gdLst/>
            <a:ahLst/>
            <a:cxnLst>
              <a:cxn ang="0">
                <a:pos x="215" y="8"/>
              </a:cxn>
              <a:cxn ang="0">
                <a:pos x="205" y="2"/>
              </a:cxn>
              <a:cxn ang="0">
                <a:pos x="190" y="0"/>
              </a:cxn>
              <a:cxn ang="0">
                <a:pos x="184" y="0"/>
              </a:cxn>
              <a:cxn ang="0">
                <a:pos x="86" y="76"/>
              </a:cxn>
              <a:cxn ang="0">
                <a:pos x="62" y="128"/>
              </a:cxn>
              <a:cxn ang="0">
                <a:pos x="54" y="144"/>
              </a:cxn>
              <a:cxn ang="0">
                <a:pos x="36" y="150"/>
              </a:cxn>
              <a:cxn ang="0">
                <a:pos x="0" y="156"/>
              </a:cxn>
              <a:cxn ang="0">
                <a:pos x="4" y="172"/>
              </a:cxn>
              <a:cxn ang="0">
                <a:pos x="12" y="178"/>
              </a:cxn>
              <a:cxn ang="0">
                <a:pos x="14" y="186"/>
              </a:cxn>
              <a:cxn ang="0">
                <a:pos x="14" y="194"/>
              </a:cxn>
              <a:cxn ang="0">
                <a:pos x="24" y="198"/>
              </a:cxn>
              <a:cxn ang="0">
                <a:pos x="32" y="204"/>
              </a:cxn>
              <a:cxn ang="0">
                <a:pos x="42" y="206"/>
              </a:cxn>
              <a:cxn ang="0">
                <a:pos x="52" y="216"/>
              </a:cxn>
              <a:cxn ang="0">
                <a:pos x="60" y="188"/>
              </a:cxn>
              <a:cxn ang="0">
                <a:pos x="70" y="180"/>
              </a:cxn>
              <a:cxn ang="0">
                <a:pos x="86" y="176"/>
              </a:cxn>
              <a:cxn ang="0">
                <a:pos x="92" y="178"/>
              </a:cxn>
              <a:cxn ang="0">
                <a:pos x="104" y="188"/>
              </a:cxn>
              <a:cxn ang="0">
                <a:pos x="110" y="192"/>
              </a:cxn>
              <a:cxn ang="0">
                <a:pos x="114" y="188"/>
              </a:cxn>
              <a:cxn ang="0">
                <a:pos x="120" y="186"/>
              </a:cxn>
              <a:cxn ang="0">
                <a:pos x="132" y="190"/>
              </a:cxn>
              <a:cxn ang="0">
                <a:pos x="142" y="194"/>
              </a:cxn>
              <a:cxn ang="0">
                <a:pos x="156" y="188"/>
              </a:cxn>
              <a:cxn ang="0">
                <a:pos x="170" y="184"/>
              </a:cxn>
              <a:cxn ang="0">
                <a:pos x="180" y="186"/>
              </a:cxn>
              <a:cxn ang="0">
                <a:pos x="193" y="188"/>
              </a:cxn>
              <a:cxn ang="0">
                <a:pos x="203" y="184"/>
              </a:cxn>
              <a:cxn ang="0">
                <a:pos x="215" y="166"/>
              </a:cxn>
              <a:cxn ang="0">
                <a:pos x="221" y="150"/>
              </a:cxn>
              <a:cxn ang="0">
                <a:pos x="235" y="132"/>
              </a:cxn>
              <a:cxn ang="0">
                <a:pos x="243" y="118"/>
              </a:cxn>
              <a:cxn ang="0">
                <a:pos x="243" y="72"/>
              </a:cxn>
              <a:cxn ang="0">
                <a:pos x="247" y="64"/>
              </a:cxn>
              <a:cxn ang="0">
                <a:pos x="247" y="48"/>
              </a:cxn>
              <a:cxn ang="0">
                <a:pos x="235" y="22"/>
              </a:cxn>
              <a:cxn ang="0">
                <a:pos x="229" y="8"/>
              </a:cxn>
            </a:cxnLst>
            <a:rect l="0" t="0" r="r" b="b"/>
            <a:pathLst>
              <a:path w="249" h="216">
                <a:moveTo>
                  <a:pt x="219" y="14"/>
                </a:moveTo>
                <a:lnTo>
                  <a:pt x="215" y="8"/>
                </a:lnTo>
                <a:lnTo>
                  <a:pt x="211" y="4"/>
                </a:lnTo>
                <a:lnTo>
                  <a:pt x="205" y="2"/>
                </a:lnTo>
                <a:lnTo>
                  <a:pt x="199" y="0"/>
                </a:lnTo>
                <a:lnTo>
                  <a:pt x="190" y="0"/>
                </a:lnTo>
                <a:lnTo>
                  <a:pt x="186" y="0"/>
                </a:lnTo>
                <a:lnTo>
                  <a:pt x="184" y="0"/>
                </a:lnTo>
                <a:lnTo>
                  <a:pt x="114" y="48"/>
                </a:lnTo>
                <a:lnTo>
                  <a:pt x="86" y="76"/>
                </a:lnTo>
                <a:lnTo>
                  <a:pt x="62" y="78"/>
                </a:lnTo>
                <a:lnTo>
                  <a:pt x="62" y="128"/>
                </a:lnTo>
                <a:lnTo>
                  <a:pt x="58" y="136"/>
                </a:lnTo>
                <a:lnTo>
                  <a:pt x="54" y="144"/>
                </a:lnTo>
                <a:lnTo>
                  <a:pt x="46" y="148"/>
                </a:lnTo>
                <a:lnTo>
                  <a:pt x="36" y="150"/>
                </a:lnTo>
                <a:lnTo>
                  <a:pt x="16" y="152"/>
                </a:lnTo>
                <a:lnTo>
                  <a:pt x="0" y="156"/>
                </a:lnTo>
                <a:lnTo>
                  <a:pt x="0" y="166"/>
                </a:lnTo>
                <a:lnTo>
                  <a:pt x="4" y="172"/>
                </a:lnTo>
                <a:lnTo>
                  <a:pt x="8" y="174"/>
                </a:lnTo>
                <a:lnTo>
                  <a:pt x="12" y="178"/>
                </a:lnTo>
                <a:lnTo>
                  <a:pt x="14" y="182"/>
                </a:lnTo>
                <a:lnTo>
                  <a:pt x="14" y="186"/>
                </a:lnTo>
                <a:lnTo>
                  <a:pt x="14" y="190"/>
                </a:lnTo>
                <a:lnTo>
                  <a:pt x="14" y="194"/>
                </a:lnTo>
                <a:lnTo>
                  <a:pt x="18" y="198"/>
                </a:lnTo>
                <a:lnTo>
                  <a:pt x="24" y="198"/>
                </a:lnTo>
                <a:lnTo>
                  <a:pt x="30" y="200"/>
                </a:lnTo>
                <a:lnTo>
                  <a:pt x="32" y="204"/>
                </a:lnTo>
                <a:lnTo>
                  <a:pt x="32" y="206"/>
                </a:lnTo>
                <a:lnTo>
                  <a:pt x="42" y="206"/>
                </a:lnTo>
                <a:lnTo>
                  <a:pt x="46" y="212"/>
                </a:lnTo>
                <a:lnTo>
                  <a:pt x="52" y="216"/>
                </a:lnTo>
                <a:lnTo>
                  <a:pt x="56" y="202"/>
                </a:lnTo>
                <a:lnTo>
                  <a:pt x="60" y="188"/>
                </a:lnTo>
                <a:lnTo>
                  <a:pt x="64" y="184"/>
                </a:lnTo>
                <a:lnTo>
                  <a:pt x="70" y="180"/>
                </a:lnTo>
                <a:lnTo>
                  <a:pt x="76" y="176"/>
                </a:lnTo>
                <a:lnTo>
                  <a:pt x="86" y="176"/>
                </a:lnTo>
                <a:lnTo>
                  <a:pt x="88" y="176"/>
                </a:lnTo>
                <a:lnTo>
                  <a:pt x="92" y="178"/>
                </a:lnTo>
                <a:lnTo>
                  <a:pt x="98" y="184"/>
                </a:lnTo>
                <a:lnTo>
                  <a:pt x="104" y="188"/>
                </a:lnTo>
                <a:lnTo>
                  <a:pt x="106" y="190"/>
                </a:lnTo>
                <a:lnTo>
                  <a:pt x="110" y="192"/>
                </a:lnTo>
                <a:lnTo>
                  <a:pt x="114" y="190"/>
                </a:lnTo>
                <a:lnTo>
                  <a:pt x="114" y="188"/>
                </a:lnTo>
                <a:lnTo>
                  <a:pt x="116" y="186"/>
                </a:lnTo>
                <a:lnTo>
                  <a:pt x="120" y="186"/>
                </a:lnTo>
                <a:lnTo>
                  <a:pt x="128" y="186"/>
                </a:lnTo>
                <a:lnTo>
                  <a:pt x="132" y="190"/>
                </a:lnTo>
                <a:lnTo>
                  <a:pt x="136" y="192"/>
                </a:lnTo>
                <a:lnTo>
                  <a:pt x="142" y="194"/>
                </a:lnTo>
                <a:lnTo>
                  <a:pt x="150" y="192"/>
                </a:lnTo>
                <a:lnTo>
                  <a:pt x="156" y="188"/>
                </a:lnTo>
                <a:lnTo>
                  <a:pt x="162" y="186"/>
                </a:lnTo>
                <a:lnTo>
                  <a:pt x="170" y="184"/>
                </a:lnTo>
                <a:lnTo>
                  <a:pt x="176" y="184"/>
                </a:lnTo>
                <a:lnTo>
                  <a:pt x="180" y="186"/>
                </a:lnTo>
                <a:lnTo>
                  <a:pt x="184" y="186"/>
                </a:lnTo>
                <a:lnTo>
                  <a:pt x="193" y="188"/>
                </a:lnTo>
                <a:lnTo>
                  <a:pt x="197" y="186"/>
                </a:lnTo>
                <a:lnTo>
                  <a:pt x="203" y="184"/>
                </a:lnTo>
                <a:lnTo>
                  <a:pt x="213" y="176"/>
                </a:lnTo>
                <a:lnTo>
                  <a:pt x="215" y="166"/>
                </a:lnTo>
                <a:lnTo>
                  <a:pt x="217" y="158"/>
                </a:lnTo>
                <a:lnTo>
                  <a:pt x="221" y="150"/>
                </a:lnTo>
                <a:lnTo>
                  <a:pt x="225" y="144"/>
                </a:lnTo>
                <a:lnTo>
                  <a:pt x="235" y="132"/>
                </a:lnTo>
                <a:lnTo>
                  <a:pt x="239" y="126"/>
                </a:lnTo>
                <a:lnTo>
                  <a:pt x="243" y="118"/>
                </a:lnTo>
                <a:lnTo>
                  <a:pt x="243" y="76"/>
                </a:lnTo>
                <a:lnTo>
                  <a:pt x="243" y="72"/>
                </a:lnTo>
                <a:lnTo>
                  <a:pt x="245" y="68"/>
                </a:lnTo>
                <a:lnTo>
                  <a:pt x="247" y="64"/>
                </a:lnTo>
                <a:lnTo>
                  <a:pt x="249" y="58"/>
                </a:lnTo>
                <a:lnTo>
                  <a:pt x="247" y="48"/>
                </a:lnTo>
                <a:lnTo>
                  <a:pt x="241" y="34"/>
                </a:lnTo>
                <a:lnTo>
                  <a:pt x="235" y="22"/>
                </a:lnTo>
                <a:lnTo>
                  <a:pt x="231" y="8"/>
                </a:lnTo>
                <a:lnTo>
                  <a:pt x="229" y="8"/>
                </a:lnTo>
                <a:lnTo>
                  <a:pt x="219" y="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2" name="Freeform 92">
            <a:extLst>
              <a:ext uri="{FF2B5EF4-FFF2-40B4-BE49-F238E27FC236}">
                <a16:creationId xmlns:a16="http://schemas.microsoft.com/office/drawing/2014/main" id="{AAE15242-260F-4792-9F9B-052D6A9B8A4C}"/>
              </a:ext>
            </a:extLst>
          </p:cNvPr>
          <p:cNvSpPr>
            <a:spLocks/>
          </p:cNvSpPr>
          <p:nvPr/>
        </p:nvSpPr>
        <p:spPr bwMode="auto">
          <a:xfrm>
            <a:off x="4549751" y="3086445"/>
            <a:ext cx="331788" cy="524377"/>
          </a:xfrm>
          <a:custGeom>
            <a:avLst/>
            <a:gdLst/>
            <a:ahLst/>
            <a:cxnLst>
              <a:cxn ang="0">
                <a:pos x="168" y="138"/>
              </a:cxn>
              <a:cxn ang="0">
                <a:pos x="152" y="144"/>
              </a:cxn>
              <a:cxn ang="0">
                <a:pos x="146" y="158"/>
              </a:cxn>
              <a:cxn ang="0">
                <a:pos x="140" y="172"/>
              </a:cxn>
              <a:cxn ang="0">
                <a:pos x="138" y="194"/>
              </a:cxn>
              <a:cxn ang="0">
                <a:pos x="134" y="202"/>
              </a:cxn>
              <a:cxn ang="0">
                <a:pos x="144" y="206"/>
              </a:cxn>
              <a:cxn ang="0">
                <a:pos x="148" y="216"/>
              </a:cxn>
              <a:cxn ang="0">
                <a:pos x="152" y="228"/>
              </a:cxn>
              <a:cxn ang="0">
                <a:pos x="142" y="228"/>
              </a:cxn>
              <a:cxn ang="0">
                <a:pos x="130" y="238"/>
              </a:cxn>
              <a:cxn ang="0">
                <a:pos x="122" y="256"/>
              </a:cxn>
              <a:cxn ang="0">
                <a:pos x="118" y="260"/>
              </a:cxn>
              <a:cxn ang="0">
                <a:pos x="90" y="264"/>
              </a:cxn>
              <a:cxn ang="0">
                <a:pos x="86" y="276"/>
              </a:cxn>
              <a:cxn ang="0">
                <a:pos x="76" y="284"/>
              </a:cxn>
              <a:cxn ang="0">
                <a:pos x="52" y="290"/>
              </a:cxn>
              <a:cxn ang="0">
                <a:pos x="46" y="286"/>
              </a:cxn>
              <a:cxn ang="0">
                <a:pos x="38" y="292"/>
              </a:cxn>
              <a:cxn ang="0">
                <a:pos x="36" y="292"/>
              </a:cxn>
              <a:cxn ang="0">
                <a:pos x="30" y="274"/>
              </a:cxn>
              <a:cxn ang="0">
                <a:pos x="12" y="256"/>
              </a:cxn>
              <a:cxn ang="0">
                <a:pos x="10" y="250"/>
              </a:cxn>
              <a:cxn ang="0">
                <a:pos x="18" y="246"/>
              </a:cxn>
              <a:cxn ang="0">
                <a:pos x="28" y="240"/>
              </a:cxn>
              <a:cxn ang="0">
                <a:pos x="26" y="230"/>
              </a:cxn>
              <a:cxn ang="0">
                <a:pos x="26" y="206"/>
              </a:cxn>
              <a:cxn ang="0">
                <a:pos x="16" y="192"/>
              </a:cxn>
              <a:cxn ang="0">
                <a:pos x="10" y="188"/>
              </a:cxn>
              <a:cxn ang="0">
                <a:pos x="4" y="182"/>
              </a:cxn>
              <a:cxn ang="0">
                <a:pos x="2" y="166"/>
              </a:cxn>
              <a:cxn ang="0">
                <a:pos x="8" y="150"/>
              </a:cxn>
              <a:cxn ang="0">
                <a:pos x="22" y="132"/>
              </a:cxn>
              <a:cxn ang="0">
                <a:pos x="30" y="118"/>
              </a:cxn>
              <a:cxn ang="0">
                <a:pos x="30" y="72"/>
              </a:cxn>
              <a:cxn ang="0">
                <a:pos x="34" y="64"/>
              </a:cxn>
              <a:cxn ang="0">
                <a:pos x="34" y="48"/>
              </a:cxn>
              <a:cxn ang="0">
                <a:pos x="22" y="22"/>
              </a:cxn>
              <a:cxn ang="0">
                <a:pos x="20" y="8"/>
              </a:cxn>
              <a:cxn ang="0">
                <a:pos x="162" y="70"/>
              </a:cxn>
            </a:cxnLst>
            <a:rect l="0" t="0" r="r" b="b"/>
            <a:pathLst>
              <a:path w="168" h="294">
                <a:moveTo>
                  <a:pt x="162" y="68"/>
                </a:moveTo>
                <a:lnTo>
                  <a:pt x="168" y="138"/>
                </a:lnTo>
                <a:lnTo>
                  <a:pt x="158" y="140"/>
                </a:lnTo>
                <a:lnTo>
                  <a:pt x="152" y="144"/>
                </a:lnTo>
                <a:lnTo>
                  <a:pt x="148" y="150"/>
                </a:lnTo>
                <a:lnTo>
                  <a:pt x="146" y="158"/>
                </a:lnTo>
                <a:lnTo>
                  <a:pt x="142" y="164"/>
                </a:lnTo>
                <a:lnTo>
                  <a:pt x="140" y="172"/>
                </a:lnTo>
                <a:lnTo>
                  <a:pt x="140" y="190"/>
                </a:lnTo>
                <a:lnTo>
                  <a:pt x="138" y="194"/>
                </a:lnTo>
                <a:lnTo>
                  <a:pt x="134" y="200"/>
                </a:lnTo>
                <a:lnTo>
                  <a:pt x="134" y="202"/>
                </a:lnTo>
                <a:lnTo>
                  <a:pt x="136" y="202"/>
                </a:lnTo>
                <a:lnTo>
                  <a:pt x="144" y="206"/>
                </a:lnTo>
                <a:lnTo>
                  <a:pt x="146" y="214"/>
                </a:lnTo>
                <a:lnTo>
                  <a:pt x="148" y="216"/>
                </a:lnTo>
                <a:lnTo>
                  <a:pt x="150" y="220"/>
                </a:lnTo>
                <a:lnTo>
                  <a:pt x="152" y="228"/>
                </a:lnTo>
                <a:lnTo>
                  <a:pt x="146" y="228"/>
                </a:lnTo>
                <a:lnTo>
                  <a:pt x="142" y="228"/>
                </a:lnTo>
                <a:lnTo>
                  <a:pt x="138" y="230"/>
                </a:lnTo>
                <a:lnTo>
                  <a:pt x="130" y="238"/>
                </a:lnTo>
                <a:lnTo>
                  <a:pt x="126" y="246"/>
                </a:lnTo>
                <a:lnTo>
                  <a:pt x="122" y="256"/>
                </a:lnTo>
                <a:lnTo>
                  <a:pt x="120" y="258"/>
                </a:lnTo>
                <a:lnTo>
                  <a:pt x="118" y="260"/>
                </a:lnTo>
                <a:lnTo>
                  <a:pt x="108" y="262"/>
                </a:lnTo>
                <a:lnTo>
                  <a:pt x="90" y="264"/>
                </a:lnTo>
                <a:lnTo>
                  <a:pt x="88" y="270"/>
                </a:lnTo>
                <a:lnTo>
                  <a:pt x="86" y="276"/>
                </a:lnTo>
                <a:lnTo>
                  <a:pt x="82" y="280"/>
                </a:lnTo>
                <a:lnTo>
                  <a:pt x="76" y="284"/>
                </a:lnTo>
                <a:lnTo>
                  <a:pt x="64" y="288"/>
                </a:lnTo>
                <a:lnTo>
                  <a:pt x="52" y="290"/>
                </a:lnTo>
                <a:lnTo>
                  <a:pt x="48" y="288"/>
                </a:lnTo>
                <a:lnTo>
                  <a:pt x="46" y="286"/>
                </a:lnTo>
                <a:lnTo>
                  <a:pt x="42" y="288"/>
                </a:lnTo>
                <a:lnTo>
                  <a:pt x="38" y="292"/>
                </a:lnTo>
                <a:lnTo>
                  <a:pt x="38" y="294"/>
                </a:lnTo>
                <a:lnTo>
                  <a:pt x="36" y="292"/>
                </a:lnTo>
                <a:lnTo>
                  <a:pt x="34" y="282"/>
                </a:lnTo>
                <a:lnTo>
                  <a:pt x="30" y="274"/>
                </a:lnTo>
                <a:lnTo>
                  <a:pt x="20" y="264"/>
                </a:lnTo>
                <a:lnTo>
                  <a:pt x="12" y="256"/>
                </a:lnTo>
                <a:lnTo>
                  <a:pt x="8" y="252"/>
                </a:lnTo>
                <a:lnTo>
                  <a:pt x="10" y="250"/>
                </a:lnTo>
                <a:lnTo>
                  <a:pt x="12" y="248"/>
                </a:lnTo>
                <a:lnTo>
                  <a:pt x="18" y="246"/>
                </a:lnTo>
                <a:lnTo>
                  <a:pt x="36" y="246"/>
                </a:lnTo>
                <a:lnTo>
                  <a:pt x="28" y="240"/>
                </a:lnTo>
                <a:lnTo>
                  <a:pt x="28" y="236"/>
                </a:lnTo>
                <a:lnTo>
                  <a:pt x="26" y="230"/>
                </a:lnTo>
                <a:lnTo>
                  <a:pt x="28" y="212"/>
                </a:lnTo>
                <a:lnTo>
                  <a:pt x="26" y="206"/>
                </a:lnTo>
                <a:lnTo>
                  <a:pt x="22" y="200"/>
                </a:lnTo>
                <a:lnTo>
                  <a:pt x="16" y="192"/>
                </a:lnTo>
                <a:lnTo>
                  <a:pt x="12" y="186"/>
                </a:lnTo>
                <a:lnTo>
                  <a:pt x="10" y="188"/>
                </a:lnTo>
                <a:lnTo>
                  <a:pt x="8" y="186"/>
                </a:lnTo>
                <a:lnTo>
                  <a:pt x="4" y="182"/>
                </a:lnTo>
                <a:lnTo>
                  <a:pt x="0" y="176"/>
                </a:lnTo>
                <a:lnTo>
                  <a:pt x="2" y="166"/>
                </a:lnTo>
                <a:lnTo>
                  <a:pt x="4" y="158"/>
                </a:lnTo>
                <a:lnTo>
                  <a:pt x="8" y="150"/>
                </a:lnTo>
                <a:lnTo>
                  <a:pt x="12" y="144"/>
                </a:lnTo>
                <a:lnTo>
                  <a:pt x="22" y="132"/>
                </a:lnTo>
                <a:lnTo>
                  <a:pt x="26" y="126"/>
                </a:lnTo>
                <a:lnTo>
                  <a:pt x="30" y="118"/>
                </a:lnTo>
                <a:lnTo>
                  <a:pt x="30" y="76"/>
                </a:lnTo>
                <a:lnTo>
                  <a:pt x="30" y="72"/>
                </a:lnTo>
                <a:lnTo>
                  <a:pt x="32" y="68"/>
                </a:lnTo>
                <a:lnTo>
                  <a:pt x="34" y="64"/>
                </a:lnTo>
                <a:lnTo>
                  <a:pt x="36" y="58"/>
                </a:lnTo>
                <a:lnTo>
                  <a:pt x="34" y="48"/>
                </a:lnTo>
                <a:lnTo>
                  <a:pt x="28" y="34"/>
                </a:lnTo>
                <a:lnTo>
                  <a:pt x="22" y="22"/>
                </a:lnTo>
                <a:lnTo>
                  <a:pt x="18" y="8"/>
                </a:lnTo>
                <a:lnTo>
                  <a:pt x="20" y="8"/>
                </a:lnTo>
                <a:lnTo>
                  <a:pt x="36" y="0"/>
                </a:lnTo>
                <a:lnTo>
                  <a:pt x="162" y="70"/>
                </a:lnTo>
                <a:lnTo>
                  <a:pt x="162" y="6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3" name="Freeform 93">
            <a:extLst>
              <a:ext uri="{FF2B5EF4-FFF2-40B4-BE49-F238E27FC236}">
                <a16:creationId xmlns:a16="http://schemas.microsoft.com/office/drawing/2014/main" id="{FE3D2C1B-446C-42DF-8E5E-B5148D1A29B8}"/>
              </a:ext>
            </a:extLst>
          </p:cNvPr>
          <p:cNvSpPr>
            <a:spLocks/>
          </p:cNvSpPr>
          <p:nvPr/>
        </p:nvSpPr>
        <p:spPr bwMode="auto">
          <a:xfrm>
            <a:off x="5444213" y="3420875"/>
            <a:ext cx="61569" cy="73056"/>
          </a:xfrm>
          <a:custGeom>
            <a:avLst/>
            <a:gdLst/>
            <a:ahLst/>
            <a:cxnLst>
              <a:cxn ang="0">
                <a:pos x="16" y="0"/>
              </a:cxn>
              <a:cxn ang="0">
                <a:pos x="24" y="8"/>
              </a:cxn>
              <a:cxn ang="0">
                <a:pos x="30" y="14"/>
              </a:cxn>
              <a:cxn ang="0">
                <a:pos x="32" y="20"/>
              </a:cxn>
              <a:cxn ang="0">
                <a:pos x="30" y="26"/>
              </a:cxn>
              <a:cxn ang="0">
                <a:pos x="26" y="30"/>
              </a:cxn>
              <a:cxn ang="0">
                <a:pos x="22" y="34"/>
              </a:cxn>
              <a:cxn ang="0">
                <a:pos x="16" y="38"/>
              </a:cxn>
              <a:cxn ang="0">
                <a:pos x="6" y="40"/>
              </a:cxn>
              <a:cxn ang="0">
                <a:pos x="2" y="38"/>
              </a:cxn>
              <a:cxn ang="0">
                <a:pos x="0" y="32"/>
              </a:cxn>
              <a:cxn ang="0">
                <a:pos x="2" y="24"/>
              </a:cxn>
              <a:cxn ang="0">
                <a:pos x="8" y="16"/>
              </a:cxn>
              <a:cxn ang="0">
                <a:pos x="22" y="6"/>
              </a:cxn>
              <a:cxn ang="0">
                <a:pos x="16" y="0"/>
              </a:cxn>
            </a:cxnLst>
            <a:rect l="0" t="0" r="r" b="b"/>
            <a:pathLst>
              <a:path w="32" h="40">
                <a:moveTo>
                  <a:pt x="16" y="0"/>
                </a:moveTo>
                <a:lnTo>
                  <a:pt x="24" y="8"/>
                </a:lnTo>
                <a:lnTo>
                  <a:pt x="30" y="14"/>
                </a:lnTo>
                <a:lnTo>
                  <a:pt x="32" y="20"/>
                </a:lnTo>
                <a:lnTo>
                  <a:pt x="30" y="26"/>
                </a:lnTo>
                <a:lnTo>
                  <a:pt x="26" y="30"/>
                </a:lnTo>
                <a:lnTo>
                  <a:pt x="22" y="34"/>
                </a:lnTo>
                <a:lnTo>
                  <a:pt x="16" y="38"/>
                </a:lnTo>
                <a:lnTo>
                  <a:pt x="6" y="40"/>
                </a:lnTo>
                <a:lnTo>
                  <a:pt x="2" y="38"/>
                </a:lnTo>
                <a:lnTo>
                  <a:pt x="0" y="32"/>
                </a:lnTo>
                <a:lnTo>
                  <a:pt x="2" y="24"/>
                </a:lnTo>
                <a:lnTo>
                  <a:pt x="8" y="16"/>
                </a:lnTo>
                <a:lnTo>
                  <a:pt x="22" y="6"/>
                </a:lnTo>
                <a:lnTo>
                  <a:pt x="1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4" name="Freeform 94">
            <a:extLst>
              <a:ext uri="{FF2B5EF4-FFF2-40B4-BE49-F238E27FC236}">
                <a16:creationId xmlns:a16="http://schemas.microsoft.com/office/drawing/2014/main" id="{A2E9AA07-B119-4B0B-9912-4663BE024FCD}"/>
              </a:ext>
            </a:extLst>
          </p:cNvPr>
          <p:cNvSpPr>
            <a:spLocks/>
          </p:cNvSpPr>
          <p:nvPr/>
        </p:nvSpPr>
        <p:spPr bwMode="auto">
          <a:xfrm>
            <a:off x="5170572" y="3265026"/>
            <a:ext cx="465188" cy="470803"/>
          </a:xfrm>
          <a:custGeom>
            <a:avLst/>
            <a:gdLst/>
            <a:ahLst/>
            <a:cxnLst>
              <a:cxn ang="0">
                <a:pos x="154" y="88"/>
              </a:cxn>
              <a:cxn ang="0">
                <a:pos x="146" y="104"/>
              </a:cxn>
              <a:cxn ang="0">
                <a:pos x="138" y="120"/>
              </a:cxn>
              <a:cxn ang="0">
                <a:pos x="144" y="128"/>
              </a:cxn>
              <a:cxn ang="0">
                <a:pos x="158" y="124"/>
              </a:cxn>
              <a:cxn ang="0">
                <a:pos x="160" y="140"/>
              </a:cxn>
              <a:cxn ang="0">
                <a:pos x="174" y="160"/>
              </a:cxn>
              <a:cxn ang="0">
                <a:pos x="196" y="172"/>
              </a:cxn>
              <a:cxn ang="0">
                <a:pos x="222" y="180"/>
              </a:cxn>
              <a:cxn ang="0">
                <a:pos x="230" y="194"/>
              </a:cxn>
              <a:cxn ang="0">
                <a:pos x="204" y="222"/>
              </a:cxn>
              <a:cxn ang="0">
                <a:pos x="196" y="234"/>
              </a:cxn>
              <a:cxn ang="0">
                <a:pos x="190" y="238"/>
              </a:cxn>
              <a:cxn ang="0">
                <a:pos x="180" y="236"/>
              </a:cxn>
              <a:cxn ang="0">
                <a:pos x="168" y="242"/>
              </a:cxn>
              <a:cxn ang="0">
                <a:pos x="150" y="254"/>
              </a:cxn>
              <a:cxn ang="0">
                <a:pos x="138" y="256"/>
              </a:cxn>
              <a:cxn ang="0">
                <a:pos x="130" y="252"/>
              </a:cxn>
              <a:cxn ang="0">
                <a:pos x="124" y="250"/>
              </a:cxn>
              <a:cxn ang="0">
                <a:pos x="118" y="252"/>
              </a:cxn>
              <a:cxn ang="0">
                <a:pos x="108" y="262"/>
              </a:cxn>
              <a:cxn ang="0">
                <a:pos x="104" y="264"/>
              </a:cxn>
              <a:cxn ang="0">
                <a:pos x="88" y="260"/>
              </a:cxn>
              <a:cxn ang="0">
                <a:pos x="62" y="250"/>
              </a:cxn>
              <a:cxn ang="0">
                <a:pos x="46" y="246"/>
              </a:cxn>
              <a:cxn ang="0">
                <a:pos x="44" y="238"/>
              </a:cxn>
              <a:cxn ang="0">
                <a:pos x="36" y="226"/>
              </a:cxn>
              <a:cxn ang="0">
                <a:pos x="30" y="208"/>
              </a:cxn>
              <a:cxn ang="0">
                <a:pos x="24" y="200"/>
              </a:cxn>
              <a:cxn ang="0">
                <a:pos x="4" y="186"/>
              </a:cxn>
              <a:cxn ang="0">
                <a:pos x="0" y="180"/>
              </a:cxn>
              <a:cxn ang="0">
                <a:pos x="6" y="176"/>
              </a:cxn>
              <a:cxn ang="0">
                <a:pos x="16" y="170"/>
              </a:cxn>
              <a:cxn ang="0">
                <a:pos x="18" y="152"/>
              </a:cxn>
              <a:cxn ang="0">
                <a:pos x="20" y="134"/>
              </a:cxn>
              <a:cxn ang="0">
                <a:pos x="30" y="130"/>
              </a:cxn>
              <a:cxn ang="0">
                <a:pos x="34" y="112"/>
              </a:cxn>
              <a:cxn ang="0">
                <a:pos x="52" y="86"/>
              </a:cxn>
              <a:cxn ang="0">
                <a:pos x="52" y="70"/>
              </a:cxn>
              <a:cxn ang="0">
                <a:pos x="54" y="42"/>
              </a:cxn>
              <a:cxn ang="0">
                <a:pos x="58" y="28"/>
              </a:cxn>
              <a:cxn ang="0">
                <a:pos x="66" y="14"/>
              </a:cxn>
              <a:cxn ang="0">
                <a:pos x="80" y="4"/>
              </a:cxn>
              <a:cxn ang="0">
                <a:pos x="90" y="10"/>
              </a:cxn>
              <a:cxn ang="0">
                <a:pos x="102" y="40"/>
              </a:cxn>
              <a:cxn ang="0">
                <a:pos x="110" y="46"/>
              </a:cxn>
              <a:cxn ang="0">
                <a:pos x="138" y="68"/>
              </a:cxn>
              <a:cxn ang="0">
                <a:pos x="160" y="94"/>
              </a:cxn>
            </a:cxnLst>
            <a:rect l="0" t="0" r="r" b="b"/>
            <a:pathLst>
              <a:path w="236" h="264">
                <a:moveTo>
                  <a:pt x="160" y="94"/>
                </a:moveTo>
                <a:lnTo>
                  <a:pt x="154" y="88"/>
                </a:lnTo>
                <a:lnTo>
                  <a:pt x="160" y="94"/>
                </a:lnTo>
                <a:lnTo>
                  <a:pt x="146" y="104"/>
                </a:lnTo>
                <a:lnTo>
                  <a:pt x="140" y="112"/>
                </a:lnTo>
                <a:lnTo>
                  <a:pt x="138" y="120"/>
                </a:lnTo>
                <a:lnTo>
                  <a:pt x="140" y="126"/>
                </a:lnTo>
                <a:lnTo>
                  <a:pt x="144" y="128"/>
                </a:lnTo>
                <a:lnTo>
                  <a:pt x="152" y="126"/>
                </a:lnTo>
                <a:lnTo>
                  <a:pt x="158" y="124"/>
                </a:lnTo>
                <a:lnTo>
                  <a:pt x="158" y="132"/>
                </a:lnTo>
                <a:lnTo>
                  <a:pt x="160" y="140"/>
                </a:lnTo>
                <a:lnTo>
                  <a:pt x="164" y="152"/>
                </a:lnTo>
                <a:lnTo>
                  <a:pt x="174" y="160"/>
                </a:lnTo>
                <a:lnTo>
                  <a:pt x="184" y="168"/>
                </a:lnTo>
                <a:lnTo>
                  <a:pt x="196" y="172"/>
                </a:lnTo>
                <a:lnTo>
                  <a:pt x="210" y="178"/>
                </a:lnTo>
                <a:lnTo>
                  <a:pt x="222" y="180"/>
                </a:lnTo>
                <a:lnTo>
                  <a:pt x="236" y="182"/>
                </a:lnTo>
                <a:lnTo>
                  <a:pt x="230" y="194"/>
                </a:lnTo>
                <a:lnTo>
                  <a:pt x="220" y="202"/>
                </a:lnTo>
                <a:lnTo>
                  <a:pt x="204" y="222"/>
                </a:lnTo>
                <a:lnTo>
                  <a:pt x="200" y="230"/>
                </a:lnTo>
                <a:lnTo>
                  <a:pt x="196" y="234"/>
                </a:lnTo>
                <a:lnTo>
                  <a:pt x="194" y="236"/>
                </a:lnTo>
                <a:lnTo>
                  <a:pt x="190" y="238"/>
                </a:lnTo>
                <a:lnTo>
                  <a:pt x="186" y="236"/>
                </a:lnTo>
                <a:lnTo>
                  <a:pt x="180" y="236"/>
                </a:lnTo>
                <a:lnTo>
                  <a:pt x="174" y="238"/>
                </a:lnTo>
                <a:lnTo>
                  <a:pt x="168" y="242"/>
                </a:lnTo>
                <a:lnTo>
                  <a:pt x="160" y="246"/>
                </a:lnTo>
                <a:lnTo>
                  <a:pt x="150" y="254"/>
                </a:lnTo>
                <a:lnTo>
                  <a:pt x="144" y="256"/>
                </a:lnTo>
                <a:lnTo>
                  <a:pt x="138" y="256"/>
                </a:lnTo>
                <a:lnTo>
                  <a:pt x="134" y="256"/>
                </a:lnTo>
                <a:lnTo>
                  <a:pt x="130" y="252"/>
                </a:lnTo>
                <a:lnTo>
                  <a:pt x="128" y="250"/>
                </a:lnTo>
                <a:lnTo>
                  <a:pt x="124" y="250"/>
                </a:lnTo>
                <a:lnTo>
                  <a:pt x="120" y="250"/>
                </a:lnTo>
                <a:lnTo>
                  <a:pt x="118" y="252"/>
                </a:lnTo>
                <a:lnTo>
                  <a:pt x="114" y="256"/>
                </a:lnTo>
                <a:lnTo>
                  <a:pt x="108" y="262"/>
                </a:lnTo>
                <a:lnTo>
                  <a:pt x="108" y="264"/>
                </a:lnTo>
                <a:lnTo>
                  <a:pt x="104" y="264"/>
                </a:lnTo>
                <a:lnTo>
                  <a:pt x="96" y="264"/>
                </a:lnTo>
                <a:lnTo>
                  <a:pt x="88" y="260"/>
                </a:lnTo>
                <a:lnTo>
                  <a:pt x="76" y="254"/>
                </a:lnTo>
                <a:lnTo>
                  <a:pt x="62" y="250"/>
                </a:lnTo>
                <a:lnTo>
                  <a:pt x="54" y="248"/>
                </a:lnTo>
                <a:lnTo>
                  <a:pt x="46" y="246"/>
                </a:lnTo>
                <a:lnTo>
                  <a:pt x="48" y="246"/>
                </a:lnTo>
                <a:lnTo>
                  <a:pt x="44" y="238"/>
                </a:lnTo>
                <a:lnTo>
                  <a:pt x="40" y="232"/>
                </a:lnTo>
                <a:lnTo>
                  <a:pt x="36" y="226"/>
                </a:lnTo>
                <a:lnTo>
                  <a:pt x="32" y="222"/>
                </a:lnTo>
                <a:lnTo>
                  <a:pt x="30" y="208"/>
                </a:lnTo>
                <a:lnTo>
                  <a:pt x="26" y="204"/>
                </a:lnTo>
                <a:lnTo>
                  <a:pt x="24" y="200"/>
                </a:lnTo>
                <a:lnTo>
                  <a:pt x="10" y="192"/>
                </a:lnTo>
                <a:lnTo>
                  <a:pt x="4" y="186"/>
                </a:lnTo>
                <a:lnTo>
                  <a:pt x="0" y="182"/>
                </a:lnTo>
                <a:lnTo>
                  <a:pt x="0" y="180"/>
                </a:lnTo>
                <a:lnTo>
                  <a:pt x="2" y="178"/>
                </a:lnTo>
                <a:lnTo>
                  <a:pt x="6" y="176"/>
                </a:lnTo>
                <a:lnTo>
                  <a:pt x="12" y="174"/>
                </a:lnTo>
                <a:lnTo>
                  <a:pt x="16" y="170"/>
                </a:lnTo>
                <a:lnTo>
                  <a:pt x="18" y="160"/>
                </a:lnTo>
                <a:lnTo>
                  <a:pt x="18" y="152"/>
                </a:lnTo>
                <a:lnTo>
                  <a:pt x="18" y="142"/>
                </a:lnTo>
                <a:lnTo>
                  <a:pt x="20" y="134"/>
                </a:lnTo>
                <a:lnTo>
                  <a:pt x="24" y="132"/>
                </a:lnTo>
                <a:lnTo>
                  <a:pt x="30" y="130"/>
                </a:lnTo>
                <a:lnTo>
                  <a:pt x="32" y="120"/>
                </a:lnTo>
                <a:lnTo>
                  <a:pt x="34" y="112"/>
                </a:lnTo>
                <a:lnTo>
                  <a:pt x="42" y="98"/>
                </a:lnTo>
                <a:lnTo>
                  <a:pt x="52" y="86"/>
                </a:lnTo>
                <a:lnTo>
                  <a:pt x="52" y="78"/>
                </a:lnTo>
                <a:lnTo>
                  <a:pt x="52" y="70"/>
                </a:lnTo>
                <a:lnTo>
                  <a:pt x="52" y="46"/>
                </a:lnTo>
                <a:lnTo>
                  <a:pt x="54" y="42"/>
                </a:lnTo>
                <a:lnTo>
                  <a:pt x="56" y="34"/>
                </a:lnTo>
                <a:lnTo>
                  <a:pt x="58" y="28"/>
                </a:lnTo>
                <a:lnTo>
                  <a:pt x="58" y="16"/>
                </a:lnTo>
                <a:lnTo>
                  <a:pt x="66" y="14"/>
                </a:lnTo>
                <a:lnTo>
                  <a:pt x="74" y="10"/>
                </a:lnTo>
                <a:lnTo>
                  <a:pt x="80" y="4"/>
                </a:lnTo>
                <a:lnTo>
                  <a:pt x="84" y="0"/>
                </a:lnTo>
                <a:lnTo>
                  <a:pt x="90" y="10"/>
                </a:lnTo>
                <a:lnTo>
                  <a:pt x="96" y="28"/>
                </a:lnTo>
                <a:lnTo>
                  <a:pt x="102" y="40"/>
                </a:lnTo>
                <a:lnTo>
                  <a:pt x="104" y="44"/>
                </a:lnTo>
                <a:lnTo>
                  <a:pt x="110" y="46"/>
                </a:lnTo>
                <a:lnTo>
                  <a:pt x="126" y="56"/>
                </a:lnTo>
                <a:lnTo>
                  <a:pt x="138" y="68"/>
                </a:lnTo>
                <a:lnTo>
                  <a:pt x="154" y="88"/>
                </a:lnTo>
                <a:lnTo>
                  <a:pt x="160" y="9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5" name="Freeform 95">
            <a:extLst>
              <a:ext uri="{FF2B5EF4-FFF2-40B4-BE49-F238E27FC236}">
                <a16:creationId xmlns:a16="http://schemas.microsoft.com/office/drawing/2014/main" id="{5FE118A2-A3AE-45C4-85E0-D50AB8344349}"/>
              </a:ext>
            </a:extLst>
          </p:cNvPr>
          <p:cNvSpPr>
            <a:spLocks/>
          </p:cNvSpPr>
          <p:nvPr/>
        </p:nvSpPr>
        <p:spPr bwMode="auto">
          <a:xfrm>
            <a:off x="4585667" y="3493930"/>
            <a:ext cx="407039" cy="271118"/>
          </a:xfrm>
          <a:custGeom>
            <a:avLst/>
            <a:gdLst/>
            <a:ahLst/>
            <a:cxnLst>
              <a:cxn ang="0">
                <a:pos x="204" y="106"/>
              </a:cxn>
              <a:cxn ang="0">
                <a:pos x="204" y="96"/>
              </a:cxn>
              <a:cxn ang="0">
                <a:pos x="196" y="88"/>
              </a:cxn>
              <a:cxn ang="0">
                <a:pos x="178" y="70"/>
              </a:cxn>
              <a:cxn ang="0">
                <a:pos x="170" y="62"/>
              </a:cxn>
              <a:cxn ang="0">
                <a:pos x="168" y="54"/>
              </a:cxn>
              <a:cxn ang="0">
                <a:pos x="158" y="46"/>
              </a:cxn>
              <a:cxn ang="0">
                <a:pos x="156" y="40"/>
              </a:cxn>
              <a:cxn ang="0">
                <a:pos x="144" y="28"/>
              </a:cxn>
              <a:cxn ang="0">
                <a:pos x="140" y="12"/>
              </a:cxn>
              <a:cxn ang="0">
                <a:pos x="136" y="0"/>
              </a:cxn>
              <a:cxn ang="0">
                <a:pos x="132" y="0"/>
              </a:cxn>
              <a:cxn ang="0">
                <a:pos x="124" y="0"/>
              </a:cxn>
              <a:cxn ang="0">
                <a:pos x="112" y="10"/>
              </a:cxn>
              <a:cxn ang="0">
                <a:pos x="104" y="28"/>
              </a:cxn>
              <a:cxn ang="0">
                <a:pos x="100" y="32"/>
              </a:cxn>
              <a:cxn ang="0">
                <a:pos x="72" y="36"/>
              </a:cxn>
              <a:cxn ang="0">
                <a:pos x="68" y="48"/>
              </a:cxn>
              <a:cxn ang="0">
                <a:pos x="58" y="56"/>
              </a:cxn>
              <a:cxn ang="0">
                <a:pos x="34" y="62"/>
              </a:cxn>
              <a:cxn ang="0">
                <a:pos x="28" y="58"/>
              </a:cxn>
              <a:cxn ang="0">
                <a:pos x="20" y="64"/>
              </a:cxn>
              <a:cxn ang="0">
                <a:pos x="18" y="64"/>
              </a:cxn>
              <a:cxn ang="0">
                <a:pos x="8" y="74"/>
              </a:cxn>
              <a:cxn ang="0">
                <a:pos x="0" y="94"/>
              </a:cxn>
              <a:cxn ang="0">
                <a:pos x="2" y="112"/>
              </a:cxn>
              <a:cxn ang="0">
                <a:pos x="20" y="140"/>
              </a:cxn>
              <a:cxn ang="0">
                <a:pos x="32" y="146"/>
              </a:cxn>
              <a:cxn ang="0">
                <a:pos x="42" y="136"/>
              </a:cxn>
              <a:cxn ang="0">
                <a:pos x="62" y="136"/>
              </a:cxn>
              <a:cxn ang="0">
                <a:pos x="66" y="118"/>
              </a:cxn>
              <a:cxn ang="0">
                <a:pos x="72" y="112"/>
              </a:cxn>
              <a:cxn ang="0">
                <a:pos x="78" y="108"/>
              </a:cxn>
              <a:cxn ang="0">
                <a:pos x="90" y="110"/>
              </a:cxn>
              <a:cxn ang="0">
                <a:pos x="112" y="122"/>
              </a:cxn>
              <a:cxn ang="0">
                <a:pos x="128" y="122"/>
              </a:cxn>
              <a:cxn ang="0">
                <a:pos x="130" y="120"/>
              </a:cxn>
              <a:cxn ang="0">
                <a:pos x="134" y="114"/>
              </a:cxn>
              <a:cxn ang="0">
                <a:pos x="140" y="116"/>
              </a:cxn>
              <a:cxn ang="0">
                <a:pos x="150" y="112"/>
              </a:cxn>
              <a:cxn ang="0">
                <a:pos x="160" y="110"/>
              </a:cxn>
              <a:cxn ang="0">
                <a:pos x="174" y="104"/>
              </a:cxn>
              <a:cxn ang="0">
                <a:pos x="184" y="104"/>
              </a:cxn>
              <a:cxn ang="0">
                <a:pos x="204" y="106"/>
              </a:cxn>
            </a:cxnLst>
            <a:rect l="0" t="0" r="r" b="b"/>
            <a:pathLst>
              <a:path w="206" h="152">
                <a:moveTo>
                  <a:pt x="206" y="108"/>
                </a:moveTo>
                <a:lnTo>
                  <a:pt x="204" y="106"/>
                </a:lnTo>
                <a:lnTo>
                  <a:pt x="204" y="102"/>
                </a:lnTo>
                <a:lnTo>
                  <a:pt x="204" y="96"/>
                </a:lnTo>
                <a:lnTo>
                  <a:pt x="200" y="92"/>
                </a:lnTo>
                <a:lnTo>
                  <a:pt x="196" y="88"/>
                </a:lnTo>
                <a:lnTo>
                  <a:pt x="186" y="80"/>
                </a:lnTo>
                <a:lnTo>
                  <a:pt x="178" y="70"/>
                </a:lnTo>
                <a:lnTo>
                  <a:pt x="174" y="68"/>
                </a:lnTo>
                <a:lnTo>
                  <a:pt x="170" y="62"/>
                </a:lnTo>
                <a:lnTo>
                  <a:pt x="170" y="56"/>
                </a:lnTo>
                <a:lnTo>
                  <a:pt x="168" y="54"/>
                </a:lnTo>
                <a:lnTo>
                  <a:pt x="162" y="50"/>
                </a:lnTo>
                <a:lnTo>
                  <a:pt x="158" y="46"/>
                </a:lnTo>
                <a:lnTo>
                  <a:pt x="156" y="44"/>
                </a:lnTo>
                <a:lnTo>
                  <a:pt x="156" y="40"/>
                </a:lnTo>
                <a:lnTo>
                  <a:pt x="144" y="40"/>
                </a:lnTo>
                <a:lnTo>
                  <a:pt x="144" y="28"/>
                </a:lnTo>
                <a:lnTo>
                  <a:pt x="142" y="20"/>
                </a:lnTo>
                <a:lnTo>
                  <a:pt x="140" y="12"/>
                </a:lnTo>
                <a:lnTo>
                  <a:pt x="136" y="6"/>
                </a:lnTo>
                <a:lnTo>
                  <a:pt x="136" y="0"/>
                </a:lnTo>
                <a:lnTo>
                  <a:pt x="134" y="0"/>
                </a:lnTo>
                <a:lnTo>
                  <a:pt x="132" y="0"/>
                </a:lnTo>
                <a:lnTo>
                  <a:pt x="128" y="0"/>
                </a:lnTo>
                <a:lnTo>
                  <a:pt x="124" y="0"/>
                </a:lnTo>
                <a:lnTo>
                  <a:pt x="120" y="2"/>
                </a:lnTo>
                <a:lnTo>
                  <a:pt x="112" y="10"/>
                </a:lnTo>
                <a:lnTo>
                  <a:pt x="108" y="18"/>
                </a:lnTo>
                <a:lnTo>
                  <a:pt x="104" y="28"/>
                </a:lnTo>
                <a:lnTo>
                  <a:pt x="102" y="30"/>
                </a:lnTo>
                <a:lnTo>
                  <a:pt x="100" y="32"/>
                </a:lnTo>
                <a:lnTo>
                  <a:pt x="90" y="34"/>
                </a:lnTo>
                <a:lnTo>
                  <a:pt x="72" y="36"/>
                </a:lnTo>
                <a:lnTo>
                  <a:pt x="70" y="42"/>
                </a:lnTo>
                <a:lnTo>
                  <a:pt x="68" y="48"/>
                </a:lnTo>
                <a:lnTo>
                  <a:pt x="64" y="52"/>
                </a:lnTo>
                <a:lnTo>
                  <a:pt x="58" y="56"/>
                </a:lnTo>
                <a:lnTo>
                  <a:pt x="46" y="60"/>
                </a:lnTo>
                <a:lnTo>
                  <a:pt x="34" y="62"/>
                </a:lnTo>
                <a:lnTo>
                  <a:pt x="30" y="60"/>
                </a:lnTo>
                <a:lnTo>
                  <a:pt x="28" y="58"/>
                </a:lnTo>
                <a:lnTo>
                  <a:pt x="24" y="60"/>
                </a:lnTo>
                <a:lnTo>
                  <a:pt x="20" y="64"/>
                </a:lnTo>
                <a:lnTo>
                  <a:pt x="20" y="66"/>
                </a:lnTo>
                <a:lnTo>
                  <a:pt x="18" y="64"/>
                </a:lnTo>
                <a:lnTo>
                  <a:pt x="14" y="68"/>
                </a:lnTo>
                <a:lnTo>
                  <a:pt x="8" y="74"/>
                </a:lnTo>
                <a:lnTo>
                  <a:pt x="2" y="84"/>
                </a:lnTo>
                <a:lnTo>
                  <a:pt x="0" y="94"/>
                </a:lnTo>
                <a:lnTo>
                  <a:pt x="0" y="102"/>
                </a:lnTo>
                <a:lnTo>
                  <a:pt x="2" y="112"/>
                </a:lnTo>
                <a:lnTo>
                  <a:pt x="10" y="126"/>
                </a:lnTo>
                <a:lnTo>
                  <a:pt x="20" y="140"/>
                </a:lnTo>
                <a:lnTo>
                  <a:pt x="28" y="152"/>
                </a:lnTo>
                <a:lnTo>
                  <a:pt x="32" y="146"/>
                </a:lnTo>
                <a:lnTo>
                  <a:pt x="36" y="140"/>
                </a:lnTo>
                <a:lnTo>
                  <a:pt x="42" y="136"/>
                </a:lnTo>
                <a:lnTo>
                  <a:pt x="52" y="136"/>
                </a:lnTo>
                <a:lnTo>
                  <a:pt x="62" y="136"/>
                </a:lnTo>
                <a:lnTo>
                  <a:pt x="64" y="126"/>
                </a:lnTo>
                <a:lnTo>
                  <a:pt x="66" y="118"/>
                </a:lnTo>
                <a:lnTo>
                  <a:pt x="68" y="114"/>
                </a:lnTo>
                <a:lnTo>
                  <a:pt x="72" y="112"/>
                </a:lnTo>
                <a:lnTo>
                  <a:pt x="76" y="108"/>
                </a:lnTo>
                <a:lnTo>
                  <a:pt x="78" y="108"/>
                </a:lnTo>
                <a:lnTo>
                  <a:pt x="84" y="108"/>
                </a:lnTo>
                <a:lnTo>
                  <a:pt x="90" y="110"/>
                </a:lnTo>
                <a:lnTo>
                  <a:pt x="102" y="116"/>
                </a:lnTo>
                <a:lnTo>
                  <a:pt x="112" y="122"/>
                </a:lnTo>
                <a:lnTo>
                  <a:pt x="120" y="122"/>
                </a:lnTo>
                <a:lnTo>
                  <a:pt x="128" y="122"/>
                </a:lnTo>
                <a:lnTo>
                  <a:pt x="130" y="122"/>
                </a:lnTo>
                <a:lnTo>
                  <a:pt x="130" y="120"/>
                </a:lnTo>
                <a:lnTo>
                  <a:pt x="132" y="116"/>
                </a:lnTo>
                <a:lnTo>
                  <a:pt x="134" y="114"/>
                </a:lnTo>
                <a:lnTo>
                  <a:pt x="138" y="116"/>
                </a:lnTo>
                <a:lnTo>
                  <a:pt x="140" y="116"/>
                </a:lnTo>
                <a:lnTo>
                  <a:pt x="146" y="114"/>
                </a:lnTo>
                <a:lnTo>
                  <a:pt x="150" y="112"/>
                </a:lnTo>
                <a:lnTo>
                  <a:pt x="156" y="110"/>
                </a:lnTo>
                <a:lnTo>
                  <a:pt x="160" y="110"/>
                </a:lnTo>
                <a:lnTo>
                  <a:pt x="172" y="110"/>
                </a:lnTo>
                <a:lnTo>
                  <a:pt x="174" y="104"/>
                </a:lnTo>
                <a:lnTo>
                  <a:pt x="178" y="102"/>
                </a:lnTo>
                <a:lnTo>
                  <a:pt x="184" y="104"/>
                </a:lnTo>
                <a:lnTo>
                  <a:pt x="192" y="106"/>
                </a:lnTo>
                <a:lnTo>
                  <a:pt x="204" y="106"/>
                </a:lnTo>
                <a:lnTo>
                  <a:pt x="206" y="10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6" name="Freeform 96">
            <a:extLst>
              <a:ext uri="{FF2B5EF4-FFF2-40B4-BE49-F238E27FC236}">
                <a16:creationId xmlns:a16="http://schemas.microsoft.com/office/drawing/2014/main" id="{F4C8FDCF-8E44-45AC-9A12-11145D4227CE}"/>
              </a:ext>
            </a:extLst>
          </p:cNvPr>
          <p:cNvSpPr>
            <a:spLocks/>
          </p:cNvSpPr>
          <p:nvPr/>
        </p:nvSpPr>
        <p:spPr bwMode="auto">
          <a:xfrm>
            <a:off x="5206486" y="3703356"/>
            <a:ext cx="247986" cy="300340"/>
          </a:xfrm>
          <a:custGeom>
            <a:avLst/>
            <a:gdLst/>
            <a:ahLst/>
            <a:cxnLst>
              <a:cxn ang="0">
                <a:pos x="120" y="10"/>
              </a:cxn>
              <a:cxn ang="0">
                <a:pos x="116" y="10"/>
              </a:cxn>
              <a:cxn ang="0">
                <a:pos x="112" y="6"/>
              </a:cxn>
              <a:cxn ang="0">
                <a:pos x="110" y="4"/>
              </a:cxn>
              <a:cxn ang="0">
                <a:pos x="106" y="4"/>
              </a:cxn>
              <a:cxn ang="0">
                <a:pos x="102" y="4"/>
              </a:cxn>
              <a:cxn ang="0">
                <a:pos x="100" y="6"/>
              </a:cxn>
              <a:cxn ang="0">
                <a:pos x="96" y="10"/>
              </a:cxn>
              <a:cxn ang="0">
                <a:pos x="90" y="16"/>
              </a:cxn>
              <a:cxn ang="0">
                <a:pos x="90" y="18"/>
              </a:cxn>
              <a:cxn ang="0">
                <a:pos x="86" y="18"/>
              </a:cxn>
              <a:cxn ang="0">
                <a:pos x="78" y="18"/>
              </a:cxn>
              <a:cxn ang="0">
                <a:pos x="70" y="14"/>
              </a:cxn>
              <a:cxn ang="0">
                <a:pos x="58" y="8"/>
              </a:cxn>
              <a:cxn ang="0">
                <a:pos x="46" y="4"/>
              </a:cxn>
              <a:cxn ang="0">
                <a:pos x="38" y="2"/>
              </a:cxn>
              <a:cxn ang="0">
                <a:pos x="30" y="0"/>
              </a:cxn>
              <a:cxn ang="0">
                <a:pos x="4" y="0"/>
              </a:cxn>
              <a:cxn ang="0">
                <a:pos x="0" y="4"/>
              </a:cxn>
              <a:cxn ang="0">
                <a:pos x="4" y="12"/>
              </a:cxn>
              <a:cxn ang="0">
                <a:pos x="8" y="20"/>
              </a:cxn>
              <a:cxn ang="0">
                <a:pos x="14" y="32"/>
              </a:cxn>
              <a:cxn ang="0">
                <a:pos x="16" y="38"/>
              </a:cxn>
              <a:cxn ang="0">
                <a:pos x="16" y="42"/>
              </a:cxn>
              <a:cxn ang="0">
                <a:pos x="16" y="48"/>
              </a:cxn>
              <a:cxn ang="0">
                <a:pos x="16" y="52"/>
              </a:cxn>
              <a:cxn ang="0">
                <a:pos x="0" y="76"/>
              </a:cxn>
              <a:cxn ang="0">
                <a:pos x="0" y="100"/>
              </a:cxn>
              <a:cxn ang="0">
                <a:pos x="62" y="138"/>
              </a:cxn>
              <a:cxn ang="0">
                <a:pos x="62" y="146"/>
              </a:cxn>
              <a:cxn ang="0">
                <a:pos x="88" y="168"/>
              </a:cxn>
              <a:cxn ang="0">
                <a:pos x="90" y="164"/>
              </a:cxn>
              <a:cxn ang="0">
                <a:pos x="94" y="158"/>
              </a:cxn>
              <a:cxn ang="0">
                <a:pos x="108" y="130"/>
              </a:cxn>
              <a:cxn ang="0">
                <a:pos x="122" y="106"/>
              </a:cxn>
              <a:cxn ang="0">
                <a:pos x="116" y="102"/>
              </a:cxn>
              <a:cxn ang="0">
                <a:pos x="112" y="98"/>
              </a:cxn>
              <a:cxn ang="0">
                <a:pos x="112" y="32"/>
              </a:cxn>
              <a:cxn ang="0">
                <a:pos x="120" y="14"/>
              </a:cxn>
              <a:cxn ang="0">
                <a:pos x="126" y="10"/>
              </a:cxn>
              <a:cxn ang="0">
                <a:pos x="120" y="10"/>
              </a:cxn>
            </a:cxnLst>
            <a:rect l="0" t="0" r="r" b="b"/>
            <a:pathLst>
              <a:path w="126" h="168">
                <a:moveTo>
                  <a:pt x="120" y="10"/>
                </a:moveTo>
                <a:lnTo>
                  <a:pt x="116" y="10"/>
                </a:lnTo>
                <a:lnTo>
                  <a:pt x="112" y="6"/>
                </a:lnTo>
                <a:lnTo>
                  <a:pt x="110" y="4"/>
                </a:lnTo>
                <a:lnTo>
                  <a:pt x="106" y="4"/>
                </a:lnTo>
                <a:lnTo>
                  <a:pt x="102" y="4"/>
                </a:lnTo>
                <a:lnTo>
                  <a:pt x="100" y="6"/>
                </a:lnTo>
                <a:lnTo>
                  <a:pt x="96" y="10"/>
                </a:lnTo>
                <a:lnTo>
                  <a:pt x="90" y="16"/>
                </a:lnTo>
                <a:lnTo>
                  <a:pt x="90" y="18"/>
                </a:lnTo>
                <a:lnTo>
                  <a:pt x="86" y="18"/>
                </a:lnTo>
                <a:lnTo>
                  <a:pt x="78" y="18"/>
                </a:lnTo>
                <a:lnTo>
                  <a:pt x="70" y="14"/>
                </a:lnTo>
                <a:lnTo>
                  <a:pt x="58" y="8"/>
                </a:lnTo>
                <a:lnTo>
                  <a:pt x="46" y="4"/>
                </a:lnTo>
                <a:lnTo>
                  <a:pt x="38" y="2"/>
                </a:lnTo>
                <a:lnTo>
                  <a:pt x="30" y="0"/>
                </a:lnTo>
                <a:lnTo>
                  <a:pt x="4" y="0"/>
                </a:lnTo>
                <a:lnTo>
                  <a:pt x="0" y="4"/>
                </a:lnTo>
                <a:lnTo>
                  <a:pt x="4" y="12"/>
                </a:lnTo>
                <a:lnTo>
                  <a:pt x="8" y="20"/>
                </a:lnTo>
                <a:lnTo>
                  <a:pt x="14" y="32"/>
                </a:lnTo>
                <a:lnTo>
                  <a:pt x="16" y="38"/>
                </a:lnTo>
                <a:lnTo>
                  <a:pt x="16" y="42"/>
                </a:lnTo>
                <a:lnTo>
                  <a:pt x="16" y="48"/>
                </a:lnTo>
                <a:lnTo>
                  <a:pt x="16" y="52"/>
                </a:lnTo>
                <a:lnTo>
                  <a:pt x="0" y="76"/>
                </a:lnTo>
                <a:lnTo>
                  <a:pt x="0" y="100"/>
                </a:lnTo>
                <a:lnTo>
                  <a:pt x="62" y="138"/>
                </a:lnTo>
                <a:lnTo>
                  <a:pt x="62" y="146"/>
                </a:lnTo>
                <a:lnTo>
                  <a:pt x="88" y="168"/>
                </a:lnTo>
                <a:lnTo>
                  <a:pt x="90" y="164"/>
                </a:lnTo>
                <a:lnTo>
                  <a:pt x="94" y="158"/>
                </a:lnTo>
                <a:lnTo>
                  <a:pt x="108" y="130"/>
                </a:lnTo>
                <a:lnTo>
                  <a:pt x="122" y="106"/>
                </a:lnTo>
                <a:lnTo>
                  <a:pt x="116" y="102"/>
                </a:lnTo>
                <a:lnTo>
                  <a:pt x="112" y="98"/>
                </a:lnTo>
                <a:lnTo>
                  <a:pt x="112" y="32"/>
                </a:lnTo>
                <a:lnTo>
                  <a:pt x="120" y="14"/>
                </a:lnTo>
                <a:lnTo>
                  <a:pt x="126" y="10"/>
                </a:lnTo>
                <a:lnTo>
                  <a:pt x="120" y="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7" name="Freeform 97">
            <a:extLst>
              <a:ext uri="{FF2B5EF4-FFF2-40B4-BE49-F238E27FC236}">
                <a16:creationId xmlns:a16="http://schemas.microsoft.com/office/drawing/2014/main" id="{4DFFB563-6097-4DB5-82F8-72196C95247C}"/>
              </a:ext>
            </a:extLst>
          </p:cNvPr>
          <p:cNvSpPr>
            <a:spLocks/>
          </p:cNvSpPr>
          <p:nvPr/>
        </p:nvSpPr>
        <p:spPr bwMode="auto">
          <a:xfrm>
            <a:off x="5062826" y="3703356"/>
            <a:ext cx="174445" cy="193192"/>
          </a:xfrm>
          <a:custGeom>
            <a:avLst/>
            <a:gdLst/>
            <a:ahLst/>
            <a:cxnLst>
              <a:cxn ang="0">
                <a:pos x="76" y="0"/>
              </a:cxn>
              <a:cxn ang="0">
                <a:pos x="72" y="4"/>
              </a:cxn>
              <a:cxn ang="0">
                <a:pos x="76" y="12"/>
              </a:cxn>
              <a:cxn ang="0">
                <a:pos x="80" y="20"/>
              </a:cxn>
              <a:cxn ang="0">
                <a:pos x="86" y="32"/>
              </a:cxn>
              <a:cxn ang="0">
                <a:pos x="88" y="38"/>
              </a:cxn>
              <a:cxn ang="0">
                <a:pos x="88" y="42"/>
              </a:cxn>
              <a:cxn ang="0">
                <a:pos x="88" y="48"/>
              </a:cxn>
              <a:cxn ang="0">
                <a:pos x="88" y="52"/>
              </a:cxn>
              <a:cxn ang="0">
                <a:pos x="72" y="76"/>
              </a:cxn>
              <a:cxn ang="0">
                <a:pos x="72" y="100"/>
              </a:cxn>
              <a:cxn ang="0">
                <a:pos x="20" y="98"/>
              </a:cxn>
              <a:cxn ang="0">
                <a:pos x="14" y="102"/>
              </a:cxn>
              <a:cxn ang="0">
                <a:pos x="10" y="108"/>
              </a:cxn>
              <a:cxn ang="0">
                <a:pos x="0" y="108"/>
              </a:cxn>
              <a:cxn ang="0">
                <a:pos x="0" y="86"/>
              </a:cxn>
              <a:cxn ang="0">
                <a:pos x="6" y="76"/>
              </a:cxn>
              <a:cxn ang="0">
                <a:pos x="12" y="64"/>
              </a:cxn>
              <a:cxn ang="0">
                <a:pos x="18" y="56"/>
              </a:cxn>
              <a:cxn ang="0">
                <a:pos x="24" y="48"/>
              </a:cxn>
              <a:cxn ang="0">
                <a:pos x="24" y="38"/>
              </a:cxn>
              <a:cxn ang="0">
                <a:pos x="22" y="34"/>
              </a:cxn>
              <a:cxn ang="0">
                <a:pos x="22" y="28"/>
              </a:cxn>
              <a:cxn ang="0">
                <a:pos x="20" y="16"/>
              </a:cxn>
              <a:cxn ang="0">
                <a:pos x="24" y="14"/>
              </a:cxn>
              <a:cxn ang="0">
                <a:pos x="30" y="12"/>
              </a:cxn>
              <a:cxn ang="0">
                <a:pos x="52" y="12"/>
              </a:cxn>
              <a:cxn ang="0">
                <a:pos x="62" y="10"/>
              </a:cxn>
              <a:cxn ang="0">
                <a:pos x="72" y="4"/>
              </a:cxn>
              <a:cxn ang="0">
                <a:pos x="76" y="0"/>
              </a:cxn>
            </a:cxnLst>
            <a:rect l="0" t="0" r="r" b="b"/>
            <a:pathLst>
              <a:path w="88" h="108">
                <a:moveTo>
                  <a:pt x="76" y="0"/>
                </a:moveTo>
                <a:lnTo>
                  <a:pt x="72" y="4"/>
                </a:lnTo>
                <a:lnTo>
                  <a:pt x="76" y="12"/>
                </a:lnTo>
                <a:lnTo>
                  <a:pt x="80" y="20"/>
                </a:lnTo>
                <a:lnTo>
                  <a:pt x="86" y="32"/>
                </a:lnTo>
                <a:lnTo>
                  <a:pt x="88" y="38"/>
                </a:lnTo>
                <a:lnTo>
                  <a:pt x="88" y="42"/>
                </a:lnTo>
                <a:lnTo>
                  <a:pt x="88" y="48"/>
                </a:lnTo>
                <a:lnTo>
                  <a:pt x="88" y="52"/>
                </a:lnTo>
                <a:lnTo>
                  <a:pt x="72" y="76"/>
                </a:lnTo>
                <a:lnTo>
                  <a:pt x="72" y="100"/>
                </a:lnTo>
                <a:lnTo>
                  <a:pt x="20" y="98"/>
                </a:lnTo>
                <a:lnTo>
                  <a:pt x="14" y="102"/>
                </a:lnTo>
                <a:lnTo>
                  <a:pt x="10" y="108"/>
                </a:lnTo>
                <a:lnTo>
                  <a:pt x="0" y="108"/>
                </a:lnTo>
                <a:lnTo>
                  <a:pt x="0" y="86"/>
                </a:lnTo>
                <a:lnTo>
                  <a:pt x="6" y="76"/>
                </a:lnTo>
                <a:lnTo>
                  <a:pt x="12" y="64"/>
                </a:lnTo>
                <a:lnTo>
                  <a:pt x="18" y="56"/>
                </a:lnTo>
                <a:lnTo>
                  <a:pt x="24" y="48"/>
                </a:lnTo>
                <a:lnTo>
                  <a:pt x="24" y="38"/>
                </a:lnTo>
                <a:lnTo>
                  <a:pt x="22" y="34"/>
                </a:lnTo>
                <a:lnTo>
                  <a:pt x="22" y="28"/>
                </a:lnTo>
                <a:lnTo>
                  <a:pt x="20" y="16"/>
                </a:lnTo>
                <a:lnTo>
                  <a:pt x="24" y="14"/>
                </a:lnTo>
                <a:lnTo>
                  <a:pt x="30" y="12"/>
                </a:lnTo>
                <a:lnTo>
                  <a:pt x="52" y="12"/>
                </a:lnTo>
                <a:lnTo>
                  <a:pt x="62" y="10"/>
                </a:lnTo>
                <a:lnTo>
                  <a:pt x="72" y="4"/>
                </a:lnTo>
                <a:lnTo>
                  <a:pt x="7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8" name="Freeform 98">
            <a:extLst>
              <a:ext uri="{FF2B5EF4-FFF2-40B4-BE49-F238E27FC236}">
                <a16:creationId xmlns:a16="http://schemas.microsoft.com/office/drawing/2014/main" id="{A7A70F2D-19E1-4865-8460-580EBA7074BE}"/>
              </a:ext>
            </a:extLst>
          </p:cNvPr>
          <p:cNvSpPr>
            <a:spLocks/>
          </p:cNvSpPr>
          <p:nvPr/>
        </p:nvSpPr>
        <p:spPr bwMode="auto">
          <a:xfrm>
            <a:off x="5059406" y="3878690"/>
            <a:ext cx="359152" cy="357161"/>
          </a:xfrm>
          <a:custGeom>
            <a:avLst/>
            <a:gdLst/>
            <a:ahLst/>
            <a:cxnLst>
              <a:cxn ang="0">
                <a:pos x="74" y="2"/>
              </a:cxn>
              <a:cxn ang="0">
                <a:pos x="136" y="48"/>
              </a:cxn>
              <a:cxn ang="0">
                <a:pos x="160" y="74"/>
              </a:cxn>
              <a:cxn ang="0">
                <a:pos x="156" y="84"/>
              </a:cxn>
              <a:cxn ang="0">
                <a:pos x="152" y="92"/>
              </a:cxn>
              <a:cxn ang="0">
                <a:pos x="154" y="102"/>
              </a:cxn>
              <a:cxn ang="0">
                <a:pos x="162" y="110"/>
              </a:cxn>
              <a:cxn ang="0">
                <a:pos x="164" y="126"/>
              </a:cxn>
              <a:cxn ang="0">
                <a:pos x="164" y="156"/>
              </a:cxn>
              <a:cxn ang="0">
                <a:pos x="172" y="168"/>
              </a:cxn>
              <a:cxn ang="0">
                <a:pos x="182" y="178"/>
              </a:cxn>
              <a:cxn ang="0">
                <a:pos x="166" y="180"/>
              </a:cxn>
              <a:cxn ang="0">
                <a:pos x="152" y="188"/>
              </a:cxn>
              <a:cxn ang="0">
                <a:pos x="134" y="194"/>
              </a:cxn>
              <a:cxn ang="0">
                <a:pos x="130" y="198"/>
              </a:cxn>
              <a:cxn ang="0">
                <a:pos x="122" y="198"/>
              </a:cxn>
              <a:cxn ang="0">
                <a:pos x="116" y="196"/>
              </a:cxn>
              <a:cxn ang="0">
                <a:pos x="112" y="200"/>
              </a:cxn>
              <a:cxn ang="0">
                <a:pos x="82" y="198"/>
              </a:cxn>
              <a:cxn ang="0">
                <a:pos x="80" y="170"/>
              </a:cxn>
              <a:cxn ang="0">
                <a:pos x="76" y="160"/>
              </a:cxn>
              <a:cxn ang="0">
                <a:pos x="46" y="150"/>
              </a:cxn>
              <a:cxn ang="0">
                <a:pos x="30" y="142"/>
              </a:cxn>
              <a:cxn ang="0">
                <a:pos x="24" y="138"/>
              </a:cxn>
              <a:cxn ang="0">
                <a:pos x="20" y="134"/>
              </a:cxn>
              <a:cxn ang="0">
                <a:pos x="16" y="120"/>
              </a:cxn>
              <a:cxn ang="0">
                <a:pos x="10" y="110"/>
              </a:cxn>
              <a:cxn ang="0">
                <a:pos x="0" y="100"/>
              </a:cxn>
              <a:cxn ang="0">
                <a:pos x="0" y="92"/>
              </a:cxn>
              <a:cxn ang="0">
                <a:pos x="0" y="84"/>
              </a:cxn>
              <a:cxn ang="0">
                <a:pos x="0" y="78"/>
              </a:cxn>
              <a:cxn ang="0">
                <a:pos x="2" y="68"/>
              </a:cxn>
              <a:cxn ang="0">
                <a:pos x="20" y="50"/>
              </a:cxn>
              <a:cxn ang="0">
                <a:pos x="22" y="42"/>
              </a:cxn>
              <a:cxn ang="0">
                <a:pos x="20" y="38"/>
              </a:cxn>
              <a:cxn ang="0">
                <a:pos x="16" y="34"/>
              </a:cxn>
              <a:cxn ang="0">
                <a:pos x="20" y="28"/>
              </a:cxn>
              <a:cxn ang="0">
                <a:pos x="22" y="22"/>
              </a:cxn>
              <a:cxn ang="0">
                <a:pos x="24" y="16"/>
              </a:cxn>
              <a:cxn ang="0">
                <a:pos x="20" y="6"/>
              </a:cxn>
              <a:cxn ang="0">
                <a:pos x="24" y="0"/>
              </a:cxn>
            </a:cxnLst>
            <a:rect l="0" t="0" r="r" b="b"/>
            <a:pathLst>
              <a:path w="182" h="200">
                <a:moveTo>
                  <a:pt x="30" y="0"/>
                </a:moveTo>
                <a:lnTo>
                  <a:pt x="74" y="2"/>
                </a:lnTo>
                <a:lnTo>
                  <a:pt x="136" y="40"/>
                </a:lnTo>
                <a:lnTo>
                  <a:pt x="136" y="48"/>
                </a:lnTo>
                <a:lnTo>
                  <a:pt x="162" y="70"/>
                </a:lnTo>
                <a:lnTo>
                  <a:pt x="160" y="74"/>
                </a:lnTo>
                <a:lnTo>
                  <a:pt x="158" y="80"/>
                </a:lnTo>
                <a:lnTo>
                  <a:pt x="156" y="84"/>
                </a:lnTo>
                <a:lnTo>
                  <a:pt x="154" y="88"/>
                </a:lnTo>
                <a:lnTo>
                  <a:pt x="152" y="92"/>
                </a:lnTo>
                <a:lnTo>
                  <a:pt x="152" y="98"/>
                </a:lnTo>
                <a:lnTo>
                  <a:pt x="154" y="102"/>
                </a:lnTo>
                <a:lnTo>
                  <a:pt x="158" y="106"/>
                </a:lnTo>
                <a:lnTo>
                  <a:pt x="162" y="110"/>
                </a:lnTo>
                <a:lnTo>
                  <a:pt x="164" y="116"/>
                </a:lnTo>
                <a:lnTo>
                  <a:pt x="164" y="126"/>
                </a:lnTo>
                <a:lnTo>
                  <a:pt x="164" y="142"/>
                </a:lnTo>
                <a:lnTo>
                  <a:pt x="164" y="156"/>
                </a:lnTo>
                <a:lnTo>
                  <a:pt x="168" y="162"/>
                </a:lnTo>
                <a:lnTo>
                  <a:pt x="172" y="168"/>
                </a:lnTo>
                <a:lnTo>
                  <a:pt x="176" y="174"/>
                </a:lnTo>
                <a:lnTo>
                  <a:pt x="182" y="178"/>
                </a:lnTo>
                <a:lnTo>
                  <a:pt x="174" y="180"/>
                </a:lnTo>
                <a:lnTo>
                  <a:pt x="166" y="180"/>
                </a:lnTo>
                <a:lnTo>
                  <a:pt x="162" y="184"/>
                </a:lnTo>
                <a:lnTo>
                  <a:pt x="152" y="188"/>
                </a:lnTo>
                <a:lnTo>
                  <a:pt x="138" y="192"/>
                </a:lnTo>
                <a:lnTo>
                  <a:pt x="134" y="194"/>
                </a:lnTo>
                <a:lnTo>
                  <a:pt x="132" y="196"/>
                </a:lnTo>
                <a:lnTo>
                  <a:pt x="130" y="198"/>
                </a:lnTo>
                <a:lnTo>
                  <a:pt x="126" y="198"/>
                </a:lnTo>
                <a:lnTo>
                  <a:pt x="122" y="198"/>
                </a:lnTo>
                <a:lnTo>
                  <a:pt x="120" y="196"/>
                </a:lnTo>
                <a:lnTo>
                  <a:pt x="116" y="196"/>
                </a:lnTo>
                <a:lnTo>
                  <a:pt x="114" y="198"/>
                </a:lnTo>
                <a:lnTo>
                  <a:pt x="112" y="200"/>
                </a:lnTo>
                <a:lnTo>
                  <a:pt x="108" y="200"/>
                </a:lnTo>
                <a:lnTo>
                  <a:pt x="82" y="198"/>
                </a:lnTo>
                <a:lnTo>
                  <a:pt x="82" y="172"/>
                </a:lnTo>
                <a:lnTo>
                  <a:pt x="80" y="170"/>
                </a:lnTo>
                <a:lnTo>
                  <a:pt x="78" y="166"/>
                </a:lnTo>
                <a:lnTo>
                  <a:pt x="76" y="160"/>
                </a:lnTo>
                <a:lnTo>
                  <a:pt x="60" y="160"/>
                </a:lnTo>
                <a:lnTo>
                  <a:pt x="46" y="150"/>
                </a:lnTo>
                <a:lnTo>
                  <a:pt x="40" y="146"/>
                </a:lnTo>
                <a:lnTo>
                  <a:pt x="30" y="142"/>
                </a:lnTo>
                <a:lnTo>
                  <a:pt x="26" y="140"/>
                </a:lnTo>
                <a:lnTo>
                  <a:pt x="24" y="138"/>
                </a:lnTo>
                <a:lnTo>
                  <a:pt x="22" y="136"/>
                </a:lnTo>
                <a:lnTo>
                  <a:pt x="20" y="134"/>
                </a:lnTo>
                <a:lnTo>
                  <a:pt x="18" y="126"/>
                </a:lnTo>
                <a:lnTo>
                  <a:pt x="16" y="120"/>
                </a:lnTo>
                <a:lnTo>
                  <a:pt x="16" y="114"/>
                </a:lnTo>
                <a:lnTo>
                  <a:pt x="10" y="110"/>
                </a:lnTo>
                <a:lnTo>
                  <a:pt x="6" y="104"/>
                </a:lnTo>
                <a:lnTo>
                  <a:pt x="0" y="100"/>
                </a:lnTo>
                <a:lnTo>
                  <a:pt x="0" y="94"/>
                </a:lnTo>
                <a:lnTo>
                  <a:pt x="0" y="92"/>
                </a:lnTo>
                <a:lnTo>
                  <a:pt x="2" y="88"/>
                </a:lnTo>
                <a:lnTo>
                  <a:pt x="0" y="84"/>
                </a:lnTo>
                <a:lnTo>
                  <a:pt x="0" y="82"/>
                </a:lnTo>
                <a:lnTo>
                  <a:pt x="0" y="78"/>
                </a:lnTo>
                <a:lnTo>
                  <a:pt x="0" y="72"/>
                </a:lnTo>
                <a:lnTo>
                  <a:pt x="2" y="68"/>
                </a:lnTo>
                <a:lnTo>
                  <a:pt x="8" y="60"/>
                </a:lnTo>
                <a:lnTo>
                  <a:pt x="20" y="50"/>
                </a:lnTo>
                <a:lnTo>
                  <a:pt x="22" y="46"/>
                </a:lnTo>
                <a:lnTo>
                  <a:pt x="22" y="42"/>
                </a:lnTo>
                <a:lnTo>
                  <a:pt x="22" y="40"/>
                </a:lnTo>
                <a:lnTo>
                  <a:pt x="20" y="38"/>
                </a:lnTo>
                <a:lnTo>
                  <a:pt x="18" y="36"/>
                </a:lnTo>
                <a:lnTo>
                  <a:pt x="16" y="34"/>
                </a:lnTo>
                <a:lnTo>
                  <a:pt x="18" y="30"/>
                </a:lnTo>
                <a:lnTo>
                  <a:pt x="20" y="28"/>
                </a:lnTo>
                <a:lnTo>
                  <a:pt x="22" y="26"/>
                </a:lnTo>
                <a:lnTo>
                  <a:pt x="22" y="22"/>
                </a:lnTo>
                <a:lnTo>
                  <a:pt x="24" y="22"/>
                </a:lnTo>
                <a:lnTo>
                  <a:pt x="24" y="16"/>
                </a:lnTo>
                <a:lnTo>
                  <a:pt x="22" y="12"/>
                </a:lnTo>
                <a:lnTo>
                  <a:pt x="20" y="6"/>
                </a:lnTo>
                <a:lnTo>
                  <a:pt x="22" y="0"/>
                </a:lnTo>
                <a:lnTo>
                  <a:pt x="24" y="0"/>
                </a:lnTo>
                <a:lnTo>
                  <a:pt x="3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9" name="Freeform 99">
            <a:extLst>
              <a:ext uri="{FF2B5EF4-FFF2-40B4-BE49-F238E27FC236}">
                <a16:creationId xmlns:a16="http://schemas.microsoft.com/office/drawing/2014/main" id="{979EAB9F-B2F6-4C4F-9F67-6F994712F407}"/>
              </a:ext>
            </a:extLst>
          </p:cNvPr>
          <p:cNvSpPr>
            <a:spLocks/>
          </p:cNvSpPr>
          <p:nvPr/>
        </p:nvSpPr>
        <p:spPr bwMode="auto">
          <a:xfrm>
            <a:off x="5049145" y="3878693"/>
            <a:ext cx="58148" cy="61691"/>
          </a:xfrm>
          <a:custGeom>
            <a:avLst/>
            <a:gdLst/>
            <a:ahLst/>
            <a:cxnLst>
              <a:cxn ang="0">
                <a:pos x="26" y="28"/>
              </a:cxn>
              <a:cxn ang="0">
                <a:pos x="28" y="26"/>
              </a:cxn>
              <a:cxn ang="0">
                <a:pos x="28" y="22"/>
              </a:cxn>
              <a:cxn ang="0">
                <a:pos x="30" y="22"/>
              </a:cxn>
              <a:cxn ang="0">
                <a:pos x="30" y="16"/>
              </a:cxn>
              <a:cxn ang="0">
                <a:pos x="28" y="12"/>
              </a:cxn>
              <a:cxn ang="0">
                <a:pos x="26" y="6"/>
              </a:cxn>
              <a:cxn ang="0">
                <a:pos x="28" y="0"/>
              </a:cxn>
              <a:cxn ang="0">
                <a:pos x="24" y="2"/>
              </a:cxn>
              <a:cxn ang="0">
                <a:pos x="22" y="4"/>
              </a:cxn>
              <a:cxn ang="0">
                <a:pos x="18" y="10"/>
              </a:cxn>
              <a:cxn ang="0">
                <a:pos x="8" y="10"/>
              </a:cxn>
              <a:cxn ang="0">
                <a:pos x="2" y="18"/>
              </a:cxn>
              <a:cxn ang="0">
                <a:pos x="0" y="24"/>
              </a:cxn>
              <a:cxn ang="0">
                <a:pos x="0" y="30"/>
              </a:cxn>
              <a:cxn ang="0">
                <a:pos x="0" y="32"/>
              </a:cxn>
              <a:cxn ang="0">
                <a:pos x="0" y="34"/>
              </a:cxn>
              <a:cxn ang="0">
                <a:pos x="12" y="34"/>
              </a:cxn>
              <a:cxn ang="0">
                <a:pos x="14" y="30"/>
              </a:cxn>
              <a:cxn ang="0">
                <a:pos x="14" y="28"/>
              </a:cxn>
              <a:cxn ang="0">
                <a:pos x="16" y="26"/>
              </a:cxn>
              <a:cxn ang="0">
                <a:pos x="26" y="26"/>
              </a:cxn>
              <a:cxn ang="0">
                <a:pos x="26" y="28"/>
              </a:cxn>
            </a:cxnLst>
            <a:rect l="0" t="0" r="r" b="b"/>
            <a:pathLst>
              <a:path w="30" h="34">
                <a:moveTo>
                  <a:pt x="26" y="28"/>
                </a:moveTo>
                <a:lnTo>
                  <a:pt x="28" y="26"/>
                </a:lnTo>
                <a:lnTo>
                  <a:pt x="28" y="22"/>
                </a:lnTo>
                <a:lnTo>
                  <a:pt x="30" y="22"/>
                </a:lnTo>
                <a:lnTo>
                  <a:pt x="30" y="16"/>
                </a:lnTo>
                <a:lnTo>
                  <a:pt x="28" y="12"/>
                </a:lnTo>
                <a:lnTo>
                  <a:pt x="26" y="6"/>
                </a:lnTo>
                <a:lnTo>
                  <a:pt x="28" y="0"/>
                </a:lnTo>
                <a:lnTo>
                  <a:pt x="24" y="2"/>
                </a:lnTo>
                <a:lnTo>
                  <a:pt x="22" y="4"/>
                </a:lnTo>
                <a:lnTo>
                  <a:pt x="18" y="10"/>
                </a:lnTo>
                <a:lnTo>
                  <a:pt x="8" y="10"/>
                </a:lnTo>
                <a:lnTo>
                  <a:pt x="2" y="18"/>
                </a:lnTo>
                <a:lnTo>
                  <a:pt x="0" y="24"/>
                </a:lnTo>
                <a:lnTo>
                  <a:pt x="0" y="30"/>
                </a:lnTo>
                <a:lnTo>
                  <a:pt x="0" y="32"/>
                </a:lnTo>
                <a:lnTo>
                  <a:pt x="0" y="34"/>
                </a:lnTo>
                <a:lnTo>
                  <a:pt x="12" y="34"/>
                </a:lnTo>
                <a:lnTo>
                  <a:pt x="14" y="30"/>
                </a:lnTo>
                <a:lnTo>
                  <a:pt x="14" y="28"/>
                </a:lnTo>
                <a:lnTo>
                  <a:pt x="16" y="26"/>
                </a:lnTo>
                <a:lnTo>
                  <a:pt x="26" y="26"/>
                </a:lnTo>
                <a:lnTo>
                  <a:pt x="26" y="2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0" name="Freeform 100">
            <a:extLst>
              <a:ext uri="{FF2B5EF4-FFF2-40B4-BE49-F238E27FC236}">
                <a16:creationId xmlns:a16="http://schemas.microsoft.com/office/drawing/2014/main" id="{BAA14AE8-40DF-4555-958D-E5645A96D143}"/>
              </a:ext>
            </a:extLst>
          </p:cNvPr>
          <p:cNvSpPr>
            <a:spLocks/>
          </p:cNvSpPr>
          <p:nvPr/>
        </p:nvSpPr>
        <p:spPr bwMode="auto">
          <a:xfrm>
            <a:off x="5049144" y="3925773"/>
            <a:ext cx="54728" cy="74679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2" y="12"/>
              </a:cxn>
              <a:cxn ang="0">
                <a:pos x="6" y="14"/>
              </a:cxn>
              <a:cxn ang="0">
                <a:pos x="6" y="16"/>
              </a:cxn>
              <a:cxn ang="0">
                <a:pos x="4" y="20"/>
              </a:cxn>
              <a:cxn ang="0">
                <a:pos x="4" y="24"/>
              </a:cxn>
              <a:cxn ang="0">
                <a:pos x="4" y="28"/>
              </a:cxn>
              <a:cxn ang="0">
                <a:pos x="6" y="34"/>
              </a:cxn>
              <a:cxn ang="0">
                <a:pos x="8" y="42"/>
              </a:cxn>
              <a:cxn ang="0">
                <a:pos x="14" y="34"/>
              </a:cxn>
              <a:cxn ang="0">
                <a:pos x="22" y="28"/>
              </a:cxn>
              <a:cxn ang="0">
                <a:pos x="26" y="24"/>
              </a:cxn>
              <a:cxn ang="0">
                <a:pos x="28" y="20"/>
              </a:cxn>
              <a:cxn ang="0">
                <a:pos x="28" y="16"/>
              </a:cxn>
              <a:cxn ang="0">
                <a:pos x="28" y="14"/>
              </a:cxn>
              <a:cxn ang="0">
                <a:pos x="26" y="12"/>
              </a:cxn>
              <a:cxn ang="0">
                <a:pos x="24" y="10"/>
              </a:cxn>
              <a:cxn ang="0">
                <a:pos x="22" y="8"/>
              </a:cxn>
              <a:cxn ang="0">
                <a:pos x="24" y="2"/>
              </a:cxn>
              <a:cxn ang="0">
                <a:pos x="26" y="0"/>
              </a:cxn>
              <a:cxn ang="0">
                <a:pos x="16" y="0"/>
              </a:cxn>
              <a:cxn ang="0">
                <a:pos x="14" y="2"/>
              </a:cxn>
              <a:cxn ang="0">
                <a:pos x="14" y="4"/>
              </a:cxn>
              <a:cxn ang="0">
                <a:pos x="12" y="8"/>
              </a:cxn>
              <a:cxn ang="0">
                <a:pos x="0" y="8"/>
              </a:cxn>
              <a:cxn ang="0">
                <a:pos x="0" y="6"/>
              </a:cxn>
              <a:cxn ang="0">
                <a:pos x="0" y="4"/>
              </a:cxn>
              <a:cxn ang="0">
                <a:pos x="0" y="8"/>
              </a:cxn>
            </a:cxnLst>
            <a:rect l="0" t="0" r="r" b="b"/>
            <a:pathLst>
              <a:path w="28" h="42">
                <a:moveTo>
                  <a:pt x="0" y="8"/>
                </a:moveTo>
                <a:lnTo>
                  <a:pt x="2" y="12"/>
                </a:lnTo>
                <a:lnTo>
                  <a:pt x="6" y="14"/>
                </a:lnTo>
                <a:lnTo>
                  <a:pt x="6" y="16"/>
                </a:lnTo>
                <a:lnTo>
                  <a:pt x="4" y="20"/>
                </a:lnTo>
                <a:lnTo>
                  <a:pt x="4" y="24"/>
                </a:lnTo>
                <a:lnTo>
                  <a:pt x="4" y="28"/>
                </a:lnTo>
                <a:lnTo>
                  <a:pt x="6" y="34"/>
                </a:lnTo>
                <a:lnTo>
                  <a:pt x="8" y="42"/>
                </a:lnTo>
                <a:lnTo>
                  <a:pt x="14" y="34"/>
                </a:lnTo>
                <a:lnTo>
                  <a:pt x="22" y="28"/>
                </a:lnTo>
                <a:lnTo>
                  <a:pt x="26" y="24"/>
                </a:lnTo>
                <a:lnTo>
                  <a:pt x="28" y="20"/>
                </a:lnTo>
                <a:lnTo>
                  <a:pt x="28" y="16"/>
                </a:lnTo>
                <a:lnTo>
                  <a:pt x="28" y="14"/>
                </a:lnTo>
                <a:lnTo>
                  <a:pt x="26" y="12"/>
                </a:lnTo>
                <a:lnTo>
                  <a:pt x="24" y="10"/>
                </a:lnTo>
                <a:lnTo>
                  <a:pt x="22" y="8"/>
                </a:lnTo>
                <a:lnTo>
                  <a:pt x="24" y="2"/>
                </a:lnTo>
                <a:lnTo>
                  <a:pt x="26" y="0"/>
                </a:lnTo>
                <a:lnTo>
                  <a:pt x="16" y="0"/>
                </a:lnTo>
                <a:lnTo>
                  <a:pt x="14" y="2"/>
                </a:lnTo>
                <a:lnTo>
                  <a:pt x="14" y="4"/>
                </a:lnTo>
                <a:lnTo>
                  <a:pt x="12" y="8"/>
                </a:lnTo>
                <a:lnTo>
                  <a:pt x="0" y="8"/>
                </a:lnTo>
                <a:lnTo>
                  <a:pt x="0" y="6"/>
                </a:lnTo>
                <a:lnTo>
                  <a:pt x="0" y="4"/>
                </a:lnTo>
                <a:lnTo>
                  <a:pt x="0" y="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1" name="Freeform 101">
            <a:extLst>
              <a:ext uri="{FF2B5EF4-FFF2-40B4-BE49-F238E27FC236}">
                <a16:creationId xmlns:a16="http://schemas.microsoft.com/office/drawing/2014/main" id="{1DF0A508-C38A-4B89-B790-7A32F667078B}"/>
              </a:ext>
            </a:extLst>
          </p:cNvPr>
          <p:cNvSpPr>
            <a:spLocks/>
          </p:cNvSpPr>
          <p:nvPr/>
        </p:nvSpPr>
        <p:spPr bwMode="auto">
          <a:xfrm>
            <a:off x="4522386" y="3675758"/>
            <a:ext cx="588327" cy="616914"/>
          </a:xfrm>
          <a:custGeom>
            <a:avLst/>
            <a:gdLst/>
            <a:ahLst/>
            <a:cxnLst>
              <a:cxn ang="0">
                <a:pos x="270" y="256"/>
              </a:cxn>
              <a:cxn ang="0">
                <a:pos x="258" y="266"/>
              </a:cxn>
              <a:cxn ang="0">
                <a:pos x="258" y="318"/>
              </a:cxn>
              <a:cxn ang="0">
                <a:pos x="276" y="324"/>
              </a:cxn>
              <a:cxn ang="0">
                <a:pos x="272" y="344"/>
              </a:cxn>
              <a:cxn ang="0">
                <a:pos x="262" y="338"/>
              </a:cxn>
              <a:cxn ang="0">
                <a:pos x="242" y="320"/>
              </a:cxn>
              <a:cxn ang="0">
                <a:pos x="232" y="316"/>
              </a:cxn>
              <a:cxn ang="0">
                <a:pos x="224" y="320"/>
              </a:cxn>
              <a:cxn ang="0">
                <a:pos x="208" y="312"/>
              </a:cxn>
              <a:cxn ang="0">
                <a:pos x="186" y="300"/>
              </a:cxn>
              <a:cxn ang="0">
                <a:pos x="166" y="302"/>
              </a:cxn>
              <a:cxn ang="0">
                <a:pos x="158" y="294"/>
              </a:cxn>
              <a:cxn ang="0">
                <a:pos x="152" y="280"/>
              </a:cxn>
              <a:cxn ang="0">
                <a:pos x="152" y="232"/>
              </a:cxn>
              <a:cxn ang="0">
                <a:pos x="134" y="232"/>
              </a:cxn>
              <a:cxn ang="0">
                <a:pos x="110" y="228"/>
              </a:cxn>
              <a:cxn ang="0">
                <a:pos x="106" y="242"/>
              </a:cxn>
              <a:cxn ang="0">
                <a:pos x="82" y="242"/>
              </a:cxn>
              <a:cxn ang="0">
                <a:pos x="66" y="220"/>
              </a:cxn>
              <a:cxn ang="0">
                <a:pos x="0" y="202"/>
              </a:cxn>
              <a:cxn ang="0">
                <a:pos x="8" y="184"/>
              </a:cxn>
              <a:cxn ang="0">
                <a:pos x="20" y="184"/>
              </a:cxn>
              <a:cxn ang="0">
                <a:pos x="26" y="180"/>
              </a:cxn>
              <a:cxn ang="0">
                <a:pos x="32" y="184"/>
              </a:cxn>
              <a:cxn ang="0">
                <a:pos x="46" y="182"/>
              </a:cxn>
              <a:cxn ang="0">
                <a:pos x="56" y="156"/>
              </a:cxn>
              <a:cxn ang="0">
                <a:pos x="64" y="136"/>
              </a:cxn>
              <a:cxn ang="0">
                <a:pos x="74" y="118"/>
              </a:cxn>
              <a:cxn ang="0">
                <a:pos x="82" y="108"/>
              </a:cxn>
              <a:cxn ang="0">
                <a:pos x="80" y="98"/>
              </a:cxn>
              <a:cxn ang="0">
                <a:pos x="98" y="44"/>
              </a:cxn>
              <a:cxn ang="0">
                <a:pos x="94" y="36"/>
              </a:cxn>
              <a:cxn ang="0">
                <a:pos x="98" y="16"/>
              </a:cxn>
              <a:cxn ang="0">
                <a:pos x="108" y="6"/>
              </a:cxn>
              <a:cxn ang="0">
                <a:pos x="122" y="8"/>
              </a:cxn>
              <a:cxn ang="0">
                <a:pos x="152" y="20"/>
              </a:cxn>
              <a:cxn ang="0">
                <a:pos x="162" y="18"/>
              </a:cxn>
              <a:cxn ang="0">
                <a:pos x="170" y="14"/>
              </a:cxn>
              <a:cxn ang="0">
                <a:pos x="182" y="10"/>
              </a:cxn>
              <a:cxn ang="0">
                <a:pos x="204" y="8"/>
              </a:cxn>
              <a:cxn ang="0">
                <a:pos x="216" y="2"/>
              </a:cxn>
              <a:cxn ang="0">
                <a:pos x="246" y="14"/>
              </a:cxn>
              <a:cxn ang="0">
                <a:pos x="260" y="16"/>
              </a:cxn>
              <a:cxn ang="0">
                <a:pos x="272" y="16"/>
              </a:cxn>
              <a:cxn ang="0">
                <a:pos x="284" y="24"/>
              </a:cxn>
              <a:cxn ang="0">
                <a:pos x="296" y="50"/>
              </a:cxn>
              <a:cxn ang="0">
                <a:pos x="292" y="72"/>
              </a:cxn>
              <a:cxn ang="0">
                <a:pos x="274" y="102"/>
              </a:cxn>
              <a:cxn ang="0">
                <a:pos x="268" y="132"/>
              </a:cxn>
              <a:cxn ang="0">
                <a:pos x="268" y="152"/>
              </a:cxn>
              <a:cxn ang="0">
                <a:pos x="270" y="160"/>
              </a:cxn>
              <a:cxn ang="0">
                <a:pos x="272" y="174"/>
              </a:cxn>
              <a:cxn ang="0">
                <a:pos x="272" y="192"/>
              </a:cxn>
              <a:cxn ang="0">
                <a:pos x="274" y="202"/>
              </a:cxn>
              <a:cxn ang="0">
                <a:pos x="272" y="214"/>
              </a:cxn>
              <a:cxn ang="0">
                <a:pos x="288" y="228"/>
              </a:cxn>
              <a:cxn ang="0">
                <a:pos x="292" y="248"/>
              </a:cxn>
            </a:cxnLst>
            <a:rect l="0" t="0" r="r" b="b"/>
            <a:pathLst>
              <a:path w="298" h="346">
                <a:moveTo>
                  <a:pt x="290" y="248"/>
                </a:moveTo>
                <a:lnTo>
                  <a:pt x="280" y="250"/>
                </a:lnTo>
                <a:lnTo>
                  <a:pt x="270" y="256"/>
                </a:lnTo>
                <a:lnTo>
                  <a:pt x="264" y="258"/>
                </a:lnTo>
                <a:lnTo>
                  <a:pt x="260" y="262"/>
                </a:lnTo>
                <a:lnTo>
                  <a:pt x="258" y="266"/>
                </a:lnTo>
                <a:lnTo>
                  <a:pt x="256" y="272"/>
                </a:lnTo>
                <a:lnTo>
                  <a:pt x="256" y="310"/>
                </a:lnTo>
                <a:lnTo>
                  <a:pt x="258" y="318"/>
                </a:lnTo>
                <a:lnTo>
                  <a:pt x="260" y="320"/>
                </a:lnTo>
                <a:lnTo>
                  <a:pt x="266" y="324"/>
                </a:lnTo>
                <a:lnTo>
                  <a:pt x="276" y="324"/>
                </a:lnTo>
                <a:lnTo>
                  <a:pt x="276" y="336"/>
                </a:lnTo>
                <a:lnTo>
                  <a:pt x="274" y="340"/>
                </a:lnTo>
                <a:lnTo>
                  <a:pt x="272" y="344"/>
                </a:lnTo>
                <a:lnTo>
                  <a:pt x="268" y="346"/>
                </a:lnTo>
                <a:lnTo>
                  <a:pt x="266" y="346"/>
                </a:lnTo>
                <a:lnTo>
                  <a:pt x="262" y="338"/>
                </a:lnTo>
                <a:lnTo>
                  <a:pt x="258" y="334"/>
                </a:lnTo>
                <a:lnTo>
                  <a:pt x="248" y="326"/>
                </a:lnTo>
                <a:lnTo>
                  <a:pt x="242" y="320"/>
                </a:lnTo>
                <a:lnTo>
                  <a:pt x="238" y="318"/>
                </a:lnTo>
                <a:lnTo>
                  <a:pt x="238" y="314"/>
                </a:lnTo>
                <a:lnTo>
                  <a:pt x="232" y="316"/>
                </a:lnTo>
                <a:lnTo>
                  <a:pt x="230" y="318"/>
                </a:lnTo>
                <a:lnTo>
                  <a:pt x="228" y="318"/>
                </a:lnTo>
                <a:lnTo>
                  <a:pt x="224" y="320"/>
                </a:lnTo>
                <a:lnTo>
                  <a:pt x="218" y="318"/>
                </a:lnTo>
                <a:lnTo>
                  <a:pt x="212" y="316"/>
                </a:lnTo>
                <a:lnTo>
                  <a:pt x="208" y="312"/>
                </a:lnTo>
                <a:lnTo>
                  <a:pt x="206" y="308"/>
                </a:lnTo>
                <a:lnTo>
                  <a:pt x="190" y="302"/>
                </a:lnTo>
                <a:lnTo>
                  <a:pt x="186" y="300"/>
                </a:lnTo>
                <a:lnTo>
                  <a:pt x="178" y="300"/>
                </a:lnTo>
                <a:lnTo>
                  <a:pt x="170" y="300"/>
                </a:lnTo>
                <a:lnTo>
                  <a:pt x="166" y="302"/>
                </a:lnTo>
                <a:lnTo>
                  <a:pt x="162" y="302"/>
                </a:lnTo>
                <a:lnTo>
                  <a:pt x="156" y="300"/>
                </a:lnTo>
                <a:lnTo>
                  <a:pt x="158" y="294"/>
                </a:lnTo>
                <a:lnTo>
                  <a:pt x="158" y="290"/>
                </a:lnTo>
                <a:lnTo>
                  <a:pt x="156" y="282"/>
                </a:lnTo>
                <a:lnTo>
                  <a:pt x="152" y="280"/>
                </a:lnTo>
                <a:lnTo>
                  <a:pt x="152" y="276"/>
                </a:lnTo>
                <a:lnTo>
                  <a:pt x="154" y="254"/>
                </a:lnTo>
                <a:lnTo>
                  <a:pt x="152" y="232"/>
                </a:lnTo>
                <a:lnTo>
                  <a:pt x="146" y="234"/>
                </a:lnTo>
                <a:lnTo>
                  <a:pt x="138" y="234"/>
                </a:lnTo>
                <a:lnTo>
                  <a:pt x="134" y="232"/>
                </a:lnTo>
                <a:lnTo>
                  <a:pt x="132" y="230"/>
                </a:lnTo>
                <a:lnTo>
                  <a:pt x="130" y="228"/>
                </a:lnTo>
                <a:lnTo>
                  <a:pt x="110" y="228"/>
                </a:lnTo>
                <a:lnTo>
                  <a:pt x="110" y="236"/>
                </a:lnTo>
                <a:lnTo>
                  <a:pt x="108" y="240"/>
                </a:lnTo>
                <a:lnTo>
                  <a:pt x="106" y="242"/>
                </a:lnTo>
                <a:lnTo>
                  <a:pt x="98" y="242"/>
                </a:lnTo>
                <a:lnTo>
                  <a:pt x="86" y="242"/>
                </a:lnTo>
                <a:lnTo>
                  <a:pt x="82" y="242"/>
                </a:lnTo>
                <a:lnTo>
                  <a:pt x="80" y="240"/>
                </a:lnTo>
                <a:lnTo>
                  <a:pt x="72" y="232"/>
                </a:lnTo>
                <a:lnTo>
                  <a:pt x="66" y="220"/>
                </a:lnTo>
                <a:lnTo>
                  <a:pt x="66" y="208"/>
                </a:lnTo>
                <a:lnTo>
                  <a:pt x="2" y="208"/>
                </a:lnTo>
                <a:lnTo>
                  <a:pt x="0" y="202"/>
                </a:lnTo>
                <a:lnTo>
                  <a:pt x="2" y="190"/>
                </a:lnTo>
                <a:lnTo>
                  <a:pt x="4" y="186"/>
                </a:lnTo>
                <a:lnTo>
                  <a:pt x="8" y="184"/>
                </a:lnTo>
                <a:lnTo>
                  <a:pt x="14" y="184"/>
                </a:lnTo>
                <a:lnTo>
                  <a:pt x="16" y="184"/>
                </a:lnTo>
                <a:lnTo>
                  <a:pt x="20" y="184"/>
                </a:lnTo>
                <a:lnTo>
                  <a:pt x="22" y="182"/>
                </a:lnTo>
                <a:lnTo>
                  <a:pt x="24" y="180"/>
                </a:lnTo>
                <a:lnTo>
                  <a:pt x="26" y="180"/>
                </a:lnTo>
                <a:lnTo>
                  <a:pt x="30" y="180"/>
                </a:lnTo>
                <a:lnTo>
                  <a:pt x="30" y="184"/>
                </a:lnTo>
                <a:lnTo>
                  <a:pt x="32" y="184"/>
                </a:lnTo>
                <a:lnTo>
                  <a:pt x="36" y="184"/>
                </a:lnTo>
                <a:lnTo>
                  <a:pt x="42" y="184"/>
                </a:lnTo>
                <a:lnTo>
                  <a:pt x="46" y="182"/>
                </a:lnTo>
                <a:lnTo>
                  <a:pt x="50" y="176"/>
                </a:lnTo>
                <a:lnTo>
                  <a:pt x="52" y="168"/>
                </a:lnTo>
                <a:lnTo>
                  <a:pt x="56" y="156"/>
                </a:lnTo>
                <a:lnTo>
                  <a:pt x="56" y="142"/>
                </a:lnTo>
                <a:lnTo>
                  <a:pt x="60" y="140"/>
                </a:lnTo>
                <a:lnTo>
                  <a:pt x="64" y="136"/>
                </a:lnTo>
                <a:lnTo>
                  <a:pt x="66" y="126"/>
                </a:lnTo>
                <a:lnTo>
                  <a:pt x="70" y="122"/>
                </a:lnTo>
                <a:lnTo>
                  <a:pt x="74" y="118"/>
                </a:lnTo>
                <a:lnTo>
                  <a:pt x="78" y="116"/>
                </a:lnTo>
                <a:lnTo>
                  <a:pt x="80" y="112"/>
                </a:lnTo>
                <a:lnTo>
                  <a:pt x="82" y="108"/>
                </a:lnTo>
                <a:lnTo>
                  <a:pt x="80" y="104"/>
                </a:lnTo>
                <a:lnTo>
                  <a:pt x="80" y="102"/>
                </a:lnTo>
                <a:lnTo>
                  <a:pt x="80" y="98"/>
                </a:lnTo>
                <a:lnTo>
                  <a:pt x="92" y="68"/>
                </a:lnTo>
                <a:lnTo>
                  <a:pt x="96" y="54"/>
                </a:lnTo>
                <a:lnTo>
                  <a:pt x="98" y="44"/>
                </a:lnTo>
                <a:lnTo>
                  <a:pt x="96" y="40"/>
                </a:lnTo>
                <a:lnTo>
                  <a:pt x="96" y="38"/>
                </a:lnTo>
                <a:lnTo>
                  <a:pt x="94" y="36"/>
                </a:lnTo>
                <a:lnTo>
                  <a:pt x="94" y="34"/>
                </a:lnTo>
                <a:lnTo>
                  <a:pt x="96" y="24"/>
                </a:lnTo>
                <a:lnTo>
                  <a:pt x="98" y="16"/>
                </a:lnTo>
                <a:lnTo>
                  <a:pt x="100" y="12"/>
                </a:lnTo>
                <a:lnTo>
                  <a:pt x="104" y="10"/>
                </a:lnTo>
                <a:lnTo>
                  <a:pt x="108" y="6"/>
                </a:lnTo>
                <a:lnTo>
                  <a:pt x="110" y="6"/>
                </a:lnTo>
                <a:lnTo>
                  <a:pt x="116" y="6"/>
                </a:lnTo>
                <a:lnTo>
                  <a:pt x="122" y="8"/>
                </a:lnTo>
                <a:lnTo>
                  <a:pt x="134" y="14"/>
                </a:lnTo>
                <a:lnTo>
                  <a:pt x="144" y="20"/>
                </a:lnTo>
                <a:lnTo>
                  <a:pt x="152" y="20"/>
                </a:lnTo>
                <a:lnTo>
                  <a:pt x="160" y="20"/>
                </a:lnTo>
                <a:lnTo>
                  <a:pt x="162" y="20"/>
                </a:lnTo>
                <a:lnTo>
                  <a:pt x="162" y="18"/>
                </a:lnTo>
                <a:lnTo>
                  <a:pt x="164" y="14"/>
                </a:lnTo>
                <a:lnTo>
                  <a:pt x="166" y="12"/>
                </a:lnTo>
                <a:lnTo>
                  <a:pt x="170" y="14"/>
                </a:lnTo>
                <a:lnTo>
                  <a:pt x="172" y="14"/>
                </a:lnTo>
                <a:lnTo>
                  <a:pt x="178" y="12"/>
                </a:lnTo>
                <a:lnTo>
                  <a:pt x="182" y="10"/>
                </a:lnTo>
                <a:lnTo>
                  <a:pt x="188" y="8"/>
                </a:lnTo>
                <a:lnTo>
                  <a:pt x="192" y="8"/>
                </a:lnTo>
                <a:lnTo>
                  <a:pt x="204" y="8"/>
                </a:lnTo>
                <a:lnTo>
                  <a:pt x="206" y="2"/>
                </a:lnTo>
                <a:lnTo>
                  <a:pt x="210" y="0"/>
                </a:lnTo>
                <a:lnTo>
                  <a:pt x="216" y="2"/>
                </a:lnTo>
                <a:lnTo>
                  <a:pt x="224" y="4"/>
                </a:lnTo>
                <a:lnTo>
                  <a:pt x="236" y="4"/>
                </a:lnTo>
                <a:lnTo>
                  <a:pt x="246" y="14"/>
                </a:lnTo>
                <a:lnTo>
                  <a:pt x="252" y="16"/>
                </a:lnTo>
                <a:lnTo>
                  <a:pt x="260" y="20"/>
                </a:lnTo>
                <a:lnTo>
                  <a:pt x="260" y="16"/>
                </a:lnTo>
                <a:lnTo>
                  <a:pt x="264" y="16"/>
                </a:lnTo>
                <a:lnTo>
                  <a:pt x="268" y="20"/>
                </a:lnTo>
                <a:lnTo>
                  <a:pt x="272" y="16"/>
                </a:lnTo>
                <a:lnTo>
                  <a:pt x="280" y="16"/>
                </a:lnTo>
                <a:lnTo>
                  <a:pt x="282" y="20"/>
                </a:lnTo>
                <a:lnTo>
                  <a:pt x="284" y="24"/>
                </a:lnTo>
                <a:lnTo>
                  <a:pt x="294" y="32"/>
                </a:lnTo>
                <a:lnTo>
                  <a:pt x="296" y="44"/>
                </a:lnTo>
                <a:lnTo>
                  <a:pt x="296" y="50"/>
                </a:lnTo>
                <a:lnTo>
                  <a:pt x="298" y="54"/>
                </a:lnTo>
                <a:lnTo>
                  <a:pt x="298" y="64"/>
                </a:lnTo>
                <a:lnTo>
                  <a:pt x="292" y="72"/>
                </a:lnTo>
                <a:lnTo>
                  <a:pt x="286" y="80"/>
                </a:lnTo>
                <a:lnTo>
                  <a:pt x="280" y="92"/>
                </a:lnTo>
                <a:lnTo>
                  <a:pt x="274" y="102"/>
                </a:lnTo>
                <a:lnTo>
                  <a:pt x="274" y="124"/>
                </a:lnTo>
                <a:lnTo>
                  <a:pt x="272" y="128"/>
                </a:lnTo>
                <a:lnTo>
                  <a:pt x="268" y="132"/>
                </a:lnTo>
                <a:lnTo>
                  <a:pt x="266" y="138"/>
                </a:lnTo>
                <a:lnTo>
                  <a:pt x="266" y="148"/>
                </a:lnTo>
                <a:lnTo>
                  <a:pt x="268" y="152"/>
                </a:lnTo>
                <a:lnTo>
                  <a:pt x="272" y="154"/>
                </a:lnTo>
                <a:lnTo>
                  <a:pt x="272" y="156"/>
                </a:lnTo>
                <a:lnTo>
                  <a:pt x="270" y="160"/>
                </a:lnTo>
                <a:lnTo>
                  <a:pt x="270" y="164"/>
                </a:lnTo>
                <a:lnTo>
                  <a:pt x="270" y="168"/>
                </a:lnTo>
                <a:lnTo>
                  <a:pt x="272" y="174"/>
                </a:lnTo>
                <a:lnTo>
                  <a:pt x="274" y="182"/>
                </a:lnTo>
                <a:lnTo>
                  <a:pt x="272" y="186"/>
                </a:lnTo>
                <a:lnTo>
                  <a:pt x="272" y="192"/>
                </a:lnTo>
                <a:lnTo>
                  <a:pt x="272" y="196"/>
                </a:lnTo>
                <a:lnTo>
                  <a:pt x="272" y="198"/>
                </a:lnTo>
                <a:lnTo>
                  <a:pt x="274" y="202"/>
                </a:lnTo>
                <a:lnTo>
                  <a:pt x="272" y="206"/>
                </a:lnTo>
                <a:lnTo>
                  <a:pt x="272" y="208"/>
                </a:lnTo>
                <a:lnTo>
                  <a:pt x="272" y="214"/>
                </a:lnTo>
                <a:lnTo>
                  <a:pt x="278" y="218"/>
                </a:lnTo>
                <a:lnTo>
                  <a:pt x="282" y="224"/>
                </a:lnTo>
                <a:lnTo>
                  <a:pt x="288" y="228"/>
                </a:lnTo>
                <a:lnTo>
                  <a:pt x="288" y="234"/>
                </a:lnTo>
                <a:lnTo>
                  <a:pt x="290" y="240"/>
                </a:lnTo>
                <a:lnTo>
                  <a:pt x="292" y="248"/>
                </a:lnTo>
                <a:lnTo>
                  <a:pt x="290" y="24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2" name="Freeform 102">
            <a:extLst>
              <a:ext uri="{FF2B5EF4-FFF2-40B4-BE49-F238E27FC236}">
                <a16:creationId xmlns:a16="http://schemas.microsoft.com/office/drawing/2014/main" id="{8DB9458B-123B-4FCC-95C4-FD38EE64F22A}"/>
              </a:ext>
            </a:extLst>
          </p:cNvPr>
          <p:cNvSpPr>
            <a:spLocks/>
          </p:cNvSpPr>
          <p:nvPr/>
        </p:nvSpPr>
        <p:spPr bwMode="auto">
          <a:xfrm>
            <a:off x="5074798" y="4196891"/>
            <a:ext cx="343760" cy="532495"/>
          </a:xfrm>
          <a:custGeom>
            <a:avLst/>
            <a:gdLst/>
            <a:ahLst/>
            <a:cxnLst>
              <a:cxn ang="0">
                <a:pos x="32" y="288"/>
              </a:cxn>
              <a:cxn ang="0">
                <a:pos x="34" y="274"/>
              </a:cxn>
              <a:cxn ang="0">
                <a:pos x="44" y="268"/>
              </a:cxn>
              <a:cxn ang="0">
                <a:pos x="66" y="258"/>
              </a:cxn>
              <a:cxn ang="0">
                <a:pos x="74" y="248"/>
              </a:cxn>
              <a:cxn ang="0">
                <a:pos x="78" y="218"/>
              </a:cxn>
              <a:cxn ang="0">
                <a:pos x="76" y="204"/>
              </a:cxn>
              <a:cxn ang="0">
                <a:pos x="74" y="192"/>
              </a:cxn>
              <a:cxn ang="0">
                <a:pos x="70" y="182"/>
              </a:cxn>
              <a:cxn ang="0">
                <a:pos x="70" y="172"/>
              </a:cxn>
              <a:cxn ang="0">
                <a:pos x="76" y="162"/>
              </a:cxn>
              <a:cxn ang="0">
                <a:pos x="94" y="152"/>
              </a:cxn>
              <a:cxn ang="0">
                <a:pos x="102" y="140"/>
              </a:cxn>
              <a:cxn ang="0">
                <a:pos x="112" y="128"/>
              </a:cxn>
              <a:cxn ang="0">
                <a:pos x="150" y="108"/>
              </a:cxn>
              <a:cxn ang="0">
                <a:pos x="162" y="94"/>
              </a:cxn>
              <a:cxn ang="0">
                <a:pos x="168" y="76"/>
              </a:cxn>
              <a:cxn ang="0">
                <a:pos x="170" y="56"/>
              </a:cxn>
              <a:cxn ang="0">
                <a:pos x="174" y="48"/>
              </a:cxn>
              <a:cxn ang="0">
                <a:pos x="172" y="10"/>
              </a:cxn>
              <a:cxn ang="0">
                <a:pos x="166" y="2"/>
              </a:cxn>
              <a:cxn ang="0">
                <a:pos x="154" y="6"/>
              </a:cxn>
              <a:cxn ang="0">
                <a:pos x="130" y="14"/>
              </a:cxn>
              <a:cxn ang="0">
                <a:pos x="124" y="18"/>
              </a:cxn>
              <a:cxn ang="0">
                <a:pos x="118" y="20"/>
              </a:cxn>
              <a:cxn ang="0">
                <a:pos x="112" y="18"/>
              </a:cxn>
              <a:cxn ang="0">
                <a:pos x="106" y="20"/>
              </a:cxn>
              <a:cxn ang="0">
                <a:pos x="100" y="22"/>
              </a:cxn>
              <a:cxn ang="0">
                <a:pos x="72" y="28"/>
              </a:cxn>
              <a:cxn ang="0">
                <a:pos x="72" y="42"/>
              </a:cxn>
              <a:cxn ang="0">
                <a:pos x="80" y="56"/>
              </a:cxn>
              <a:cxn ang="0">
                <a:pos x="92" y="74"/>
              </a:cxn>
              <a:cxn ang="0">
                <a:pos x="92" y="88"/>
              </a:cxn>
              <a:cxn ang="0">
                <a:pos x="88" y="100"/>
              </a:cxn>
              <a:cxn ang="0">
                <a:pos x="82" y="106"/>
              </a:cxn>
              <a:cxn ang="0">
                <a:pos x="78" y="110"/>
              </a:cxn>
              <a:cxn ang="0">
                <a:pos x="76" y="114"/>
              </a:cxn>
              <a:cxn ang="0">
                <a:pos x="68" y="108"/>
              </a:cxn>
              <a:cxn ang="0">
                <a:pos x="68" y="90"/>
              </a:cxn>
              <a:cxn ang="0">
                <a:pos x="70" y="72"/>
              </a:cxn>
              <a:cxn ang="0">
                <a:pos x="56" y="72"/>
              </a:cxn>
              <a:cxn ang="0">
                <a:pos x="50" y="64"/>
              </a:cxn>
              <a:cxn ang="0">
                <a:pos x="34" y="70"/>
              </a:cxn>
              <a:cxn ang="0">
                <a:pos x="12" y="76"/>
              </a:cxn>
              <a:cxn ang="0">
                <a:pos x="0" y="82"/>
              </a:cxn>
              <a:cxn ang="0">
                <a:pos x="18" y="102"/>
              </a:cxn>
              <a:cxn ang="0">
                <a:pos x="36" y="110"/>
              </a:cxn>
              <a:cxn ang="0">
                <a:pos x="44" y="120"/>
              </a:cxn>
              <a:cxn ang="0">
                <a:pos x="44" y="136"/>
              </a:cxn>
              <a:cxn ang="0">
                <a:pos x="40" y="148"/>
              </a:cxn>
              <a:cxn ang="0">
                <a:pos x="40" y="168"/>
              </a:cxn>
              <a:cxn ang="0">
                <a:pos x="36" y="188"/>
              </a:cxn>
              <a:cxn ang="0">
                <a:pos x="18" y="208"/>
              </a:cxn>
              <a:cxn ang="0">
                <a:pos x="14" y="226"/>
              </a:cxn>
              <a:cxn ang="0">
                <a:pos x="20" y="242"/>
              </a:cxn>
              <a:cxn ang="0">
                <a:pos x="20" y="258"/>
              </a:cxn>
              <a:cxn ang="0">
                <a:pos x="18" y="298"/>
              </a:cxn>
              <a:cxn ang="0">
                <a:pos x="30" y="298"/>
              </a:cxn>
            </a:cxnLst>
            <a:rect l="0" t="0" r="r" b="b"/>
            <a:pathLst>
              <a:path w="174" h="298">
                <a:moveTo>
                  <a:pt x="30" y="298"/>
                </a:moveTo>
                <a:lnTo>
                  <a:pt x="32" y="288"/>
                </a:lnTo>
                <a:lnTo>
                  <a:pt x="32" y="282"/>
                </a:lnTo>
                <a:lnTo>
                  <a:pt x="34" y="274"/>
                </a:lnTo>
                <a:lnTo>
                  <a:pt x="38" y="270"/>
                </a:lnTo>
                <a:lnTo>
                  <a:pt x="44" y="268"/>
                </a:lnTo>
                <a:lnTo>
                  <a:pt x="50" y="264"/>
                </a:lnTo>
                <a:lnTo>
                  <a:pt x="66" y="258"/>
                </a:lnTo>
                <a:lnTo>
                  <a:pt x="72" y="254"/>
                </a:lnTo>
                <a:lnTo>
                  <a:pt x="74" y="248"/>
                </a:lnTo>
                <a:lnTo>
                  <a:pt x="78" y="232"/>
                </a:lnTo>
                <a:lnTo>
                  <a:pt x="78" y="218"/>
                </a:lnTo>
                <a:lnTo>
                  <a:pt x="78" y="210"/>
                </a:lnTo>
                <a:lnTo>
                  <a:pt x="76" y="204"/>
                </a:lnTo>
                <a:lnTo>
                  <a:pt x="74" y="196"/>
                </a:lnTo>
                <a:lnTo>
                  <a:pt x="74" y="192"/>
                </a:lnTo>
                <a:lnTo>
                  <a:pt x="74" y="186"/>
                </a:lnTo>
                <a:lnTo>
                  <a:pt x="70" y="182"/>
                </a:lnTo>
                <a:lnTo>
                  <a:pt x="70" y="178"/>
                </a:lnTo>
                <a:lnTo>
                  <a:pt x="70" y="172"/>
                </a:lnTo>
                <a:lnTo>
                  <a:pt x="72" y="168"/>
                </a:lnTo>
                <a:lnTo>
                  <a:pt x="76" y="162"/>
                </a:lnTo>
                <a:lnTo>
                  <a:pt x="86" y="156"/>
                </a:lnTo>
                <a:lnTo>
                  <a:pt x="94" y="152"/>
                </a:lnTo>
                <a:lnTo>
                  <a:pt x="100" y="148"/>
                </a:lnTo>
                <a:lnTo>
                  <a:pt x="102" y="140"/>
                </a:lnTo>
                <a:lnTo>
                  <a:pt x="108" y="134"/>
                </a:lnTo>
                <a:lnTo>
                  <a:pt x="112" y="128"/>
                </a:lnTo>
                <a:lnTo>
                  <a:pt x="130" y="116"/>
                </a:lnTo>
                <a:lnTo>
                  <a:pt x="150" y="108"/>
                </a:lnTo>
                <a:lnTo>
                  <a:pt x="156" y="100"/>
                </a:lnTo>
                <a:lnTo>
                  <a:pt x="162" y="94"/>
                </a:lnTo>
                <a:lnTo>
                  <a:pt x="168" y="84"/>
                </a:lnTo>
                <a:lnTo>
                  <a:pt x="168" y="76"/>
                </a:lnTo>
                <a:lnTo>
                  <a:pt x="168" y="66"/>
                </a:lnTo>
                <a:lnTo>
                  <a:pt x="170" y="56"/>
                </a:lnTo>
                <a:lnTo>
                  <a:pt x="170" y="50"/>
                </a:lnTo>
                <a:lnTo>
                  <a:pt x="174" y="48"/>
                </a:lnTo>
                <a:lnTo>
                  <a:pt x="172" y="22"/>
                </a:lnTo>
                <a:lnTo>
                  <a:pt x="172" y="10"/>
                </a:lnTo>
                <a:lnTo>
                  <a:pt x="174" y="0"/>
                </a:lnTo>
                <a:lnTo>
                  <a:pt x="166" y="2"/>
                </a:lnTo>
                <a:lnTo>
                  <a:pt x="158" y="2"/>
                </a:lnTo>
                <a:lnTo>
                  <a:pt x="154" y="6"/>
                </a:lnTo>
                <a:lnTo>
                  <a:pt x="144" y="10"/>
                </a:lnTo>
                <a:lnTo>
                  <a:pt x="130" y="14"/>
                </a:lnTo>
                <a:lnTo>
                  <a:pt x="126" y="16"/>
                </a:lnTo>
                <a:lnTo>
                  <a:pt x="124" y="18"/>
                </a:lnTo>
                <a:lnTo>
                  <a:pt x="122" y="20"/>
                </a:lnTo>
                <a:lnTo>
                  <a:pt x="118" y="20"/>
                </a:lnTo>
                <a:lnTo>
                  <a:pt x="114" y="20"/>
                </a:lnTo>
                <a:lnTo>
                  <a:pt x="112" y="18"/>
                </a:lnTo>
                <a:lnTo>
                  <a:pt x="108" y="18"/>
                </a:lnTo>
                <a:lnTo>
                  <a:pt x="106" y="20"/>
                </a:lnTo>
                <a:lnTo>
                  <a:pt x="104" y="22"/>
                </a:lnTo>
                <a:lnTo>
                  <a:pt x="100" y="22"/>
                </a:lnTo>
                <a:lnTo>
                  <a:pt x="74" y="20"/>
                </a:lnTo>
                <a:lnTo>
                  <a:pt x="72" y="28"/>
                </a:lnTo>
                <a:lnTo>
                  <a:pt x="70" y="36"/>
                </a:lnTo>
                <a:lnTo>
                  <a:pt x="72" y="42"/>
                </a:lnTo>
                <a:lnTo>
                  <a:pt x="74" y="48"/>
                </a:lnTo>
                <a:lnTo>
                  <a:pt x="80" y="56"/>
                </a:lnTo>
                <a:lnTo>
                  <a:pt x="88" y="68"/>
                </a:lnTo>
                <a:lnTo>
                  <a:pt x="92" y="74"/>
                </a:lnTo>
                <a:lnTo>
                  <a:pt x="92" y="80"/>
                </a:lnTo>
                <a:lnTo>
                  <a:pt x="92" y="88"/>
                </a:lnTo>
                <a:lnTo>
                  <a:pt x="90" y="94"/>
                </a:lnTo>
                <a:lnTo>
                  <a:pt x="88" y="100"/>
                </a:lnTo>
                <a:lnTo>
                  <a:pt x="86" y="102"/>
                </a:lnTo>
                <a:lnTo>
                  <a:pt x="82" y="106"/>
                </a:lnTo>
                <a:lnTo>
                  <a:pt x="80" y="108"/>
                </a:lnTo>
                <a:lnTo>
                  <a:pt x="78" y="110"/>
                </a:lnTo>
                <a:lnTo>
                  <a:pt x="78" y="118"/>
                </a:lnTo>
                <a:lnTo>
                  <a:pt x="76" y="114"/>
                </a:lnTo>
                <a:lnTo>
                  <a:pt x="72" y="110"/>
                </a:lnTo>
                <a:lnTo>
                  <a:pt x="68" y="108"/>
                </a:lnTo>
                <a:lnTo>
                  <a:pt x="66" y="100"/>
                </a:lnTo>
                <a:lnTo>
                  <a:pt x="68" y="90"/>
                </a:lnTo>
                <a:lnTo>
                  <a:pt x="70" y="82"/>
                </a:lnTo>
                <a:lnTo>
                  <a:pt x="70" y="72"/>
                </a:lnTo>
                <a:lnTo>
                  <a:pt x="62" y="72"/>
                </a:lnTo>
                <a:lnTo>
                  <a:pt x="56" y="72"/>
                </a:lnTo>
                <a:lnTo>
                  <a:pt x="52" y="70"/>
                </a:lnTo>
                <a:lnTo>
                  <a:pt x="50" y="64"/>
                </a:lnTo>
                <a:lnTo>
                  <a:pt x="44" y="64"/>
                </a:lnTo>
                <a:lnTo>
                  <a:pt x="34" y="70"/>
                </a:lnTo>
                <a:lnTo>
                  <a:pt x="22" y="72"/>
                </a:lnTo>
                <a:lnTo>
                  <a:pt x="12" y="76"/>
                </a:lnTo>
                <a:lnTo>
                  <a:pt x="6" y="80"/>
                </a:lnTo>
                <a:lnTo>
                  <a:pt x="0" y="82"/>
                </a:lnTo>
                <a:lnTo>
                  <a:pt x="2" y="98"/>
                </a:lnTo>
                <a:lnTo>
                  <a:pt x="18" y="102"/>
                </a:lnTo>
                <a:lnTo>
                  <a:pt x="30" y="106"/>
                </a:lnTo>
                <a:lnTo>
                  <a:pt x="36" y="110"/>
                </a:lnTo>
                <a:lnTo>
                  <a:pt x="40" y="114"/>
                </a:lnTo>
                <a:lnTo>
                  <a:pt x="44" y="120"/>
                </a:lnTo>
                <a:lnTo>
                  <a:pt x="44" y="128"/>
                </a:lnTo>
                <a:lnTo>
                  <a:pt x="44" y="136"/>
                </a:lnTo>
                <a:lnTo>
                  <a:pt x="42" y="142"/>
                </a:lnTo>
                <a:lnTo>
                  <a:pt x="40" y="148"/>
                </a:lnTo>
                <a:lnTo>
                  <a:pt x="40" y="158"/>
                </a:lnTo>
                <a:lnTo>
                  <a:pt x="40" y="168"/>
                </a:lnTo>
                <a:lnTo>
                  <a:pt x="38" y="178"/>
                </a:lnTo>
                <a:lnTo>
                  <a:pt x="36" y="188"/>
                </a:lnTo>
                <a:lnTo>
                  <a:pt x="30" y="196"/>
                </a:lnTo>
                <a:lnTo>
                  <a:pt x="18" y="208"/>
                </a:lnTo>
                <a:lnTo>
                  <a:pt x="14" y="218"/>
                </a:lnTo>
                <a:lnTo>
                  <a:pt x="14" y="226"/>
                </a:lnTo>
                <a:lnTo>
                  <a:pt x="18" y="234"/>
                </a:lnTo>
                <a:lnTo>
                  <a:pt x="20" y="242"/>
                </a:lnTo>
                <a:lnTo>
                  <a:pt x="22" y="250"/>
                </a:lnTo>
                <a:lnTo>
                  <a:pt x="20" y="258"/>
                </a:lnTo>
                <a:lnTo>
                  <a:pt x="18" y="264"/>
                </a:lnTo>
                <a:lnTo>
                  <a:pt x="18" y="298"/>
                </a:lnTo>
                <a:lnTo>
                  <a:pt x="28" y="298"/>
                </a:lnTo>
                <a:lnTo>
                  <a:pt x="30" y="2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3" name="Freeform 103">
            <a:extLst>
              <a:ext uri="{FF2B5EF4-FFF2-40B4-BE49-F238E27FC236}">
                <a16:creationId xmlns:a16="http://schemas.microsoft.com/office/drawing/2014/main" id="{88D8371B-5570-4583-BAAF-D1777E422E34}"/>
              </a:ext>
            </a:extLst>
          </p:cNvPr>
          <p:cNvSpPr>
            <a:spLocks/>
          </p:cNvSpPr>
          <p:nvPr/>
        </p:nvSpPr>
        <p:spPr bwMode="auto">
          <a:xfrm>
            <a:off x="4631844" y="4571910"/>
            <a:ext cx="506234" cy="417229"/>
          </a:xfrm>
          <a:custGeom>
            <a:avLst/>
            <a:gdLst/>
            <a:ahLst/>
            <a:cxnLst>
              <a:cxn ang="0">
                <a:pos x="252" y="92"/>
              </a:cxn>
              <a:cxn ang="0">
                <a:pos x="256" y="100"/>
              </a:cxn>
              <a:cxn ang="0">
                <a:pos x="256" y="108"/>
              </a:cxn>
              <a:cxn ang="0">
                <a:pos x="248" y="118"/>
              </a:cxn>
              <a:cxn ang="0">
                <a:pos x="226" y="136"/>
              </a:cxn>
              <a:cxn ang="0">
                <a:pos x="206" y="170"/>
              </a:cxn>
              <a:cxn ang="0">
                <a:pos x="182" y="198"/>
              </a:cxn>
              <a:cxn ang="0">
                <a:pos x="162" y="206"/>
              </a:cxn>
              <a:cxn ang="0">
                <a:pos x="146" y="212"/>
              </a:cxn>
              <a:cxn ang="0">
                <a:pos x="132" y="220"/>
              </a:cxn>
              <a:cxn ang="0">
                <a:pos x="112" y="222"/>
              </a:cxn>
              <a:cxn ang="0">
                <a:pos x="82" y="220"/>
              </a:cxn>
              <a:cxn ang="0">
                <a:pos x="78" y="228"/>
              </a:cxn>
              <a:cxn ang="0">
                <a:pos x="58" y="228"/>
              </a:cxn>
              <a:cxn ang="0">
                <a:pos x="46" y="234"/>
              </a:cxn>
              <a:cxn ang="0">
                <a:pos x="22" y="210"/>
              </a:cxn>
              <a:cxn ang="0">
                <a:pos x="22" y="200"/>
              </a:cxn>
              <a:cxn ang="0">
                <a:pos x="24" y="184"/>
              </a:cxn>
              <a:cxn ang="0">
                <a:pos x="20" y="174"/>
              </a:cxn>
              <a:cxn ang="0">
                <a:pos x="16" y="166"/>
              </a:cxn>
              <a:cxn ang="0">
                <a:pos x="10" y="140"/>
              </a:cxn>
              <a:cxn ang="0">
                <a:pos x="0" y="122"/>
              </a:cxn>
              <a:cxn ang="0">
                <a:pos x="6" y="114"/>
              </a:cxn>
              <a:cxn ang="0">
                <a:pos x="14" y="120"/>
              </a:cxn>
              <a:cxn ang="0">
                <a:pos x="24" y="126"/>
              </a:cxn>
              <a:cxn ang="0">
                <a:pos x="42" y="126"/>
              </a:cxn>
              <a:cxn ang="0">
                <a:pos x="52" y="118"/>
              </a:cxn>
              <a:cxn ang="0">
                <a:pos x="54" y="54"/>
              </a:cxn>
              <a:cxn ang="0">
                <a:pos x="68" y="64"/>
              </a:cxn>
              <a:cxn ang="0">
                <a:pos x="70" y="74"/>
              </a:cxn>
              <a:cxn ang="0">
                <a:pos x="66" y="90"/>
              </a:cxn>
              <a:cxn ang="0">
                <a:pos x="90" y="84"/>
              </a:cxn>
              <a:cxn ang="0">
                <a:pos x="106" y="64"/>
              </a:cxn>
              <a:cxn ang="0">
                <a:pos x="116" y="62"/>
              </a:cxn>
              <a:cxn ang="0">
                <a:pos x="126" y="68"/>
              </a:cxn>
              <a:cxn ang="0">
                <a:pos x="138" y="68"/>
              </a:cxn>
              <a:cxn ang="0">
                <a:pos x="146" y="60"/>
              </a:cxn>
              <a:cxn ang="0">
                <a:pos x="152" y="50"/>
              </a:cxn>
              <a:cxn ang="0">
                <a:pos x="158" y="46"/>
              </a:cxn>
              <a:cxn ang="0">
                <a:pos x="172" y="32"/>
              </a:cxn>
              <a:cxn ang="0">
                <a:pos x="188" y="10"/>
              </a:cxn>
              <a:cxn ang="0">
                <a:pos x="202" y="2"/>
              </a:cxn>
              <a:cxn ang="0">
                <a:pos x="216" y="2"/>
              </a:cxn>
              <a:cxn ang="0">
                <a:pos x="228" y="6"/>
              </a:cxn>
              <a:cxn ang="0">
                <a:pos x="238" y="16"/>
              </a:cxn>
              <a:cxn ang="0">
                <a:pos x="244" y="32"/>
              </a:cxn>
              <a:cxn ang="0">
                <a:pos x="244" y="48"/>
              </a:cxn>
              <a:cxn ang="0">
                <a:pos x="242" y="88"/>
              </a:cxn>
            </a:cxnLst>
            <a:rect l="0" t="0" r="r" b="b"/>
            <a:pathLst>
              <a:path w="256" h="234">
                <a:moveTo>
                  <a:pt x="254" y="88"/>
                </a:moveTo>
                <a:lnTo>
                  <a:pt x="252" y="92"/>
                </a:lnTo>
                <a:lnTo>
                  <a:pt x="254" y="98"/>
                </a:lnTo>
                <a:lnTo>
                  <a:pt x="256" y="100"/>
                </a:lnTo>
                <a:lnTo>
                  <a:pt x="256" y="104"/>
                </a:lnTo>
                <a:lnTo>
                  <a:pt x="256" y="108"/>
                </a:lnTo>
                <a:lnTo>
                  <a:pt x="254" y="114"/>
                </a:lnTo>
                <a:lnTo>
                  <a:pt x="248" y="118"/>
                </a:lnTo>
                <a:lnTo>
                  <a:pt x="236" y="126"/>
                </a:lnTo>
                <a:lnTo>
                  <a:pt x="226" y="136"/>
                </a:lnTo>
                <a:lnTo>
                  <a:pt x="218" y="146"/>
                </a:lnTo>
                <a:lnTo>
                  <a:pt x="206" y="170"/>
                </a:lnTo>
                <a:lnTo>
                  <a:pt x="190" y="188"/>
                </a:lnTo>
                <a:lnTo>
                  <a:pt x="182" y="198"/>
                </a:lnTo>
                <a:lnTo>
                  <a:pt x="172" y="204"/>
                </a:lnTo>
                <a:lnTo>
                  <a:pt x="162" y="206"/>
                </a:lnTo>
                <a:lnTo>
                  <a:pt x="156" y="208"/>
                </a:lnTo>
                <a:lnTo>
                  <a:pt x="146" y="212"/>
                </a:lnTo>
                <a:lnTo>
                  <a:pt x="136" y="216"/>
                </a:lnTo>
                <a:lnTo>
                  <a:pt x="132" y="220"/>
                </a:lnTo>
                <a:lnTo>
                  <a:pt x="126" y="222"/>
                </a:lnTo>
                <a:lnTo>
                  <a:pt x="112" y="222"/>
                </a:lnTo>
                <a:lnTo>
                  <a:pt x="98" y="220"/>
                </a:lnTo>
                <a:lnTo>
                  <a:pt x="82" y="220"/>
                </a:lnTo>
                <a:lnTo>
                  <a:pt x="80" y="224"/>
                </a:lnTo>
                <a:lnTo>
                  <a:pt x="78" y="228"/>
                </a:lnTo>
                <a:lnTo>
                  <a:pt x="68" y="228"/>
                </a:lnTo>
                <a:lnTo>
                  <a:pt x="58" y="228"/>
                </a:lnTo>
                <a:lnTo>
                  <a:pt x="52" y="230"/>
                </a:lnTo>
                <a:lnTo>
                  <a:pt x="46" y="234"/>
                </a:lnTo>
                <a:lnTo>
                  <a:pt x="28" y="220"/>
                </a:lnTo>
                <a:lnTo>
                  <a:pt x="22" y="210"/>
                </a:lnTo>
                <a:lnTo>
                  <a:pt x="20" y="204"/>
                </a:lnTo>
                <a:lnTo>
                  <a:pt x="22" y="200"/>
                </a:lnTo>
                <a:lnTo>
                  <a:pt x="24" y="194"/>
                </a:lnTo>
                <a:lnTo>
                  <a:pt x="24" y="184"/>
                </a:lnTo>
                <a:lnTo>
                  <a:pt x="24" y="178"/>
                </a:lnTo>
                <a:lnTo>
                  <a:pt x="20" y="174"/>
                </a:lnTo>
                <a:lnTo>
                  <a:pt x="16" y="170"/>
                </a:lnTo>
                <a:lnTo>
                  <a:pt x="16" y="166"/>
                </a:lnTo>
                <a:lnTo>
                  <a:pt x="14" y="150"/>
                </a:lnTo>
                <a:lnTo>
                  <a:pt x="10" y="140"/>
                </a:lnTo>
                <a:lnTo>
                  <a:pt x="6" y="132"/>
                </a:lnTo>
                <a:lnTo>
                  <a:pt x="0" y="122"/>
                </a:lnTo>
                <a:lnTo>
                  <a:pt x="4" y="118"/>
                </a:lnTo>
                <a:lnTo>
                  <a:pt x="6" y="114"/>
                </a:lnTo>
                <a:lnTo>
                  <a:pt x="10" y="114"/>
                </a:lnTo>
                <a:lnTo>
                  <a:pt x="14" y="120"/>
                </a:lnTo>
                <a:lnTo>
                  <a:pt x="20" y="124"/>
                </a:lnTo>
                <a:lnTo>
                  <a:pt x="24" y="126"/>
                </a:lnTo>
                <a:lnTo>
                  <a:pt x="32" y="126"/>
                </a:lnTo>
                <a:lnTo>
                  <a:pt x="42" y="126"/>
                </a:lnTo>
                <a:lnTo>
                  <a:pt x="48" y="122"/>
                </a:lnTo>
                <a:lnTo>
                  <a:pt x="52" y="118"/>
                </a:lnTo>
                <a:lnTo>
                  <a:pt x="56" y="116"/>
                </a:lnTo>
                <a:lnTo>
                  <a:pt x="54" y="54"/>
                </a:lnTo>
                <a:lnTo>
                  <a:pt x="60" y="56"/>
                </a:lnTo>
                <a:lnTo>
                  <a:pt x="68" y="64"/>
                </a:lnTo>
                <a:lnTo>
                  <a:pt x="70" y="68"/>
                </a:lnTo>
                <a:lnTo>
                  <a:pt x="70" y="74"/>
                </a:lnTo>
                <a:lnTo>
                  <a:pt x="68" y="82"/>
                </a:lnTo>
                <a:lnTo>
                  <a:pt x="66" y="90"/>
                </a:lnTo>
                <a:lnTo>
                  <a:pt x="82" y="90"/>
                </a:lnTo>
                <a:lnTo>
                  <a:pt x="90" y="84"/>
                </a:lnTo>
                <a:lnTo>
                  <a:pt x="98" y="72"/>
                </a:lnTo>
                <a:lnTo>
                  <a:pt x="106" y="64"/>
                </a:lnTo>
                <a:lnTo>
                  <a:pt x="110" y="60"/>
                </a:lnTo>
                <a:lnTo>
                  <a:pt x="116" y="62"/>
                </a:lnTo>
                <a:lnTo>
                  <a:pt x="122" y="64"/>
                </a:lnTo>
                <a:lnTo>
                  <a:pt x="126" y="68"/>
                </a:lnTo>
                <a:lnTo>
                  <a:pt x="132" y="70"/>
                </a:lnTo>
                <a:lnTo>
                  <a:pt x="138" y="68"/>
                </a:lnTo>
                <a:lnTo>
                  <a:pt x="142" y="64"/>
                </a:lnTo>
                <a:lnTo>
                  <a:pt x="146" y="60"/>
                </a:lnTo>
                <a:lnTo>
                  <a:pt x="148" y="54"/>
                </a:lnTo>
                <a:lnTo>
                  <a:pt x="152" y="50"/>
                </a:lnTo>
                <a:lnTo>
                  <a:pt x="154" y="48"/>
                </a:lnTo>
                <a:lnTo>
                  <a:pt x="158" y="46"/>
                </a:lnTo>
                <a:lnTo>
                  <a:pt x="160" y="44"/>
                </a:lnTo>
                <a:lnTo>
                  <a:pt x="172" y="32"/>
                </a:lnTo>
                <a:lnTo>
                  <a:pt x="182" y="20"/>
                </a:lnTo>
                <a:lnTo>
                  <a:pt x="188" y="10"/>
                </a:lnTo>
                <a:lnTo>
                  <a:pt x="194" y="6"/>
                </a:lnTo>
                <a:lnTo>
                  <a:pt x="202" y="2"/>
                </a:lnTo>
                <a:lnTo>
                  <a:pt x="210" y="0"/>
                </a:lnTo>
                <a:lnTo>
                  <a:pt x="216" y="2"/>
                </a:lnTo>
                <a:lnTo>
                  <a:pt x="222" y="4"/>
                </a:lnTo>
                <a:lnTo>
                  <a:pt x="228" y="6"/>
                </a:lnTo>
                <a:lnTo>
                  <a:pt x="238" y="8"/>
                </a:lnTo>
                <a:lnTo>
                  <a:pt x="238" y="16"/>
                </a:lnTo>
                <a:lnTo>
                  <a:pt x="242" y="24"/>
                </a:lnTo>
                <a:lnTo>
                  <a:pt x="244" y="32"/>
                </a:lnTo>
                <a:lnTo>
                  <a:pt x="246" y="40"/>
                </a:lnTo>
                <a:lnTo>
                  <a:pt x="244" y="48"/>
                </a:lnTo>
                <a:lnTo>
                  <a:pt x="242" y="54"/>
                </a:lnTo>
                <a:lnTo>
                  <a:pt x="242" y="88"/>
                </a:lnTo>
                <a:lnTo>
                  <a:pt x="254" y="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4" name="Freeform 104">
            <a:extLst>
              <a:ext uri="{FF2B5EF4-FFF2-40B4-BE49-F238E27FC236}">
                <a16:creationId xmlns:a16="http://schemas.microsoft.com/office/drawing/2014/main" id="{5D37F165-B6DB-4C0A-952F-C0B2FC4B0EAF}"/>
              </a:ext>
            </a:extLst>
          </p:cNvPr>
          <p:cNvSpPr>
            <a:spLocks/>
          </p:cNvSpPr>
          <p:nvPr/>
        </p:nvSpPr>
        <p:spPr bwMode="auto">
          <a:xfrm>
            <a:off x="4956792" y="4786204"/>
            <a:ext cx="66700" cy="64938"/>
          </a:xfrm>
          <a:custGeom>
            <a:avLst/>
            <a:gdLst/>
            <a:ahLst/>
            <a:cxnLst>
              <a:cxn ang="0">
                <a:pos x="28" y="0"/>
              </a:cxn>
              <a:cxn ang="0">
                <a:pos x="22" y="0"/>
              </a:cxn>
              <a:cxn ang="0">
                <a:pos x="8" y="10"/>
              </a:cxn>
              <a:cxn ang="0">
                <a:pos x="2" y="18"/>
              </a:cxn>
              <a:cxn ang="0">
                <a:pos x="0" y="22"/>
              </a:cxn>
              <a:cxn ang="0">
                <a:pos x="0" y="26"/>
              </a:cxn>
              <a:cxn ang="0">
                <a:pos x="2" y="32"/>
              </a:cxn>
              <a:cxn ang="0">
                <a:pos x="6" y="34"/>
              </a:cxn>
              <a:cxn ang="0">
                <a:pos x="10" y="36"/>
              </a:cxn>
              <a:cxn ang="0">
                <a:pos x="14" y="36"/>
              </a:cxn>
              <a:cxn ang="0">
                <a:pos x="18" y="32"/>
              </a:cxn>
              <a:cxn ang="0">
                <a:pos x="24" y="26"/>
              </a:cxn>
              <a:cxn ang="0">
                <a:pos x="32" y="18"/>
              </a:cxn>
              <a:cxn ang="0">
                <a:pos x="34" y="10"/>
              </a:cxn>
              <a:cxn ang="0">
                <a:pos x="30" y="6"/>
              </a:cxn>
              <a:cxn ang="0">
                <a:pos x="28" y="4"/>
              </a:cxn>
              <a:cxn ang="0">
                <a:pos x="28" y="0"/>
              </a:cxn>
            </a:cxnLst>
            <a:rect l="0" t="0" r="r" b="b"/>
            <a:pathLst>
              <a:path w="34" h="36">
                <a:moveTo>
                  <a:pt x="28" y="0"/>
                </a:moveTo>
                <a:lnTo>
                  <a:pt x="22" y="0"/>
                </a:lnTo>
                <a:lnTo>
                  <a:pt x="8" y="10"/>
                </a:lnTo>
                <a:lnTo>
                  <a:pt x="2" y="18"/>
                </a:lnTo>
                <a:lnTo>
                  <a:pt x="0" y="22"/>
                </a:lnTo>
                <a:lnTo>
                  <a:pt x="0" y="26"/>
                </a:lnTo>
                <a:lnTo>
                  <a:pt x="2" y="32"/>
                </a:lnTo>
                <a:lnTo>
                  <a:pt x="6" y="34"/>
                </a:lnTo>
                <a:lnTo>
                  <a:pt x="10" y="36"/>
                </a:lnTo>
                <a:lnTo>
                  <a:pt x="14" y="36"/>
                </a:lnTo>
                <a:lnTo>
                  <a:pt x="18" y="32"/>
                </a:lnTo>
                <a:lnTo>
                  <a:pt x="24" y="26"/>
                </a:lnTo>
                <a:lnTo>
                  <a:pt x="32" y="18"/>
                </a:lnTo>
                <a:lnTo>
                  <a:pt x="34" y="10"/>
                </a:lnTo>
                <a:lnTo>
                  <a:pt x="30" y="6"/>
                </a:lnTo>
                <a:lnTo>
                  <a:pt x="28" y="4"/>
                </a:lnTo>
                <a:lnTo>
                  <a:pt x="28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5" name="Freeform 105">
            <a:extLst>
              <a:ext uri="{FF2B5EF4-FFF2-40B4-BE49-F238E27FC236}">
                <a16:creationId xmlns:a16="http://schemas.microsoft.com/office/drawing/2014/main" id="{2D7E9374-9770-4DDD-B729-294CEB76B765}"/>
              </a:ext>
            </a:extLst>
          </p:cNvPr>
          <p:cNvSpPr>
            <a:spLocks/>
          </p:cNvSpPr>
          <p:nvPr/>
        </p:nvSpPr>
        <p:spPr bwMode="auto">
          <a:xfrm>
            <a:off x="5071377" y="4696913"/>
            <a:ext cx="39336" cy="42210"/>
          </a:xfrm>
          <a:custGeom>
            <a:avLst/>
            <a:gdLst/>
            <a:ahLst/>
            <a:cxnLst>
              <a:cxn ang="0">
                <a:pos x="20" y="18"/>
              </a:cxn>
              <a:cxn ang="0">
                <a:pos x="18" y="22"/>
              </a:cxn>
              <a:cxn ang="0">
                <a:pos x="16" y="24"/>
              </a:cxn>
              <a:cxn ang="0">
                <a:pos x="14" y="24"/>
              </a:cxn>
              <a:cxn ang="0">
                <a:pos x="6" y="24"/>
              </a:cxn>
              <a:cxn ang="0">
                <a:pos x="2" y="22"/>
              </a:cxn>
              <a:cxn ang="0">
                <a:pos x="0" y="18"/>
              </a:cxn>
              <a:cxn ang="0">
                <a:pos x="0" y="12"/>
              </a:cxn>
              <a:cxn ang="0">
                <a:pos x="0" y="8"/>
              </a:cxn>
              <a:cxn ang="0">
                <a:pos x="2" y="6"/>
              </a:cxn>
              <a:cxn ang="0">
                <a:pos x="8" y="2"/>
              </a:cxn>
              <a:cxn ang="0">
                <a:pos x="14" y="0"/>
              </a:cxn>
              <a:cxn ang="0">
                <a:pos x="20" y="0"/>
              </a:cxn>
              <a:cxn ang="0">
                <a:pos x="20" y="18"/>
              </a:cxn>
            </a:cxnLst>
            <a:rect l="0" t="0" r="r" b="b"/>
            <a:pathLst>
              <a:path w="20" h="24">
                <a:moveTo>
                  <a:pt x="20" y="18"/>
                </a:moveTo>
                <a:lnTo>
                  <a:pt x="18" y="22"/>
                </a:lnTo>
                <a:lnTo>
                  <a:pt x="16" y="24"/>
                </a:lnTo>
                <a:lnTo>
                  <a:pt x="14" y="24"/>
                </a:lnTo>
                <a:lnTo>
                  <a:pt x="6" y="24"/>
                </a:lnTo>
                <a:lnTo>
                  <a:pt x="2" y="22"/>
                </a:lnTo>
                <a:lnTo>
                  <a:pt x="0" y="18"/>
                </a:lnTo>
                <a:lnTo>
                  <a:pt x="0" y="12"/>
                </a:lnTo>
                <a:lnTo>
                  <a:pt x="0" y="8"/>
                </a:lnTo>
                <a:lnTo>
                  <a:pt x="2" y="6"/>
                </a:lnTo>
                <a:lnTo>
                  <a:pt x="8" y="2"/>
                </a:lnTo>
                <a:lnTo>
                  <a:pt x="14" y="0"/>
                </a:lnTo>
                <a:lnTo>
                  <a:pt x="20" y="0"/>
                </a:lnTo>
                <a:lnTo>
                  <a:pt x="20" y="1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6" name="Freeform 106">
            <a:extLst>
              <a:ext uri="{FF2B5EF4-FFF2-40B4-BE49-F238E27FC236}">
                <a16:creationId xmlns:a16="http://schemas.microsoft.com/office/drawing/2014/main" id="{7B886A84-0344-4A43-B0A4-4A982D18E7A3}"/>
              </a:ext>
            </a:extLst>
          </p:cNvPr>
          <p:cNvSpPr>
            <a:spLocks/>
          </p:cNvSpPr>
          <p:nvPr/>
        </p:nvSpPr>
        <p:spPr bwMode="auto">
          <a:xfrm>
            <a:off x="4924297" y="4360860"/>
            <a:ext cx="237725" cy="225661"/>
          </a:xfrm>
          <a:custGeom>
            <a:avLst/>
            <a:gdLst/>
            <a:ahLst/>
            <a:cxnLst>
              <a:cxn ang="0">
                <a:pos x="78" y="0"/>
              </a:cxn>
              <a:cxn ang="0">
                <a:pos x="78" y="6"/>
              </a:cxn>
              <a:cxn ang="0">
                <a:pos x="94" y="10"/>
              </a:cxn>
              <a:cxn ang="0">
                <a:pos x="106" y="14"/>
              </a:cxn>
              <a:cxn ang="0">
                <a:pos x="112" y="18"/>
              </a:cxn>
              <a:cxn ang="0">
                <a:pos x="116" y="22"/>
              </a:cxn>
              <a:cxn ang="0">
                <a:pos x="120" y="28"/>
              </a:cxn>
              <a:cxn ang="0">
                <a:pos x="120" y="36"/>
              </a:cxn>
              <a:cxn ang="0">
                <a:pos x="120" y="44"/>
              </a:cxn>
              <a:cxn ang="0">
                <a:pos x="118" y="50"/>
              </a:cxn>
              <a:cxn ang="0">
                <a:pos x="116" y="56"/>
              </a:cxn>
              <a:cxn ang="0">
                <a:pos x="116" y="66"/>
              </a:cxn>
              <a:cxn ang="0">
                <a:pos x="116" y="76"/>
              </a:cxn>
              <a:cxn ang="0">
                <a:pos x="114" y="86"/>
              </a:cxn>
              <a:cxn ang="0">
                <a:pos x="112" y="96"/>
              </a:cxn>
              <a:cxn ang="0">
                <a:pos x="106" y="104"/>
              </a:cxn>
              <a:cxn ang="0">
                <a:pos x="94" y="116"/>
              </a:cxn>
              <a:cxn ang="0">
                <a:pos x="90" y="126"/>
              </a:cxn>
              <a:cxn ang="0">
                <a:pos x="80" y="124"/>
              </a:cxn>
              <a:cxn ang="0">
                <a:pos x="74" y="122"/>
              </a:cxn>
              <a:cxn ang="0">
                <a:pos x="68" y="120"/>
              </a:cxn>
              <a:cxn ang="0">
                <a:pos x="62" y="118"/>
              </a:cxn>
              <a:cxn ang="0">
                <a:pos x="54" y="120"/>
              </a:cxn>
              <a:cxn ang="0">
                <a:pos x="50" y="114"/>
              </a:cxn>
              <a:cxn ang="0">
                <a:pos x="46" y="114"/>
              </a:cxn>
              <a:cxn ang="0">
                <a:pos x="42" y="112"/>
              </a:cxn>
              <a:cxn ang="0">
                <a:pos x="38" y="110"/>
              </a:cxn>
              <a:cxn ang="0">
                <a:pos x="34" y="108"/>
              </a:cxn>
              <a:cxn ang="0">
                <a:pos x="34" y="102"/>
              </a:cxn>
              <a:cxn ang="0">
                <a:pos x="32" y="92"/>
              </a:cxn>
              <a:cxn ang="0">
                <a:pos x="30" y="86"/>
              </a:cxn>
              <a:cxn ang="0">
                <a:pos x="26" y="82"/>
              </a:cxn>
              <a:cxn ang="0">
                <a:pos x="18" y="76"/>
              </a:cxn>
              <a:cxn ang="0">
                <a:pos x="12" y="72"/>
              </a:cxn>
              <a:cxn ang="0">
                <a:pos x="8" y="66"/>
              </a:cxn>
              <a:cxn ang="0">
                <a:pos x="6" y="62"/>
              </a:cxn>
              <a:cxn ang="0">
                <a:pos x="8" y="60"/>
              </a:cxn>
              <a:cxn ang="0">
                <a:pos x="6" y="58"/>
              </a:cxn>
              <a:cxn ang="0">
                <a:pos x="4" y="54"/>
              </a:cxn>
              <a:cxn ang="0">
                <a:pos x="0" y="48"/>
              </a:cxn>
              <a:cxn ang="0">
                <a:pos x="0" y="42"/>
              </a:cxn>
              <a:cxn ang="0">
                <a:pos x="6" y="46"/>
              </a:cxn>
              <a:cxn ang="0">
                <a:pos x="12" y="46"/>
              </a:cxn>
              <a:cxn ang="0">
                <a:pos x="16" y="46"/>
              </a:cxn>
              <a:cxn ang="0">
                <a:pos x="20" y="46"/>
              </a:cxn>
              <a:cxn ang="0">
                <a:pos x="30" y="36"/>
              </a:cxn>
              <a:cxn ang="0">
                <a:pos x="42" y="24"/>
              </a:cxn>
              <a:cxn ang="0">
                <a:pos x="54" y="16"/>
              </a:cxn>
              <a:cxn ang="0">
                <a:pos x="58" y="12"/>
              </a:cxn>
              <a:cxn ang="0">
                <a:pos x="56" y="8"/>
              </a:cxn>
              <a:cxn ang="0">
                <a:pos x="56" y="6"/>
              </a:cxn>
              <a:cxn ang="0">
                <a:pos x="58" y="4"/>
              </a:cxn>
              <a:cxn ang="0">
                <a:pos x="62" y="2"/>
              </a:cxn>
              <a:cxn ang="0">
                <a:pos x="68" y="0"/>
              </a:cxn>
              <a:cxn ang="0">
                <a:pos x="76" y="0"/>
              </a:cxn>
              <a:cxn ang="0">
                <a:pos x="78" y="0"/>
              </a:cxn>
            </a:cxnLst>
            <a:rect l="0" t="0" r="r" b="b"/>
            <a:pathLst>
              <a:path w="120" h="126">
                <a:moveTo>
                  <a:pt x="78" y="0"/>
                </a:moveTo>
                <a:lnTo>
                  <a:pt x="78" y="6"/>
                </a:lnTo>
                <a:lnTo>
                  <a:pt x="94" y="10"/>
                </a:lnTo>
                <a:lnTo>
                  <a:pt x="106" y="14"/>
                </a:lnTo>
                <a:lnTo>
                  <a:pt x="112" y="18"/>
                </a:lnTo>
                <a:lnTo>
                  <a:pt x="116" y="22"/>
                </a:lnTo>
                <a:lnTo>
                  <a:pt x="120" y="28"/>
                </a:lnTo>
                <a:lnTo>
                  <a:pt x="120" y="36"/>
                </a:lnTo>
                <a:lnTo>
                  <a:pt x="120" y="44"/>
                </a:lnTo>
                <a:lnTo>
                  <a:pt x="118" y="50"/>
                </a:lnTo>
                <a:lnTo>
                  <a:pt x="116" y="56"/>
                </a:lnTo>
                <a:lnTo>
                  <a:pt x="116" y="66"/>
                </a:lnTo>
                <a:lnTo>
                  <a:pt x="116" y="76"/>
                </a:lnTo>
                <a:lnTo>
                  <a:pt x="114" y="86"/>
                </a:lnTo>
                <a:lnTo>
                  <a:pt x="112" y="96"/>
                </a:lnTo>
                <a:lnTo>
                  <a:pt x="106" y="104"/>
                </a:lnTo>
                <a:lnTo>
                  <a:pt x="94" y="116"/>
                </a:lnTo>
                <a:lnTo>
                  <a:pt x="90" y="126"/>
                </a:lnTo>
                <a:lnTo>
                  <a:pt x="80" y="124"/>
                </a:lnTo>
                <a:lnTo>
                  <a:pt x="74" y="122"/>
                </a:lnTo>
                <a:lnTo>
                  <a:pt x="68" y="120"/>
                </a:lnTo>
                <a:lnTo>
                  <a:pt x="62" y="118"/>
                </a:lnTo>
                <a:lnTo>
                  <a:pt x="54" y="120"/>
                </a:lnTo>
                <a:lnTo>
                  <a:pt x="50" y="114"/>
                </a:lnTo>
                <a:lnTo>
                  <a:pt x="46" y="114"/>
                </a:lnTo>
                <a:lnTo>
                  <a:pt x="42" y="112"/>
                </a:lnTo>
                <a:lnTo>
                  <a:pt x="38" y="110"/>
                </a:lnTo>
                <a:lnTo>
                  <a:pt x="34" y="108"/>
                </a:lnTo>
                <a:lnTo>
                  <a:pt x="34" y="102"/>
                </a:lnTo>
                <a:lnTo>
                  <a:pt x="32" y="92"/>
                </a:lnTo>
                <a:lnTo>
                  <a:pt x="30" y="86"/>
                </a:lnTo>
                <a:lnTo>
                  <a:pt x="26" y="82"/>
                </a:lnTo>
                <a:lnTo>
                  <a:pt x="18" y="76"/>
                </a:lnTo>
                <a:lnTo>
                  <a:pt x="12" y="72"/>
                </a:lnTo>
                <a:lnTo>
                  <a:pt x="8" y="66"/>
                </a:lnTo>
                <a:lnTo>
                  <a:pt x="6" y="62"/>
                </a:lnTo>
                <a:lnTo>
                  <a:pt x="8" y="60"/>
                </a:lnTo>
                <a:lnTo>
                  <a:pt x="6" y="58"/>
                </a:lnTo>
                <a:lnTo>
                  <a:pt x="4" y="54"/>
                </a:lnTo>
                <a:lnTo>
                  <a:pt x="0" y="48"/>
                </a:lnTo>
                <a:lnTo>
                  <a:pt x="0" y="42"/>
                </a:lnTo>
                <a:lnTo>
                  <a:pt x="6" y="46"/>
                </a:lnTo>
                <a:lnTo>
                  <a:pt x="12" y="46"/>
                </a:lnTo>
                <a:lnTo>
                  <a:pt x="16" y="46"/>
                </a:lnTo>
                <a:lnTo>
                  <a:pt x="20" y="46"/>
                </a:lnTo>
                <a:lnTo>
                  <a:pt x="30" y="36"/>
                </a:lnTo>
                <a:lnTo>
                  <a:pt x="42" y="24"/>
                </a:lnTo>
                <a:lnTo>
                  <a:pt x="54" y="16"/>
                </a:lnTo>
                <a:lnTo>
                  <a:pt x="58" y="12"/>
                </a:lnTo>
                <a:lnTo>
                  <a:pt x="56" y="8"/>
                </a:lnTo>
                <a:lnTo>
                  <a:pt x="56" y="6"/>
                </a:lnTo>
                <a:lnTo>
                  <a:pt x="58" y="4"/>
                </a:lnTo>
                <a:lnTo>
                  <a:pt x="62" y="2"/>
                </a:lnTo>
                <a:lnTo>
                  <a:pt x="68" y="0"/>
                </a:lnTo>
                <a:lnTo>
                  <a:pt x="76" y="0"/>
                </a:lnTo>
                <a:lnTo>
                  <a:pt x="78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Freeform 107">
            <a:extLst>
              <a:ext uri="{FF2B5EF4-FFF2-40B4-BE49-F238E27FC236}">
                <a16:creationId xmlns:a16="http://schemas.microsoft.com/office/drawing/2014/main" id="{5503D3EE-32BD-4C85-B45E-ACD903D4BB3F}"/>
              </a:ext>
            </a:extLst>
          </p:cNvPr>
          <p:cNvSpPr>
            <a:spLocks/>
          </p:cNvSpPr>
          <p:nvPr/>
        </p:nvSpPr>
        <p:spPr bwMode="auto">
          <a:xfrm>
            <a:off x="5162021" y="4164422"/>
            <a:ext cx="95774" cy="243519"/>
          </a:xfrm>
          <a:custGeom>
            <a:avLst/>
            <a:gdLst/>
            <a:ahLst/>
            <a:cxnLst>
              <a:cxn ang="0">
                <a:pos x="0" y="82"/>
              </a:cxn>
              <a:cxn ang="0">
                <a:pos x="6" y="82"/>
              </a:cxn>
              <a:cxn ang="0">
                <a:pos x="8" y="88"/>
              </a:cxn>
              <a:cxn ang="0">
                <a:pos x="12" y="90"/>
              </a:cxn>
              <a:cxn ang="0">
                <a:pos x="18" y="90"/>
              </a:cxn>
              <a:cxn ang="0">
                <a:pos x="26" y="90"/>
              </a:cxn>
              <a:cxn ang="0">
                <a:pos x="26" y="100"/>
              </a:cxn>
              <a:cxn ang="0">
                <a:pos x="24" y="108"/>
              </a:cxn>
              <a:cxn ang="0">
                <a:pos x="22" y="118"/>
              </a:cxn>
              <a:cxn ang="0">
                <a:pos x="24" y="126"/>
              </a:cxn>
              <a:cxn ang="0">
                <a:pos x="28" y="128"/>
              </a:cxn>
              <a:cxn ang="0">
                <a:pos x="32" y="132"/>
              </a:cxn>
              <a:cxn ang="0">
                <a:pos x="34" y="136"/>
              </a:cxn>
              <a:cxn ang="0">
                <a:pos x="34" y="128"/>
              </a:cxn>
              <a:cxn ang="0">
                <a:pos x="36" y="126"/>
              </a:cxn>
              <a:cxn ang="0">
                <a:pos x="38" y="124"/>
              </a:cxn>
              <a:cxn ang="0">
                <a:pos x="42" y="120"/>
              </a:cxn>
              <a:cxn ang="0">
                <a:pos x="44" y="118"/>
              </a:cxn>
              <a:cxn ang="0">
                <a:pos x="46" y="112"/>
              </a:cxn>
              <a:cxn ang="0">
                <a:pos x="48" y="106"/>
              </a:cxn>
              <a:cxn ang="0">
                <a:pos x="48" y="98"/>
              </a:cxn>
              <a:cxn ang="0">
                <a:pos x="48" y="92"/>
              </a:cxn>
              <a:cxn ang="0">
                <a:pos x="44" y="86"/>
              </a:cxn>
              <a:cxn ang="0">
                <a:pos x="36" y="74"/>
              </a:cxn>
              <a:cxn ang="0">
                <a:pos x="30" y="66"/>
              </a:cxn>
              <a:cxn ang="0">
                <a:pos x="28" y="60"/>
              </a:cxn>
              <a:cxn ang="0">
                <a:pos x="26" y="54"/>
              </a:cxn>
              <a:cxn ang="0">
                <a:pos x="28" y="46"/>
              </a:cxn>
              <a:cxn ang="0">
                <a:pos x="30" y="38"/>
              </a:cxn>
              <a:cxn ang="0">
                <a:pos x="30" y="12"/>
              </a:cxn>
              <a:cxn ang="0">
                <a:pos x="28" y="10"/>
              </a:cxn>
              <a:cxn ang="0">
                <a:pos x="26" y="6"/>
              </a:cxn>
              <a:cxn ang="0">
                <a:pos x="24" y="0"/>
              </a:cxn>
              <a:cxn ang="0">
                <a:pos x="8" y="0"/>
              </a:cxn>
              <a:cxn ang="0">
                <a:pos x="10" y="8"/>
              </a:cxn>
              <a:cxn ang="0">
                <a:pos x="14" y="18"/>
              </a:cxn>
              <a:cxn ang="0">
                <a:pos x="12" y="20"/>
              </a:cxn>
              <a:cxn ang="0">
                <a:pos x="10" y="24"/>
              </a:cxn>
              <a:cxn ang="0">
                <a:pos x="6" y="28"/>
              </a:cxn>
              <a:cxn ang="0">
                <a:pos x="6" y="34"/>
              </a:cxn>
              <a:cxn ang="0">
                <a:pos x="6" y="44"/>
              </a:cxn>
              <a:cxn ang="0">
                <a:pos x="8" y="50"/>
              </a:cxn>
              <a:cxn ang="0">
                <a:pos x="4" y="56"/>
              </a:cxn>
              <a:cxn ang="0">
                <a:pos x="2" y="62"/>
              </a:cxn>
              <a:cxn ang="0">
                <a:pos x="0" y="68"/>
              </a:cxn>
              <a:cxn ang="0">
                <a:pos x="0" y="74"/>
              </a:cxn>
              <a:cxn ang="0">
                <a:pos x="0" y="76"/>
              </a:cxn>
              <a:cxn ang="0">
                <a:pos x="0" y="80"/>
              </a:cxn>
              <a:cxn ang="0">
                <a:pos x="0" y="82"/>
              </a:cxn>
            </a:cxnLst>
            <a:rect l="0" t="0" r="r" b="b"/>
            <a:pathLst>
              <a:path w="48" h="136">
                <a:moveTo>
                  <a:pt x="0" y="82"/>
                </a:moveTo>
                <a:lnTo>
                  <a:pt x="6" y="82"/>
                </a:lnTo>
                <a:lnTo>
                  <a:pt x="8" y="88"/>
                </a:lnTo>
                <a:lnTo>
                  <a:pt x="12" y="90"/>
                </a:lnTo>
                <a:lnTo>
                  <a:pt x="18" y="90"/>
                </a:lnTo>
                <a:lnTo>
                  <a:pt x="26" y="90"/>
                </a:lnTo>
                <a:lnTo>
                  <a:pt x="26" y="100"/>
                </a:lnTo>
                <a:lnTo>
                  <a:pt x="24" y="108"/>
                </a:lnTo>
                <a:lnTo>
                  <a:pt x="22" y="118"/>
                </a:lnTo>
                <a:lnTo>
                  <a:pt x="24" y="126"/>
                </a:lnTo>
                <a:lnTo>
                  <a:pt x="28" y="128"/>
                </a:lnTo>
                <a:lnTo>
                  <a:pt x="32" y="132"/>
                </a:lnTo>
                <a:lnTo>
                  <a:pt x="34" y="136"/>
                </a:lnTo>
                <a:lnTo>
                  <a:pt x="34" y="128"/>
                </a:lnTo>
                <a:lnTo>
                  <a:pt x="36" y="126"/>
                </a:lnTo>
                <a:lnTo>
                  <a:pt x="38" y="124"/>
                </a:lnTo>
                <a:lnTo>
                  <a:pt x="42" y="120"/>
                </a:lnTo>
                <a:lnTo>
                  <a:pt x="44" y="118"/>
                </a:lnTo>
                <a:lnTo>
                  <a:pt x="46" y="112"/>
                </a:lnTo>
                <a:lnTo>
                  <a:pt x="48" y="106"/>
                </a:lnTo>
                <a:lnTo>
                  <a:pt x="48" y="98"/>
                </a:lnTo>
                <a:lnTo>
                  <a:pt x="48" y="92"/>
                </a:lnTo>
                <a:lnTo>
                  <a:pt x="44" y="86"/>
                </a:lnTo>
                <a:lnTo>
                  <a:pt x="36" y="74"/>
                </a:lnTo>
                <a:lnTo>
                  <a:pt x="30" y="66"/>
                </a:lnTo>
                <a:lnTo>
                  <a:pt x="28" y="60"/>
                </a:lnTo>
                <a:lnTo>
                  <a:pt x="26" y="54"/>
                </a:lnTo>
                <a:lnTo>
                  <a:pt x="28" y="46"/>
                </a:lnTo>
                <a:lnTo>
                  <a:pt x="30" y="38"/>
                </a:lnTo>
                <a:lnTo>
                  <a:pt x="30" y="12"/>
                </a:lnTo>
                <a:lnTo>
                  <a:pt x="28" y="10"/>
                </a:lnTo>
                <a:lnTo>
                  <a:pt x="26" y="6"/>
                </a:lnTo>
                <a:lnTo>
                  <a:pt x="24" y="0"/>
                </a:lnTo>
                <a:lnTo>
                  <a:pt x="8" y="0"/>
                </a:lnTo>
                <a:lnTo>
                  <a:pt x="10" y="8"/>
                </a:lnTo>
                <a:lnTo>
                  <a:pt x="14" y="18"/>
                </a:lnTo>
                <a:lnTo>
                  <a:pt x="12" y="20"/>
                </a:lnTo>
                <a:lnTo>
                  <a:pt x="10" y="24"/>
                </a:lnTo>
                <a:lnTo>
                  <a:pt x="6" y="28"/>
                </a:lnTo>
                <a:lnTo>
                  <a:pt x="6" y="34"/>
                </a:lnTo>
                <a:lnTo>
                  <a:pt x="6" y="44"/>
                </a:lnTo>
                <a:lnTo>
                  <a:pt x="8" y="50"/>
                </a:lnTo>
                <a:lnTo>
                  <a:pt x="4" y="56"/>
                </a:lnTo>
                <a:lnTo>
                  <a:pt x="2" y="62"/>
                </a:lnTo>
                <a:lnTo>
                  <a:pt x="0" y="68"/>
                </a:lnTo>
                <a:lnTo>
                  <a:pt x="0" y="74"/>
                </a:lnTo>
                <a:lnTo>
                  <a:pt x="0" y="76"/>
                </a:lnTo>
                <a:lnTo>
                  <a:pt x="0" y="80"/>
                </a:lnTo>
                <a:lnTo>
                  <a:pt x="0" y="8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8" name="Freeform 108">
            <a:extLst>
              <a:ext uri="{FF2B5EF4-FFF2-40B4-BE49-F238E27FC236}">
                <a16:creationId xmlns:a16="http://schemas.microsoft.com/office/drawing/2014/main" id="{F18A5A72-101C-46BB-82F6-25DA4EB610FB}"/>
              </a:ext>
            </a:extLst>
          </p:cNvPr>
          <p:cNvSpPr>
            <a:spLocks/>
          </p:cNvSpPr>
          <p:nvPr/>
        </p:nvSpPr>
        <p:spPr bwMode="auto">
          <a:xfrm>
            <a:off x="4823391" y="4118962"/>
            <a:ext cx="365993" cy="324692"/>
          </a:xfrm>
          <a:custGeom>
            <a:avLst/>
            <a:gdLst/>
            <a:ahLst/>
            <a:cxnLst>
              <a:cxn ang="0">
                <a:pos x="82" y="172"/>
              </a:cxn>
              <a:cxn ang="0">
                <a:pos x="106" y="152"/>
              </a:cxn>
              <a:cxn ang="0">
                <a:pos x="108" y="144"/>
              </a:cxn>
              <a:cxn ang="0">
                <a:pos x="110" y="140"/>
              </a:cxn>
              <a:cxn ang="0">
                <a:pos x="120" y="136"/>
              </a:cxn>
              <a:cxn ang="0">
                <a:pos x="128" y="132"/>
              </a:cxn>
              <a:cxn ang="0">
                <a:pos x="128" y="126"/>
              </a:cxn>
              <a:cxn ang="0">
                <a:pos x="140" y="120"/>
              </a:cxn>
              <a:cxn ang="0">
                <a:pos x="162" y="114"/>
              </a:cxn>
              <a:cxn ang="0">
                <a:pos x="172" y="98"/>
              </a:cxn>
              <a:cxn ang="0">
                <a:pos x="174" y="86"/>
              </a:cxn>
              <a:cxn ang="0">
                <a:pos x="178" y="70"/>
              </a:cxn>
              <a:cxn ang="0">
                <a:pos x="178" y="54"/>
              </a:cxn>
              <a:cxn ang="0">
                <a:pos x="184" y="46"/>
              </a:cxn>
              <a:cxn ang="0">
                <a:pos x="182" y="34"/>
              </a:cxn>
              <a:cxn ang="0">
                <a:pos x="166" y="16"/>
              </a:cxn>
              <a:cxn ang="0">
                <a:pos x="150" y="8"/>
              </a:cxn>
              <a:cxn ang="0">
                <a:pos x="140" y="0"/>
              </a:cxn>
              <a:cxn ang="0">
                <a:pos x="128" y="2"/>
              </a:cxn>
              <a:cxn ang="0">
                <a:pos x="112" y="10"/>
              </a:cxn>
              <a:cxn ang="0">
                <a:pos x="106" y="18"/>
              </a:cxn>
              <a:cxn ang="0">
                <a:pos x="104" y="62"/>
              </a:cxn>
              <a:cxn ang="0">
                <a:pos x="108" y="72"/>
              </a:cxn>
              <a:cxn ang="0">
                <a:pos x="124" y="76"/>
              </a:cxn>
              <a:cxn ang="0">
                <a:pos x="122" y="92"/>
              </a:cxn>
              <a:cxn ang="0">
                <a:pos x="116" y="98"/>
              </a:cxn>
              <a:cxn ang="0">
                <a:pos x="110" y="90"/>
              </a:cxn>
              <a:cxn ang="0">
                <a:pos x="96" y="78"/>
              </a:cxn>
              <a:cxn ang="0">
                <a:pos x="86" y="70"/>
              </a:cxn>
              <a:cxn ang="0">
                <a:pos x="80" y="68"/>
              </a:cxn>
              <a:cxn ang="0">
                <a:pos x="76" y="70"/>
              </a:cxn>
              <a:cxn ang="0">
                <a:pos x="66" y="70"/>
              </a:cxn>
              <a:cxn ang="0">
                <a:pos x="56" y="64"/>
              </a:cxn>
              <a:cxn ang="0">
                <a:pos x="32" y="52"/>
              </a:cxn>
              <a:cxn ang="0">
                <a:pos x="30" y="86"/>
              </a:cxn>
              <a:cxn ang="0">
                <a:pos x="24" y="88"/>
              </a:cxn>
              <a:cxn ang="0">
                <a:pos x="0" y="152"/>
              </a:cxn>
              <a:cxn ang="0">
                <a:pos x="18" y="172"/>
              </a:cxn>
              <a:cxn ang="0">
                <a:pos x="28" y="172"/>
              </a:cxn>
              <a:cxn ang="0">
                <a:pos x="40" y="172"/>
              </a:cxn>
              <a:cxn ang="0">
                <a:pos x="52" y="178"/>
              </a:cxn>
              <a:cxn ang="0">
                <a:pos x="72" y="182"/>
              </a:cxn>
            </a:cxnLst>
            <a:rect l="0" t="0" r="r" b="b"/>
            <a:pathLst>
              <a:path w="186" h="182">
                <a:moveTo>
                  <a:pt x="72" y="182"/>
                </a:moveTo>
                <a:lnTo>
                  <a:pt x="82" y="172"/>
                </a:lnTo>
                <a:lnTo>
                  <a:pt x="94" y="160"/>
                </a:lnTo>
                <a:lnTo>
                  <a:pt x="106" y="152"/>
                </a:lnTo>
                <a:lnTo>
                  <a:pt x="110" y="148"/>
                </a:lnTo>
                <a:lnTo>
                  <a:pt x="108" y="144"/>
                </a:lnTo>
                <a:lnTo>
                  <a:pt x="108" y="142"/>
                </a:lnTo>
                <a:lnTo>
                  <a:pt x="110" y="140"/>
                </a:lnTo>
                <a:lnTo>
                  <a:pt x="114" y="138"/>
                </a:lnTo>
                <a:lnTo>
                  <a:pt x="120" y="136"/>
                </a:lnTo>
                <a:lnTo>
                  <a:pt x="130" y="136"/>
                </a:lnTo>
                <a:lnTo>
                  <a:pt x="128" y="132"/>
                </a:lnTo>
                <a:lnTo>
                  <a:pt x="128" y="128"/>
                </a:lnTo>
                <a:lnTo>
                  <a:pt x="128" y="126"/>
                </a:lnTo>
                <a:lnTo>
                  <a:pt x="134" y="124"/>
                </a:lnTo>
                <a:lnTo>
                  <a:pt x="140" y="120"/>
                </a:lnTo>
                <a:lnTo>
                  <a:pt x="150" y="116"/>
                </a:lnTo>
                <a:lnTo>
                  <a:pt x="162" y="114"/>
                </a:lnTo>
                <a:lnTo>
                  <a:pt x="172" y="108"/>
                </a:lnTo>
                <a:lnTo>
                  <a:pt x="172" y="98"/>
                </a:lnTo>
                <a:lnTo>
                  <a:pt x="172" y="92"/>
                </a:lnTo>
                <a:lnTo>
                  <a:pt x="174" y="86"/>
                </a:lnTo>
                <a:lnTo>
                  <a:pt x="180" y="76"/>
                </a:lnTo>
                <a:lnTo>
                  <a:pt x="178" y="70"/>
                </a:lnTo>
                <a:lnTo>
                  <a:pt x="178" y="60"/>
                </a:lnTo>
                <a:lnTo>
                  <a:pt x="178" y="54"/>
                </a:lnTo>
                <a:lnTo>
                  <a:pt x="182" y="50"/>
                </a:lnTo>
                <a:lnTo>
                  <a:pt x="184" y="46"/>
                </a:lnTo>
                <a:lnTo>
                  <a:pt x="186" y="44"/>
                </a:lnTo>
                <a:lnTo>
                  <a:pt x="182" y="34"/>
                </a:lnTo>
                <a:lnTo>
                  <a:pt x="180" y="26"/>
                </a:lnTo>
                <a:lnTo>
                  <a:pt x="166" y="16"/>
                </a:lnTo>
                <a:lnTo>
                  <a:pt x="160" y="12"/>
                </a:lnTo>
                <a:lnTo>
                  <a:pt x="150" y="8"/>
                </a:lnTo>
                <a:lnTo>
                  <a:pt x="146" y="6"/>
                </a:lnTo>
                <a:lnTo>
                  <a:pt x="140" y="0"/>
                </a:lnTo>
                <a:lnTo>
                  <a:pt x="136" y="0"/>
                </a:lnTo>
                <a:lnTo>
                  <a:pt x="128" y="2"/>
                </a:lnTo>
                <a:lnTo>
                  <a:pt x="118" y="8"/>
                </a:lnTo>
                <a:lnTo>
                  <a:pt x="112" y="10"/>
                </a:lnTo>
                <a:lnTo>
                  <a:pt x="108" y="14"/>
                </a:lnTo>
                <a:lnTo>
                  <a:pt x="106" y="18"/>
                </a:lnTo>
                <a:lnTo>
                  <a:pt x="104" y="24"/>
                </a:lnTo>
                <a:lnTo>
                  <a:pt x="104" y="62"/>
                </a:lnTo>
                <a:lnTo>
                  <a:pt x="106" y="70"/>
                </a:lnTo>
                <a:lnTo>
                  <a:pt x="108" y="72"/>
                </a:lnTo>
                <a:lnTo>
                  <a:pt x="114" y="76"/>
                </a:lnTo>
                <a:lnTo>
                  <a:pt x="124" y="76"/>
                </a:lnTo>
                <a:lnTo>
                  <a:pt x="124" y="88"/>
                </a:lnTo>
                <a:lnTo>
                  <a:pt x="122" y="92"/>
                </a:lnTo>
                <a:lnTo>
                  <a:pt x="120" y="96"/>
                </a:lnTo>
                <a:lnTo>
                  <a:pt x="116" y="98"/>
                </a:lnTo>
                <a:lnTo>
                  <a:pt x="114" y="98"/>
                </a:lnTo>
                <a:lnTo>
                  <a:pt x="110" y="90"/>
                </a:lnTo>
                <a:lnTo>
                  <a:pt x="106" y="86"/>
                </a:lnTo>
                <a:lnTo>
                  <a:pt x="96" y="78"/>
                </a:lnTo>
                <a:lnTo>
                  <a:pt x="90" y="72"/>
                </a:lnTo>
                <a:lnTo>
                  <a:pt x="86" y="70"/>
                </a:lnTo>
                <a:lnTo>
                  <a:pt x="86" y="66"/>
                </a:lnTo>
                <a:lnTo>
                  <a:pt x="80" y="68"/>
                </a:lnTo>
                <a:lnTo>
                  <a:pt x="78" y="70"/>
                </a:lnTo>
                <a:lnTo>
                  <a:pt x="76" y="70"/>
                </a:lnTo>
                <a:lnTo>
                  <a:pt x="72" y="72"/>
                </a:lnTo>
                <a:lnTo>
                  <a:pt x="66" y="70"/>
                </a:lnTo>
                <a:lnTo>
                  <a:pt x="60" y="68"/>
                </a:lnTo>
                <a:lnTo>
                  <a:pt x="56" y="64"/>
                </a:lnTo>
                <a:lnTo>
                  <a:pt x="54" y="60"/>
                </a:lnTo>
                <a:lnTo>
                  <a:pt x="32" y="52"/>
                </a:lnTo>
                <a:lnTo>
                  <a:pt x="32" y="82"/>
                </a:lnTo>
                <a:lnTo>
                  <a:pt x="30" y="86"/>
                </a:lnTo>
                <a:lnTo>
                  <a:pt x="26" y="88"/>
                </a:lnTo>
                <a:lnTo>
                  <a:pt x="24" y="88"/>
                </a:lnTo>
                <a:lnTo>
                  <a:pt x="0" y="88"/>
                </a:lnTo>
                <a:lnTo>
                  <a:pt x="0" y="152"/>
                </a:lnTo>
                <a:lnTo>
                  <a:pt x="16" y="170"/>
                </a:lnTo>
                <a:lnTo>
                  <a:pt x="18" y="172"/>
                </a:lnTo>
                <a:lnTo>
                  <a:pt x="22" y="174"/>
                </a:lnTo>
                <a:lnTo>
                  <a:pt x="28" y="172"/>
                </a:lnTo>
                <a:lnTo>
                  <a:pt x="36" y="170"/>
                </a:lnTo>
                <a:lnTo>
                  <a:pt x="40" y="172"/>
                </a:lnTo>
                <a:lnTo>
                  <a:pt x="46" y="176"/>
                </a:lnTo>
                <a:lnTo>
                  <a:pt x="52" y="178"/>
                </a:lnTo>
                <a:lnTo>
                  <a:pt x="58" y="182"/>
                </a:lnTo>
                <a:lnTo>
                  <a:pt x="72" y="18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Freeform 109">
            <a:extLst>
              <a:ext uri="{FF2B5EF4-FFF2-40B4-BE49-F238E27FC236}">
                <a16:creationId xmlns:a16="http://schemas.microsoft.com/office/drawing/2014/main" id="{FF450A51-D3FF-4FA6-BAAE-401E81A9A4C4}"/>
              </a:ext>
            </a:extLst>
          </p:cNvPr>
          <p:cNvSpPr>
            <a:spLocks/>
          </p:cNvSpPr>
          <p:nvPr/>
        </p:nvSpPr>
        <p:spPr bwMode="auto">
          <a:xfrm>
            <a:off x="4496735" y="4047533"/>
            <a:ext cx="388227" cy="392877"/>
          </a:xfrm>
          <a:custGeom>
            <a:avLst/>
            <a:gdLst/>
            <a:ahLst/>
            <a:cxnLst>
              <a:cxn ang="0">
                <a:pos x="159" y="220"/>
              </a:cxn>
              <a:cxn ang="0">
                <a:pos x="107" y="216"/>
              </a:cxn>
              <a:cxn ang="0">
                <a:pos x="101" y="210"/>
              </a:cxn>
              <a:cxn ang="0">
                <a:pos x="27" y="206"/>
              </a:cxn>
              <a:cxn ang="0">
                <a:pos x="21" y="204"/>
              </a:cxn>
              <a:cxn ang="0">
                <a:pos x="4" y="206"/>
              </a:cxn>
              <a:cxn ang="0">
                <a:pos x="0" y="194"/>
              </a:cxn>
              <a:cxn ang="0">
                <a:pos x="4" y="180"/>
              </a:cxn>
              <a:cxn ang="0">
                <a:pos x="7" y="162"/>
              </a:cxn>
              <a:cxn ang="0">
                <a:pos x="13" y="140"/>
              </a:cxn>
              <a:cxn ang="0">
                <a:pos x="25" y="122"/>
              </a:cxn>
              <a:cxn ang="0">
                <a:pos x="35" y="104"/>
              </a:cxn>
              <a:cxn ang="0">
                <a:pos x="33" y="84"/>
              </a:cxn>
              <a:cxn ang="0">
                <a:pos x="25" y="66"/>
              </a:cxn>
              <a:cxn ang="0">
                <a:pos x="23" y="52"/>
              </a:cxn>
              <a:cxn ang="0">
                <a:pos x="27" y="44"/>
              </a:cxn>
              <a:cxn ang="0">
                <a:pos x="27" y="32"/>
              </a:cxn>
              <a:cxn ang="0">
                <a:pos x="15" y="0"/>
              </a:cxn>
              <a:cxn ang="0">
                <a:pos x="79" y="12"/>
              </a:cxn>
              <a:cxn ang="0">
                <a:pos x="93" y="32"/>
              </a:cxn>
              <a:cxn ang="0">
                <a:pos x="99" y="34"/>
              </a:cxn>
              <a:cxn ang="0">
                <a:pos x="119" y="34"/>
              </a:cxn>
              <a:cxn ang="0">
                <a:pos x="123" y="28"/>
              </a:cxn>
              <a:cxn ang="0">
                <a:pos x="143" y="20"/>
              </a:cxn>
              <a:cxn ang="0">
                <a:pos x="147" y="24"/>
              </a:cxn>
              <a:cxn ang="0">
                <a:pos x="159" y="26"/>
              </a:cxn>
              <a:cxn ang="0">
                <a:pos x="167" y="46"/>
              </a:cxn>
              <a:cxn ang="0">
                <a:pos x="165" y="72"/>
              </a:cxn>
              <a:cxn ang="0">
                <a:pos x="171" y="82"/>
              </a:cxn>
              <a:cxn ang="0">
                <a:pos x="169" y="92"/>
              </a:cxn>
              <a:cxn ang="0">
                <a:pos x="179" y="94"/>
              </a:cxn>
              <a:cxn ang="0">
                <a:pos x="191" y="92"/>
              </a:cxn>
              <a:cxn ang="0">
                <a:pos x="197" y="122"/>
              </a:cxn>
              <a:cxn ang="0">
                <a:pos x="191" y="128"/>
              </a:cxn>
              <a:cxn ang="0">
                <a:pos x="165" y="128"/>
              </a:cxn>
              <a:cxn ang="0">
                <a:pos x="181" y="210"/>
              </a:cxn>
            </a:cxnLst>
            <a:rect l="0" t="0" r="r" b="b"/>
            <a:pathLst>
              <a:path w="197" h="220">
                <a:moveTo>
                  <a:pt x="181" y="212"/>
                </a:moveTo>
                <a:lnTo>
                  <a:pt x="159" y="220"/>
                </a:lnTo>
                <a:lnTo>
                  <a:pt x="117" y="220"/>
                </a:lnTo>
                <a:lnTo>
                  <a:pt x="107" y="216"/>
                </a:lnTo>
                <a:lnTo>
                  <a:pt x="105" y="214"/>
                </a:lnTo>
                <a:lnTo>
                  <a:pt x="101" y="210"/>
                </a:lnTo>
                <a:lnTo>
                  <a:pt x="33" y="210"/>
                </a:lnTo>
                <a:lnTo>
                  <a:pt x="27" y="206"/>
                </a:lnTo>
                <a:lnTo>
                  <a:pt x="25" y="204"/>
                </a:lnTo>
                <a:lnTo>
                  <a:pt x="21" y="204"/>
                </a:lnTo>
                <a:lnTo>
                  <a:pt x="11" y="206"/>
                </a:lnTo>
                <a:lnTo>
                  <a:pt x="4" y="206"/>
                </a:lnTo>
                <a:lnTo>
                  <a:pt x="0" y="204"/>
                </a:lnTo>
                <a:lnTo>
                  <a:pt x="0" y="194"/>
                </a:lnTo>
                <a:lnTo>
                  <a:pt x="4" y="188"/>
                </a:lnTo>
                <a:lnTo>
                  <a:pt x="4" y="180"/>
                </a:lnTo>
                <a:lnTo>
                  <a:pt x="4" y="174"/>
                </a:lnTo>
                <a:lnTo>
                  <a:pt x="7" y="162"/>
                </a:lnTo>
                <a:lnTo>
                  <a:pt x="11" y="150"/>
                </a:lnTo>
                <a:lnTo>
                  <a:pt x="13" y="140"/>
                </a:lnTo>
                <a:lnTo>
                  <a:pt x="19" y="132"/>
                </a:lnTo>
                <a:lnTo>
                  <a:pt x="25" y="122"/>
                </a:lnTo>
                <a:lnTo>
                  <a:pt x="31" y="112"/>
                </a:lnTo>
                <a:lnTo>
                  <a:pt x="35" y="104"/>
                </a:lnTo>
                <a:lnTo>
                  <a:pt x="35" y="92"/>
                </a:lnTo>
                <a:lnTo>
                  <a:pt x="33" y="84"/>
                </a:lnTo>
                <a:lnTo>
                  <a:pt x="29" y="74"/>
                </a:lnTo>
                <a:lnTo>
                  <a:pt x="25" y="66"/>
                </a:lnTo>
                <a:lnTo>
                  <a:pt x="23" y="56"/>
                </a:lnTo>
                <a:lnTo>
                  <a:pt x="23" y="52"/>
                </a:lnTo>
                <a:lnTo>
                  <a:pt x="25" y="48"/>
                </a:lnTo>
                <a:lnTo>
                  <a:pt x="27" y="44"/>
                </a:lnTo>
                <a:lnTo>
                  <a:pt x="27" y="40"/>
                </a:lnTo>
                <a:lnTo>
                  <a:pt x="27" y="32"/>
                </a:lnTo>
                <a:lnTo>
                  <a:pt x="23" y="24"/>
                </a:lnTo>
                <a:lnTo>
                  <a:pt x="15" y="0"/>
                </a:lnTo>
                <a:lnTo>
                  <a:pt x="79" y="0"/>
                </a:lnTo>
                <a:lnTo>
                  <a:pt x="79" y="12"/>
                </a:lnTo>
                <a:lnTo>
                  <a:pt x="85" y="24"/>
                </a:lnTo>
                <a:lnTo>
                  <a:pt x="93" y="32"/>
                </a:lnTo>
                <a:lnTo>
                  <a:pt x="95" y="34"/>
                </a:lnTo>
                <a:lnTo>
                  <a:pt x="99" y="34"/>
                </a:lnTo>
                <a:lnTo>
                  <a:pt x="111" y="34"/>
                </a:lnTo>
                <a:lnTo>
                  <a:pt x="119" y="34"/>
                </a:lnTo>
                <a:lnTo>
                  <a:pt x="121" y="32"/>
                </a:lnTo>
                <a:lnTo>
                  <a:pt x="123" y="28"/>
                </a:lnTo>
                <a:lnTo>
                  <a:pt x="123" y="20"/>
                </a:lnTo>
                <a:lnTo>
                  <a:pt x="143" y="20"/>
                </a:lnTo>
                <a:lnTo>
                  <a:pt x="145" y="22"/>
                </a:lnTo>
                <a:lnTo>
                  <a:pt x="147" y="24"/>
                </a:lnTo>
                <a:lnTo>
                  <a:pt x="151" y="26"/>
                </a:lnTo>
                <a:lnTo>
                  <a:pt x="159" y="26"/>
                </a:lnTo>
                <a:lnTo>
                  <a:pt x="165" y="24"/>
                </a:lnTo>
                <a:lnTo>
                  <a:pt x="167" y="46"/>
                </a:lnTo>
                <a:lnTo>
                  <a:pt x="165" y="68"/>
                </a:lnTo>
                <a:lnTo>
                  <a:pt x="165" y="72"/>
                </a:lnTo>
                <a:lnTo>
                  <a:pt x="169" y="74"/>
                </a:lnTo>
                <a:lnTo>
                  <a:pt x="171" y="82"/>
                </a:lnTo>
                <a:lnTo>
                  <a:pt x="171" y="86"/>
                </a:lnTo>
                <a:lnTo>
                  <a:pt x="169" y="92"/>
                </a:lnTo>
                <a:lnTo>
                  <a:pt x="175" y="94"/>
                </a:lnTo>
                <a:lnTo>
                  <a:pt x="179" y="94"/>
                </a:lnTo>
                <a:lnTo>
                  <a:pt x="183" y="92"/>
                </a:lnTo>
                <a:lnTo>
                  <a:pt x="191" y="92"/>
                </a:lnTo>
                <a:lnTo>
                  <a:pt x="197" y="92"/>
                </a:lnTo>
                <a:lnTo>
                  <a:pt x="197" y="122"/>
                </a:lnTo>
                <a:lnTo>
                  <a:pt x="195" y="126"/>
                </a:lnTo>
                <a:lnTo>
                  <a:pt x="191" y="128"/>
                </a:lnTo>
                <a:lnTo>
                  <a:pt x="189" y="128"/>
                </a:lnTo>
                <a:lnTo>
                  <a:pt x="165" y="128"/>
                </a:lnTo>
                <a:lnTo>
                  <a:pt x="165" y="192"/>
                </a:lnTo>
                <a:lnTo>
                  <a:pt x="181" y="210"/>
                </a:lnTo>
                <a:lnTo>
                  <a:pt x="181" y="212"/>
                </a:lnTo>
                <a:close/>
              </a:path>
            </a:pathLst>
          </a:custGeom>
          <a:solidFill>
            <a:srgbClr val="FFC000"/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0" name="Freeform 110">
            <a:extLst>
              <a:ext uri="{FF2B5EF4-FFF2-40B4-BE49-F238E27FC236}">
                <a16:creationId xmlns:a16="http://schemas.microsoft.com/office/drawing/2014/main" id="{614FF248-12A8-4BAB-AD0A-451C344F7C5F}"/>
              </a:ext>
            </a:extLst>
          </p:cNvPr>
          <p:cNvSpPr>
            <a:spLocks/>
          </p:cNvSpPr>
          <p:nvPr/>
        </p:nvSpPr>
        <p:spPr bwMode="auto">
          <a:xfrm>
            <a:off x="4739591" y="4432290"/>
            <a:ext cx="292453" cy="300340"/>
          </a:xfrm>
          <a:custGeom>
            <a:avLst/>
            <a:gdLst/>
            <a:ahLst/>
            <a:cxnLst>
              <a:cxn ang="0">
                <a:pos x="94" y="8"/>
              </a:cxn>
              <a:cxn ang="0">
                <a:pos x="98" y="14"/>
              </a:cxn>
              <a:cxn ang="0">
                <a:pos x="100" y="18"/>
              </a:cxn>
              <a:cxn ang="0">
                <a:pos x="102" y="20"/>
              </a:cxn>
              <a:cxn ang="0">
                <a:pos x="100" y="22"/>
              </a:cxn>
              <a:cxn ang="0">
                <a:pos x="102" y="26"/>
              </a:cxn>
              <a:cxn ang="0">
                <a:pos x="106" y="32"/>
              </a:cxn>
              <a:cxn ang="0">
                <a:pos x="112" y="36"/>
              </a:cxn>
              <a:cxn ang="0">
                <a:pos x="120" y="42"/>
              </a:cxn>
              <a:cxn ang="0">
                <a:pos x="124" y="46"/>
              </a:cxn>
              <a:cxn ang="0">
                <a:pos x="126" y="52"/>
              </a:cxn>
              <a:cxn ang="0">
                <a:pos x="128" y="62"/>
              </a:cxn>
              <a:cxn ang="0">
                <a:pos x="128" y="68"/>
              </a:cxn>
              <a:cxn ang="0">
                <a:pos x="132" y="70"/>
              </a:cxn>
              <a:cxn ang="0">
                <a:pos x="136" y="72"/>
              </a:cxn>
              <a:cxn ang="0">
                <a:pos x="140" y="74"/>
              </a:cxn>
              <a:cxn ang="0">
                <a:pos x="144" y="74"/>
              </a:cxn>
              <a:cxn ang="0">
                <a:pos x="148" y="80"/>
              </a:cxn>
              <a:cxn ang="0">
                <a:pos x="140" y="84"/>
              </a:cxn>
              <a:cxn ang="0">
                <a:pos x="134" y="88"/>
              </a:cxn>
              <a:cxn ang="0">
                <a:pos x="126" y="100"/>
              </a:cxn>
              <a:cxn ang="0">
                <a:pos x="116" y="112"/>
              </a:cxn>
              <a:cxn ang="0">
                <a:pos x="106" y="122"/>
              </a:cxn>
              <a:cxn ang="0">
                <a:pos x="104" y="124"/>
              </a:cxn>
              <a:cxn ang="0">
                <a:pos x="100" y="126"/>
              </a:cxn>
              <a:cxn ang="0">
                <a:pos x="98" y="128"/>
              </a:cxn>
              <a:cxn ang="0">
                <a:pos x="94" y="132"/>
              </a:cxn>
              <a:cxn ang="0">
                <a:pos x="92" y="138"/>
              </a:cxn>
              <a:cxn ang="0">
                <a:pos x="88" y="142"/>
              </a:cxn>
              <a:cxn ang="0">
                <a:pos x="84" y="146"/>
              </a:cxn>
              <a:cxn ang="0">
                <a:pos x="78" y="148"/>
              </a:cxn>
              <a:cxn ang="0">
                <a:pos x="72" y="146"/>
              </a:cxn>
              <a:cxn ang="0">
                <a:pos x="68" y="142"/>
              </a:cxn>
              <a:cxn ang="0">
                <a:pos x="62" y="140"/>
              </a:cxn>
              <a:cxn ang="0">
                <a:pos x="56" y="138"/>
              </a:cxn>
              <a:cxn ang="0">
                <a:pos x="52" y="142"/>
              </a:cxn>
              <a:cxn ang="0">
                <a:pos x="44" y="150"/>
              </a:cxn>
              <a:cxn ang="0">
                <a:pos x="36" y="162"/>
              </a:cxn>
              <a:cxn ang="0">
                <a:pos x="28" y="168"/>
              </a:cxn>
              <a:cxn ang="0">
                <a:pos x="12" y="168"/>
              </a:cxn>
              <a:cxn ang="0">
                <a:pos x="14" y="160"/>
              </a:cxn>
              <a:cxn ang="0">
                <a:pos x="16" y="152"/>
              </a:cxn>
              <a:cxn ang="0">
                <a:pos x="16" y="146"/>
              </a:cxn>
              <a:cxn ang="0">
                <a:pos x="14" y="142"/>
              </a:cxn>
              <a:cxn ang="0">
                <a:pos x="6" y="134"/>
              </a:cxn>
              <a:cxn ang="0">
                <a:pos x="0" y="132"/>
              </a:cxn>
              <a:cxn ang="0">
                <a:pos x="0" y="78"/>
              </a:cxn>
              <a:cxn ang="0">
                <a:pos x="20" y="78"/>
              </a:cxn>
              <a:cxn ang="0">
                <a:pos x="20" y="10"/>
              </a:cxn>
              <a:cxn ang="0">
                <a:pos x="42" y="8"/>
              </a:cxn>
              <a:cxn ang="0">
                <a:pos x="60" y="6"/>
              </a:cxn>
              <a:cxn ang="0">
                <a:pos x="64" y="12"/>
              </a:cxn>
              <a:cxn ang="0">
                <a:pos x="78" y="6"/>
              </a:cxn>
              <a:cxn ang="0">
                <a:pos x="82" y="2"/>
              </a:cxn>
              <a:cxn ang="0">
                <a:pos x="88" y="0"/>
              </a:cxn>
              <a:cxn ang="0">
                <a:pos x="92" y="0"/>
              </a:cxn>
              <a:cxn ang="0">
                <a:pos x="94" y="2"/>
              </a:cxn>
              <a:cxn ang="0">
                <a:pos x="94" y="8"/>
              </a:cxn>
            </a:cxnLst>
            <a:rect l="0" t="0" r="r" b="b"/>
            <a:pathLst>
              <a:path w="148" h="168">
                <a:moveTo>
                  <a:pt x="94" y="8"/>
                </a:moveTo>
                <a:lnTo>
                  <a:pt x="98" y="14"/>
                </a:lnTo>
                <a:lnTo>
                  <a:pt x="100" y="18"/>
                </a:lnTo>
                <a:lnTo>
                  <a:pt x="102" y="20"/>
                </a:lnTo>
                <a:lnTo>
                  <a:pt x="100" y="22"/>
                </a:lnTo>
                <a:lnTo>
                  <a:pt x="102" y="26"/>
                </a:lnTo>
                <a:lnTo>
                  <a:pt x="106" y="32"/>
                </a:lnTo>
                <a:lnTo>
                  <a:pt x="112" y="36"/>
                </a:lnTo>
                <a:lnTo>
                  <a:pt x="120" y="42"/>
                </a:lnTo>
                <a:lnTo>
                  <a:pt x="124" y="46"/>
                </a:lnTo>
                <a:lnTo>
                  <a:pt x="126" y="52"/>
                </a:lnTo>
                <a:lnTo>
                  <a:pt x="128" y="62"/>
                </a:lnTo>
                <a:lnTo>
                  <a:pt x="128" y="68"/>
                </a:lnTo>
                <a:lnTo>
                  <a:pt x="132" y="70"/>
                </a:lnTo>
                <a:lnTo>
                  <a:pt x="136" y="72"/>
                </a:lnTo>
                <a:lnTo>
                  <a:pt x="140" y="74"/>
                </a:lnTo>
                <a:lnTo>
                  <a:pt x="144" y="74"/>
                </a:lnTo>
                <a:lnTo>
                  <a:pt x="148" y="80"/>
                </a:lnTo>
                <a:lnTo>
                  <a:pt x="140" y="84"/>
                </a:lnTo>
                <a:lnTo>
                  <a:pt x="134" y="88"/>
                </a:lnTo>
                <a:lnTo>
                  <a:pt x="126" y="100"/>
                </a:lnTo>
                <a:lnTo>
                  <a:pt x="116" y="112"/>
                </a:lnTo>
                <a:lnTo>
                  <a:pt x="106" y="122"/>
                </a:lnTo>
                <a:lnTo>
                  <a:pt x="104" y="124"/>
                </a:lnTo>
                <a:lnTo>
                  <a:pt x="100" y="126"/>
                </a:lnTo>
                <a:lnTo>
                  <a:pt x="98" y="128"/>
                </a:lnTo>
                <a:lnTo>
                  <a:pt x="94" y="132"/>
                </a:lnTo>
                <a:lnTo>
                  <a:pt x="92" y="138"/>
                </a:lnTo>
                <a:lnTo>
                  <a:pt x="88" y="142"/>
                </a:lnTo>
                <a:lnTo>
                  <a:pt x="84" y="146"/>
                </a:lnTo>
                <a:lnTo>
                  <a:pt x="78" y="148"/>
                </a:lnTo>
                <a:lnTo>
                  <a:pt x="72" y="146"/>
                </a:lnTo>
                <a:lnTo>
                  <a:pt x="68" y="142"/>
                </a:lnTo>
                <a:lnTo>
                  <a:pt x="62" y="140"/>
                </a:lnTo>
                <a:lnTo>
                  <a:pt x="56" y="138"/>
                </a:lnTo>
                <a:lnTo>
                  <a:pt x="52" y="142"/>
                </a:lnTo>
                <a:lnTo>
                  <a:pt x="44" y="150"/>
                </a:lnTo>
                <a:lnTo>
                  <a:pt x="36" y="162"/>
                </a:lnTo>
                <a:lnTo>
                  <a:pt x="28" y="168"/>
                </a:lnTo>
                <a:lnTo>
                  <a:pt x="12" y="168"/>
                </a:lnTo>
                <a:lnTo>
                  <a:pt x="14" y="160"/>
                </a:lnTo>
                <a:lnTo>
                  <a:pt x="16" y="152"/>
                </a:lnTo>
                <a:lnTo>
                  <a:pt x="16" y="146"/>
                </a:lnTo>
                <a:lnTo>
                  <a:pt x="14" y="142"/>
                </a:lnTo>
                <a:lnTo>
                  <a:pt x="6" y="134"/>
                </a:lnTo>
                <a:lnTo>
                  <a:pt x="0" y="132"/>
                </a:lnTo>
                <a:lnTo>
                  <a:pt x="0" y="78"/>
                </a:lnTo>
                <a:lnTo>
                  <a:pt x="20" y="78"/>
                </a:lnTo>
                <a:lnTo>
                  <a:pt x="20" y="10"/>
                </a:lnTo>
                <a:lnTo>
                  <a:pt x="42" y="8"/>
                </a:lnTo>
                <a:lnTo>
                  <a:pt x="60" y="6"/>
                </a:lnTo>
                <a:lnTo>
                  <a:pt x="64" y="12"/>
                </a:lnTo>
                <a:lnTo>
                  <a:pt x="78" y="6"/>
                </a:lnTo>
                <a:lnTo>
                  <a:pt x="82" y="2"/>
                </a:lnTo>
                <a:lnTo>
                  <a:pt x="88" y="0"/>
                </a:lnTo>
                <a:lnTo>
                  <a:pt x="92" y="0"/>
                </a:lnTo>
                <a:lnTo>
                  <a:pt x="94" y="2"/>
                </a:lnTo>
                <a:lnTo>
                  <a:pt x="94" y="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1" name="Freeform 111">
            <a:extLst>
              <a:ext uri="{FF2B5EF4-FFF2-40B4-BE49-F238E27FC236}">
                <a16:creationId xmlns:a16="http://schemas.microsoft.com/office/drawing/2014/main" id="{724E2455-0B3C-4893-8C5D-681C737681DD}"/>
              </a:ext>
            </a:extLst>
          </p:cNvPr>
          <p:cNvSpPr>
            <a:spLocks/>
          </p:cNvSpPr>
          <p:nvPr/>
        </p:nvSpPr>
        <p:spPr bwMode="auto">
          <a:xfrm>
            <a:off x="3603985" y="3310482"/>
            <a:ext cx="160763" cy="146111"/>
          </a:xfrm>
          <a:custGeom>
            <a:avLst/>
            <a:gdLst/>
            <a:ahLst/>
            <a:cxnLst>
              <a:cxn ang="0">
                <a:pos x="6" y="78"/>
              </a:cxn>
              <a:cxn ang="0">
                <a:pos x="4" y="74"/>
              </a:cxn>
              <a:cxn ang="0">
                <a:pos x="4" y="68"/>
              </a:cxn>
              <a:cxn ang="0">
                <a:pos x="4" y="62"/>
              </a:cxn>
              <a:cxn ang="0">
                <a:pos x="16" y="62"/>
              </a:cxn>
              <a:cxn ang="0">
                <a:pos x="28" y="60"/>
              </a:cxn>
              <a:cxn ang="0">
                <a:pos x="28" y="58"/>
              </a:cxn>
              <a:cxn ang="0">
                <a:pos x="34" y="60"/>
              </a:cxn>
              <a:cxn ang="0">
                <a:pos x="42" y="62"/>
              </a:cxn>
              <a:cxn ang="0">
                <a:pos x="46" y="60"/>
              </a:cxn>
              <a:cxn ang="0">
                <a:pos x="50" y="58"/>
              </a:cxn>
              <a:cxn ang="0">
                <a:pos x="38" y="56"/>
              </a:cxn>
              <a:cxn ang="0">
                <a:pos x="32" y="54"/>
              </a:cxn>
              <a:cxn ang="0">
                <a:pos x="30" y="50"/>
              </a:cxn>
              <a:cxn ang="0">
                <a:pos x="26" y="52"/>
              </a:cxn>
              <a:cxn ang="0">
                <a:pos x="24" y="54"/>
              </a:cxn>
              <a:cxn ang="0">
                <a:pos x="22" y="56"/>
              </a:cxn>
              <a:cxn ang="0">
                <a:pos x="18" y="58"/>
              </a:cxn>
              <a:cxn ang="0">
                <a:pos x="6" y="56"/>
              </a:cxn>
              <a:cxn ang="0">
                <a:pos x="6" y="52"/>
              </a:cxn>
              <a:cxn ang="0">
                <a:pos x="8" y="46"/>
              </a:cxn>
              <a:cxn ang="0">
                <a:pos x="6" y="40"/>
              </a:cxn>
              <a:cxn ang="0">
                <a:pos x="4" y="36"/>
              </a:cxn>
              <a:cxn ang="0">
                <a:pos x="2" y="32"/>
              </a:cxn>
              <a:cxn ang="0">
                <a:pos x="0" y="30"/>
              </a:cxn>
              <a:cxn ang="0">
                <a:pos x="2" y="24"/>
              </a:cxn>
              <a:cxn ang="0">
                <a:pos x="4" y="16"/>
              </a:cxn>
              <a:cxn ang="0">
                <a:pos x="10" y="4"/>
              </a:cxn>
              <a:cxn ang="0">
                <a:pos x="14" y="4"/>
              </a:cxn>
              <a:cxn ang="0">
                <a:pos x="16" y="4"/>
              </a:cxn>
              <a:cxn ang="0">
                <a:pos x="20" y="4"/>
              </a:cxn>
              <a:cxn ang="0">
                <a:pos x="22" y="2"/>
              </a:cxn>
              <a:cxn ang="0">
                <a:pos x="26" y="0"/>
              </a:cxn>
              <a:cxn ang="0">
                <a:pos x="30" y="0"/>
              </a:cxn>
              <a:cxn ang="0">
                <a:pos x="38" y="2"/>
              </a:cxn>
              <a:cxn ang="0">
                <a:pos x="46" y="6"/>
              </a:cxn>
              <a:cxn ang="0">
                <a:pos x="52" y="8"/>
              </a:cxn>
              <a:cxn ang="0">
                <a:pos x="54" y="14"/>
              </a:cxn>
              <a:cxn ang="0">
                <a:pos x="64" y="28"/>
              </a:cxn>
              <a:cxn ang="0">
                <a:pos x="68" y="32"/>
              </a:cxn>
              <a:cxn ang="0">
                <a:pos x="74" y="36"/>
              </a:cxn>
              <a:cxn ang="0">
                <a:pos x="72" y="36"/>
              </a:cxn>
              <a:cxn ang="0">
                <a:pos x="76" y="48"/>
              </a:cxn>
              <a:cxn ang="0">
                <a:pos x="80" y="58"/>
              </a:cxn>
              <a:cxn ang="0">
                <a:pos x="82" y="66"/>
              </a:cxn>
              <a:cxn ang="0">
                <a:pos x="82" y="72"/>
              </a:cxn>
              <a:cxn ang="0">
                <a:pos x="82" y="80"/>
              </a:cxn>
              <a:cxn ang="0">
                <a:pos x="80" y="80"/>
              </a:cxn>
              <a:cxn ang="0">
                <a:pos x="74" y="82"/>
              </a:cxn>
              <a:cxn ang="0">
                <a:pos x="68" y="80"/>
              </a:cxn>
              <a:cxn ang="0">
                <a:pos x="62" y="78"/>
              </a:cxn>
              <a:cxn ang="0">
                <a:pos x="56" y="76"/>
              </a:cxn>
              <a:cxn ang="0">
                <a:pos x="50" y="74"/>
              </a:cxn>
              <a:cxn ang="0">
                <a:pos x="38" y="74"/>
              </a:cxn>
              <a:cxn ang="0">
                <a:pos x="26" y="76"/>
              </a:cxn>
              <a:cxn ang="0">
                <a:pos x="18" y="78"/>
              </a:cxn>
              <a:cxn ang="0">
                <a:pos x="6" y="78"/>
              </a:cxn>
            </a:cxnLst>
            <a:rect l="0" t="0" r="r" b="b"/>
            <a:pathLst>
              <a:path w="82" h="82">
                <a:moveTo>
                  <a:pt x="6" y="78"/>
                </a:moveTo>
                <a:lnTo>
                  <a:pt x="4" y="74"/>
                </a:lnTo>
                <a:lnTo>
                  <a:pt x="4" y="68"/>
                </a:lnTo>
                <a:lnTo>
                  <a:pt x="4" y="62"/>
                </a:lnTo>
                <a:lnTo>
                  <a:pt x="16" y="62"/>
                </a:lnTo>
                <a:lnTo>
                  <a:pt x="28" y="60"/>
                </a:lnTo>
                <a:lnTo>
                  <a:pt x="28" y="58"/>
                </a:lnTo>
                <a:lnTo>
                  <a:pt x="34" y="60"/>
                </a:lnTo>
                <a:lnTo>
                  <a:pt x="42" y="62"/>
                </a:lnTo>
                <a:lnTo>
                  <a:pt x="46" y="60"/>
                </a:lnTo>
                <a:lnTo>
                  <a:pt x="50" y="58"/>
                </a:lnTo>
                <a:lnTo>
                  <a:pt x="38" y="56"/>
                </a:lnTo>
                <a:lnTo>
                  <a:pt x="32" y="54"/>
                </a:lnTo>
                <a:lnTo>
                  <a:pt x="30" y="50"/>
                </a:lnTo>
                <a:lnTo>
                  <a:pt x="26" y="52"/>
                </a:lnTo>
                <a:lnTo>
                  <a:pt x="24" y="54"/>
                </a:lnTo>
                <a:lnTo>
                  <a:pt x="22" y="56"/>
                </a:lnTo>
                <a:lnTo>
                  <a:pt x="18" y="58"/>
                </a:lnTo>
                <a:lnTo>
                  <a:pt x="6" y="56"/>
                </a:lnTo>
                <a:lnTo>
                  <a:pt x="6" y="52"/>
                </a:lnTo>
                <a:lnTo>
                  <a:pt x="8" y="46"/>
                </a:lnTo>
                <a:lnTo>
                  <a:pt x="6" y="40"/>
                </a:lnTo>
                <a:lnTo>
                  <a:pt x="4" y="36"/>
                </a:lnTo>
                <a:lnTo>
                  <a:pt x="2" y="32"/>
                </a:lnTo>
                <a:lnTo>
                  <a:pt x="0" y="30"/>
                </a:lnTo>
                <a:lnTo>
                  <a:pt x="2" y="24"/>
                </a:lnTo>
                <a:lnTo>
                  <a:pt x="4" y="16"/>
                </a:lnTo>
                <a:lnTo>
                  <a:pt x="10" y="4"/>
                </a:lnTo>
                <a:lnTo>
                  <a:pt x="14" y="4"/>
                </a:lnTo>
                <a:lnTo>
                  <a:pt x="16" y="4"/>
                </a:lnTo>
                <a:lnTo>
                  <a:pt x="20" y="4"/>
                </a:lnTo>
                <a:lnTo>
                  <a:pt x="22" y="2"/>
                </a:lnTo>
                <a:lnTo>
                  <a:pt x="26" y="0"/>
                </a:lnTo>
                <a:lnTo>
                  <a:pt x="30" y="0"/>
                </a:lnTo>
                <a:lnTo>
                  <a:pt x="38" y="2"/>
                </a:lnTo>
                <a:lnTo>
                  <a:pt x="46" y="6"/>
                </a:lnTo>
                <a:lnTo>
                  <a:pt x="52" y="8"/>
                </a:lnTo>
                <a:lnTo>
                  <a:pt x="54" y="14"/>
                </a:lnTo>
                <a:lnTo>
                  <a:pt x="64" y="28"/>
                </a:lnTo>
                <a:lnTo>
                  <a:pt x="68" y="32"/>
                </a:lnTo>
                <a:lnTo>
                  <a:pt x="74" y="36"/>
                </a:lnTo>
                <a:lnTo>
                  <a:pt x="72" y="36"/>
                </a:lnTo>
                <a:lnTo>
                  <a:pt x="76" y="48"/>
                </a:lnTo>
                <a:lnTo>
                  <a:pt x="80" y="58"/>
                </a:lnTo>
                <a:lnTo>
                  <a:pt x="82" y="66"/>
                </a:lnTo>
                <a:lnTo>
                  <a:pt x="82" y="72"/>
                </a:lnTo>
                <a:lnTo>
                  <a:pt x="82" y="80"/>
                </a:lnTo>
                <a:lnTo>
                  <a:pt x="80" y="80"/>
                </a:lnTo>
                <a:lnTo>
                  <a:pt x="74" y="82"/>
                </a:lnTo>
                <a:lnTo>
                  <a:pt x="68" y="80"/>
                </a:lnTo>
                <a:lnTo>
                  <a:pt x="62" y="78"/>
                </a:lnTo>
                <a:lnTo>
                  <a:pt x="56" y="76"/>
                </a:lnTo>
                <a:lnTo>
                  <a:pt x="50" y="74"/>
                </a:lnTo>
                <a:lnTo>
                  <a:pt x="38" y="74"/>
                </a:lnTo>
                <a:lnTo>
                  <a:pt x="26" y="76"/>
                </a:lnTo>
                <a:lnTo>
                  <a:pt x="18" y="78"/>
                </a:lnTo>
                <a:lnTo>
                  <a:pt x="6" y="7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2" name="Freeform 112">
            <a:extLst>
              <a:ext uri="{FF2B5EF4-FFF2-40B4-BE49-F238E27FC236}">
                <a16:creationId xmlns:a16="http://schemas.microsoft.com/office/drawing/2014/main" id="{B6FEFF49-4FF1-4FE4-9963-06A793AF3E61}"/>
              </a:ext>
            </a:extLst>
          </p:cNvPr>
          <p:cNvSpPr>
            <a:spLocks/>
          </p:cNvSpPr>
          <p:nvPr/>
        </p:nvSpPr>
        <p:spPr bwMode="auto">
          <a:xfrm>
            <a:off x="3614245" y="3443603"/>
            <a:ext cx="88933" cy="42210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12" y="4"/>
              </a:cxn>
              <a:cxn ang="0">
                <a:pos x="20" y="2"/>
              </a:cxn>
              <a:cxn ang="0">
                <a:pos x="32" y="0"/>
              </a:cxn>
              <a:cxn ang="0">
                <a:pos x="44" y="0"/>
              </a:cxn>
              <a:cxn ang="0">
                <a:pos x="44" y="4"/>
              </a:cxn>
              <a:cxn ang="0">
                <a:pos x="44" y="8"/>
              </a:cxn>
              <a:cxn ang="0">
                <a:pos x="40" y="8"/>
              </a:cxn>
              <a:cxn ang="0">
                <a:pos x="42" y="12"/>
              </a:cxn>
              <a:cxn ang="0">
                <a:pos x="44" y="12"/>
              </a:cxn>
              <a:cxn ang="0">
                <a:pos x="44" y="16"/>
              </a:cxn>
              <a:cxn ang="0">
                <a:pos x="38" y="18"/>
              </a:cxn>
              <a:cxn ang="0">
                <a:pos x="34" y="20"/>
              </a:cxn>
              <a:cxn ang="0">
                <a:pos x="30" y="22"/>
              </a:cxn>
              <a:cxn ang="0">
                <a:pos x="26" y="24"/>
              </a:cxn>
              <a:cxn ang="0">
                <a:pos x="20" y="16"/>
              </a:cxn>
              <a:cxn ang="0">
                <a:pos x="18" y="14"/>
              </a:cxn>
              <a:cxn ang="0">
                <a:pos x="16" y="12"/>
              </a:cxn>
              <a:cxn ang="0">
                <a:pos x="8" y="8"/>
              </a:cxn>
              <a:cxn ang="0">
                <a:pos x="0" y="4"/>
              </a:cxn>
            </a:cxnLst>
            <a:rect l="0" t="0" r="r" b="b"/>
            <a:pathLst>
              <a:path w="44" h="24">
                <a:moveTo>
                  <a:pt x="0" y="4"/>
                </a:moveTo>
                <a:lnTo>
                  <a:pt x="12" y="4"/>
                </a:lnTo>
                <a:lnTo>
                  <a:pt x="20" y="2"/>
                </a:lnTo>
                <a:lnTo>
                  <a:pt x="32" y="0"/>
                </a:lnTo>
                <a:lnTo>
                  <a:pt x="44" y="0"/>
                </a:lnTo>
                <a:lnTo>
                  <a:pt x="44" y="4"/>
                </a:lnTo>
                <a:lnTo>
                  <a:pt x="44" y="8"/>
                </a:lnTo>
                <a:lnTo>
                  <a:pt x="40" y="8"/>
                </a:lnTo>
                <a:lnTo>
                  <a:pt x="42" y="12"/>
                </a:lnTo>
                <a:lnTo>
                  <a:pt x="44" y="12"/>
                </a:lnTo>
                <a:lnTo>
                  <a:pt x="44" y="16"/>
                </a:lnTo>
                <a:lnTo>
                  <a:pt x="38" y="18"/>
                </a:lnTo>
                <a:lnTo>
                  <a:pt x="34" y="20"/>
                </a:lnTo>
                <a:lnTo>
                  <a:pt x="30" y="22"/>
                </a:lnTo>
                <a:lnTo>
                  <a:pt x="26" y="24"/>
                </a:lnTo>
                <a:lnTo>
                  <a:pt x="20" y="16"/>
                </a:lnTo>
                <a:lnTo>
                  <a:pt x="18" y="14"/>
                </a:lnTo>
                <a:lnTo>
                  <a:pt x="16" y="12"/>
                </a:lnTo>
                <a:lnTo>
                  <a:pt x="8" y="8"/>
                </a:lnTo>
                <a:lnTo>
                  <a:pt x="0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3" name="Freeform 113">
            <a:extLst>
              <a:ext uri="{FF2B5EF4-FFF2-40B4-BE49-F238E27FC236}">
                <a16:creationId xmlns:a16="http://schemas.microsoft.com/office/drawing/2014/main" id="{2A0925E7-A19B-4A97-815E-BA7AC5DA2D69}"/>
              </a:ext>
            </a:extLst>
          </p:cNvPr>
          <p:cNvSpPr>
            <a:spLocks/>
          </p:cNvSpPr>
          <p:nvPr/>
        </p:nvSpPr>
        <p:spPr bwMode="auto">
          <a:xfrm>
            <a:off x="3667262" y="3443603"/>
            <a:ext cx="217202" cy="170463"/>
          </a:xfrm>
          <a:custGeom>
            <a:avLst/>
            <a:gdLst/>
            <a:ahLst/>
            <a:cxnLst>
              <a:cxn ang="0">
                <a:pos x="32" y="60"/>
              </a:cxn>
              <a:cxn ang="0">
                <a:pos x="44" y="48"/>
              </a:cxn>
              <a:cxn ang="0">
                <a:pos x="56" y="48"/>
              </a:cxn>
              <a:cxn ang="0">
                <a:pos x="62" y="54"/>
              </a:cxn>
              <a:cxn ang="0">
                <a:pos x="66" y="68"/>
              </a:cxn>
              <a:cxn ang="0">
                <a:pos x="74" y="76"/>
              </a:cxn>
              <a:cxn ang="0">
                <a:pos x="84" y="78"/>
              </a:cxn>
              <a:cxn ang="0">
                <a:pos x="86" y="96"/>
              </a:cxn>
              <a:cxn ang="0">
                <a:pos x="96" y="96"/>
              </a:cxn>
              <a:cxn ang="0">
                <a:pos x="102" y="96"/>
              </a:cxn>
              <a:cxn ang="0">
                <a:pos x="106" y="84"/>
              </a:cxn>
              <a:cxn ang="0">
                <a:pos x="104" y="80"/>
              </a:cxn>
              <a:cxn ang="0">
                <a:pos x="102" y="76"/>
              </a:cxn>
              <a:cxn ang="0">
                <a:pos x="110" y="72"/>
              </a:cxn>
              <a:cxn ang="0">
                <a:pos x="106" y="64"/>
              </a:cxn>
              <a:cxn ang="0">
                <a:pos x="106" y="46"/>
              </a:cxn>
              <a:cxn ang="0">
                <a:pos x="110" y="44"/>
              </a:cxn>
              <a:cxn ang="0">
                <a:pos x="102" y="40"/>
              </a:cxn>
              <a:cxn ang="0">
                <a:pos x="94" y="14"/>
              </a:cxn>
              <a:cxn ang="0">
                <a:pos x="84" y="6"/>
              </a:cxn>
              <a:cxn ang="0">
                <a:pos x="80" y="10"/>
              </a:cxn>
              <a:cxn ang="0">
                <a:pos x="60" y="8"/>
              </a:cxn>
              <a:cxn ang="0">
                <a:pos x="48" y="6"/>
              </a:cxn>
              <a:cxn ang="0">
                <a:pos x="36" y="6"/>
              </a:cxn>
              <a:cxn ang="0">
                <a:pos x="24" y="2"/>
              </a:cxn>
              <a:cxn ang="0">
                <a:pos x="18" y="4"/>
              </a:cxn>
              <a:cxn ang="0">
                <a:pos x="14" y="8"/>
              </a:cxn>
              <a:cxn ang="0">
                <a:pos x="18" y="12"/>
              </a:cxn>
              <a:cxn ang="0">
                <a:pos x="12" y="18"/>
              </a:cxn>
              <a:cxn ang="0">
                <a:pos x="4" y="22"/>
              </a:cxn>
              <a:cxn ang="0">
                <a:pos x="16" y="42"/>
              </a:cxn>
              <a:cxn ang="0">
                <a:pos x="28" y="66"/>
              </a:cxn>
            </a:cxnLst>
            <a:rect l="0" t="0" r="r" b="b"/>
            <a:pathLst>
              <a:path w="110" h="96">
                <a:moveTo>
                  <a:pt x="28" y="66"/>
                </a:moveTo>
                <a:lnTo>
                  <a:pt x="32" y="60"/>
                </a:lnTo>
                <a:lnTo>
                  <a:pt x="38" y="54"/>
                </a:lnTo>
                <a:lnTo>
                  <a:pt x="44" y="48"/>
                </a:lnTo>
                <a:lnTo>
                  <a:pt x="50" y="46"/>
                </a:lnTo>
                <a:lnTo>
                  <a:pt x="56" y="48"/>
                </a:lnTo>
                <a:lnTo>
                  <a:pt x="60" y="50"/>
                </a:lnTo>
                <a:lnTo>
                  <a:pt x="62" y="54"/>
                </a:lnTo>
                <a:lnTo>
                  <a:pt x="64" y="60"/>
                </a:lnTo>
                <a:lnTo>
                  <a:pt x="66" y="68"/>
                </a:lnTo>
                <a:lnTo>
                  <a:pt x="70" y="78"/>
                </a:lnTo>
                <a:lnTo>
                  <a:pt x="74" y="76"/>
                </a:lnTo>
                <a:lnTo>
                  <a:pt x="76" y="74"/>
                </a:lnTo>
                <a:lnTo>
                  <a:pt x="84" y="78"/>
                </a:lnTo>
                <a:lnTo>
                  <a:pt x="84" y="90"/>
                </a:lnTo>
                <a:lnTo>
                  <a:pt x="86" y="96"/>
                </a:lnTo>
                <a:lnTo>
                  <a:pt x="90" y="96"/>
                </a:lnTo>
                <a:lnTo>
                  <a:pt x="96" y="96"/>
                </a:lnTo>
                <a:lnTo>
                  <a:pt x="100" y="96"/>
                </a:lnTo>
                <a:lnTo>
                  <a:pt x="102" y="96"/>
                </a:lnTo>
                <a:lnTo>
                  <a:pt x="104" y="92"/>
                </a:lnTo>
                <a:lnTo>
                  <a:pt x="106" y="84"/>
                </a:lnTo>
                <a:lnTo>
                  <a:pt x="106" y="82"/>
                </a:lnTo>
                <a:lnTo>
                  <a:pt x="104" y="80"/>
                </a:lnTo>
                <a:lnTo>
                  <a:pt x="102" y="78"/>
                </a:lnTo>
                <a:lnTo>
                  <a:pt x="102" y="76"/>
                </a:lnTo>
                <a:lnTo>
                  <a:pt x="106" y="74"/>
                </a:lnTo>
                <a:lnTo>
                  <a:pt x="110" y="72"/>
                </a:lnTo>
                <a:lnTo>
                  <a:pt x="108" y="68"/>
                </a:lnTo>
                <a:lnTo>
                  <a:pt x="106" y="64"/>
                </a:lnTo>
                <a:lnTo>
                  <a:pt x="104" y="52"/>
                </a:lnTo>
                <a:lnTo>
                  <a:pt x="106" y="46"/>
                </a:lnTo>
                <a:lnTo>
                  <a:pt x="106" y="44"/>
                </a:lnTo>
                <a:lnTo>
                  <a:pt x="110" y="44"/>
                </a:lnTo>
                <a:lnTo>
                  <a:pt x="104" y="42"/>
                </a:lnTo>
                <a:lnTo>
                  <a:pt x="102" y="40"/>
                </a:lnTo>
                <a:lnTo>
                  <a:pt x="98" y="26"/>
                </a:lnTo>
                <a:lnTo>
                  <a:pt x="94" y="14"/>
                </a:lnTo>
                <a:lnTo>
                  <a:pt x="90" y="8"/>
                </a:lnTo>
                <a:lnTo>
                  <a:pt x="84" y="6"/>
                </a:lnTo>
                <a:lnTo>
                  <a:pt x="82" y="8"/>
                </a:lnTo>
                <a:lnTo>
                  <a:pt x="80" y="10"/>
                </a:lnTo>
                <a:lnTo>
                  <a:pt x="74" y="10"/>
                </a:lnTo>
                <a:lnTo>
                  <a:pt x="60" y="8"/>
                </a:lnTo>
                <a:lnTo>
                  <a:pt x="50" y="6"/>
                </a:lnTo>
                <a:lnTo>
                  <a:pt x="48" y="6"/>
                </a:lnTo>
                <a:lnTo>
                  <a:pt x="42" y="8"/>
                </a:lnTo>
                <a:lnTo>
                  <a:pt x="36" y="6"/>
                </a:lnTo>
                <a:lnTo>
                  <a:pt x="30" y="4"/>
                </a:lnTo>
                <a:lnTo>
                  <a:pt x="24" y="2"/>
                </a:lnTo>
                <a:lnTo>
                  <a:pt x="18" y="0"/>
                </a:lnTo>
                <a:lnTo>
                  <a:pt x="18" y="4"/>
                </a:lnTo>
                <a:lnTo>
                  <a:pt x="18" y="8"/>
                </a:lnTo>
                <a:lnTo>
                  <a:pt x="14" y="8"/>
                </a:lnTo>
                <a:lnTo>
                  <a:pt x="16" y="12"/>
                </a:lnTo>
                <a:lnTo>
                  <a:pt x="18" y="12"/>
                </a:lnTo>
                <a:lnTo>
                  <a:pt x="18" y="16"/>
                </a:lnTo>
                <a:lnTo>
                  <a:pt x="12" y="18"/>
                </a:lnTo>
                <a:lnTo>
                  <a:pt x="8" y="20"/>
                </a:lnTo>
                <a:lnTo>
                  <a:pt x="4" y="22"/>
                </a:lnTo>
                <a:lnTo>
                  <a:pt x="0" y="24"/>
                </a:lnTo>
                <a:lnTo>
                  <a:pt x="16" y="42"/>
                </a:lnTo>
                <a:lnTo>
                  <a:pt x="22" y="52"/>
                </a:lnTo>
                <a:lnTo>
                  <a:pt x="28" y="6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4" name="Freeform 114">
            <a:extLst>
              <a:ext uri="{FF2B5EF4-FFF2-40B4-BE49-F238E27FC236}">
                <a16:creationId xmlns:a16="http://schemas.microsoft.com/office/drawing/2014/main" id="{A7A82654-05D2-4FC2-8114-75A62C9FAFC0}"/>
              </a:ext>
            </a:extLst>
          </p:cNvPr>
          <p:cNvSpPr>
            <a:spLocks/>
          </p:cNvSpPr>
          <p:nvPr/>
        </p:nvSpPr>
        <p:spPr bwMode="auto">
          <a:xfrm>
            <a:off x="3721992" y="3524776"/>
            <a:ext cx="82092" cy="100654"/>
          </a:xfrm>
          <a:custGeom>
            <a:avLst/>
            <a:gdLst/>
            <a:ahLst/>
            <a:cxnLst>
              <a:cxn ang="0">
                <a:pos x="24" y="56"/>
              </a:cxn>
              <a:cxn ang="0">
                <a:pos x="18" y="50"/>
              </a:cxn>
              <a:cxn ang="0">
                <a:pos x="12" y="46"/>
              </a:cxn>
              <a:cxn ang="0">
                <a:pos x="6" y="38"/>
              </a:cxn>
              <a:cxn ang="0">
                <a:pos x="2" y="30"/>
              </a:cxn>
              <a:cxn ang="0">
                <a:pos x="0" y="20"/>
              </a:cxn>
              <a:cxn ang="0">
                <a:pos x="4" y="14"/>
              </a:cxn>
              <a:cxn ang="0">
                <a:pos x="10" y="8"/>
              </a:cxn>
              <a:cxn ang="0">
                <a:pos x="16" y="2"/>
              </a:cxn>
              <a:cxn ang="0">
                <a:pos x="22" y="0"/>
              </a:cxn>
              <a:cxn ang="0">
                <a:pos x="28" y="2"/>
              </a:cxn>
              <a:cxn ang="0">
                <a:pos x="32" y="4"/>
              </a:cxn>
              <a:cxn ang="0">
                <a:pos x="34" y="8"/>
              </a:cxn>
              <a:cxn ang="0">
                <a:pos x="36" y="14"/>
              </a:cxn>
              <a:cxn ang="0">
                <a:pos x="38" y="22"/>
              </a:cxn>
              <a:cxn ang="0">
                <a:pos x="42" y="32"/>
              </a:cxn>
              <a:cxn ang="0">
                <a:pos x="40" y="36"/>
              </a:cxn>
              <a:cxn ang="0">
                <a:pos x="38" y="42"/>
              </a:cxn>
              <a:cxn ang="0">
                <a:pos x="34" y="48"/>
              </a:cxn>
              <a:cxn ang="0">
                <a:pos x="28" y="52"/>
              </a:cxn>
              <a:cxn ang="0">
                <a:pos x="24" y="56"/>
              </a:cxn>
            </a:cxnLst>
            <a:rect l="0" t="0" r="r" b="b"/>
            <a:pathLst>
              <a:path w="42" h="56">
                <a:moveTo>
                  <a:pt x="24" y="56"/>
                </a:moveTo>
                <a:lnTo>
                  <a:pt x="18" y="50"/>
                </a:lnTo>
                <a:lnTo>
                  <a:pt x="12" y="46"/>
                </a:lnTo>
                <a:lnTo>
                  <a:pt x="6" y="38"/>
                </a:lnTo>
                <a:lnTo>
                  <a:pt x="2" y="30"/>
                </a:lnTo>
                <a:lnTo>
                  <a:pt x="0" y="20"/>
                </a:lnTo>
                <a:lnTo>
                  <a:pt x="4" y="14"/>
                </a:lnTo>
                <a:lnTo>
                  <a:pt x="10" y="8"/>
                </a:lnTo>
                <a:lnTo>
                  <a:pt x="16" y="2"/>
                </a:lnTo>
                <a:lnTo>
                  <a:pt x="22" y="0"/>
                </a:lnTo>
                <a:lnTo>
                  <a:pt x="28" y="2"/>
                </a:lnTo>
                <a:lnTo>
                  <a:pt x="32" y="4"/>
                </a:lnTo>
                <a:lnTo>
                  <a:pt x="34" y="8"/>
                </a:lnTo>
                <a:lnTo>
                  <a:pt x="36" y="14"/>
                </a:lnTo>
                <a:lnTo>
                  <a:pt x="38" y="22"/>
                </a:lnTo>
                <a:lnTo>
                  <a:pt x="42" y="32"/>
                </a:lnTo>
                <a:lnTo>
                  <a:pt x="40" y="36"/>
                </a:lnTo>
                <a:lnTo>
                  <a:pt x="38" y="42"/>
                </a:lnTo>
                <a:lnTo>
                  <a:pt x="34" y="48"/>
                </a:lnTo>
                <a:lnTo>
                  <a:pt x="28" y="52"/>
                </a:lnTo>
                <a:lnTo>
                  <a:pt x="24" y="5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5" name="Freeform 115">
            <a:extLst>
              <a:ext uri="{FF2B5EF4-FFF2-40B4-BE49-F238E27FC236}">
                <a16:creationId xmlns:a16="http://schemas.microsoft.com/office/drawing/2014/main" id="{D149C6D3-6BB8-425E-A26E-F33E731513A5}"/>
              </a:ext>
            </a:extLst>
          </p:cNvPr>
          <p:cNvSpPr>
            <a:spLocks/>
          </p:cNvSpPr>
          <p:nvPr/>
        </p:nvSpPr>
        <p:spPr bwMode="auto">
          <a:xfrm>
            <a:off x="3768168" y="3575106"/>
            <a:ext cx="126558" cy="128253"/>
          </a:xfrm>
          <a:custGeom>
            <a:avLst/>
            <a:gdLst/>
            <a:ahLst/>
            <a:cxnLst>
              <a:cxn ang="0">
                <a:pos x="62" y="72"/>
              </a:cxn>
              <a:cxn ang="0">
                <a:pos x="54" y="70"/>
              </a:cxn>
              <a:cxn ang="0">
                <a:pos x="50" y="66"/>
              </a:cxn>
              <a:cxn ang="0">
                <a:pos x="40" y="56"/>
              </a:cxn>
              <a:cxn ang="0">
                <a:pos x="20" y="44"/>
              </a:cxn>
              <a:cxn ang="0">
                <a:pos x="0" y="28"/>
              </a:cxn>
              <a:cxn ang="0">
                <a:pos x="2" y="26"/>
              </a:cxn>
              <a:cxn ang="0">
                <a:pos x="4" y="24"/>
              </a:cxn>
              <a:cxn ang="0">
                <a:pos x="10" y="20"/>
              </a:cxn>
              <a:cxn ang="0">
                <a:pos x="14" y="14"/>
              </a:cxn>
              <a:cxn ang="0">
                <a:pos x="16" y="8"/>
              </a:cxn>
              <a:cxn ang="0">
                <a:pos x="18" y="4"/>
              </a:cxn>
              <a:cxn ang="0">
                <a:pos x="22" y="2"/>
              </a:cxn>
              <a:cxn ang="0">
                <a:pos x="24" y="0"/>
              </a:cxn>
              <a:cxn ang="0">
                <a:pos x="32" y="4"/>
              </a:cxn>
              <a:cxn ang="0">
                <a:pos x="32" y="16"/>
              </a:cxn>
              <a:cxn ang="0">
                <a:pos x="34" y="22"/>
              </a:cxn>
              <a:cxn ang="0">
                <a:pos x="38" y="22"/>
              </a:cxn>
              <a:cxn ang="0">
                <a:pos x="44" y="22"/>
              </a:cxn>
              <a:cxn ang="0">
                <a:pos x="50" y="22"/>
              </a:cxn>
              <a:cxn ang="0">
                <a:pos x="50" y="24"/>
              </a:cxn>
              <a:cxn ang="0">
                <a:pos x="50" y="28"/>
              </a:cxn>
              <a:cxn ang="0">
                <a:pos x="50" y="34"/>
              </a:cxn>
              <a:cxn ang="0">
                <a:pos x="50" y="38"/>
              </a:cxn>
              <a:cxn ang="0">
                <a:pos x="50" y="42"/>
              </a:cxn>
              <a:cxn ang="0">
                <a:pos x="56" y="46"/>
              </a:cxn>
              <a:cxn ang="0">
                <a:pos x="62" y="48"/>
              </a:cxn>
              <a:cxn ang="0">
                <a:pos x="64" y="52"/>
              </a:cxn>
              <a:cxn ang="0">
                <a:pos x="64" y="54"/>
              </a:cxn>
              <a:cxn ang="0">
                <a:pos x="62" y="70"/>
              </a:cxn>
              <a:cxn ang="0">
                <a:pos x="62" y="72"/>
              </a:cxn>
            </a:cxnLst>
            <a:rect l="0" t="0" r="r" b="b"/>
            <a:pathLst>
              <a:path w="64" h="72">
                <a:moveTo>
                  <a:pt x="62" y="72"/>
                </a:moveTo>
                <a:lnTo>
                  <a:pt x="54" y="70"/>
                </a:lnTo>
                <a:lnTo>
                  <a:pt x="50" y="66"/>
                </a:lnTo>
                <a:lnTo>
                  <a:pt x="40" y="56"/>
                </a:lnTo>
                <a:lnTo>
                  <a:pt x="20" y="44"/>
                </a:lnTo>
                <a:lnTo>
                  <a:pt x="0" y="28"/>
                </a:lnTo>
                <a:lnTo>
                  <a:pt x="2" y="26"/>
                </a:lnTo>
                <a:lnTo>
                  <a:pt x="4" y="24"/>
                </a:lnTo>
                <a:lnTo>
                  <a:pt x="10" y="20"/>
                </a:lnTo>
                <a:lnTo>
                  <a:pt x="14" y="14"/>
                </a:lnTo>
                <a:lnTo>
                  <a:pt x="16" y="8"/>
                </a:lnTo>
                <a:lnTo>
                  <a:pt x="18" y="4"/>
                </a:lnTo>
                <a:lnTo>
                  <a:pt x="22" y="2"/>
                </a:lnTo>
                <a:lnTo>
                  <a:pt x="24" y="0"/>
                </a:lnTo>
                <a:lnTo>
                  <a:pt x="32" y="4"/>
                </a:lnTo>
                <a:lnTo>
                  <a:pt x="32" y="16"/>
                </a:lnTo>
                <a:lnTo>
                  <a:pt x="34" y="22"/>
                </a:lnTo>
                <a:lnTo>
                  <a:pt x="38" y="22"/>
                </a:lnTo>
                <a:lnTo>
                  <a:pt x="44" y="22"/>
                </a:lnTo>
                <a:lnTo>
                  <a:pt x="50" y="22"/>
                </a:lnTo>
                <a:lnTo>
                  <a:pt x="50" y="24"/>
                </a:lnTo>
                <a:lnTo>
                  <a:pt x="50" y="28"/>
                </a:lnTo>
                <a:lnTo>
                  <a:pt x="50" y="34"/>
                </a:lnTo>
                <a:lnTo>
                  <a:pt x="50" y="38"/>
                </a:lnTo>
                <a:lnTo>
                  <a:pt x="50" y="42"/>
                </a:lnTo>
                <a:lnTo>
                  <a:pt x="56" y="46"/>
                </a:lnTo>
                <a:lnTo>
                  <a:pt x="62" y="48"/>
                </a:lnTo>
                <a:lnTo>
                  <a:pt x="64" y="52"/>
                </a:lnTo>
                <a:lnTo>
                  <a:pt x="64" y="54"/>
                </a:lnTo>
                <a:lnTo>
                  <a:pt x="62" y="70"/>
                </a:lnTo>
                <a:lnTo>
                  <a:pt x="62" y="7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6" name="Freeform 116">
            <a:extLst>
              <a:ext uri="{FF2B5EF4-FFF2-40B4-BE49-F238E27FC236}">
                <a16:creationId xmlns:a16="http://schemas.microsoft.com/office/drawing/2014/main" id="{4C34782C-A589-404A-9137-3A387D135C86}"/>
              </a:ext>
            </a:extLst>
          </p:cNvPr>
          <p:cNvSpPr>
            <a:spLocks/>
          </p:cNvSpPr>
          <p:nvPr/>
        </p:nvSpPr>
        <p:spPr bwMode="auto">
          <a:xfrm>
            <a:off x="3951164" y="3364054"/>
            <a:ext cx="241145" cy="175334"/>
          </a:xfrm>
          <a:custGeom>
            <a:avLst/>
            <a:gdLst/>
            <a:ahLst/>
            <a:cxnLst>
              <a:cxn ang="0">
                <a:pos x="122" y="48"/>
              </a:cxn>
              <a:cxn ang="0">
                <a:pos x="120" y="44"/>
              </a:cxn>
              <a:cxn ang="0">
                <a:pos x="114" y="42"/>
              </a:cxn>
              <a:cxn ang="0">
                <a:pos x="108" y="42"/>
              </a:cxn>
              <a:cxn ang="0">
                <a:pos x="104" y="38"/>
              </a:cxn>
              <a:cxn ang="0">
                <a:pos x="104" y="34"/>
              </a:cxn>
              <a:cxn ang="0">
                <a:pos x="104" y="30"/>
              </a:cxn>
              <a:cxn ang="0">
                <a:pos x="104" y="26"/>
              </a:cxn>
              <a:cxn ang="0">
                <a:pos x="102" y="22"/>
              </a:cxn>
              <a:cxn ang="0">
                <a:pos x="98" y="18"/>
              </a:cxn>
              <a:cxn ang="0">
                <a:pos x="94" y="16"/>
              </a:cxn>
              <a:cxn ang="0">
                <a:pos x="90" y="10"/>
              </a:cxn>
              <a:cxn ang="0">
                <a:pos x="90" y="0"/>
              </a:cxn>
              <a:cxn ang="0">
                <a:pos x="68" y="6"/>
              </a:cxn>
              <a:cxn ang="0">
                <a:pos x="46" y="14"/>
              </a:cxn>
              <a:cxn ang="0">
                <a:pos x="42" y="16"/>
              </a:cxn>
              <a:cxn ang="0">
                <a:pos x="40" y="18"/>
              </a:cxn>
              <a:cxn ang="0">
                <a:pos x="38" y="24"/>
              </a:cxn>
              <a:cxn ang="0">
                <a:pos x="34" y="30"/>
              </a:cxn>
              <a:cxn ang="0">
                <a:pos x="32" y="30"/>
              </a:cxn>
              <a:cxn ang="0">
                <a:pos x="28" y="30"/>
              </a:cxn>
              <a:cxn ang="0">
                <a:pos x="20" y="30"/>
              </a:cxn>
              <a:cxn ang="0">
                <a:pos x="20" y="40"/>
              </a:cxn>
              <a:cxn ang="0">
                <a:pos x="20" y="46"/>
              </a:cxn>
              <a:cxn ang="0">
                <a:pos x="18" y="50"/>
              </a:cxn>
              <a:cxn ang="0">
                <a:pos x="12" y="54"/>
              </a:cxn>
              <a:cxn ang="0">
                <a:pos x="6" y="58"/>
              </a:cxn>
              <a:cxn ang="0">
                <a:pos x="4" y="62"/>
              </a:cxn>
              <a:cxn ang="0">
                <a:pos x="4" y="66"/>
              </a:cxn>
              <a:cxn ang="0">
                <a:pos x="2" y="74"/>
              </a:cxn>
              <a:cxn ang="0">
                <a:pos x="0" y="80"/>
              </a:cxn>
              <a:cxn ang="0">
                <a:pos x="4" y="84"/>
              </a:cxn>
              <a:cxn ang="0">
                <a:pos x="8" y="90"/>
              </a:cxn>
              <a:cxn ang="0">
                <a:pos x="12" y="94"/>
              </a:cxn>
              <a:cxn ang="0">
                <a:pos x="18" y="96"/>
              </a:cxn>
              <a:cxn ang="0">
                <a:pos x="22" y="96"/>
              </a:cxn>
              <a:cxn ang="0">
                <a:pos x="24" y="94"/>
              </a:cxn>
              <a:cxn ang="0">
                <a:pos x="28" y="92"/>
              </a:cxn>
              <a:cxn ang="0">
                <a:pos x="32" y="92"/>
              </a:cxn>
              <a:cxn ang="0">
                <a:pos x="36" y="92"/>
              </a:cxn>
              <a:cxn ang="0">
                <a:pos x="38" y="94"/>
              </a:cxn>
              <a:cxn ang="0">
                <a:pos x="40" y="98"/>
              </a:cxn>
              <a:cxn ang="0">
                <a:pos x="42" y="98"/>
              </a:cxn>
              <a:cxn ang="0">
                <a:pos x="42" y="86"/>
              </a:cxn>
              <a:cxn ang="0">
                <a:pos x="42" y="72"/>
              </a:cxn>
              <a:cxn ang="0">
                <a:pos x="50" y="72"/>
              </a:cxn>
              <a:cxn ang="0">
                <a:pos x="58" y="72"/>
              </a:cxn>
              <a:cxn ang="0">
                <a:pos x="76" y="72"/>
              </a:cxn>
              <a:cxn ang="0">
                <a:pos x="106" y="72"/>
              </a:cxn>
              <a:cxn ang="0">
                <a:pos x="106" y="68"/>
              </a:cxn>
              <a:cxn ang="0">
                <a:pos x="108" y="66"/>
              </a:cxn>
              <a:cxn ang="0">
                <a:pos x="114" y="64"/>
              </a:cxn>
              <a:cxn ang="0">
                <a:pos x="122" y="60"/>
              </a:cxn>
              <a:cxn ang="0">
                <a:pos x="122" y="58"/>
              </a:cxn>
              <a:cxn ang="0">
                <a:pos x="122" y="56"/>
              </a:cxn>
              <a:cxn ang="0">
                <a:pos x="122" y="50"/>
              </a:cxn>
              <a:cxn ang="0">
                <a:pos x="122" y="48"/>
              </a:cxn>
            </a:cxnLst>
            <a:rect l="0" t="0" r="r" b="b"/>
            <a:pathLst>
              <a:path w="122" h="98">
                <a:moveTo>
                  <a:pt x="122" y="48"/>
                </a:moveTo>
                <a:lnTo>
                  <a:pt x="120" y="44"/>
                </a:lnTo>
                <a:lnTo>
                  <a:pt x="114" y="42"/>
                </a:lnTo>
                <a:lnTo>
                  <a:pt x="108" y="42"/>
                </a:lnTo>
                <a:lnTo>
                  <a:pt x="104" y="38"/>
                </a:lnTo>
                <a:lnTo>
                  <a:pt x="104" y="34"/>
                </a:lnTo>
                <a:lnTo>
                  <a:pt x="104" y="30"/>
                </a:lnTo>
                <a:lnTo>
                  <a:pt x="104" y="26"/>
                </a:lnTo>
                <a:lnTo>
                  <a:pt x="102" y="22"/>
                </a:lnTo>
                <a:lnTo>
                  <a:pt x="98" y="18"/>
                </a:lnTo>
                <a:lnTo>
                  <a:pt x="94" y="16"/>
                </a:lnTo>
                <a:lnTo>
                  <a:pt x="90" y="10"/>
                </a:lnTo>
                <a:lnTo>
                  <a:pt x="90" y="0"/>
                </a:lnTo>
                <a:lnTo>
                  <a:pt x="68" y="6"/>
                </a:lnTo>
                <a:lnTo>
                  <a:pt x="46" y="14"/>
                </a:lnTo>
                <a:lnTo>
                  <a:pt x="42" y="16"/>
                </a:lnTo>
                <a:lnTo>
                  <a:pt x="40" y="18"/>
                </a:lnTo>
                <a:lnTo>
                  <a:pt x="38" y="24"/>
                </a:lnTo>
                <a:lnTo>
                  <a:pt x="34" y="30"/>
                </a:lnTo>
                <a:lnTo>
                  <a:pt x="32" y="30"/>
                </a:lnTo>
                <a:lnTo>
                  <a:pt x="28" y="30"/>
                </a:lnTo>
                <a:lnTo>
                  <a:pt x="20" y="30"/>
                </a:lnTo>
                <a:lnTo>
                  <a:pt x="20" y="40"/>
                </a:lnTo>
                <a:lnTo>
                  <a:pt x="20" y="46"/>
                </a:lnTo>
                <a:lnTo>
                  <a:pt x="18" y="50"/>
                </a:lnTo>
                <a:lnTo>
                  <a:pt x="12" y="54"/>
                </a:lnTo>
                <a:lnTo>
                  <a:pt x="6" y="58"/>
                </a:lnTo>
                <a:lnTo>
                  <a:pt x="4" y="62"/>
                </a:lnTo>
                <a:lnTo>
                  <a:pt x="4" y="66"/>
                </a:lnTo>
                <a:lnTo>
                  <a:pt x="2" y="74"/>
                </a:lnTo>
                <a:lnTo>
                  <a:pt x="0" y="80"/>
                </a:lnTo>
                <a:lnTo>
                  <a:pt x="4" y="84"/>
                </a:lnTo>
                <a:lnTo>
                  <a:pt x="8" y="90"/>
                </a:lnTo>
                <a:lnTo>
                  <a:pt x="12" y="94"/>
                </a:lnTo>
                <a:lnTo>
                  <a:pt x="18" y="96"/>
                </a:lnTo>
                <a:lnTo>
                  <a:pt x="22" y="96"/>
                </a:lnTo>
                <a:lnTo>
                  <a:pt x="24" y="94"/>
                </a:lnTo>
                <a:lnTo>
                  <a:pt x="28" y="92"/>
                </a:lnTo>
                <a:lnTo>
                  <a:pt x="32" y="92"/>
                </a:lnTo>
                <a:lnTo>
                  <a:pt x="36" y="92"/>
                </a:lnTo>
                <a:lnTo>
                  <a:pt x="38" y="94"/>
                </a:lnTo>
                <a:lnTo>
                  <a:pt x="40" y="98"/>
                </a:lnTo>
                <a:lnTo>
                  <a:pt x="42" y="98"/>
                </a:lnTo>
                <a:lnTo>
                  <a:pt x="42" y="86"/>
                </a:lnTo>
                <a:lnTo>
                  <a:pt x="42" y="72"/>
                </a:lnTo>
                <a:lnTo>
                  <a:pt x="50" y="72"/>
                </a:lnTo>
                <a:lnTo>
                  <a:pt x="58" y="72"/>
                </a:lnTo>
                <a:lnTo>
                  <a:pt x="76" y="72"/>
                </a:lnTo>
                <a:lnTo>
                  <a:pt x="106" y="72"/>
                </a:lnTo>
                <a:lnTo>
                  <a:pt x="106" y="68"/>
                </a:lnTo>
                <a:lnTo>
                  <a:pt x="108" y="66"/>
                </a:lnTo>
                <a:lnTo>
                  <a:pt x="114" y="64"/>
                </a:lnTo>
                <a:lnTo>
                  <a:pt x="122" y="60"/>
                </a:lnTo>
                <a:lnTo>
                  <a:pt x="122" y="58"/>
                </a:lnTo>
                <a:lnTo>
                  <a:pt x="122" y="56"/>
                </a:lnTo>
                <a:lnTo>
                  <a:pt x="122" y="50"/>
                </a:lnTo>
                <a:lnTo>
                  <a:pt x="122" y="4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7" name="Freeform 117">
            <a:extLst>
              <a:ext uri="{FF2B5EF4-FFF2-40B4-BE49-F238E27FC236}">
                <a16:creationId xmlns:a16="http://schemas.microsoft.com/office/drawing/2014/main" id="{793015DB-3300-45C5-8D39-6B5C6C05E57D}"/>
              </a:ext>
            </a:extLst>
          </p:cNvPr>
          <p:cNvSpPr>
            <a:spLocks/>
          </p:cNvSpPr>
          <p:nvPr/>
        </p:nvSpPr>
        <p:spPr bwMode="auto">
          <a:xfrm>
            <a:off x="3869071" y="3506919"/>
            <a:ext cx="176157" cy="196439"/>
          </a:xfrm>
          <a:custGeom>
            <a:avLst/>
            <a:gdLst/>
            <a:ahLst/>
            <a:cxnLst>
              <a:cxn ang="0">
                <a:pos x="4" y="48"/>
              </a:cxn>
              <a:cxn ang="0">
                <a:pos x="2" y="44"/>
              </a:cxn>
              <a:cxn ang="0">
                <a:pos x="0" y="40"/>
              </a:cxn>
              <a:cxn ang="0">
                <a:pos x="8" y="36"/>
              </a:cxn>
              <a:cxn ang="0">
                <a:pos x="4" y="28"/>
              </a:cxn>
              <a:cxn ang="0">
                <a:pos x="4" y="10"/>
              </a:cxn>
              <a:cxn ang="0">
                <a:pos x="8" y="8"/>
              </a:cxn>
              <a:cxn ang="0">
                <a:pos x="20" y="4"/>
              </a:cxn>
              <a:cxn ang="0">
                <a:pos x="32" y="8"/>
              </a:cxn>
              <a:cxn ang="0">
                <a:pos x="42" y="0"/>
              </a:cxn>
              <a:cxn ang="0">
                <a:pos x="50" y="10"/>
              </a:cxn>
              <a:cxn ang="0">
                <a:pos x="60" y="16"/>
              </a:cxn>
              <a:cxn ang="0">
                <a:pos x="66" y="14"/>
              </a:cxn>
              <a:cxn ang="0">
                <a:pos x="74" y="12"/>
              </a:cxn>
              <a:cxn ang="0">
                <a:pos x="80" y="14"/>
              </a:cxn>
              <a:cxn ang="0">
                <a:pos x="84" y="18"/>
              </a:cxn>
              <a:cxn ang="0">
                <a:pos x="90" y="32"/>
              </a:cxn>
              <a:cxn ang="0">
                <a:pos x="88" y="46"/>
              </a:cxn>
              <a:cxn ang="0">
                <a:pos x="82" y="60"/>
              </a:cxn>
              <a:cxn ang="0">
                <a:pos x="82" y="86"/>
              </a:cxn>
              <a:cxn ang="0">
                <a:pos x="88" y="98"/>
              </a:cxn>
              <a:cxn ang="0">
                <a:pos x="78" y="98"/>
              </a:cxn>
              <a:cxn ang="0">
                <a:pos x="62" y="96"/>
              </a:cxn>
              <a:cxn ang="0">
                <a:pos x="48" y="98"/>
              </a:cxn>
              <a:cxn ang="0">
                <a:pos x="26" y="108"/>
              </a:cxn>
              <a:cxn ang="0">
                <a:pos x="12" y="110"/>
              </a:cxn>
              <a:cxn ang="0">
                <a:pos x="14" y="90"/>
              </a:cxn>
              <a:cxn ang="0">
                <a:pos x="6" y="84"/>
              </a:cxn>
              <a:cxn ang="0">
                <a:pos x="0" y="76"/>
              </a:cxn>
              <a:cxn ang="0">
                <a:pos x="0" y="66"/>
              </a:cxn>
              <a:cxn ang="0">
                <a:pos x="0" y="60"/>
              </a:cxn>
              <a:cxn ang="0">
                <a:pos x="2" y="56"/>
              </a:cxn>
            </a:cxnLst>
            <a:rect l="0" t="0" r="r" b="b"/>
            <a:pathLst>
              <a:path w="90" h="110">
                <a:moveTo>
                  <a:pt x="2" y="56"/>
                </a:moveTo>
                <a:lnTo>
                  <a:pt x="4" y="48"/>
                </a:lnTo>
                <a:lnTo>
                  <a:pt x="4" y="46"/>
                </a:lnTo>
                <a:lnTo>
                  <a:pt x="2" y="44"/>
                </a:lnTo>
                <a:lnTo>
                  <a:pt x="0" y="42"/>
                </a:lnTo>
                <a:lnTo>
                  <a:pt x="0" y="40"/>
                </a:lnTo>
                <a:lnTo>
                  <a:pt x="4" y="38"/>
                </a:lnTo>
                <a:lnTo>
                  <a:pt x="8" y="36"/>
                </a:lnTo>
                <a:lnTo>
                  <a:pt x="6" y="32"/>
                </a:lnTo>
                <a:lnTo>
                  <a:pt x="4" y="28"/>
                </a:lnTo>
                <a:lnTo>
                  <a:pt x="2" y="16"/>
                </a:lnTo>
                <a:lnTo>
                  <a:pt x="4" y="10"/>
                </a:lnTo>
                <a:lnTo>
                  <a:pt x="4" y="8"/>
                </a:lnTo>
                <a:lnTo>
                  <a:pt x="8" y="8"/>
                </a:lnTo>
                <a:lnTo>
                  <a:pt x="14" y="6"/>
                </a:lnTo>
                <a:lnTo>
                  <a:pt x="20" y="4"/>
                </a:lnTo>
                <a:lnTo>
                  <a:pt x="28" y="2"/>
                </a:lnTo>
                <a:lnTo>
                  <a:pt x="32" y="8"/>
                </a:lnTo>
                <a:lnTo>
                  <a:pt x="38" y="4"/>
                </a:lnTo>
                <a:lnTo>
                  <a:pt x="42" y="0"/>
                </a:lnTo>
                <a:lnTo>
                  <a:pt x="46" y="4"/>
                </a:lnTo>
                <a:lnTo>
                  <a:pt x="50" y="10"/>
                </a:lnTo>
                <a:lnTo>
                  <a:pt x="54" y="14"/>
                </a:lnTo>
                <a:lnTo>
                  <a:pt x="60" y="16"/>
                </a:lnTo>
                <a:lnTo>
                  <a:pt x="64" y="16"/>
                </a:lnTo>
                <a:lnTo>
                  <a:pt x="66" y="14"/>
                </a:lnTo>
                <a:lnTo>
                  <a:pt x="70" y="12"/>
                </a:lnTo>
                <a:lnTo>
                  <a:pt x="74" y="12"/>
                </a:lnTo>
                <a:lnTo>
                  <a:pt x="78" y="12"/>
                </a:lnTo>
                <a:lnTo>
                  <a:pt x="80" y="14"/>
                </a:lnTo>
                <a:lnTo>
                  <a:pt x="82" y="18"/>
                </a:lnTo>
                <a:lnTo>
                  <a:pt x="84" y="18"/>
                </a:lnTo>
                <a:lnTo>
                  <a:pt x="88" y="28"/>
                </a:lnTo>
                <a:lnTo>
                  <a:pt x="90" y="32"/>
                </a:lnTo>
                <a:lnTo>
                  <a:pt x="90" y="36"/>
                </a:lnTo>
                <a:lnTo>
                  <a:pt x="88" y="46"/>
                </a:lnTo>
                <a:lnTo>
                  <a:pt x="84" y="54"/>
                </a:lnTo>
                <a:lnTo>
                  <a:pt x="82" y="60"/>
                </a:lnTo>
                <a:lnTo>
                  <a:pt x="80" y="70"/>
                </a:lnTo>
                <a:lnTo>
                  <a:pt x="82" y="86"/>
                </a:lnTo>
                <a:lnTo>
                  <a:pt x="84" y="92"/>
                </a:lnTo>
                <a:lnTo>
                  <a:pt x="88" y="98"/>
                </a:lnTo>
                <a:lnTo>
                  <a:pt x="88" y="104"/>
                </a:lnTo>
                <a:lnTo>
                  <a:pt x="78" y="98"/>
                </a:lnTo>
                <a:lnTo>
                  <a:pt x="70" y="96"/>
                </a:lnTo>
                <a:lnTo>
                  <a:pt x="62" y="96"/>
                </a:lnTo>
                <a:lnTo>
                  <a:pt x="54" y="96"/>
                </a:lnTo>
                <a:lnTo>
                  <a:pt x="48" y="98"/>
                </a:lnTo>
                <a:lnTo>
                  <a:pt x="36" y="102"/>
                </a:lnTo>
                <a:lnTo>
                  <a:pt x="26" y="108"/>
                </a:lnTo>
                <a:lnTo>
                  <a:pt x="20" y="110"/>
                </a:lnTo>
                <a:lnTo>
                  <a:pt x="12" y="110"/>
                </a:lnTo>
                <a:lnTo>
                  <a:pt x="14" y="92"/>
                </a:lnTo>
                <a:lnTo>
                  <a:pt x="14" y="90"/>
                </a:lnTo>
                <a:lnTo>
                  <a:pt x="12" y="86"/>
                </a:lnTo>
                <a:lnTo>
                  <a:pt x="6" y="84"/>
                </a:lnTo>
                <a:lnTo>
                  <a:pt x="0" y="80"/>
                </a:lnTo>
                <a:lnTo>
                  <a:pt x="0" y="76"/>
                </a:lnTo>
                <a:lnTo>
                  <a:pt x="0" y="72"/>
                </a:lnTo>
                <a:lnTo>
                  <a:pt x="0" y="66"/>
                </a:lnTo>
                <a:lnTo>
                  <a:pt x="0" y="62"/>
                </a:lnTo>
                <a:lnTo>
                  <a:pt x="0" y="60"/>
                </a:lnTo>
                <a:lnTo>
                  <a:pt x="0" y="58"/>
                </a:lnTo>
                <a:lnTo>
                  <a:pt x="2" y="5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8" name="Freeform 118">
            <a:extLst>
              <a:ext uri="{FF2B5EF4-FFF2-40B4-BE49-F238E27FC236}">
                <a16:creationId xmlns:a16="http://schemas.microsoft.com/office/drawing/2014/main" id="{1A50BBCE-8EE1-4555-82E0-4315C88BD487}"/>
              </a:ext>
            </a:extLst>
          </p:cNvPr>
          <p:cNvSpPr>
            <a:spLocks/>
          </p:cNvSpPr>
          <p:nvPr/>
        </p:nvSpPr>
        <p:spPr bwMode="auto">
          <a:xfrm>
            <a:off x="4026415" y="3493932"/>
            <a:ext cx="138530" cy="199685"/>
          </a:xfrm>
          <a:custGeom>
            <a:avLst/>
            <a:gdLst/>
            <a:ahLst/>
            <a:cxnLst>
              <a:cxn ang="0">
                <a:pos x="68" y="92"/>
              </a:cxn>
              <a:cxn ang="0">
                <a:pos x="60" y="94"/>
              </a:cxn>
              <a:cxn ang="0">
                <a:pos x="50" y="98"/>
              </a:cxn>
              <a:cxn ang="0">
                <a:pos x="34" y="108"/>
              </a:cxn>
              <a:cxn ang="0">
                <a:pos x="28" y="110"/>
              </a:cxn>
              <a:cxn ang="0">
                <a:pos x="16" y="112"/>
              </a:cxn>
              <a:cxn ang="0">
                <a:pos x="8" y="112"/>
              </a:cxn>
              <a:cxn ang="0">
                <a:pos x="2" y="94"/>
              </a:cxn>
              <a:cxn ang="0">
                <a:pos x="0" y="78"/>
              </a:cxn>
              <a:cxn ang="0">
                <a:pos x="2" y="68"/>
              </a:cxn>
              <a:cxn ang="0">
                <a:pos x="4" y="62"/>
              </a:cxn>
              <a:cxn ang="0">
                <a:pos x="8" y="54"/>
              </a:cxn>
              <a:cxn ang="0">
                <a:pos x="10" y="44"/>
              </a:cxn>
              <a:cxn ang="0">
                <a:pos x="10" y="40"/>
              </a:cxn>
              <a:cxn ang="0">
                <a:pos x="8" y="36"/>
              </a:cxn>
              <a:cxn ang="0">
                <a:pos x="4" y="26"/>
              </a:cxn>
              <a:cxn ang="0">
                <a:pos x="4" y="14"/>
              </a:cxn>
              <a:cxn ang="0">
                <a:pos x="4" y="0"/>
              </a:cxn>
              <a:cxn ang="0">
                <a:pos x="12" y="0"/>
              </a:cxn>
              <a:cxn ang="0">
                <a:pos x="20" y="0"/>
              </a:cxn>
              <a:cxn ang="0">
                <a:pos x="38" y="0"/>
              </a:cxn>
              <a:cxn ang="0">
                <a:pos x="50" y="0"/>
              </a:cxn>
              <a:cxn ang="0">
                <a:pos x="52" y="6"/>
              </a:cxn>
              <a:cxn ang="0">
                <a:pos x="54" y="12"/>
              </a:cxn>
              <a:cxn ang="0">
                <a:pos x="56" y="14"/>
              </a:cxn>
              <a:cxn ang="0">
                <a:pos x="56" y="20"/>
              </a:cxn>
              <a:cxn ang="0">
                <a:pos x="56" y="26"/>
              </a:cxn>
              <a:cxn ang="0">
                <a:pos x="56" y="28"/>
              </a:cxn>
              <a:cxn ang="0">
                <a:pos x="56" y="30"/>
              </a:cxn>
              <a:cxn ang="0">
                <a:pos x="58" y="36"/>
              </a:cxn>
              <a:cxn ang="0">
                <a:pos x="58" y="40"/>
              </a:cxn>
              <a:cxn ang="0">
                <a:pos x="58" y="44"/>
              </a:cxn>
              <a:cxn ang="0">
                <a:pos x="60" y="50"/>
              </a:cxn>
              <a:cxn ang="0">
                <a:pos x="60" y="74"/>
              </a:cxn>
              <a:cxn ang="0">
                <a:pos x="56" y="76"/>
              </a:cxn>
              <a:cxn ang="0">
                <a:pos x="62" y="84"/>
              </a:cxn>
              <a:cxn ang="0">
                <a:pos x="70" y="92"/>
              </a:cxn>
              <a:cxn ang="0">
                <a:pos x="68" y="92"/>
              </a:cxn>
            </a:cxnLst>
            <a:rect l="0" t="0" r="r" b="b"/>
            <a:pathLst>
              <a:path w="70" h="112">
                <a:moveTo>
                  <a:pt x="68" y="92"/>
                </a:moveTo>
                <a:lnTo>
                  <a:pt x="60" y="94"/>
                </a:lnTo>
                <a:lnTo>
                  <a:pt x="50" y="98"/>
                </a:lnTo>
                <a:lnTo>
                  <a:pt x="34" y="108"/>
                </a:lnTo>
                <a:lnTo>
                  <a:pt x="28" y="110"/>
                </a:lnTo>
                <a:lnTo>
                  <a:pt x="16" y="112"/>
                </a:lnTo>
                <a:lnTo>
                  <a:pt x="8" y="112"/>
                </a:lnTo>
                <a:lnTo>
                  <a:pt x="2" y="94"/>
                </a:lnTo>
                <a:lnTo>
                  <a:pt x="0" y="78"/>
                </a:lnTo>
                <a:lnTo>
                  <a:pt x="2" y="68"/>
                </a:lnTo>
                <a:lnTo>
                  <a:pt x="4" y="62"/>
                </a:lnTo>
                <a:lnTo>
                  <a:pt x="8" y="54"/>
                </a:lnTo>
                <a:lnTo>
                  <a:pt x="10" y="44"/>
                </a:lnTo>
                <a:lnTo>
                  <a:pt x="10" y="40"/>
                </a:lnTo>
                <a:lnTo>
                  <a:pt x="8" y="36"/>
                </a:lnTo>
                <a:lnTo>
                  <a:pt x="4" y="26"/>
                </a:lnTo>
                <a:lnTo>
                  <a:pt x="4" y="14"/>
                </a:lnTo>
                <a:lnTo>
                  <a:pt x="4" y="0"/>
                </a:lnTo>
                <a:lnTo>
                  <a:pt x="12" y="0"/>
                </a:lnTo>
                <a:lnTo>
                  <a:pt x="20" y="0"/>
                </a:lnTo>
                <a:lnTo>
                  <a:pt x="38" y="0"/>
                </a:lnTo>
                <a:lnTo>
                  <a:pt x="50" y="0"/>
                </a:lnTo>
                <a:lnTo>
                  <a:pt x="52" y="6"/>
                </a:lnTo>
                <a:lnTo>
                  <a:pt x="54" y="12"/>
                </a:lnTo>
                <a:lnTo>
                  <a:pt x="56" y="14"/>
                </a:lnTo>
                <a:lnTo>
                  <a:pt x="56" y="20"/>
                </a:lnTo>
                <a:lnTo>
                  <a:pt x="56" y="26"/>
                </a:lnTo>
                <a:lnTo>
                  <a:pt x="56" y="28"/>
                </a:lnTo>
                <a:lnTo>
                  <a:pt x="56" y="30"/>
                </a:lnTo>
                <a:lnTo>
                  <a:pt x="58" y="36"/>
                </a:lnTo>
                <a:lnTo>
                  <a:pt x="58" y="40"/>
                </a:lnTo>
                <a:lnTo>
                  <a:pt x="58" y="44"/>
                </a:lnTo>
                <a:lnTo>
                  <a:pt x="60" y="50"/>
                </a:lnTo>
                <a:lnTo>
                  <a:pt x="60" y="74"/>
                </a:lnTo>
                <a:lnTo>
                  <a:pt x="56" y="76"/>
                </a:lnTo>
                <a:lnTo>
                  <a:pt x="62" y="84"/>
                </a:lnTo>
                <a:lnTo>
                  <a:pt x="70" y="92"/>
                </a:lnTo>
                <a:lnTo>
                  <a:pt x="68" y="9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" name="Freeform 119">
            <a:extLst>
              <a:ext uri="{FF2B5EF4-FFF2-40B4-BE49-F238E27FC236}">
                <a16:creationId xmlns:a16="http://schemas.microsoft.com/office/drawing/2014/main" id="{DDA12B9F-3D0D-422B-8C7B-36FCD0AE69B6}"/>
              </a:ext>
            </a:extLst>
          </p:cNvPr>
          <p:cNvSpPr>
            <a:spLocks/>
          </p:cNvSpPr>
          <p:nvPr/>
        </p:nvSpPr>
        <p:spPr bwMode="auto">
          <a:xfrm>
            <a:off x="4123900" y="3493931"/>
            <a:ext cx="61569" cy="163969"/>
          </a:xfrm>
          <a:custGeom>
            <a:avLst/>
            <a:gdLst/>
            <a:ahLst/>
            <a:cxnLst>
              <a:cxn ang="0">
                <a:pos x="20" y="92"/>
              </a:cxn>
              <a:cxn ang="0">
                <a:pos x="12" y="84"/>
              </a:cxn>
              <a:cxn ang="0">
                <a:pos x="6" y="76"/>
              </a:cxn>
              <a:cxn ang="0">
                <a:pos x="10" y="74"/>
              </a:cxn>
              <a:cxn ang="0">
                <a:pos x="10" y="50"/>
              </a:cxn>
              <a:cxn ang="0">
                <a:pos x="8" y="44"/>
              </a:cxn>
              <a:cxn ang="0">
                <a:pos x="8" y="40"/>
              </a:cxn>
              <a:cxn ang="0">
                <a:pos x="8" y="36"/>
              </a:cxn>
              <a:cxn ang="0">
                <a:pos x="6" y="30"/>
              </a:cxn>
              <a:cxn ang="0">
                <a:pos x="6" y="28"/>
              </a:cxn>
              <a:cxn ang="0">
                <a:pos x="6" y="26"/>
              </a:cxn>
              <a:cxn ang="0">
                <a:pos x="6" y="20"/>
              </a:cxn>
              <a:cxn ang="0">
                <a:pos x="6" y="14"/>
              </a:cxn>
              <a:cxn ang="0">
                <a:pos x="4" y="12"/>
              </a:cxn>
              <a:cxn ang="0">
                <a:pos x="2" y="6"/>
              </a:cxn>
              <a:cxn ang="0">
                <a:pos x="0" y="0"/>
              </a:cxn>
              <a:cxn ang="0">
                <a:pos x="18" y="0"/>
              </a:cxn>
              <a:cxn ang="0">
                <a:pos x="14" y="4"/>
              </a:cxn>
              <a:cxn ang="0">
                <a:pos x="14" y="10"/>
              </a:cxn>
              <a:cxn ang="0">
                <a:pos x="14" y="12"/>
              </a:cxn>
              <a:cxn ang="0">
                <a:pos x="16" y="16"/>
              </a:cxn>
              <a:cxn ang="0">
                <a:pos x="24" y="22"/>
              </a:cxn>
              <a:cxn ang="0">
                <a:pos x="24" y="26"/>
              </a:cxn>
              <a:cxn ang="0">
                <a:pos x="24" y="40"/>
              </a:cxn>
              <a:cxn ang="0">
                <a:pos x="26" y="52"/>
              </a:cxn>
              <a:cxn ang="0">
                <a:pos x="26" y="64"/>
              </a:cxn>
              <a:cxn ang="0">
                <a:pos x="28" y="84"/>
              </a:cxn>
              <a:cxn ang="0">
                <a:pos x="28" y="86"/>
              </a:cxn>
              <a:cxn ang="0">
                <a:pos x="30" y="88"/>
              </a:cxn>
              <a:cxn ang="0">
                <a:pos x="20" y="92"/>
              </a:cxn>
            </a:cxnLst>
            <a:rect l="0" t="0" r="r" b="b"/>
            <a:pathLst>
              <a:path w="30" h="92">
                <a:moveTo>
                  <a:pt x="20" y="92"/>
                </a:moveTo>
                <a:lnTo>
                  <a:pt x="12" y="84"/>
                </a:lnTo>
                <a:lnTo>
                  <a:pt x="6" y="76"/>
                </a:lnTo>
                <a:lnTo>
                  <a:pt x="10" y="74"/>
                </a:lnTo>
                <a:lnTo>
                  <a:pt x="10" y="50"/>
                </a:lnTo>
                <a:lnTo>
                  <a:pt x="8" y="44"/>
                </a:lnTo>
                <a:lnTo>
                  <a:pt x="8" y="40"/>
                </a:lnTo>
                <a:lnTo>
                  <a:pt x="8" y="36"/>
                </a:lnTo>
                <a:lnTo>
                  <a:pt x="6" y="30"/>
                </a:lnTo>
                <a:lnTo>
                  <a:pt x="6" y="28"/>
                </a:lnTo>
                <a:lnTo>
                  <a:pt x="6" y="26"/>
                </a:lnTo>
                <a:lnTo>
                  <a:pt x="6" y="20"/>
                </a:lnTo>
                <a:lnTo>
                  <a:pt x="6" y="14"/>
                </a:lnTo>
                <a:lnTo>
                  <a:pt x="4" y="12"/>
                </a:lnTo>
                <a:lnTo>
                  <a:pt x="2" y="6"/>
                </a:lnTo>
                <a:lnTo>
                  <a:pt x="0" y="0"/>
                </a:lnTo>
                <a:lnTo>
                  <a:pt x="18" y="0"/>
                </a:lnTo>
                <a:lnTo>
                  <a:pt x="14" y="4"/>
                </a:lnTo>
                <a:lnTo>
                  <a:pt x="14" y="10"/>
                </a:lnTo>
                <a:lnTo>
                  <a:pt x="14" y="12"/>
                </a:lnTo>
                <a:lnTo>
                  <a:pt x="16" y="16"/>
                </a:lnTo>
                <a:lnTo>
                  <a:pt x="24" y="22"/>
                </a:lnTo>
                <a:lnTo>
                  <a:pt x="24" y="26"/>
                </a:lnTo>
                <a:lnTo>
                  <a:pt x="24" y="40"/>
                </a:lnTo>
                <a:lnTo>
                  <a:pt x="26" y="52"/>
                </a:lnTo>
                <a:lnTo>
                  <a:pt x="26" y="64"/>
                </a:lnTo>
                <a:lnTo>
                  <a:pt x="28" y="84"/>
                </a:lnTo>
                <a:lnTo>
                  <a:pt x="28" y="86"/>
                </a:lnTo>
                <a:lnTo>
                  <a:pt x="30" y="88"/>
                </a:lnTo>
                <a:lnTo>
                  <a:pt x="20" y="9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0" name="Freeform 120">
            <a:extLst>
              <a:ext uri="{FF2B5EF4-FFF2-40B4-BE49-F238E27FC236}">
                <a16:creationId xmlns:a16="http://schemas.microsoft.com/office/drawing/2014/main" id="{F55EDE78-2B2A-4BD9-A5DE-518293BC422E}"/>
              </a:ext>
            </a:extLst>
          </p:cNvPr>
          <p:cNvSpPr>
            <a:spLocks/>
          </p:cNvSpPr>
          <p:nvPr/>
        </p:nvSpPr>
        <p:spPr bwMode="auto">
          <a:xfrm>
            <a:off x="4152973" y="3453344"/>
            <a:ext cx="90643" cy="196439"/>
          </a:xfrm>
          <a:custGeom>
            <a:avLst/>
            <a:gdLst/>
            <a:ahLst/>
            <a:cxnLst>
              <a:cxn ang="0">
                <a:pos x="16" y="110"/>
              </a:cxn>
              <a:cxn ang="0">
                <a:pos x="30" y="104"/>
              </a:cxn>
              <a:cxn ang="0">
                <a:pos x="30" y="60"/>
              </a:cxn>
              <a:cxn ang="0">
                <a:pos x="40" y="46"/>
              </a:cxn>
              <a:cxn ang="0">
                <a:pos x="44" y="36"/>
              </a:cxn>
              <a:cxn ang="0">
                <a:pos x="46" y="30"/>
              </a:cxn>
              <a:cxn ang="0">
                <a:pos x="44" y="18"/>
              </a:cxn>
              <a:cxn ang="0">
                <a:pos x="40" y="10"/>
              </a:cxn>
              <a:cxn ang="0">
                <a:pos x="34" y="6"/>
              </a:cxn>
              <a:cxn ang="0">
                <a:pos x="30" y="0"/>
              </a:cxn>
              <a:cxn ang="0">
                <a:pos x="20" y="2"/>
              </a:cxn>
              <a:cxn ang="0">
                <a:pos x="20" y="0"/>
              </a:cxn>
              <a:cxn ang="0">
                <a:pos x="20" y="6"/>
              </a:cxn>
              <a:cxn ang="0">
                <a:pos x="20" y="8"/>
              </a:cxn>
              <a:cxn ang="0">
                <a:pos x="20" y="10"/>
              </a:cxn>
              <a:cxn ang="0">
                <a:pos x="12" y="14"/>
              </a:cxn>
              <a:cxn ang="0">
                <a:pos x="6" y="16"/>
              </a:cxn>
              <a:cxn ang="0">
                <a:pos x="4" y="18"/>
              </a:cxn>
              <a:cxn ang="0">
                <a:pos x="4" y="22"/>
              </a:cxn>
              <a:cxn ang="0">
                <a:pos x="0" y="26"/>
              </a:cxn>
              <a:cxn ang="0">
                <a:pos x="0" y="32"/>
              </a:cxn>
              <a:cxn ang="0">
                <a:pos x="0" y="34"/>
              </a:cxn>
              <a:cxn ang="0">
                <a:pos x="2" y="38"/>
              </a:cxn>
              <a:cxn ang="0">
                <a:pos x="10" y="44"/>
              </a:cxn>
              <a:cxn ang="0">
                <a:pos x="10" y="48"/>
              </a:cxn>
              <a:cxn ang="0">
                <a:pos x="10" y="62"/>
              </a:cxn>
              <a:cxn ang="0">
                <a:pos x="12" y="74"/>
              </a:cxn>
              <a:cxn ang="0">
                <a:pos x="12" y="86"/>
              </a:cxn>
              <a:cxn ang="0">
                <a:pos x="14" y="106"/>
              </a:cxn>
              <a:cxn ang="0">
                <a:pos x="16" y="110"/>
              </a:cxn>
            </a:cxnLst>
            <a:rect l="0" t="0" r="r" b="b"/>
            <a:pathLst>
              <a:path w="46" h="110">
                <a:moveTo>
                  <a:pt x="16" y="110"/>
                </a:moveTo>
                <a:lnTo>
                  <a:pt x="30" y="104"/>
                </a:lnTo>
                <a:lnTo>
                  <a:pt x="30" y="60"/>
                </a:lnTo>
                <a:lnTo>
                  <a:pt x="40" y="46"/>
                </a:lnTo>
                <a:lnTo>
                  <a:pt x="44" y="36"/>
                </a:lnTo>
                <a:lnTo>
                  <a:pt x="46" y="30"/>
                </a:lnTo>
                <a:lnTo>
                  <a:pt x="44" y="18"/>
                </a:lnTo>
                <a:lnTo>
                  <a:pt x="40" y="10"/>
                </a:lnTo>
                <a:lnTo>
                  <a:pt x="34" y="6"/>
                </a:lnTo>
                <a:lnTo>
                  <a:pt x="30" y="0"/>
                </a:lnTo>
                <a:lnTo>
                  <a:pt x="20" y="2"/>
                </a:lnTo>
                <a:lnTo>
                  <a:pt x="20" y="0"/>
                </a:lnTo>
                <a:lnTo>
                  <a:pt x="20" y="6"/>
                </a:lnTo>
                <a:lnTo>
                  <a:pt x="20" y="8"/>
                </a:lnTo>
                <a:lnTo>
                  <a:pt x="20" y="10"/>
                </a:lnTo>
                <a:lnTo>
                  <a:pt x="12" y="14"/>
                </a:lnTo>
                <a:lnTo>
                  <a:pt x="6" y="16"/>
                </a:lnTo>
                <a:lnTo>
                  <a:pt x="4" y="18"/>
                </a:lnTo>
                <a:lnTo>
                  <a:pt x="4" y="22"/>
                </a:lnTo>
                <a:lnTo>
                  <a:pt x="0" y="26"/>
                </a:lnTo>
                <a:lnTo>
                  <a:pt x="0" y="32"/>
                </a:lnTo>
                <a:lnTo>
                  <a:pt x="0" y="34"/>
                </a:lnTo>
                <a:lnTo>
                  <a:pt x="2" y="38"/>
                </a:lnTo>
                <a:lnTo>
                  <a:pt x="10" y="44"/>
                </a:lnTo>
                <a:lnTo>
                  <a:pt x="10" y="48"/>
                </a:lnTo>
                <a:lnTo>
                  <a:pt x="10" y="62"/>
                </a:lnTo>
                <a:lnTo>
                  <a:pt x="12" y="74"/>
                </a:lnTo>
                <a:lnTo>
                  <a:pt x="12" y="86"/>
                </a:lnTo>
                <a:lnTo>
                  <a:pt x="14" y="106"/>
                </a:lnTo>
                <a:lnTo>
                  <a:pt x="16" y="1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1" name="Freeform 121">
            <a:extLst>
              <a:ext uri="{FF2B5EF4-FFF2-40B4-BE49-F238E27FC236}">
                <a16:creationId xmlns:a16="http://schemas.microsoft.com/office/drawing/2014/main" id="{E2EBCFEA-0D96-4AA9-843D-C8D2A6D2523B}"/>
              </a:ext>
            </a:extLst>
          </p:cNvPr>
          <p:cNvSpPr>
            <a:spLocks/>
          </p:cNvSpPr>
          <p:nvPr/>
        </p:nvSpPr>
        <p:spPr bwMode="auto">
          <a:xfrm>
            <a:off x="4211123" y="3399770"/>
            <a:ext cx="374545" cy="311704"/>
          </a:xfrm>
          <a:custGeom>
            <a:avLst/>
            <a:gdLst/>
            <a:ahLst/>
            <a:cxnLst>
              <a:cxn ang="0">
                <a:pos x="74" y="170"/>
              </a:cxn>
              <a:cxn ang="0">
                <a:pos x="52" y="172"/>
              </a:cxn>
              <a:cxn ang="0">
                <a:pos x="40" y="152"/>
              </a:cxn>
              <a:cxn ang="0">
                <a:pos x="32" y="138"/>
              </a:cxn>
              <a:cxn ang="0">
                <a:pos x="18" y="132"/>
              </a:cxn>
              <a:cxn ang="0">
                <a:pos x="0" y="90"/>
              </a:cxn>
              <a:cxn ang="0">
                <a:pos x="14" y="66"/>
              </a:cxn>
              <a:cxn ang="0">
                <a:pos x="14" y="48"/>
              </a:cxn>
              <a:cxn ang="0">
                <a:pos x="14" y="26"/>
              </a:cxn>
              <a:cxn ang="0">
                <a:pos x="22" y="8"/>
              </a:cxn>
              <a:cxn ang="0">
                <a:pos x="34" y="0"/>
              </a:cxn>
              <a:cxn ang="0">
                <a:pos x="46" y="0"/>
              </a:cxn>
              <a:cxn ang="0">
                <a:pos x="56" y="8"/>
              </a:cxn>
              <a:cxn ang="0">
                <a:pos x="64" y="14"/>
              </a:cxn>
              <a:cxn ang="0">
                <a:pos x="72" y="14"/>
              </a:cxn>
              <a:cxn ang="0">
                <a:pos x="74" y="10"/>
              </a:cxn>
              <a:cxn ang="0">
                <a:pos x="86" y="10"/>
              </a:cxn>
              <a:cxn ang="0">
                <a:pos x="94" y="16"/>
              </a:cxn>
              <a:cxn ang="0">
                <a:pos x="108" y="16"/>
              </a:cxn>
              <a:cxn ang="0">
                <a:pos x="120" y="10"/>
              </a:cxn>
              <a:cxn ang="0">
                <a:pos x="134" y="8"/>
              </a:cxn>
              <a:cxn ang="0">
                <a:pos x="142" y="10"/>
              </a:cxn>
              <a:cxn ang="0">
                <a:pos x="155" y="10"/>
              </a:cxn>
              <a:cxn ang="0">
                <a:pos x="171" y="0"/>
              </a:cxn>
              <a:cxn ang="0">
                <a:pos x="179" y="10"/>
              </a:cxn>
              <a:cxn ang="0">
                <a:pos x="185" y="26"/>
              </a:cxn>
              <a:cxn ang="0">
                <a:pos x="187" y="46"/>
              </a:cxn>
              <a:cxn ang="0">
                <a:pos x="179" y="46"/>
              </a:cxn>
              <a:cxn ang="0">
                <a:pos x="171" y="70"/>
              </a:cxn>
              <a:cxn ang="0">
                <a:pos x="161" y="92"/>
              </a:cxn>
              <a:cxn ang="0">
                <a:pos x="157" y="96"/>
              </a:cxn>
              <a:cxn ang="0">
                <a:pos x="153" y="98"/>
              </a:cxn>
              <a:cxn ang="0">
                <a:pos x="146" y="120"/>
              </a:cxn>
              <a:cxn ang="0">
                <a:pos x="138" y="134"/>
              </a:cxn>
              <a:cxn ang="0">
                <a:pos x="132" y="134"/>
              </a:cxn>
              <a:cxn ang="0">
                <a:pos x="128" y="124"/>
              </a:cxn>
              <a:cxn ang="0">
                <a:pos x="116" y="130"/>
              </a:cxn>
              <a:cxn ang="0">
                <a:pos x="104" y="138"/>
              </a:cxn>
              <a:cxn ang="0">
                <a:pos x="98" y="150"/>
              </a:cxn>
              <a:cxn ang="0">
                <a:pos x="96" y="168"/>
              </a:cxn>
              <a:cxn ang="0">
                <a:pos x="90" y="168"/>
              </a:cxn>
            </a:cxnLst>
            <a:rect l="0" t="0" r="r" b="b"/>
            <a:pathLst>
              <a:path w="189" h="174">
                <a:moveTo>
                  <a:pt x="90" y="168"/>
                </a:moveTo>
                <a:lnTo>
                  <a:pt x="74" y="170"/>
                </a:lnTo>
                <a:lnTo>
                  <a:pt x="58" y="174"/>
                </a:lnTo>
                <a:lnTo>
                  <a:pt x="52" y="172"/>
                </a:lnTo>
                <a:lnTo>
                  <a:pt x="46" y="166"/>
                </a:lnTo>
                <a:lnTo>
                  <a:pt x="40" y="152"/>
                </a:lnTo>
                <a:lnTo>
                  <a:pt x="36" y="146"/>
                </a:lnTo>
                <a:lnTo>
                  <a:pt x="32" y="138"/>
                </a:lnTo>
                <a:lnTo>
                  <a:pt x="24" y="134"/>
                </a:lnTo>
                <a:lnTo>
                  <a:pt x="18" y="132"/>
                </a:lnTo>
                <a:lnTo>
                  <a:pt x="0" y="134"/>
                </a:lnTo>
                <a:lnTo>
                  <a:pt x="0" y="90"/>
                </a:lnTo>
                <a:lnTo>
                  <a:pt x="10" y="76"/>
                </a:lnTo>
                <a:lnTo>
                  <a:pt x="14" y="66"/>
                </a:lnTo>
                <a:lnTo>
                  <a:pt x="16" y="60"/>
                </a:lnTo>
                <a:lnTo>
                  <a:pt x="14" y="48"/>
                </a:lnTo>
                <a:lnTo>
                  <a:pt x="10" y="40"/>
                </a:lnTo>
                <a:lnTo>
                  <a:pt x="14" y="26"/>
                </a:lnTo>
                <a:lnTo>
                  <a:pt x="18" y="12"/>
                </a:lnTo>
                <a:lnTo>
                  <a:pt x="22" y="8"/>
                </a:lnTo>
                <a:lnTo>
                  <a:pt x="28" y="4"/>
                </a:lnTo>
                <a:lnTo>
                  <a:pt x="34" y="0"/>
                </a:lnTo>
                <a:lnTo>
                  <a:pt x="44" y="0"/>
                </a:lnTo>
                <a:lnTo>
                  <a:pt x="46" y="0"/>
                </a:lnTo>
                <a:lnTo>
                  <a:pt x="50" y="2"/>
                </a:lnTo>
                <a:lnTo>
                  <a:pt x="56" y="8"/>
                </a:lnTo>
                <a:lnTo>
                  <a:pt x="62" y="12"/>
                </a:lnTo>
                <a:lnTo>
                  <a:pt x="64" y="14"/>
                </a:lnTo>
                <a:lnTo>
                  <a:pt x="68" y="16"/>
                </a:lnTo>
                <a:lnTo>
                  <a:pt x="72" y="14"/>
                </a:lnTo>
                <a:lnTo>
                  <a:pt x="72" y="12"/>
                </a:lnTo>
                <a:lnTo>
                  <a:pt x="74" y="10"/>
                </a:lnTo>
                <a:lnTo>
                  <a:pt x="78" y="10"/>
                </a:lnTo>
                <a:lnTo>
                  <a:pt x="86" y="10"/>
                </a:lnTo>
                <a:lnTo>
                  <a:pt x="90" y="14"/>
                </a:lnTo>
                <a:lnTo>
                  <a:pt x="94" y="16"/>
                </a:lnTo>
                <a:lnTo>
                  <a:pt x="100" y="18"/>
                </a:lnTo>
                <a:lnTo>
                  <a:pt x="108" y="16"/>
                </a:lnTo>
                <a:lnTo>
                  <a:pt x="114" y="12"/>
                </a:lnTo>
                <a:lnTo>
                  <a:pt x="120" y="10"/>
                </a:lnTo>
                <a:lnTo>
                  <a:pt x="128" y="8"/>
                </a:lnTo>
                <a:lnTo>
                  <a:pt x="134" y="8"/>
                </a:lnTo>
                <a:lnTo>
                  <a:pt x="138" y="10"/>
                </a:lnTo>
                <a:lnTo>
                  <a:pt x="142" y="10"/>
                </a:lnTo>
                <a:lnTo>
                  <a:pt x="151" y="12"/>
                </a:lnTo>
                <a:lnTo>
                  <a:pt x="155" y="10"/>
                </a:lnTo>
                <a:lnTo>
                  <a:pt x="161" y="8"/>
                </a:lnTo>
                <a:lnTo>
                  <a:pt x="171" y="0"/>
                </a:lnTo>
                <a:lnTo>
                  <a:pt x="175" y="6"/>
                </a:lnTo>
                <a:lnTo>
                  <a:pt x="179" y="10"/>
                </a:lnTo>
                <a:lnTo>
                  <a:pt x="183" y="22"/>
                </a:lnTo>
                <a:lnTo>
                  <a:pt x="185" y="26"/>
                </a:lnTo>
                <a:lnTo>
                  <a:pt x="189" y="30"/>
                </a:lnTo>
                <a:lnTo>
                  <a:pt x="187" y="46"/>
                </a:lnTo>
                <a:lnTo>
                  <a:pt x="183" y="46"/>
                </a:lnTo>
                <a:lnTo>
                  <a:pt x="179" y="46"/>
                </a:lnTo>
                <a:lnTo>
                  <a:pt x="175" y="60"/>
                </a:lnTo>
                <a:lnTo>
                  <a:pt x="171" y="70"/>
                </a:lnTo>
                <a:lnTo>
                  <a:pt x="165" y="82"/>
                </a:lnTo>
                <a:lnTo>
                  <a:pt x="161" y="92"/>
                </a:lnTo>
                <a:lnTo>
                  <a:pt x="159" y="94"/>
                </a:lnTo>
                <a:lnTo>
                  <a:pt x="157" y="96"/>
                </a:lnTo>
                <a:lnTo>
                  <a:pt x="155" y="98"/>
                </a:lnTo>
                <a:lnTo>
                  <a:pt x="153" y="98"/>
                </a:lnTo>
                <a:lnTo>
                  <a:pt x="151" y="108"/>
                </a:lnTo>
                <a:lnTo>
                  <a:pt x="146" y="120"/>
                </a:lnTo>
                <a:lnTo>
                  <a:pt x="142" y="130"/>
                </a:lnTo>
                <a:lnTo>
                  <a:pt x="138" y="134"/>
                </a:lnTo>
                <a:lnTo>
                  <a:pt x="134" y="136"/>
                </a:lnTo>
                <a:lnTo>
                  <a:pt x="132" y="134"/>
                </a:lnTo>
                <a:lnTo>
                  <a:pt x="130" y="132"/>
                </a:lnTo>
                <a:lnTo>
                  <a:pt x="128" y="124"/>
                </a:lnTo>
                <a:lnTo>
                  <a:pt x="122" y="126"/>
                </a:lnTo>
                <a:lnTo>
                  <a:pt x="116" y="130"/>
                </a:lnTo>
                <a:lnTo>
                  <a:pt x="110" y="134"/>
                </a:lnTo>
                <a:lnTo>
                  <a:pt x="104" y="138"/>
                </a:lnTo>
                <a:lnTo>
                  <a:pt x="100" y="146"/>
                </a:lnTo>
                <a:lnTo>
                  <a:pt x="98" y="150"/>
                </a:lnTo>
                <a:lnTo>
                  <a:pt x="96" y="158"/>
                </a:lnTo>
                <a:lnTo>
                  <a:pt x="96" y="168"/>
                </a:lnTo>
                <a:lnTo>
                  <a:pt x="94" y="168"/>
                </a:lnTo>
                <a:lnTo>
                  <a:pt x="90" y="16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2" name="Freeform 122">
            <a:extLst>
              <a:ext uri="{FF2B5EF4-FFF2-40B4-BE49-F238E27FC236}">
                <a16:creationId xmlns:a16="http://schemas.microsoft.com/office/drawing/2014/main" id="{3AD9F80F-74CA-4EEE-9B17-9160AAFBCB11}"/>
              </a:ext>
            </a:extLst>
          </p:cNvPr>
          <p:cNvSpPr>
            <a:spLocks/>
          </p:cNvSpPr>
          <p:nvPr/>
        </p:nvSpPr>
        <p:spPr bwMode="auto">
          <a:xfrm>
            <a:off x="4390699" y="3417628"/>
            <a:ext cx="249696" cy="371772"/>
          </a:xfrm>
          <a:custGeom>
            <a:avLst/>
            <a:gdLst/>
            <a:ahLst/>
            <a:cxnLst>
              <a:cxn ang="0">
                <a:pos x="6" y="148"/>
              </a:cxn>
              <a:cxn ang="0">
                <a:pos x="10" y="136"/>
              </a:cxn>
              <a:cxn ang="0">
                <a:pos x="20" y="124"/>
              </a:cxn>
              <a:cxn ang="0">
                <a:pos x="32" y="116"/>
              </a:cxn>
              <a:cxn ang="0">
                <a:pos x="40" y="122"/>
              </a:cxn>
              <a:cxn ang="0">
                <a:pos x="44" y="126"/>
              </a:cxn>
              <a:cxn ang="0">
                <a:pos x="52" y="120"/>
              </a:cxn>
              <a:cxn ang="0">
                <a:pos x="61" y="98"/>
              </a:cxn>
              <a:cxn ang="0">
                <a:pos x="65" y="88"/>
              </a:cxn>
              <a:cxn ang="0">
                <a:pos x="69" y="84"/>
              </a:cxn>
              <a:cxn ang="0">
                <a:pos x="75" y="72"/>
              </a:cxn>
              <a:cxn ang="0">
                <a:pos x="85" y="50"/>
              </a:cxn>
              <a:cxn ang="0">
                <a:pos x="93" y="36"/>
              </a:cxn>
              <a:cxn ang="0">
                <a:pos x="99" y="20"/>
              </a:cxn>
              <a:cxn ang="0">
                <a:pos x="93" y="12"/>
              </a:cxn>
              <a:cxn ang="0">
                <a:pos x="91" y="2"/>
              </a:cxn>
              <a:cxn ang="0">
                <a:pos x="97" y="6"/>
              </a:cxn>
              <a:cxn ang="0">
                <a:pos x="107" y="20"/>
              </a:cxn>
              <a:cxn ang="0">
                <a:pos x="107" y="44"/>
              </a:cxn>
              <a:cxn ang="0">
                <a:pos x="109" y="54"/>
              </a:cxn>
              <a:cxn ang="0">
                <a:pos x="99" y="60"/>
              </a:cxn>
              <a:cxn ang="0">
                <a:pos x="91" y="64"/>
              </a:cxn>
              <a:cxn ang="0">
                <a:pos x="93" y="70"/>
              </a:cxn>
              <a:cxn ang="0">
                <a:pos x="111" y="88"/>
              </a:cxn>
              <a:cxn ang="0">
                <a:pos x="117" y="106"/>
              </a:cxn>
              <a:cxn ang="0">
                <a:pos x="107" y="116"/>
              </a:cxn>
              <a:cxn ang="0">
                <a:pos x="99" y="136"/>
              </a:cxn>
              <a:cxn ang="0">
                <a:pos x="101" y="154"/>
              </a:cxn>
              <a:cxn ang="0">
                <a:pos x="119" y="182"/>
              </a:cxn>
              <a:cxn ang="0">
                <a:pos x="127" y="208"/>
              </a:cxn>
              <a:cxn ang="0">
                <a:pos x="111" y="208"/>
              </a:cxn>
              <a:cxn ang="0">
                <a:pos x="103" y="204"/>
              </a:cxn>
              <a:cxn ang="0">
                <a:pos x="81" y="202"/>
              </a:cxn>
              <a:cxn ang="0">
                <a:pos x="46" y="204"/>
              </a:cxn>
              <a:cxn ang="0">
                <a:pos x="24" y="198"/>
              </a:cxn>
              <a:cxn ang="0">
                <a:pos x="22" y="182"/>
              </a:cxn>
              <a:cxn ang="0">
                <a:pos x="24" y="168"/>
              </a:cxn>
              <a:cxn ang="0">
                <a:pos x="10" y="164"/>
              </a:cxn>
              <a:cxn ang="0">
                <a:pos x="0" y="158"/>
              </a:cxn>
            </a:cxnLst>
            <a:rect l="0" t="0" r="r" b="b"/>
            <a:pathLst>
              <a:path w="127" h="208">
                <a:moveTo>
                  <a:pt x="6" y="158"/>
                </a:moveTo>
                <a:lnTo>
                  <a:pt x="6" y="148"/>
                </a:lnTo>
                <a:lnTo>
                  <a:pt x="8" y="140"/>
                </a:lnTo>
                <a:lnTo>
                  <a:pt x="10" y="136"/>
                </a:lnTo>
                <a:lnTo>
                  <a:pt x="14" y="128"/>
                </a:lnTo>
                <a:lnTo>
                  <a:pt x="20" y="124"/>
                </a:lnTo>
                <a:lnTo>
                  <a:pt x="26" y="120"/>
                </a:lnTo>
                <a:lnTo>
                  <a:pt x="32" y="116"/>
                </a:lnTo>
                <a:lnTo>
                  <a:pt x="38" y="114"/>
                </a:lnTo>
                <a:lnTo>
                  <a:pt x="40" y="122"/>
                </a:lnTo>
                <a:lnTo>
                  <a:pt x="42" y="124"/>
                </a:lnTo>
                <a:lnTo>
                  <a:pt x="44" y="126"/>
                </a:lnTo>
                <a:lnTo>
                  <a:pt x="48" y="124"/>
                </a:lnTo>
                <a:lnTo>
                  <a:pt x="52" y="120"/>
                </a:lnTo>
                <a:lnTo>
                  <a:pt x="56" y="110"/>
                </a:lnTo>
                <a:lnTo>
                  <a:pt x="61" y="98"/>
                </a:lnTo>
                <a:lnTo>
                  <a:pt x="63" y="88"/>
                </a:lnTo>
                <a:lnTo>
                  <a:pt x="65" y="88"/>
                </a:lnTo>
                <a:lnTo>
                  <a:pt x="67" y="86"/>
                </a:lnTo>
                <a:lnTo>
                  <a:pt x="69" y="84"/>
                </a:lnTo>
                <a:lnTo>
                  <a:pt x="71" y="82"/>
                </a:lnTo>
                <a:lnTo>
                  <a:pt x="75" y="72"/>
                </a:lnTo>
                <a:lnTo>
                  <a:pt x="81" y="60"/>
                </a:lnTo>
                <a:lnTo>
                  <a:pt x="85" y="50"/>
                </a:lnTo>
                <a:lnTo>
                  <a:pt x="89" y="36"/>
                </a:lnTo>
                <a:lnTo>
                  <a:pt x="93" y="36"/>
                </a:lnTo>
                <a:lnTo>
                  <a:pt x="97" y="36"/>
                </a:lnTo>
                <a:lnTo>
                  <a:pt x="99" y="20"/>
                </a:lnTo>
                <a:lnTo>
                  <a:pt x="95" y="16"/>
                </a:lnTo>
                <a:lnTo>
                  <a:pt x="93" y="12"/>
                </a:lnTo>
                <a:lnTo>
                  <a:pt x="89" y="0"/>
                </a:lnTo>
                <a:lnTo>
                  <a:pt x="91" y="2"/>
                </a:lnTo>
                <a:lnTo>
                  <a:pt x="93" y="0"/>
                </a:lnTo>
                <a:lnTo>
                  <a:pt x="97" y="6"/>
                </a:lnTo>
                <a:lnTo>
                  <a:pt x="103" y="14"/>
                </a:lnTo>
                <a:lnTo>
                  <a:pt x="107" y="20"/>
                </a:lnTo>
                <a:lnTo>
                  <a:pt x="109" y="26"/>
                </a:lnTo>
                <a:lnTo>
                  <a:pt x="107" y="44"/>
                </a:lnTo>
                <a:lnTo>
                  <a:pt x="109" y="50"/>
                </a:lnTo>
                <a:lnTo>
                  <a:pt x="109" y="54"/>
                </a:lnTo>
                <a:lnTo>
                  <a:pt x="117" y="60"/>
                </a:lnTo>
                <a:lnTo>
                  <a:pt x="99" y="60"/>
                </a:lnTo>
                <a:lnTo>
                  <a:pt x="93" y="62"/>
                </a:lnTo>
                <a:lnTo>
                  <a:pt x="91" y="64"/>
                </a:lnTo>
                <a:lnTo>
                  <a:pt x="89" y="66"/>
                </a:lnTo>
                <a:lnTo>
                  <a:pt x="93" y="70"/>
                </a:lnTo>
                <a:lnTo>
                  <a:pt x="101" y="78"/>
                </a:lnTo>
                <a:lnTo>
                  <a:pt x="111" y="88"/>
                </a:lnTo>
                <a:lnTo>
                  <a:pt x="115" y="96"/>
                </a:lnTo>
                <a:lnTo>
                  <a:pt x="117" y="106"/>
                </a:lnTo>
                <a:lnTo>
                  <a:pt x="113" y="110"/>
                </a:lnTo>
                <a:lnTo>
                  <a:pt x="107" y="116"/>
                </a:lnTo>
                <a:lnTo>
                  <a:pt x="101" y="126"/>
                </a:lnTo>
                <a:lnTo>
                  <a:pt x="99" y="136"/>
                </a:lnTo>
                <a:lnTo>
                  <a:pt x="99" y="144"/>
                </a:lnTo>
                <a:lnTo>
                  <a:pt x="101" y="154"/>
                </a:lnTo>
                <a:lnTo>
                  <a:pt x="109" y="168"/>
                </a:lnTo>
                <a:lnTo>
                  <a:pt x="119" y="182"/>
                </a:lnTo>
                <a:lnTo>
                  <a:pt x="127" y="194"/>
                </a:lnTo>
                <a:lnTo>
                  <a:pt x="127" y="208"/>
                </a:lnTo>
                <a:lnTo>
                  <a:pt x="121" y="208"/>
                </a:lnTo>
                <a:lnTo>
                  <a:pt x="111" y="208"/>
                </a:lnTo>
                <a:lnTo>
                  <a:pt x="107" y="206"/>
                </a:lnTo>
                <a:lnTo>
                  <a:pt x="103" y="204"/>
                </a:lnTo>
                <a:lnTo>
                  <a:pt x="81" y="204"/>
                </a:lnTo>
                <a:lnTo>
                  <a:pt x="81" y="202"/>
                </a:lnTo>
                <a:lnTo>
                  <a:pt x="46" y="200"/>
                </a:lnTo>
                <a:lnTo>
                  <a:pt x="46" y="204"/>
                </a:lnTo>
                <a:lnTo>
                  <a:pt x="22" y="202"/>
                </a:lnTo>
                <a:lnTo>
                  <a:pt x="24" y="198"/>
                </a:lnTo>
                <a:lnTo>
                  <a:pt x="24" y="188"/>
                </a:lnTo>
                <a:lnTo>
                  <a:pt x="22" y="182"/>
                </a:lnTo>
                <a:lnTo>
                  <a:pt x="22" y="174"/>
                </a:lnTo>
                <a:lnTo>
                  <a:pt x="24" y="168"/>
                </a:lnTo>
                <a:lnTo>
                  <a:pt x="14" y="166"/>
                </a:lnTo>
                <a:lnTo>
                  <a:pt x="10" y="164"/>
                </a:lnTo>
                <a:lnTo>
                  <a:pt x="6" y="160"/>
                </a:lnTo>
                <a:lnTo>
                  <a:pt x="0" y="158"/>
                </a:lnTo>
                <a:lnTo>
                  <a:pt x="6" y="15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3" name="Freeform 123">
            <a:extLst>
              <a:ext uri="{FF2B5EF4-FFF2-40B4-BE49-F238E27FC236}">
                <a16:creationId xmlns:a16="http://schemas.microsoft.com/office/drawing/2014/main" id="{1259987F-B228-4C58-ABF8-8EB8110E0DA5}"/>
              </a:ext>
            </a:extLst>
          </p:cNvPr>
          <p:cNvSpPr>
            <a:spLocks/>
          </p:cNvSpPr>
          <p:nvPr/>
        </p:nvSpPr>
        <p:spPr bwMode="auto">
          <a:xfrm>
            <a:off x="4409511" y="3774792"/>
            <a:ext cx="176157" cy="196439"/>
          </a:xfrm>
          <a:custGeom>
            <a:avLst/>
            <a:gdLst/>
            <a:ahLst/>
            <a:cxnLst>
              <a:cxn ang="0">
                <a:pos x="36" y="24"/>
              </a:cxn>
              <a:cxn ang="0">
                <a:pos x="26" y="24"/>
              </a:cxn>
              <a:cxn ang="0">
                <a:pos x="20" y="24"/>
              </a:cxn>
              <a:cxn ang="0">
                <a:pos x="8" y="22"/>
              </a:cxn>
              <a:cxn ang="0">
                <a:pos x="2" y="44"/>
              </a:cxn>
              <a:cxn ang="0">
                <a:pos x="2" y="50"/>
              </a:cxn>
              <a:cxn ang="0">
                <a:pos x="0" y="58"/>
              </a:cxn>
              <a:cxn ang="0">
                <a:pos x="0" y="70"/>
              </a:cxn>
              <a:cxn ang="0">
                <a:pos x="4" y="76"/>
              </a:cxn>
              <a:cxn ang="0">
                <a:pos x="8" y="82"/>
              </a:cxn>
              <a:cxn ang="0">
                <a:pos x="14" y="88"/>
              </a:cxn>
              <a:cxn ang="0">
                <a:pos x="30" y="100"/>
              </a:cxn>
              <a:cxn ang="0">
                <a:pos x="34" y="104"/>
              </a:cxn>
              <a:cxn ang="0">
                <a:pos x="38" y="110"/>
              </a:cxn>
              <a:cxn ang="0">
                <a:pos x="42" y="108"/>
              </a:cxn>
              <a:cxn ang="0">
                <a:pos x="44" y="106"/>
              </a:cxn>
              <a:cxn ang="0">
                <a:pos x="46" y="104"/>
              </a:cxn>
              <a:cxn ang="0">
                <a:pos x="44" y="100"/>
              </a:cxn>
              <a:cxn ang="0">
                <a:pos x="42" y="98"/>
              </a:cxn>
              <a:cxn ang="0">
                <a:pos x="42" y="96"/>
              </a:cxn>
              <a:cxn ang="0">
                <a:pos x="44" y="90"/>
              </a:cxn>
              <a:cxn ang="0">
                <a:pos x="46" y="88"/>
              </a:cxn>
              <a:cxn ang="0">
                <a:pos x="55" y="84"/>
              </a:cxn>
              <a:cxn ang="0">
                <a:pos x="55" y="80"/>
              </a:cxn>
              <a:cxn ang="0">
                <a:pos x="59" y="76"/>
              </a:cxn>
              <a:cxn ang="0">
                <a:pos x="63" y="78"/>
              </a:cxn>
              <a:cxn ang="0">
                <a:pos x="65" y="82"/>
              </a:cxn>
              <a:cxn ang="0">
                <a:pos x="67" y="86"/>
              </a:cxn>
              <a:cxn ang="0">
                <a:pos x="71" y="88"/>
              </a:cxn>
              <a:cxn ang="0">
                <a:pos x="75" y="86"/>
              </a:cxn>
              <a:cxn ang="0">
                <a:pos x="79" y="84"/>
              </a:cxn>
              <a:cxn ang="0">
                <a:pos x="81" y="86"/>
              </a:cxn>
              <a:cxn ang="0">
                <a:pos x="83" y="86"/>
              </a:cxn>
              <a:cxn ang="0">
                <a:pos x="85" y="84"/>
              </a:cxn>
              <a:cxn ang="0">
                <a:pos x="85" y="80"/>
              </a:cxn>
              <a:cxn ang="0">
                <a:pos x="87" y="74"/>
              </a:cxn>
              <a:cxn ang="0">
                <a:pos x="87" y="52"/>
              </a:cxn>
              <a:cxn ang="0">
                <a:pos x="83" y="50"/>
              </a:cxn>
              <a:cxn ang="0">
                <a:pos x="83" y="46"/>
              </a:cxn>
              <a:cxn ang="0">
                <a:pos x="81" y="44"/>
              </a:cxn>
              <a:cxn ang="0">
                <a:pos x="81" y="40"/>
              </a:cxn>
              <a:cxn ang="0">
                <a:pos x="83" y="36"/>
              </a:cxn>
              <a:cxn ang="0">
                <a:pos x="83" y="32"/>
              </a:cxn>
              <a:cxn ang="0">
                <a:pos x="87" y="30"/>
              </a:cxn>
              <a:cxn ang="0">
                <a:pos x="89" y="26"/>
              </a:cxn>
              <a:cxn ang="0">
                <a:pos x="87" y="20"/>
              </a:cxn>
              <a:cxn ang="0">
                <a:pos x="83" y="18"/>
              </a:cxn>
              <a:cxn ang="0">
                <a:pos x="77" y="18"/>
              </a:cxn>
              <a:cxn ang="0">
                <a:pos x="69" y="18"/>
              </a:cxn>
              <a:cxn ang="0">
                <a:pos x="71" y="2"/>
              </a:cxn>
              <a:cxn ang="0">
                <a:pos x="36" y="0"/>
              </a:cxn>
              <a:cxn ang="0">
                <a:pos x="36" y="24"/>
              </a:cxn>
            </a:cxnLst>
            <a:rect l="0" t="0" r="r" b="b"/>
            <a:pathLst>
              <a:path w="89" h="110">
                <a:moveTo>
                  <a:pt x="36" y="24"/>
                </a:moveTo>
                <a:lnTo>
                  <a:pt x="26" y="24"/>
                </a:lnTo>
                <a:lnTo>
                  <a:pt x="20" y="24"/>
                </a:lnTo>
                <a:lnTo>
                  <a:pt x="8" y="22"/>
                </a:lnTo>
                <a:lnTo>
                  <a:pt x="2" y="44"/>
                </a:lnTo>
                <a:lnTo>
                  <a:pt x="2" y="50"/>
                </a:lnTo>
                <a:lnTo>
                  <a:pt x="0" y="58"/>
                </a:lnTo>
                <a:lnTo>
                  <a:pt x="0" y="70"/>
                </a:lnTo>
                <a:lnTo>
                  <a:pt x="4" y="76"/>
                </a:lnTo>
                <a:lnTo>
                  <a:pt x="8" y="82"/>
                </a:lnTo>
                <a:lnTo>
                  <a:pt x="14" y="88"/>
                </a:lnTo>
                <a:lnTo>
                  <a:pt x="30" y="100"/>
                </a:lnTo>
                <a:lnTo>
                  <a:pt x="34" y="104"/>
                </a:lnTo>
                <a:lnTo>
                  <a:pt x="38" y="110"/>
                </a:lnTo>
                <a:lnTo>
                  <a:pt x="42" y="108"/>
                </a:lnTo>
                <a:lnTo>
                  <a:pt x="44" y="106"/>
                </a:lnTo>
                <a:lnTo>
                  <a:pt x="46" y="104"/>
                </a:lnTo>
                <a:lnTo>
                  <a:pt x="44" y="100"/>
                </a:lnTo>
                <a:lnTo>
                  <a:pt x="42" y="98"/>
                </a:lnTo>
                <a:lnTo>
                  <a:pt x="42" y="96"/>
                </a:lnTo>
                <a:lnTo>
                  <a:pt x="44" y="90"/>
                </a:lnTo>
                <a:lnTo>
                  <a:pt x="46" y="88"/>
                </a:lnTo>
                <a:lnTo>
                  <a:pt x="55" y="84"/>
                </a:lnTo>
                <a:lnTo>
                  <a:pt x="55" y="80"/>
                </a:lnTo>
                <a:lnTo>
                  <a:pt x="59" y="76"/>
                </a:lnTo>
                <a:lnTo>
                  <a:pt x="63" y="78"/>
                </a:lnTo>
                <a:lnTo>
                  <a:pt x="65" y="82"/>
                </a:lnTo>
                <a:lnTo>
                  <a:pt x="67" y="86"/>
                </a:lnTo>
                <a:lnTo>
                  <a:pt x="71" y="88"/>
                </a:lnTo>
                <a:lnTo>
                  <a:pt x="75" y="86"/>
                </a:lnTo>
                <a:lnTo>
                  <a:pt x="79" y="84"/>
                </a:lnTo>
                <a:lnTo>
                  <a:pt x="81" y="86"/>
                </a:lnTo>
                <a:lnTo>
                  <a:pt x="83" y="86"/>
                </a:lnTo>
                <a:lnTo>
                  <a:pt x="85" y="84"/>
                </a:lnTo>
                <a:lnTo>
                  <a:pt x="85" y="80"/>
                </a:lnTo>
                <a:lnTo>
                  <a:pt x="87" y="74"/>
                </a:lnTo>
                <a:lnTo>
                  <a:pt x="87" y="52"/>
                </a:lnTo>
                <a:lnTo>
                  <a:pt x="83" y="50"/>
                </a:lnTo>
                <a:lnTo>
                  <a:pt x="83" y="46"/>
                </a:lnTo>
                <a:lnTo>
                  <a:pt x="81" y="44"/>
                </a:lnTo>
                <a:lnTo>
                  <a:pt x="81" y="40"/>
                </a:lnTo>
                <a:lnTo>
                  <a:pt x="83" y="36"/>
                </a:lnTo>
                <a:lnTo>
                  <a:pt x="83" y="32"/>
                </a:lnTo>
                <a:lnTo>
                  <a:pt x="87" y="30"/>
                </a:lnTo>
                <a:lnTo>
                  <a:pt x="89" y="26"/>
                </a:lnTo>
                <a:lnTo>
                  <a:pt x="87" y="20"/>
                </a:lnTo>
                <a:lnTo>
                  <a:pt x="83" y="18"/>
                </a:lnTo>
                <a:lnTo>
                  <a:pt x="77" y="18"/>
                </a:lnTo>
                <a:lnTo>
                  <a:pt x="69" y="18"/>
                </a:lnTo>
                <a:lnTo>
                  <a:pt x="71" y="2"/>
                </a:lnTo>
                <a:lnTo>
                  <a:pt x="36" y="0"/>
                </a:lnTo>
                <a:lnTo>
                  <a:pt x="36" y="2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4" name="Freeform 124">
            <a:extLst>
              <a:ext uri="{FF2B5EF4-FFF2-40B4-BE49-F238E27FC236}">
                <a16:creationId xmlns:a16="http://schemas.microsoft.com/office/drawing/2014/main" id="{E87B37D9-4380-4C1D-BC48-675BE298A43D}"/>
              </a:ext>
            </a:extLst>
          </p:cNvPr>
          <p:cNvSpPr>
            <a:spLocks/>
          </p:cNvSpPr>
          <p:nvPr/>
        </p:nvSpPr>
        <p:spPr bwMode="auto">
          <a:xfrm>
            <a:off x="4484762" y="3735826"/>
            <a:ext cx="230884" cy="275988"/>
          </a:xfrm>
          <a:custGeom>
            <a:avLst/>
            <a:gdLst/>
            <a:ahLst/>
            <a:cxnLst>
              <a:cxn ang="0">
                <a:pos x="27" y="148"/>
              </a:cxn>
              <a:cxn ang="0">
                <a:pos x="21" y="148"/>
              </a:cxn>
              <a:cxn ang="0">
                <a:pos x="13" y="154"/>
              </a:cxn>
              <a:cxn ang="0">
                <a:pos x="0" y="132"/>
              </a:cxn>
              <a:cxn ang="0">
                <a:pos x="6" y="128"/>
              </a:cxn>
              <a:cxn ang="0">
                <a:pos x="6" y="122"/>
              </a:cxn>
              <a:cxn ang="0">
                <a:pos x="4" y="118"/>
              </a:cxn>
              <a:cxn ang="0">
                <a:pos x="8" y="110"/>
              </a:cxn>
              <a:cxn ang="0">
                <a:pos x="17" y="102"/>
              </a:cxn>
              <a:cxn ang="0">
                <a:pos x="25" y="100"/>
              </a:cxn>
              <a:cxn ang="0">
                <a:pos x="29" y="108"/>
              </a:cxn>
              <a:cxn ang="0">
                <a:pos x="37" y="108"/>
              </a:cxn>
              <a:cxn ang="0">
                <a:pos x="43" y="108"/>
              </a:cxn>
              <a:cxn ang="0">
                <a:pos x="47" y="106"/>
              </a:cxn>
              <a:cxn ang="0">
                <a:pos x="49" y="96"/>
              </a:cxn>
              <a:cxn ang="0">
                <a:pos x="45" y="72"/>
              </a:cxn>
              <a:cxn ang="0">
                <a:pos x="43" y="66"/>
              </a:cxn>
              <a:cxn ang="0">
                <a:pos x="45" y="58"/>
              </a:cxn>
              <a:cxn ang="0">
                <a:pos x="49" y="52"/>
              </a:cxn>
              <a:cxn ang="0">
                <a:pos x="49" y="42"/>
              </a:cxn>
              <a:cxn ang="0">
                <a:pos x="39" y="40"/>
              </a:cxn>
              <a:cxn ang="0">
                <a:pos x="33" y="26"/>
              </a:cxn>
              <a:cxn ang="0">
                <a:pos x="59" y="28"/>
              </a:cxn>
              <a:cxn ang="0">
                <a:pos x="73" y="30"/>
              </a:cxn>
              <a:cxn ang="0">
                <a:pos x="79" y="16"/>
              </a:cxn>
              <a:cxn ang="0">
                <a:pos x="87" y="4"/>
              </a:cxn>
              <a:cxn ang="0">
                <a:pos x="103" y="0"/>
              </a:cxn>
              <a:cxn ang="0">
                <a:pos x="113" y="2"/>
              </a:cxn>
              <a:cxn ang="0">
                <a:pos x="115" y="6"/>
              </a:cxn>
              <a:cxn ang="0">
                <a:pos x="115" y="20"/>
              </a:cxn>
              <a:cxn ang="0">
                <a:pos x="99" y="64"/>
              </a:cxn>
              <a:cxn ang="0">
                <a:pos x="99" y="70"/>
              </a:cxn>
              <a:cxn ang="0">
                <a:pos x="99" y="78"/>
              </a:cxn>
              <a:cxn ang="0">
                <a:pos x="93" y="84"/>
              </a:cxn>
              <a:cxn ang="0">
                <a:pos x="85" y="92"/>
              </a:cxn>
              <a:cxn ang="0">
                <a:pos x="79" y="106"/>
              </a:cxn>
              <a:cxn ang="0">
                <a:pos x="75" y="122"/>
              </a:cxn>
              <a:cxn ang="0">
                <a:pos x="69" y="142"/>
              </a:cxn>
              <a:cxn ang="0">
                <a:pos x="61" y="150"/>
              </a:cxn>
              <a:cxn ang="0">
                <a:pos x="51" y="150"/>
              </a:cxn>
              <a:cxn ang="0">
                <a:pos x="49" y="146"/>
              </a:cxn>
              <a:cxn ang="0">
                <a:pos x="43" y="146"/>
              </a:cxn>
              <a:cxn ang="0">
                <a:pos x="39" y="150"/>
              </a:cxn>
              <a:cxn ang="0">
                <a:pos x="33" y="150"/>
              </a:cxn>
            </a:cxnLst>
            <a:rect l="0" t="0" r="r" b="b"/>
            <a:pathLst>
              <a:path w="117" h="154">
                <a:moveTo>
                  <a:pt x="27" y="150"/>
                </a:moveTo>
                <a:lnTo>
                  <a:pt x="27" y="148"/>
                </a:lnTo>
                <a:lnTo>
                  <a:pt x="25" y="146"/>
                </a:lnTo>
                <a:lnTo>
                  <a:pt x="21" y="148"/>
                </a:lnTo>
                <a:lnTo>
                  <a:pt x="17" y="150"/>
                </a:lnTo>
                <a:lnTo>
                  <a:pt x="13" y="154"/>
                </a:lnTo>
                <a:lnTo>
                  <a:pt x="4" y="136"/>
                </a:lnTo>
                <a:lnTo>
                  <a:pt x="0" y="132"/>
                </a:lnTo>
                <a:lnTo>
                  <a:pt x="4" y="130"/>
                </a:lnTo>
                <a:lnTo>
                  <a:pt x="6" y="128"/>
                </a:lnTo>
                <a:lnTo>
                  <a:pt x="8" y="126"/>
                </a:lnTo>
                <a:lnTo>
                  <a:pt x="6" y="122"/>
                </a:lnTo>
                <a:lnTo>
                  <a:pt x="4" y="120"/>
                </a:lnTo>
                <a:lnTo>
                  <a:pt x="4" y="118"/>
                </a:lnTo>
                <a:lnTo>
                  <a:pt x="6" y="112"/>
                </a:lnTo>
                <a:lnTo>
                  <a:pt x="8" y="110"/>
                </a:lnTo>
                <a:lnTo>
                  <a:pt x="17" y="106"/>
                </a:lnTo>
                <a:lnTo>
                  <a:pt x="17" y="102"/>
                </a:lnTo>
                <a:lnTo>
                  <a:pt x="21" y="98"/>
                </a:lnTo>
                <a:lnTo>
                  <a:pt x="25" y="100"/>
                </a:lnTo>
                <a:lnTo>
                  <a:pt x="27" y="104"/>
                </a:lnTo>
                <a:lnTo>
                  <a:pt x="29" y="108"/>
                </a:lnTo>
                <a:lnTo>
                  <a:pt x="33" y="110"/>
                </a:lnTo>
                <a:lnTo>
                  <a:pt x="37" y="108"/>
                </a:lnTo>
                <a:lnTo>
                  <a:pt x="41" y="106"/>
                </a:lnTo>
                <a:lnTo>
                  <a:pt x="43" y="108"/>
                </a:lnTo>
                <a:lnTo>
                  <a:pt x="45" y="108"/>
                </a:lnTo>
                <a:lnTo>
                  <a:pt x="47" y="106"/>
                </a:lnTo>
                <a:lnTo>
                  <a:pt x="47" y="102"/>
                </a:lnTo>
                <a:lnTo>
                  <a:pt x="49" y="96"/>
                </a:lnTo>
                <a:lnTo>
                  <a:pt x="49" y="74"/>
                </a:lnTo>
                <a:lnTo>
                  <a:pt x="45" y="72"/>
                </a:lnTo>
                <a:lnTo>
                  <a:pt x="45" y="68"/>
                </a:lnTo>
                <a:lnTo>
                  <a:pt x="43" y="66"/>
                </a:lnTo>
                <a:lnTo>
                  <a:pt x="43" y="62"/>
                </a:lnTo>
                <a:lnTo>
                  <a:pt x="45" y="58"/>
                </a:lnTo>
                <a:lnTo>
                  <a:pt x="45" y="54"/>
                </a:lnTo>
                <a:lnTo>
                  <a:pt x="49" y="52"/>
                </a:lnTo>
                <a:lnTo>
                  <a:pt x="51" y="48"/>
                </a:lnTo>
                <a:lnTo>
                  <a:pt x="49" y="42"/>
                </a:lnTo>
                <a:lnTo>
                  <a:pt x="45" y="40"/>
                </a:lnTo>
                <a:lnTo>
                  <a:pt x="39" y="40"/>
                </a:lnTo>
                <a:lnTo>
                  <a:pt x="31" y="40"/>
                </a:lnTo>
                <a:lnTo>
                  <a:pt x="33" y="26"/>
                </a:lnTo>
                <a:lnTo>
                  <a:pt x="55" y="26"/>
                </a:lnTo>
                <a:lnTo>
                  <a:pt x="59" y="28"/>
                </a:lnTo>
                <a:lnTo>
                  <a:pt x="63" y="30"/>
                </a:lnTo>
                <a:lnTo>
                  <a:pt x="73" y="30"/>
                </a:lnTo>
                <a:lnTo>
                  <a:pt x="79" y="30"/>
                </a:lnTo>
                <a:lnTo>
                  <a:pt x="79" y="16"/>
                </a:lnTo>
                <a:lnTo>
                  <a:pt x="83" y="10"/>
                </a:lnTo>
                <a:lnTo>
                  <a:pt x="87" y="4"/>
                </a:lnTo>
                <a:lnTo>
                  <a:pt x="93" y="0"/>
                </a:lnTo>
                <a:lnTo>
                  <a:pt x="103" y="0"/>
                </a:lnTo>
                <a:lnTo>
                  <a:pt x="113" y="0"/>
                </a:lnTo>
                <a:lnTo>
                  <a:pt x="113" y="2"/>
                </a:lnTo>
                <a:lnTo>
                  <a:pt x="115" y="4"/>
                </a:lnTo>
                <a:lnTo>
                  <a:pt x="115" y="6"/>
                </a:lnTo>
                <a:lnTo>
                  <a:pt x="117" y="10"/>
                </a:lnTo>
                <a:lnTo>
                  <a:pt x="115" y="20"/>
                </a:lnTo>
                <a:lnTo>
                  <a:pt x="111" y="34"/>
                </a:lnTo>
                <a:lnTo>
                  <a:pt x="99" y="64"/>
                </a:lnTo>
                <a:lnTo>
                  <a:pt x="99" y="68"/>
                </a:lnTo>
                <a:lnTo>
                  <a:pt x="99" y="70"/>
                </a:lnTo>
                <a:lnTo>
                  <a:pt x="101" y="74"/>
                </a:lnTo>
                <a:lnTo>
                  <a:pt x="99" y="78"/>
                </a:lnTo>
                <a:lnTo>
                  <a:pt x="97" y="82"/>
                </a:lnTo>
                <a:lnTo>
                  <a:pt x="93" y="84"/>
                </a:lnTo>
                <a:lnTo>
                  <a:pt x="89" y="88"/>
                </a:lnTo>
                <a:lnTo>
                  <a:pt x="85" y="92"/>
                </a:lnTo>
                <a:lnTo>
                  <a:pt x="83" y="102"/>
                </a:lnTo>
                <a:lnTo>
                  <a:pt x="79" y="106"/>
                </a:lnTo>
                <a:lnTo>
                  <a:pt x="75" y="108"/>
                </a:lnTo>
                <a:lnTo>
                  <a:pt x="75" y="122"/>
                </a:lnTo>
                <a:lnTo>
                  <a:pt x="71" y="134"/>
                </a:lnTo>
                <a:lnTo>
                  <a:pt x="69" y="142"/>
                </a:lnTo>
                <a:lnTo>
                  <a:pt x="65" y="148"/>
                </a:lnTo>
                <a:lnTo>
                  <a:pt x="61" y="150"/>
                </a:lnTo>
                <a:lnTo>
                  <a:pt x="55" y="150"/>
                </a:lnTo>
                <a:lnTo>
                  <a:pt x="51" y="150"/>
                </a:lnTo>
                <a:lnTo>
                  <a:pt x="49" y="150"/>
                </a:lnTo>
                <a:lnTo>
                  <a:pt x="49" y="146"/>
                </a:lnTo>
                <a:lnTo>
                  <a:pt x="45" y="146"/>
                </a:lnTo>
                <a:lnTo>
                  <a:pt x="43" y="146"/>
                </a:lnTo>
                <a:lnTo>
                  <a:pt x="41" y="148"/>
                </a:lnTo>
                <a:lnTo>
                  <a:pt x="39" y="150"/>
                </a:lnTo>
                <a:lnTo>
                  <a:pt x="35" y="150"/>
                </a:lnTo>
                <a:lnTo>
                  <a:pt x="33" y="150"/>
                </a:lnTo>
                <a:lnTo>
                  <a:pt x="27" y="15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5" name="Freeform 125">
            <a:extLst>
              <a:ext uri="{FF2B5EF4-FFF2-40B4-BE49-F238E27FC236}">
                <a16:creationId xmlns:a16="http://schemas.microsoft.com/office/drawing/2014/main" id="{EBAA8D74-FDBC-4090-8582-2C98E069B46D}"/>
              </a:ext>
            </a:extLst>
          </p:cNvPr>
          <p:cNvSpPr>
            <a:spLocks/>
          </p:cNvSpPr>
          <p:nvPr/>
        </p:nvSpPr>
        <p:spPr bwMode="auto">
          <a:xfrm>
            <a:off x="4496734" y="4411188"/>
            <a:ext cx="415591" cy="386383"/>
          </a:xfrm>
          <a:custGeom>
            <a:avLst/>
            <a:gdLst/>
            <a:ahLst/>
            <a:cxnLst>
              <a:cxn ang="0">
                <a:pos x="181" y="8"/>
              </a:cxn>
              <a:cxn ang="0">
                <a:pos x="159" y="16"/>
              </a:cxn>
              <a:cxn ang="0">
                <a:pos x="117" y="16"/>
              </a:cxn>
              <a:cxn ang="0">
                <a:pos x="107" y="12"/>
              </a:cxn>
              <a:cxn ang="0">
                <a:pos x="105" y="10"/>
              </a:cxn>
              <a:cxn ang="0">
                <a:pos x="101" y="6"/>
              </a:cxn>
              <a:cxn ang="0">
                <a:pos x="33" y="6"/>
              </a:cxn>
              <a:cxn ang="0">
                <a:pos x="27" y="2"/>
              </a:cxn>
              <a:cxn ang="0">
                <a:pos x="25" y="0"/>
              </a:cxn>
              <a:cxn ang="0">
                <a:pos x="21" y="0"/>
              </a:cxn>
              <a:cxn ang="0">
                <a:pos x="11" y="2"/>
              </a:cxn>
              <a:cxn ang="0">
                <a:pos x="4" y="2"/>
              </a:cxn>
              <a:cxn ang="0">
                <a:pos x="0" y="0"/>
              </a:cxn>
              <a:cxn ang="0">
                <a:pos x="2" y="16"/>
              </a:cxn>
              <a:cxn ang="0">
                <a:pos x="7" y="30"/>
              </a:cxn>
              <a:cxn ang="0">
                <a:pos x="13" y="42"/>
              </a:cxn>
              <a:cxn ang="0">
                <a:pos x="21" y="54"/>
              </a:cxn>
              <a:cxn ang="0">
                <a:pos x="29" y="66"/>
              </a:cxn>
              <a:cxn ang="0">
                <a:pos x="37" y="76"/>
              </a:cxn>
              <a:cxn ang="0">
                <a:pos x="39" y="90"/>
              </a:cxn>
              <a:cxn ang="0">
                <a:pos x="41" y="104"/>
              </a:cxn>
              <a:cxn ang="0">
                <a:pos x="41" y="126"/>
              </a:cxn>
              <a:cxn ang="0">
                <a:pos x="43" y="152"/>
              </a:cxn>
              <a:cxn ang="0">
                <a:pos x="45" y="174"/>
              </a:cxn>
              <a:cxn ang="0">
                <a:pos x="49" y="184"/>
              </a:cxn>
              <a:cxn ang="0">
                <a:pos x="53" y="194"/>
              </a:cxn>
              <a:cxn ang="0">
                <a:pos x="61" y="204"/>
              </a:cxn>
              <a:cxn ang="0">
                <a:pos x="69" y="212"/>
              </a:cxn>
              <a:cxn ang="0">
                <a:pos x="73" y="208"/>
              </a:cxn>
              <a:cxn ang="0">
                <a:pos x="75" y="204"/>
              </a:cxn>
              <a:cxn ang="0">
                <a:pos x="79" y="204"/>
              </a:cxn>
              <a:cxn ang="0">
                <a:pos x="83" y="210"/>
              </a:cxn>
              <a:cxn ang="0">
                <a:pos x="89" y="214"/>
              </a:cxn>
              <a:cxn ang="0">
                <a:pos x="93" y="216"/>
              </a:cxn>
              <a:cxn ang="0">
                <a:pos x="101" y="216"/>
              </a:cxn>
              <a:cxn ang="0">
                <a:pos x="111" y="216"/>
              </a:cxn>
              <a:cxn ang="0">
                <a:pos x="117" y="212"/>
              </a:cxn>
              <a:cxn ang="0">
                <a:pos x="121" y="208"/>
              </a:cxn>
              <a:cxn ang="0">
                <a:pos x="125" y="206"/>
              </a:cxn>
              <a:cxn ang="0">
                <a:pos x="123" y="144"/>
              </a:cxn>
              <a:cxn ang="0">
                <a:pos x="123" y="90"/>
              </a:cxn>
              <a:cxn ang="0">
                <a:pos x="143" y="90"/>
              </a:cxn>
              <a:cxn ang="0">
                <a:pos x="143" y="22"/>
              </a:cxn>
              <a:cxn ang="0">
                <a:pos x="165" y="20"/>
              </a:cxn>
              <a:cxn ang="0">
                <a:pos x="183" y="18"/>
              </a:cxn>
              <a:cxn ang="0">
                <a:pos x="187" y="24"/>
              </a:cxn>
              <a:cxn ang="0">
                <a:pos x="201" y="18"/>
              </a:cxn>
              <a:cxn ang="0">
                <a:pos x="205" y="14"/>
              </a:cxn>
              <a:cxn ang="0">
                <a:pos x="211" y="12"/>
              </a:cxn>
              <a:cxn ang="0">
                <a:pos x="205" y="8"/>
              </a:cxn>
              <a:cxn ang="0">
                <a:pos x="201" y="6"/>
              </a:cxn>
              <a:cxn ang="0">
                <a:pos x="193" y="8"/>
              </a:cxn>
              <a:cxn ang="0">
                <a:pos x="187" y="10"/>
              </a:cxn>
              <a:cxn ang="0">
                <a:pos x="183" y="8"/>
              </a:cxn>
              <a:cxn ang="0">
                <a:pos x="181" y="6"/>
              </a:cxn>
              <a:cxn ang="0">
                <a:pos x="181" y="8"/>
              </a:cxn>
            </a:cxnLst>
            <a:rect l="0" t="0" r="r" b="b"/>
            <a:pathLst>
              <a:path w="211" h="216">
                <a:moveTo>
                  <a:pt x="181" y="8"/>
                </a:moveTo>
                <a:lnTo>
                  <a:pt x="159" y="16"/>
                </a:lnTo>
                <a:lnTo>
                  <a:pt x="117" y="16"/>
                </a:lnTo>
                <a:lnTo>
                  <a:pt x="107" y="12"/>
                </a:lnTo>
                <a:lnTo>
                  <a:pt x="105" y="10"/>
                </a:lnTo>
                <a:lnTo>
                  <a:pt x="101" y="6"/>
                </a:lnTo>
                <a:lnTo>
                  <a:pt x="33" y="6"/>
                </a:lnTo>
                <a:lnTo>
                  <a:pt x="27" y="2"/>
                </a:lnTo>
                <a:lnTo>
                  <a:pt x="25" y="0"/>
                </a:lnTo>
                <a:lnTo>
                  <a:pt x="21" y="0"/>
                </a:lnTo>
                <a:lnTo>
                  <a:pt x="11" y="2"/>
                </a:lnTo>
                <a:lnTo>
                  <a:pt x="4" y="2"/>
                </a:lnTo>
                <a:lnTo>
                  <a:pt x="0" y="0"/>
                </a:lnTo>
                <a:lnTo>
                  <a:pt x="2" y="16"/>
                </a:lnTo>
                <a:lnTo>
                  <a:pt x="7" y="30"/>
                </a:lnTo>
                <a:lnTo>
                  <a:pt x="13" y="42"/>
                </a:lnTo>
                <a:lnTo>
                  <a:pt x="21" y="54"/>
                </a:lnTo>
                <a:lnTo>
                  <a:pt x="29" y="66"/>
                </a:lnTo>
                <a:lnTo>
                  <a:pt x="37" y="76"/>
                </a:lnTo>
                <a:lnTo>
                  <a:pt x="39" y="90"/>
                </a:lnTo>
                <a:lnTo>
                  <a:pt x="41" y="104"/>
                </a:lnTo>
                <a:lnTo>
                  <a:pt x="41" y="126"/>
                </a:lnTo>
                <a:lnTo>
                  <a:pt x="43" y="152"/>
                </a:lnTo>
                <a:lnTo>
                  <a:pt x="45" y="174"/>
                </a:lnTo>
                <a:lnTo>
                  <a:pt x="49" y="184"/>
                </a:lnTo>
                <a:lnTo>
                  <a:pt x="53" y="194"/>
                </a:lnTo>
                <a:lnTo>
                  <a:pt x="61" y="204"/>
                </a:lnTo>
                <a:lnTo>
                  <a:pt x="69" y="212"/>
                </a:lnTo>
                <a:lnTo>
                  <a:pt x="73" y="208"/>
                </a:lnTo>
                <a:lnTo>
                  <a:pt x="75" y="204"/>
                </a:lnTo>
                <a:lnTo>
                  <a:pt x="79" y="204"/>
                </a:lnTo>
                <a:lnTo>
                  <a:pt x="83" y="210"/>
                </a:lnTo>
                <a:lnTo>
                  <a:pt x="89" y="214"/>
                </a:lnTo>
                <a:lnTo>
                  <a:pt x="93" y="216"/>
                </a:lnTo>
                <a:lnTo>
                  <a:pt x="101" y="216"/>
                </a:lnTo>
                <a:lnTo>
                  <a:pt x="111" y="216"/>
                </a:lnTo>
                <a:lnTo>
                  <a:pt x="117" y="212"/>
                </a:lnTo>
                <a:lnTo>
                  <a:pt x="121" y="208"/>
                </a:lnTo>
                <a:lnTo>
                  <a:pt x="125" y="206"/>
                </a:lnTo>
                <a:lnTo>
                  <a:pt x="123" y="144"/>
                </a:lnTo>
                <a:lnTo>
                  <a:pt x="123" y="90"/>
                </a:lnTo>
                <a:lnTo>
                  <a:pt x="143" y="90"/>
                </a:lnTo>
                <a:lnTo>
                  <a:pt x="143" y="22"/>
                </a:lnTo>
                <a:lnTo>
                  <a:pt x="165" y="20"/>
                </a:lnTo>
                <a:lnTo>
                  <a:pt x="183" y="18"/>
                </a:lnTo>
                <a:lnTo>
                  <a:pt x="187" y="24"/>
                </a:lnTo>
                <a:lnTo>
                  <a:pt x="201" y="18"/>
                </a:lnTo>
                <a:lnTo>
                  <a:pt x="205" y="14"/>
                </a:lnTo>
                <a:lnTo>
                  <a:pt x="211" y="12"/>
                </a:lnTo>
                <a:lnTo>
                  <a:pt x="205" y="8"/>
                </a:lnTo>
                <a:lnTo>
                  <a:pt x="201" y="6"/>
                </a:lnTo>
                <a:lnTo>
                  <a:pt x="193" y="8"/>
                </a:lnTo>
                <a:lnTo>
                  <a:pt x="187" y="10"/>
                </a:lnTo>
                <a:lnTo>
                  <a:pt x="183" y="8"/>
                </a:lnTo>
                <a:lnTo>
                  <a:pt x="181" y="6"/>
                </a:lnTo>
                <a:lnTo>
                  <a:pt x="181" y="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6" name="Freeform 126">
            <a:extLst>
              <a:ext uri="{FF2B5EF4-FFF2-40B4-BE49-F238E27FC236}">
                <a16:creationId xmlns:a16="http://schemas.microsoft.com/office/drawing/2014/main" id="{7E78E13E-5375-45FF-B08F-3DC8E78476E5}"/>
              </a:ext>
            </a:extLst>
          </p:cNvPr>
          <p:cNvSpPr>
            <a:spLocks/>
          </p:cNvSpPr>
          <p:nvPr/>
        </p:nvSpPr>
        <p:spPr bwMode="auto">
          <a:xfrm>
            <a:off x="5273187" y="3265023"/>
            <a:ext cx="210361" cy="173710"/>
          </a:xfrm>
          <a:custGeom>
            <a:avLst/>
            <a:gdLst/>
            <a:ahLst/>
            <a:cxnLst>
              <a:cxn ang="0">
                <a:pos x="32" y="0"/>
              </a:cxn>
              <a:cxn ang="0">
                <a:pos x="28" y="4"/>
              </a:cxn>
              <a:cxn ang="0">
                <a:pos x="22" y="10"/>
              </a:cxn>
              <a:cxn ang="0">
                <a:pos x="14" y="14"/>
              </a:cxn>
              <a:cxn ang="0">
                <a:pos x="6" y="16"/>
              </a:cxn>
              <a:cxn ang="0">
                <a:pos x="6" y="26"/>
              </a:cxn>
              <a:cxn ang="0">
                <a:pos x="4" y="34"/>
              </a:cxn>
              <a:cxn ang="0">
                <a:pos x="0" y="46"/>
              </a:cxn>
              <a:cxn ang="0">
                <a:pos x="0" y="62"/>
              </a:cxn>
              <a:cxn ang="0">
                <a:pos x="18" y="62"/>
              </a:cxn>
              <a:cxn ang="0">
                <a:pos x="24" y="64"/>
              </a:cxn>
              <a:cxn ang="0">
                <a:pos x="28" y="54"/>
              </a:cxn>
              <a:cxn ang="0">
                <a:pos x="38" y="58"/>
              </a:cxn>
              <a:cxn ang="0">
                <a:pos x="54" y="58"/>
              </a:cxn>
              <a:cxn ang="0">
                <a:pos x="68" y="62"/>
              </a:cxn>
              <a:cxn ang="0">
                <a:pos x="82" y="76"/>
              </a:cxn>
              <a:cxn ang="0">
                <a:pos x="96" y="92"/>
              </a:cxn>
              <a:cxn ang="0">
                <a:pos x="102" y="98"/>
              </a:cxn>
              <a:cxn ang="0">
                <a:pos x="106" y="94"/>
              </a:cxn>
              <a:cxn ang="0">
                <a:pos x="96" y="80"/>
              </a:cxn>
              <a:cxn ang="0">
                <a:pos x="86" y="68"/>
              </a:cxn>
              <a:cxn ang="0">
                <a:pos x="74" y="56"/>
              </a:cxn>
              <a:cxn ang="0">
                <a:pos x="62" y="48"/>
              </a:cxn>
              <a:cxn ang="0">
                <a:pos x="52" y="42"/>
              </a:cxn>
              <a:cxn ang="0">
                <a:pos x="46" y="30"/>
              </a:cxn>
              <a:cxn ang="0">
                <a:pos x="40" y="14"/>
              </a:cxn>
              <a:cxn ang="0">
                <a:pos x="32" y="0"/>
              </a:cxn>
            </a:cxnLst>
            <a:rect l="0" t="0" r="r" b="b"/>
            <a:pathLst>
              <a:path w="106" h="98">
                <a:moveTo>
                  <a:pt x="32" y="0"/>
                </a:moveTo>
                <a:lnTo>
                  <a:pt x="28" y="4"/>
                </a:lnTo>
                <a:lnTo>
                  <a:pt x="22" y="10"/>
                </a:lnTo>
                <a:lnTo>
                  <a:pt x="14" y="14"/>
                </a:lnTo>
                <a:lnTo>
                  <a:pt x="6" y="16"/>
                </a:lnTo>
                <a:lnTo>
                  <a:pt x="6" y="26"/>
                </a:lnTo>
                <a:lnTo>
                  <a:pt x="4" y="34"/>
                </a:lnTo>
                <a:lnTo>
                  <a:pt x="0" y="46"/>
                </a:lnTo>
                <a:lnTo>
                  <a:pt x="0" y="62"/>
                </a:lnTo>
                <a:lnTo>
                  <a:pt x="18" y="62"/>
                </a:lnTo>
                <a:lnTo>
                  <a:pt x="24" y="64"/>
                </a:lnTo>
                <a:lnTo>
                  <a:pt x="28" y="54"/>
                </a:lnTo>
                <a:lnTo>
                  <a:pt x="38" y="58"/>
                </a:lnTo>
                <a:lnTo>
                  <a:pt x="54" y="58"/>
                </a:lnTo>
                <a:lnTo>
                  <a:pt x="68" y="62"/>
                </a:lnTo>
                <a:lnTo>
                  <a:pt x="82" y="76"/>
                </a:lnTo>
                <a:lnTo>
                  <a:pt x="96" y="92"/>
                </a:lnTo>
                <a:lnTo>
                  <a:pt x="102" y="98"/>
                </a:lnTo>
                <a:lnTo>
                  <a:pt x="106" y="94"/>
                </a:lnTo>
                <a:lnTo>
                  <a:pt x="96" y="80"/>
                </a:lnTo>
                <a:lnTo>
                  <a:pt x="86" y="68"/>
                </a:lnTo>
                <a:lnTo>
                  <a:pt x="74" y="56"/>
                </a:lnTo>
                <a:lnTo>
                  <a:pt x="62" y="48"/>
                </a:lnTo>
                <a:lnTo>
                  <a:pt x="52" y="42"/>
                </a:lnTo>
                <a:lnTo>
                  <a:pt x="46" y="30"/>
                </a:lnTo>
                <a:lnTo>
                  <a:pt x="40" y="14"/>
                </a:lnTo>
                <a:lnTo>
                  <a:pt x="3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7" name="Freeform 127">
            <a:extLst>
              <a:ext uri="{FF2B5EF4-FFF2-40B4-BE49-F238E27FC236}">
                <a16:creationId xmlns:a16="http://schemas.microsoft.com/office/drawing/2014/main" id="{583A8E27-D038-4054-BB6B-8DF0DC2A5901}"/>
              </a:ext>
            </a:extLst>
          </p:cNvPr>
          <p:cNvSpPr>
            <a:spLocks/>
          </p:cNvSpPr>
          <p:nvPr/>
        </p:nvSpPr>
        <p:spPr bwMode="auto">
          <a:xfrm>
            <a:off x="3610827" y="3399773"/>
            <a:ext cx="92353" cy="21105"/>
          </a:xfrm>
          <a:custGeom>
            <a:avLst/>
            <a:gdLst/>
            <a:ahLst/>
            <a:cxnLst>
              <a:cxn ang="0">
                <a:pos x="4" y="6"/>
              </a:cxn>
              <a:cxn ang="0">
                <a:pos x="14" y="8"/>
              </a:cxn>
              <a:cxn ang="0">
                <a:pos x="18" y="6"/>
              </a:cxn>
              <a:cxn ang="0">
                <a:pos x="20" y="4"/>
              </a:cxn>
              <a:cxn ang="0">
                <a:pos x="22" y="2"/>
              </a:cxn>
              <a:cxn ang="0">
                <a:pos x="26" y="0"/>
              </a:cxn>
              <a:cxn ang="0">
                <a:pos x="28" y="4"/>
              </a:cxn>
              <a:cxn ang="0">
                <a:pos x="34" y="6"/>
              </a:cxn>
              <a:cxn ang="0">
                <a:pos x="46" y="8"/>
              </a:cxn>
              <a:cxn ang="0">
                <a:pos x="42" y="10"/>
              </a:cxn>
              <a:cxn ang="0">
                <a:pos x="38" y="12"/>
              </a:cxn>
              <a:cxn ang="0">
                <a:pos x="30" y="10"/>
              </a:cxn>
              <a:cxn ang="0">
                <a:pos x="24" y="8"/>
              </a:cxn>
              <a:cxn ang="0">
                <a:pos x="24" y="10"/>
              </a:cxn>
              <a:cxn ang="0">
                <a:pos x="12" y="12"/>
              </a:cxn>
              <a:cxn ang="0">
                <a:pos x="0" y="12"/>
              </a:cxn>
              <a:cxn ang="0">
                <a:pos x="2" y="8"/>
              </a:cxn>
              <a:cxn ang="0">
                <a:pos x="2" y="6"/>
              </a:cxn>
              <a:cxn ang="0">
                <a:pos x="4" y="6"/>
              </a:cxn>
            </a:cxnLst>
            <a:rect l="0" t="0" r="r" b="b"/>
            <a:pathLst>
              <a:path w="46" h="12">
                <a:moveTo>
                  <a:pt x="4" y="6"/>
                </a:moveTo>
                <a:lnTo>
                  <a:pt x="14" y="8"/>
                </a:lnTo>
                <a:lnTo>
                  <a:pt x="18" y="6"/>
                </a:lnTo>
                <a:lnTo>
                  <a:pt x="20" y="4"/>
                </a:lnTo>
                <a:lnTo>
                  <a:pt x="22" y="2"/>
                </a:lnTo>
                <a:lnTo>
                  <a:pt x="26" y="0"/>
                </a:lnTo>
                <a:lnTo>
                  <a:pt x="28" y="4"/>
                </a:lnTo>
                <a:lnTo>
                  <a:pt x="34" y="6"/>
                </a:lnTo>
                <a:lnTo>
                  <a:pt x="46" y="8"/>
                </a:lnTo>
                <a:lnTo>
                  <a:pt x="42" y="10"/>
                </a:lnTo>
                <a:lnTo>
                  <a:pt x="38" y="12"/>
                </a:lnTo>
                <a:lnTo>
                  <a:pt x="30" y="10"/>
                </a:lnTo>
                <a:lnTo>
                  <a:pt x="24" y="8"/>
                </a:lnTo>
                <a:lnTo>
                  <a:pt x="24" y="10"/>
                </a:lnTo>
                <a:lnTo>
                  <a:pt x="12" y="12"/>
                </a:lnTo>
                <a:lnTo>
                  <a:pt x="0" y="12"/>
                </a:lnTo>
                <a:lnTo>
                  <a:pt x="2" y="8"/>
                </a:lnTo>
                <a:lnTo>
                  <a:pt x="2" y="6"/>
                </a:lnTo>
                <a:lnTo>
                  <a:pt x="4" y="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8" name="Freeform 128">
            <a:extLst>
              <a:ext uri="{FF2B5EF4-FFF2-40B4-BE49-F238E27FC236}">
                <a16:creationId xmlns:a16="http://schemas.microsoft.com/office/drawing/2014/main" id="{7693A245-D0FC-4640-A557-46242DCF7D53}"/>
              </a:ext>
            </a:extLst>
          </p:cNvPr>
          <p:cNvSpPr>
            <a:spLocks/>
          </p:cNvSpPr>
          <p:nvPr/>
        </p:nvSpPr>
        <p:spPr bwMode="auto">
          <a:xfrm>
            <a:off x="4510416" y="3997206"/>
            <a:ext cx="27364" cy="38963"/>
          </a:xfrm>
          <a:custGeom>
            <a:avLst/>
            <a:gdLst/>
            <a:ahLst/>
            <a:cxnLst>
              <a:cxn ang="0">
                <a:pos x="6" y="22"/>
              </a:cxn>
              <a:cxn ang="0">
                <a:pos x="0" y="8"/>
              </a:cxn>
              <a:cxn ang="0">
                <a:pos x="4" y="4"/>
              </a:cxn>
              <a:cxn ang="0">
                <a:pos x="8" y="2"/>
              </a:cxn>
              <a:cxn ang="0">
                <a:pos x="12" y="0"/>
              </a:cxn>
              <a:cxn ang="0">
                <a:pos x="14" y="2"/>
              </a:cxn>
              <a:cxn ang="0">
                <a:pos x="14" y="4"/>
              </a:cxn>
              <a:cxn ang="0">
                <a:pos x="10" y="6"/>
              </a:cxn>
              <a:cxn ang="0">
                <a:pos x="8" y="10"/>
              </a:cxn>
              <a:cxn ang="0">
                <a:pos x="8" y="20"/>
              </a:cxn>
              <a:cxn ang="0">
                <a:pos x="6" y="22"/>
              </a:cxn>
            </a:cxnLst>
            <a:rect l="0" t="0" r="r" b="b"/>
            <a:pathLst>
              <a:path w="14" h="22">
                <a:moveTo>
                  <a:pt x="6" y="22"/>
                </a:moveTo>
                <a:lnTo>
                  <a:pt x="0" y="8"/>
                </a:lnTo>
                <a:lnTo>
                  <a:pt x="4" y="4"/>
                </a:lnTo>
                <a:lnTo>
                  <a:pt x="8" y="2"/>
                </a:lnTo>
                <a:lnTo>
                  <a:pt x="12" y="0"/>
                </a:lnTo>
                <a:lnTo>
                  <a:pt x="14" y="2"/>
                </a:lnTo>
                <a:lnTo>
                  <a:pt x="14" y="4"/>
                </a:lnTo>
                <a:lnTo>
                  <a:pt x="10" y="6"/>
                </a:lnTo>
                <a:lnTo>
                  <a:pt x="8" y="10"/>
                </a:lnTo>
                <a:lnTo>
                  <a:pt x="8" y="20"/>
                </a:lnTo>
                <a:lnTo>
                  <a:pt x="6" y="2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9" name="Freeform 129">
            <a:extLst>
              <a:ext uri="{FF2B5EF4-FFF2-40B4-BE49-F238E27FC236}">
                <a16:creationId xmlns:a16="http://schemas.microsoft.com/office/drawing/2014/main" id="{C3BC83F3-471E-4A47-BEED-FC20CA2BBE9D}"/>
              </a:ext>
            </a:extLst>
          </p:cNvPr>
          <p:cNvSpPr>
            <a:spLocks/>
          </p:cNvSpPr>
          <p:nvPr/>
        </p:nvSpPr>
        <p:spPr bwMode="auto">
          <a:xfrm>
            <a:off x="2895654" y="1289276"/>
            <a:ext cx="1241641" cy="613667"/>
          </a:xfrm>
          <a:custGeom>
            <a:avLst/>
            <a:gdLst/>
            <a:ahLst/>
            <a:cxnLst>
              <a:cxn ang="0">
                <a:pos x="390" y="210"/>
              </a:cxn>
              <a:cxn ang="0">
                <a:pos x="360" y="212"/>
              </a:cxn>
              <a:cxn ang="0">
                <a:pos x="324" y="240"/>
              </a:cxn>
              <a:cxn ang="0">
                <a:pos x="292" y="250"/>
              </a:cxn>
              <a:cxn ang="0">
                <a:pos x="252" y="258"/>
              </a:cxn>
              <a:cxn ang="0">
                <a:pos x="248" y="266"/>
              </a:cxn>
              <a:cxn ang="0">
                <a:pos x="222" y="298"/>
              </a:cxn>
              <a:cxn ang="0">
                <a:pos x="206" y="316"/>
              </a:cxn>
              <a:cxn ang="0">
                <a:pos x="190" y="344"/>
              </a:cxn>
              <a:cxn ang="0">
                <a:pos x="162" y="338"/>
              </a:cxn>
              <a:cxn ang="0">
                <a:pos x="136" y="326"/>
              </a:cxn>
              <a:cxn ang="0">
                <a:pos x="124" y="304"/>
              </a:cxn>
              <a:cxn ang="0">
                <a:pos x="112" y="278"/>
              </a:cxn>
              <a:cxn ang="0">
                <a:pos x="108" y="266"/>
              </a:cxn>
              <a:cxn ang="0">
                <a:pos x="122" y="252"/>
              </a:cxn>
              <a:cxn ang="0">
                <a:pos x="124" y="236"/>
              </a:cxn>
              <a:cxn ang="0">
                <a:pos x="114" y="222"/>
              </a:cxn>
              <a:cxn ang="0">
                <a:pos x="152" y="198"/>
              </a:cxn>
              <a:cxn ang="0">
                <a:pos x="132" y="180"/>
              </a:cxn>
              <a:cxn ang="0">
                <a:pos x="126" y="192"/>
              </a:cxn>
              <a:cxn ang="0">
                <a:pos x="114" y="180"/>
              </a:cxn>
              <a:cxn ang="0">
                <a:pos x="156" y="170"/>
              </a:cxn>
              <a:cxn ang="0">
                <a:pos x="134" y="156"/>
              </a:cxn>
              <a:cxn ang="0">
                <a:pos x="134" y="126"/>
              </a:cxn>
              <a:cxn ang="0">
                <a:pos x="126" y="110"/>
              </a:cxn>
              <a:cxn ang="0">
                <a:pos x="98" y="96"/>
              </a:cxn>
              <a:cxn ang="0">
                <a:pos x="38" y="96"/>
              </a:cxn>
              <a:cxn ang="0">
                <a:pos x="18" y="88"/>
              </a:cxn>
              <a:cxn ang="0">
                <a:pos x="12" y="76"/>
              </a:cxn>
              <a:cxn ang="0">
                <a:pos x="54" y="70"/>
              </a:cxn>
              <a:cxn ang="0">
                <a:pos x="0" y="68"/>
              </a:cxn>
              <a:cxn ang="0">
                <a:pos x="24" y="56"/>
              </a:cxn>
              <a:cxn ang="0">
                <a:pos x="104" y="44"/>
              </a:cxn>
              <a:cxn ang="0">
                <a:pos x="138" y="34"/>
              </a:cxn>
              <a:cxn ang="0">
                <a:pos x="184" y="20"/>
              </a:cxn>
              <a:cxn ang="0">
                <a:pos x="256" y="20"/>
              </a:cxn>
              <a:cxn ang="0">
                <a:pos x="308" y="6"/>
              </a:cxn>
              <a:cxn ang="0">
                <a:pos x="392" y="4"/>
              </a:cxn>
              <a:cxn ang="0">
                <a:pos x="438" y="6"/>
              </a:cxn>
              <a:cxn ang="0">
                <a:pos x="500" y="6"/>
              </a:cxn>
              <a:cxn ang="0">
                <a:pos x="492" y="18"/>
              </a:cxn>
              <a:cxn ang="0">
                <a:pos x="524" y="22"/>
              </a:cxn>
              <a:cxn ang="0">
                <a:pos x="618" y="30"/>
              </a:cxn>
              <a:cxn ang="0">
                <a:pos x="556" y="40"/>
              </a:cxn>
              <a:cxn ang="0">
                <a:pos x="534" y="54"/>
              </a:cxn>
              <a:cxn ang="0">
                <a:pos x="546" y="68"/>
              </a:cxn>
              <a:cxn ang="0">
                <a:pos x="552" y="80"/>
              </a:cxn>
              <a:cxn ang="0">
                <a:pos x="514" y="88"/>
              </a:cxn>
              <a:cxn ang="0">
                <a:pos x="544" y="100"/>
              </a:cxn>
              <a:cxn ang="0">
                <a:pos x="522" y="106"/>
              </a:cxn>
              <a:cxn ang="0">
                <a:pos x="504" y="116"/>
              </a:cxn>
              <a:cxn ang="0">
                <a:pos x="480" y="128"/>
              </a:cxn>
              <a:cxn ang="0">
                <a:pos x="502" y="144"/>
              </a:cxn>
              <a:cxn ang="0">
                <a:pos x="474" y="138"/>
              </a:cxn>
              <a:cxn ang="0">
                <a:pos x="498" y="154"/>
              </a:cxn>
              <a:cxn ang="0">
                <a:pos x="492" y="174"/>
              </a:cxn>
              <a:cxn ang="0">
                <a:pos x="466" y="160"/>
              </a:cxn>
              <a:cxn ang="0">
                <a:pos x="450" y="166"/>
              </a:cxn>
              <a:cxn ang="0">
                <a:pos x="474" y="180"/>
              </a:cxn>
            </a:cxnLst>
            <a:rect l="0" t="0" r="r" b="b"/>
            <a:pathLst>
              <a:path w="628" h="344">
                <a:moveTo>
                  <a:pt x="488" y="180"/>
                </a:moveTo>
                <a:lnTo>
                  <a:pt x="464" y="192"/>
                </a:lnTo>
                <a:lnTo>
                  <a:pt x="436" y="202"/>
                </a:lnTo>
                <a:lnTo>
                  <a:pt x="406" y="208"/>
                </a:lnTo>
                <a:lnTo>
                  <a:pt x="390" y="210"/>
                </a:lnTo>
                <a:lnTo>
                  <a:pt x="376" y="210"/>
                </a:lnTo>
                <a:lnTo>
                  <a:pt x="372" y="210"/>
                </a:lnTo>
                <a:lnTo>
                  <a:pt x="370" y="208"/>
                </a:lnTo>
                <a:lnTo>
                  <a:pt x="364" y="206"/>
                </a:lnTo>
                <a:lnTo>
                  <a:pt x="360" y="212"/>
                </a:lnTo>
                <a:lnTo>
                  <a:pt x="356" y="220"/>
                </a:lnTo>
                <a:lnTo>
                  <a:pt x="350" y="226"/>
                </a:lnTo>
                <a:lnTo>
                  <a:pt x="340" y="232"/>
                </a:lnTo>
                <a:lnTo>
                  <a:pt x="334" y="236"/>
                </a:lnTo>
                <a:lnTo>
                  <a:pt x="324" y="240"/>
                </a:lnTo>
                <a:lnTo>
                  <a:pt x="314" y="242"/>
                </a:lnTo>
                <a:lnTo>
                  <a:pt x="306" y="244"/>
                </a:lnTo>
                <a:lnTo>
                  <a:pt x="300" y="244"/>
                </a:lnTo>
                <a:lnTo>
                  <a:pt x="296" y="246"/>
                </a:lnTo>
                <a:lnTo>
                  <a:pt x="292" y="250"/>
                </a:lnTo>
                <a:lnTo>
                  <a:pt x="286" y="250"/>
                </a:lnTo>
                <a:lnTo>
                  <a:pt x="274" y="250"/>
                </a:lnTo>
                <a:lnTo>
                  <a:pt x="260" y="252"/>
                </a:lnTo>
                <a:lnTo>
                  <a:pt x="252" y="256"/>
                </a:lnTo>
                <a:lnTo>
                  <a:pt x="252" y="258"/>
                </a:lnTo>
                <a:lnTo>
                  <a:pt x="252" y="260"/>
                </a:lnTo>
                <a:lnTo>
                  <a:pt x="252" y="262"/>
                </a:lnTo>
                <a:lnTo>
                  <a:pt x="256" y="266"/>
                </a:lnTo>
                <a:lnTo>
                  <a:pt x="252" y="270"/>
                </a:lnTo>
                <a:lnTo>
                  <a:pt x="248" y="266"/>
                </a:lnTo>
                <a:lnTo>
                  <a:pt x="248" y="278"/>
                </a:lnTo>
                <a:lnTo>
                  <a:pt x="244" y="282"/>
                </a:lnTo>
                <a:lnTo>
                  <a:pt x="240" y="286"/>
                </a:lnTo>
                <a:lnTo>
                  <a:pt x="230" y="290"/>
                </a:lnTo>
                <a:lnTo>
                  <a:pt x="222" y="298"/>
                </a:lnTo>
                <a:lnTo>
                  <a:pt x="218" y="302"/>
                </a:lnTo>
                <a:lnTo>
                  <a:pt x="214" y="308"/>
                </a:lnTo>
                <a:lnTo>
                  <a:pt x="212" y="312"/>
                </a:lnTo>
                <a:lnTo>
                  <a:pt x="208" y="316"/>
                </a:lnTo>
                <a:lnTo>
                  <a:pt x="206" y="316"/>
                </a:lnTo>
                <a:lnTo>
                  <a:pt x="202" y="318"/>
                </a:lnTo>
                <a:lnTo>
                  <a:pt x="198" y="326"/>
                </a:lnTo>
                <a:lnTo>
                  <a:pt x="196" y="336"/>
                </a:lnTo>
                <a:lnTo>
                  <a:pt x="194" y="340"/>
                </a:lnTo>
                <a:lnTo>
                  <a:pt x="190" y="344"/>
                </a:lnTo>
                <a:lnTo>
                  <a:pt x="184" y="344"/>
                </a:lnTo>
                <a:lnTo>
                  <a:pt x="178" y="344"/>
                </a:lnTo>
                <a:lnTo>
                  <a:pt x="172" y="344"/>
                </a:lnTo>
                <a:lnTo>
                  <a:pt x="170" y="344"/>
                </a:lnTo>
                <a:lnTo>
                  <a:pt x="162" y="338"/>
                </a:lnTo>
                <a:lnTo>
                  <a:pt x="156" y="332"/>
                </a:lnTo>
                <a:lnTo>
                  <a:pt x="152" y="330"/>
                </a:lnTo>
                <a:lnTo>
                  <a:pt x="144" y="330"/>
                </a:lnTo>
                <a:lnTo>
                  <a:pt x="140" y="328"/>
                </a:lnTo>
                <a:lnTo>
                  <a:pt x="136" y="326"/>
                </a:lnTo>
                <a:lnTo>
                  <a:pt x="132" y="320"/>
                </a:lnTo>
                <a:lnTo>
                  <a:pt x="132" y="318"/>
                </a:lnTo>
                <a:lnTo>
                  <a:pt x="130" y="314"/>
                </a:lnTo>
                <a:lnTo>
                  <a:pt x="126" y="310"/>
                </a:lnTo>
                <a:lnTo>
                  <a:pt x="124" y="304"/>
                </a:lnTo>
                <a:lnTo>
                  <a:pt x="122" y="298"/>
                </a:lnTo>
                <a:lnTo>
                  <a:pt x="116" y="296"/>
                </a:lnTo>
                <a:lnTo>
                  <a:pt x="114" y="290"/>
                </a:lnTo>
                <a:lnTo>
                  <a:pt x="112" y="284"/>
                </a:lnTo>
                <a:lnTo>
                  <a:pt x="112" y="278"/>
                </a:lnTo>
                <a:lnTo>
                  <a:pt x="118" y="276"/>
                </a:lnTo>
                <a:lnTo>
                  <a:pt x="124" y="272"/>
                </a:lnTo>
                <a:lnTo>
                  <a:pt x="114" y="272"/>
                </a:lnTo>
                <a:lnTo>
                  <a:pt x="110" y="270"/>
                </a:lnTo>
                <a:lnTo>
                  <a:pt x="108" y="266"/>
                </a:lnTo>
                <a:lnTo>
                  <a:pt x="110" y="262"/>
                </a:lnTo>
                <a:lnTo>
                  <a:pt x="110" y="260"/>
                </a:lnTo>
                <a:lnTo>
                  <a:pt x="108" y="256"/>
                </a:lnTo>
                <a:lnTo>
                  <a:pt x="116" y="256"/>
                </a:lnTo>
                <a:lnTo>
                  <a:pt x="122" y="252"/>
                </a:lnTo>
                <a:lnTo>
                  <a:pt x="116" y="250"/>
                </a:lnTo>
                <a:lnTo>
                  <a:pt x="112" y="248"/>
                </a:lnTo>
                <a:lnTo>
                  <a:pt x="100" y="244"/>
                </a:lnTo>
                <a:lnTo>
                  <a:pt x="114" y="240"/>
                </a:lnTo>
                <a:lnTo>
                  <a:pt x="124" y="236"/>
                </a:lnTo>
                <a:lnTo>
                  <a:pt x="114" y="236"/>
                </a:lnTo>
                <a:lnTo>
                  <a:pt x="106" y="236"/>
                </a:lnTo>
                <a:lnTo>
                  <a:pt x="108" y="230"/>
                </a:lnTo>
                <a:lnTo>
                  <a:pt x="110" y="226"/>
                </a:lnTo>
                <a:lnTo>
                  <a:pt x="114" y="222"/>
                </a:lnTo>
                <a:lnTo>
                  <a:pt x="120" y="218"/>
                </a:lnTo>
                <a:lnTo>
                  <a:pt x="132" y="212"/>
                </a:lnTo>
                <a:lnTo>
                  <a:pt x="142" y="208"/>
                </a:lnTo>
                <a:lnTo>
                  <a:pt x="146" y="204"/>
                </a:lnTo>
                <a:lnTo>
                  <a:pt x="152" y="198"/>
                </a:lnTo>
                <a:lnTo>
                  <a:pt x="158" y="182"/>
                </a:lnTo>
                <a:lnTo>
                  <a:pt x="152" y="180"/>
                </a:lnTo>
                <a:lnTo>
                  <a:pt x="142" y="180"/>
                </a:lnTo>
                <a:lnTo>
                  <a:pt x="138" y="180"/>
                </a:lnTo>
                <a:lnTo>
                  <a:pt x="132" y="180"/>
                </a:lnTo>
                <a:lnTo>
                  <a:pt x="142" y="182"/>
                </a:lnTo>
                <a:lnTo>
                  <a:pt x="140" y="188"/>
                </a:lnTo>
                <a:lnTo>
                  <a:pt x="136" y="190"/>
                </a:lnTo>
                <a:lnTo>
                  <a:pt x="132" y="192"/>
                </a:lnTo>
                <a:lnTo>
                  <a:pt x="126" y="192"/>
                </a:lnTo>
                <a:lnTo>
                  <a:pt x="120" y="192"/>
                </a:lnTo>
                <a:lnTo>
                  <a:pt x="116" y="190"/>
                </a:lnTo>
                <a:lnTo>
                  <a:pt x="114" y="188"/>
                </a:lnTo>
                <a:lnTo>
                  <a:pt x="114" y="182"/>
                </a:lnTo>
                <a:lnTo>
                  <a:pt x="114" y="180"/>
                </a:lnTo>
                <a:lnTo>
                  <a:pt x="118" y="176"/>
                </a:lnTo>
                <a:lnTo>
                  <a:pt x="124" y="174"/>
                </a:lnTo>
                <a:lnTo>
                  <a:pt x="132" y="172"/>
                </a:lnTo>
                <a:lnTo>
                  <a:pt x="146" y="172"/>
                </a:lnTo>
                <a:lnTo>
                  <a:pt x="156" y="170"/>
                </a:lnTo>
                <a:lnTo>
                  <a:pt x="148" y="162"/>
                </a:lnTo>
                <a:lnTo>
                  <a:pt x="144" y="156"/>
                </a:lnTo>
                <a:lnTo>
                  <a:pt x="142" y="154"/>
                </a:lnTo>
                <a:lnTo>
                  <a:pt x="136" y="154"/>
                </a:lnTo>
                <a:lnTo>
                  <a:pt x="134" y="156"/>
                </a:lnTo>
                <a:lnTo>
                  <a:pt x="130" y="160"/>
                </a:lnTo>
                <a:lnTo>
                  <a:pt x="126" y="160"/>
                </a:lnTo>
                <a:lnTo>
                  <a:pt x="120" y="158"/>
                </a:lnTo>
                <a:lnTo>
                  <a:pt x="118" y="154"/>
                </a:lnTo>
                <a:lnTo>
                  <a:pt x="134" y="126"/>
                </a:lnTo>
                <a:lnTo>
                  <a:pt x="130" y="126"/>
                </a:lnTo>
                <a:lnTo>
                  <a:pt x="128" y="120"/>
                </a:lnTo>
                <a:lnTo>
                  <a:pt x="130" y="114"/>
                </a:lnTo>
                <a:lnTo>
                  <a:pt x="132" y="110"/>
                </a:lnTo>
                <a:lnTo>
                  <a:pt x="126" y="110"/>
                </a:lnTo>
                <a:lnTo>
                  <a:pt x="122" y="108"/>
                </a:lnTo>
                <a:lnTo>
                  <a:pt x="118" y="104"/>
                </a:lnTo>
                <a:lnTo>
                  <a:pt x="116" y="98"/>
                </a:lnTo>
                <a:lnTo>
                  <a:pt x="108" y="98"/>
                </a:lnTo>
                <a:lnTo>
                  <a:pt x="98" y="96"/>
                </a:lnTo>
                <a:lnTo>
                  <a:pt x="88" y="92"/>
                </a:lnTo>
                <a:lnTo>
                  <a:pt x="78" y="90"/>
                </a:lnTo>
                <a:lnTo>
                  <a:pt x="62" y="92"/>
                </a:lnTo>
                <a:lnTo>
                  <a:pt x="50" y="94"/>
                </a:lnTo>
                <a:lnTo>
                  <a:pt x="38" y="96"/>
                </a:lnTo>
                <a:lnTo>
                  <a:pt x="28" y="96"/>
                </a:lnTo>
                <a:lnTo>
                  <a:pt x="24" y="96"/>
                </a:lnTo>
                <a:lnTo>
                  <a:pt x="22" y="92"/>
                </a:lnTo>
                <a:lnTo>
                  <a:pt x="16" y="88"/>
                </a:lnTo>
                <a:lnTo>
                  <a:pt x="18" y="88"/>
                </a:lnTo>
                <a:lnTo>
                  <a:pt x="10" y="86"/>
                </a:lnTo>
                <a:lnTo>
                  <a:pt x="8" y="84"/>
                </a:lnTo>
                <a:lnTo>
                  <a:pt x="6" y="80"/>
                </a:lnTo>
                <a:lnTo>
                  <a:pt x="8" y="78"/>
                </a:lnTo>
                <a:lnTo>
                  <a:pt x="12" y="76"/>
                </a:lnTo>
                <a:lnTo>
                  <a:pt x="18" y="74"/>
                </a:lnTo>
                <a:lnTo>
                  <a:pt x="36" y="76"/>
                </a:lnTo>
                <a:lnTo>
                  <a:pt x="46" y="74"/>
                </a:lnTo>
                <a:lnTo>
                  <a:pt x="50" y="72"/>
                </a:lnTo>
                <a:lnTo>
                  <a:pt x="54" y="70"/>
                </a:lnTo>
                <a:lnTo>
                  <a:pt x="22" y="70"/>
                </a:lnTo>
                <a:lnTo>
                  <a:pt x="8" y="72"/>
                </a:lnTo>
                <a:lnTo>
                  <a:pt x="6" y="72"/>
                </a:lnTo>
                <a:lnTo>
                  <a:pt x="2" y="72"/>
                </a:lnTo>
                <a:lnTo>
                  <a:pt x="0" y="68"/>
                </a:lnTo>
                <a:lnTo>
                  <a:pt x="0" y="62"/>
                </a:lnTo>
                <a:lnTo>
                  <a:pt x="0" y="60"/>
                </a:lnTo>
                <a:lnTo>
                  <a:pt x="4" y="58"/>
                </a:lnTo>
                <a:lnTo>
                  <a:pt x="10" y="56"/>
                </a:lnTo>
                <a:lnTo>
                  <a:pt x="24" y="56"/>
                </a:lnTo>
                <a:lnTo>
                  <a:pt x="42" y="56"/>
                </a:lnTo>
                <a:lnTo>
                  <a:pt x="66" y="54"/>
                </a:lnTo>
                <a:lnTo>
                  <a:pt x="88" y="50"/>
                </a:lnTo>
                <a:lnTo>
                  <a:pt x="98" y="48"/>
                </a:lnTo>
                <a:lnTo>
                  <a:pt x="104" y="44"/>
                </a:lnTo>
                <a:lnTo>
                  <a:pt x="92" y="42"/>
                </a:lnTo>
                <a:lnTo>
                  <a:pt x="100" y="38"/>
                </a:lnTo>
                <a:lnTo>
                  <a:pt x="110" y="36"/>
                </a:lnTo>
                <a:lnTo>
                  <a:pt x="130" y="34"/>
                </a:lnTo>
                <a:lnTo>
                  <a:pt x="138" y="34"/>
                </a:lnTo>
                <a:lnTo>
                  <a:pt x="144" y="32"/>
                </a:lnTo>
                <a:lnTo>
                  <a:pt x="158" y="28"/>
                </a:lnTo>
                <a:lnTo>
                  <a:pt x="170" y="22"/>
                </a:lnTo>
                <a:lnTo>
                  <a:pt x="176" y="20"/>
                </a:lnTo>
                <a:lnTo>
                  <a:pt x="184" y="20"/>
                </a:lnTo>
                <a:lnTo>
                  <a:pt x="208" y="16"/>
                </a:lnTo>
                <a:lnTo>
                  <a:pt x="234" y="16"/>
                </a:lnTo>
                <a:lnTo>
                  <a:pt x="232" y="22"/>
                </a:lnTo>
                <a:lnTo>
                  <a:pt x="244" y="22"/>
                </a:lnTo>
                <a:lnTo>
                  <a:pt x="256" y="20"/>
                </a:lnTo>
                <a:lnTo>
                  <a:pt x="270" y="16"/>
                </a:lnTo>
                <a:lnTo>
                  <a:pt x="282" y="16"/>
                </a:lnTo>
                <a:lnTo>
                  <a:pt x="288" y="16"/>
                </a:lnTo>
                <a:lnTo>
                  <a:pt x="294" y="14"/>
                </a:lnTo>
                <a:lnTo>
                  <a:pt x="308" y="6"/>
                </a:lnTo>
                <a:lnTo>
                  <a:pt x="360" y="6"/>
                </a:lnTo>
                <a:lnTo>
                  <a:pt x="364" y="8"/>
                </a:lnTo>
                <a:lnTo>
                  <a:pt x="368" y="10"/>
                </a:lnTo>
                <a:lnTo>
                  <a:pt x="380" y="8"/>
                </a:lnTo>
                <a:lnTo>
                  <a:pt x="392" y="4"/>
                </a:lnTo>
                <a:lnTo>
                  <a:pt x="408" y="2"/>
                </a:lnTo>
                <a:lnTo>
                  <a:pt x="420" y="0"/>
                </a:lnTo>
                <a:lnTo>
                  <a:pt x="426" y="0"/>
                </a:lnTo>
                <a:lnTo>
                  <a:pt x="432" y="2"/>
                </a:lnTo>
                <a:lnTo>
                  <a:pt x="438" y="6"/>
                </a:lnTo>
                <a:lnTo>
                  <a:pt x="440" y="12"/>
                </a:lnTo>
                <a:lnTo>
                  <a:pt x="482" y="12"/>
                </a:lnTo>
                <a:lnTo>
                  <a:pt x="486" y="8"/>
                </a:lnTo>
                <a:lnTo>
                  <a:pt x="492" y="6"/>
                </a:lnTo>
                <a:lnTo>
                  <a:pt x="500" y="6"/>
                </a:lnTo>
                <a:lnTo>
                  <a:pt x="520" y="8"/>
                </a:lnTo>
                <a:lnTo>
                  <a:pt x="538" y="12"/>
                </a:lnTo>
                <a:lnTo>
                  <a:pt x="538" y="16"/>
                </a:lnTo>
                <a:lnTo>
                  <a:pt x="492" y="16"/>
                </a:lnTo>
                <a:lnTo>
                  <a:pt x="492" y="18"/>
                </a:lnTo>
                <a:lnTo>
                  <a:pt x="524" y="18"/>
                </a:lnTo>
                <a:lnTo>
                  <a:pt x="524" y="16"/>
                </a:lnTo>
                <a:lnTo>
                  <a:pt x="532" y="16"/>
                </a:lnTo>
                <a:lnTo>
                  <a:pt x="528" y="20"/>
                </a:lnTo>
                <a:lnTo>
                  <a:pt x="524" y="22"/>
                </a:lnTo>
                <a:lnTo>
                  <a:pt x="628" y="22"/>
                </a:lnTo>
                <a:lnTo>
                  <a:pt x="626" y="26"/>
                </a:lnTo>
                <a:lnTo>
                  <a:pt x="624" y="28"/>
                </a:lnTo>
                <a:lnTo>
                  <a:pt x="622" y="30"/>
                </a:lnTo>
                <a:lnTo>
                  <a:pt x="618" y="30"/>
                </a:lnTo>
                <a:lnTo>
                  <a:pt x="602" y="32"/>
                </a:lnTo>
                <a:lnTo>
                  <a:pt x="590" y="32"/>
                </a:lnTo>
                <a:lnTo>
                  <a:pt x="580" y="34"/>
                </a:lnTo>
                <a:lnTo>
                  <a:pt x="570" y="36"/>
                </a:lnTo>
                <a:lnTo>
                  <a:pt x="556" y="40"/>
                </a:lnTo>
                <a:lnTo>
                  <a:pt x="564" y="40"/>
                </a:lnTo>
                <a:lnTo>
                  <a:pt x="554" y="42"/>
                </a:lnTo>
                <a:lnTo>
                  <a:pt x="550" y="44"/>
                </a:lnTo>
                <a:lnTo>
                  <a:pt x="552" y="46"/>
                </a:lnTo>
                <a:lnTo>
                  <a:pt x="534" y="54"/>
                </a:lnTo>
                <a:lnTo>
                  <a:pt x="526" y="60"/>
                </a:lnTo>
                <a:lnTo>
                  <a:pt x="522" y="68"/>
                </a:lnTo>
                <a:lnTo>
                  <a:pt x="532" y="66"/>
                </a:lnTo>
                <a:lnTo>
                  <a:pt x="544" y="64"/>
                </a:lnTo>
                <a:lnTo>
                  <a:pt x="546" y="68"/>
                </a:lnTo>
                <a:lnTo>
                  <a:pt x="546" y="72"/>
                </a:lnTo>
                <a:lnTo>
                  <a:pt x="552" y="72"/>
                </a:lnTo>
                <a:lnTo>
                  <a:pt x="554" y="74"/>
                </a:lnTo>
                <a:lnTo>
                  <a:pt x="558" y="76"/>
                </a:lnTo>
                <a:lnTo>
                  <a:pt x="552" y="80"/>
                </a:lnTo>
                <a:lnTo>
                  <a:pt x="548" y="80"/>
                </a:lnTo>
                <a:lnTo>
                  <a:pt x="532" y="82"/>
                </a:lnTo>
                <a:lnTo>
                  <a:pt x="520" y="82"/>
                </a:lnTo>
                <a:lnTo>
                  <a:pt x="516" y="84"/>
                </a:lnTo>
                <a:lnTo>
                  <a:pt x="514" y="88"/>
                </a:lnTo>
                <a:lnTo>
                  <a:pt x="524" y="90"/>
                </a:lnTo>
                <a:lnTo>
                  <a:pt x="534" y="90"/>
                </a:lnTo>
                <a:lnTo>
                  <a:pt x="536" y="96"/>
                </a:lnTo>
                <a:lnTo>
                  <a:pt x="540" y="98"/>
                </a:lnTo>
                <a:lnTo>
                  <a:pt x="544" y="100"/>
                </a:lnTo>
                <a:lnTo>
                  <a:pt x="550" y="102"/>
                </a:lnTo>
                <a:lnTo>
                  <a:pt x="542" y="106"/>
                </a:lnTo>
                <a:lnTo>
                  <a:pt x="536" y="108"/>
                </a:lnTo>
                <a:lnTo>
                  <a:pt x="532" y="106"/>
                </a:lnTo>
                <a:lnTo>
                  <a:pt x="522" y="106"/>
                </a:lnTo>
                <a:lnTo>
                  <a:pt x="526" y="108"/>
                </a:lnTo>
                <a:lnTo>
                  <a:pt x="530" y="110"/>
                </a:lnTo>
                <a:lnTo>
                  <a:pt x="524" y="114"/>
                </a:lnTo>
                <a:lnTo>
                  <a:pt x="520" y="116"/>
                </a:lnTo>
                <a:lnTo>
                  <a:pt x="504" y="116"/>
                </a:lnTo>
                <a:lnTo>
                  <a:pt x="514" y="120"/>
                </a:lnTo>
                <a:lnTo>
                  <a:pt x="516" y="124"/>
                </a:lnTo>
                <a:lnTo>
                  <a:pt x="520" y="126"/>
                </a:lnTo>
                <a:lnTo>
                  <a:pt x="476" y="126"/>
                </a:lnTo>
                <a:lnTo>
                  <a:pt x="480" y="128"/>
                </a:lnTo>
                <a:lnTo>
                  <a:pt x="484" y="130"/>
                </a:lnTo>
                <a:lnTo>
                  <a:pt x="492" y="134"/>
                </a:lnTo>
                <a:lnTo>
                  <a:pt x="498" y="138"/>
                </a:lnTo>
                <a:lnTo>
                  <a:pt x="500" y="140"/>
                </a:lnTo>
                <a:lnTo>
                  <a:pt x="502" y="144"/>
                </a:lnTo>
                <a:lnTo>
                  <a:pt x="500" y="148"/>
                </a:lnTo>
                <a:lnTo>
                  <a:pt x="498" y="150"/>
                </a:lnTo>
                <a:lnTo>
                  <a:pt x="490" y="148"/>
                </a:lnTo>
                <a:lnTo>
                  <a:pt x="482" y="144"/>
                </a:lnTo>
                <a:lnTo>
                  <a:pt x="474" y="138"/>
                </a:lnTo>
                <a:lnTo>
                  <a:pt x="470" y="138"/>
                </a:lnTo>
                <a:lnTo>
                  <a:pt x="466" y="138"/>
                </a:lnTo>
                <a:lnTo>
                  <a:pt x="472" y="142"/>
                </a:lnTo>
                <a:lnTo>
                  <a:pt x="486" y="148"/>
                </a:lnTo>
                <a:lnTo>
                  <a:pt x="498" y="154"/>
                </a:lnTo>
                <a:lnTo>
                  <a:pt x="500" y="156"/>
                </a:lnTo>
                <a:lnTo>
                  <a:pt x="502" y="160"/>
                </a:lnTo>
                <a:lnTo>
                  <a:pt x="500" y="168"/>
                </a:lnTo>
                <a:lnTo>
                  <a:pt x="498" y="172"/>
                </a:lnTo>
                <a:lnTo>
                  <a:pt x="492" y="174"/>
                </a:lnTo>
                <a:lnTo>
                  <a:pt x="484" y="176"/>
                </a:lnTo>
                <a:lnTo>
                  <a:pt x="476" y="174"/>
                </a:lnTo>
                <a:lnTo>
                  <a:pt x="470" y="172"/>
                </a:lnTo>
                <a:lnTo>
                  <a:pt x="468" y="168"/>
                </a:lnTo>
                <a:lnTo>
                  <a:pt x="466" y="160"/>
                </a:lnTo>
                <a:lnTo>
                  <a:pt x="448" y="158"/>
                </a:lnTo>
                <a:lnTo>
                  <a:pt x="434" y="154"/>
                </a:lnTo>
                <a:lnTo>
                  <a:pt x="444" y="158"/>
                </a:lnTo>
                <a:lnTo>
                  <a:pt x="454" y="162"/>
                </a:lnTo>
                <a:lnTo>
                  <a:pt x="450" y="166"/>
                </a:lnTo>
                <a:lnTo>
                  <a:pt x="444" y="170"/>
                </a:lnTo>
                <a:lnTo>
                  <a:pt x="446" y="174"/>
                </a:lnTo>
                <a:lnTo>
                  <a:pt x="450" y="178"/>
                </a:lnTo>
                <a:lnTo>
                  <a:pt x="462" y="180"/>
                </a:lnTo>
                <a:lnTo>
                  <a:pt x="474" y="180"/>
                </a:lnTo>
                <a:lnTo>
                  <a:pt x="490" y="180"/>
                </a:lnTo>
                <a:lnTo>
                  <a:pt x="488" y="18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0" name="Freeform 130">
            <a:extLst>
              <a:ext uri="{FF2B5EF4-FFF2-40B4-BE49-F238E27FC236}">
                <a16:creationId xmlns:a16="http://schemas.microsoft.com/office/drawing/2014/main" id="{6711DE7F-3739-4392-AEDE-B99C7F20653E}"/>
              </a:ext>
            </a:extLst>
          </p:cNvPr>
          <p:cNvSpPr>
            <a:spLocks/>
          </p:cNvSpPr>
          <p:nvPr/>
        </p:nvSpPr>
        <p:spPr bwMode="auto">
          <a:xfrm>
            <a:off x="3800378" y="1717866"/>
            <a:ext cx="249696" cy="95784"/>
          </a:xfrm>
          <a:custGeom>
            <a:avLst/>
            <a:gdLst/>
            <a:ahLst/>
            <a:cxnLst>
              <a:cxn ang="0">
                <a:pos x="0" y="16"/>
              </a:cxn>
              <a:cxn ang="0">
                <a:pos x="6" y="12"/>
              </a:cxn>
              <a:cxn ang="0">
                <a:pos x="10" y="8"/>
              </a:cxn>
              <a:cxn ang="0">
                <a:pos x="12" y="4"/>
              </a:cxn>
              <a:cxn ang="0">
                <a:pos x="18" y="2"/>
              </a:cxn>
              <a:cxn ang="0">
                <a:pos x="22" y="2"/>
              </a:cxn>
              <a:cxn ang="0">
                <a:pos x="26" y="4"/>
              </a:cxn>
              <a:cxn ang="0">
                <a:pos x="30" y="6"/>
              </a:cxn>
              <a:cxn ang="0">
                <a:pos x="34" y="8"/>
              </a:cxn>
              <a:cxn ang="0">
                <a:pos x="32" y="14"/>
              </a:cxn>
              <a:cxn ang="0">
                <a:pos x="30" y="18"/>
              </a:cxn>
              <a:cxn ang="0">
                <a:pos x="36" y="18"/>
              </a:cxn>
              <a:cxn ang="0">
                <a:pos x="40" y="14"/>
              </a:cxn>
              <a:cxn ang="0">
                <a:pos x="48" y="6"/>
              </a:cxn>
              <a:cxn ang="0">
                <a:pos x="52" y="12"/>
              </a:cxn>
              <a:cxn ang="0">
                <a:pos x="64" y="10"/>
              </a:cxn>
              <a:cxn ang="0">
                <a:pos x="76" y="6"/>
              </a:cxn>
              <a:cxn ang="0">
                <a:pos x="90" y="2"/>
              </a:cxn>
              <a:cxn ang="0">
                <a:pos x="96" y="0"/>
              </a:cxn>
              <a:cxn ang="0">
                <a:pos x="106" y="2"/>
              </a:cxn>
              <a:cxn ang="0">
                <a:pos x="114" y="8"/>
              </a:cxn>
              <a:cxn ang="0">
                <a:pos x="126" y="22"/>
              </a:cxn>
              <a:cxn ang="0">
                <a:pos x="126" y="26"/>
              </a:cxn>
              <a:cxn ang="0">
                <a:pos x="120" y="28"/>
              </a:cxn>
              <a:cxn ang="0">
                <a:pos x="112" y="30"/>
              </a:cxn>
              <a:cxn ang="0">
                <a:pos x="102" y="36"/>
              </a:cxn>
              <a:cxn ang="0">
                <a:pos x="92" y="44"/>
              </a:cxn>
              <a:cxn ang="0">
                <a:pos x="86" y="46"/>
              </a:cxn>
              <a:cxn ang="0">
                <a:pos x="78" y="46"/>
              </a:cxn>
              <a:cxn ang="0">
                <a:pos x="72" y="46"/>
              </a:cxn>
              <a:cxn ang="0">
                <a:pos x="66" y="44"/>
              </a:cxn>
              <a:cxn ang="0">
                <a:pos x="74" y="50"/>
              </a:cxn>
              <a:cxn ang="0">
                <a:pos x="66" y="52"/>
              </a:cxn>
              <a:cxn ang="0">
                <a:pos x="62" y="54"/>
              </a:cxn>
              <a:cxn ang="0">
                <a:pos x="52" y="54"/>
              </a:cxn>
              <a:cxn ang="0">
                <a:pos x="44" y="54"/>
              </a:cxn>
              <a:cxn ang="0">
                <a:pos x="26" y="50"/>
              </a:cxn>
              <a:cxn ang="0">
                <a:pos x="10" y="48"/>
              </a:cxn>
              <a:cxn ang="0">
                <a:pos x="16" y="44"/>
              </a:cxn>
              <a:cxn ang="0">
                <a:pos x="24" y="40"/>
              </a:cxn>
              <a:cxn ang="0">
                <a:pos x="16" y="36"/>
              </a:cxn>
              <a:cxn ang="0">
                <a:pos x="12" y="34"/>
              </a:cxn>
              <a:cxn ang="0">
                <a:pos x="0" y="28"/>
              </a:cxn>
              <a:cxn ang="0">
                <a:pos x="8" y="24"/>
              </a:cxn>
              <a:cxn ang="0">
                <a:pos x="12" y="22"/>
              </a:cxn>
              <a:cxn ang="0">
                <a:pos x="6" y="20"/>
              </a:cxn>
              <a:cxn ang="0">
                <a:pos x="0" y="16"/>
              </a:cxn>
            </a:cxnLst>
            <a:rect l="0" t="0" r="r" b="b"/>
            <a:pathLst>
              <a:path w="126" h="54">
                <a:moveTo>
                  <a:pt x="0" y="16"/>
                </a:moveTo>
                <a:lnTo>
                  <a:pt x="6" y="12"/>
                </a:lnTo>
                <a:lnTo>
                  <a:pt x="10" y="8"/>
                </a:lnTo>
                <a:lnTo>
                  <a:pt x="12" y="4"/>
                </a:lnTo>
                <a:lnTo>
                  <a:pt x="18" y="2"/>
                </a:lnTo>
                <a:lnTo>
                  <a:pt x="22" y="2"/>
                </a:lnTo>
                <a:lnTo>
                  <a:pt x="26" y="4"/>
                </a:lnTo>
                <a:lnTo>
                  <a:pt x="30" y="6"/>
                </a:lnTo>
                <a:lnTo>
                  <a:pt x="34" y="8"/>
                </a:lnTo>
                <a:lnTo>
                  <a:pt x="32" y="14"/>
                </a:lnTo>
                <a:lnTo>
                  <a:pt x="30" y="18"/>
                </a:lnTo>
                <a:lnTo>
                  <a:pt x="36" y="18"/>
                </a:lnTo>
                <a:lnTo>
                  <a:pt x="40" y="14"/>
                </a:lnTo>
                <a:lnTo>
                  <a:pt x="48" y="6"/>
                </a:lnTo>
                <a:lnTo>
                  <a:pt x="52" y="12"/>
                </a:lnTo>
                <a:lnTo>
                  <a:pt x="64" y="10"/>
                </a:lnTo>
                <a:lnTo>
                  <a:pt x="76" y="6"/>
                </a:lnTo>
                <a:lnTo>
                  <a:pt x="90" y="2"/>
                </a:lnTo>
                <a:lnTo>
                  <a:pt x="96" y="0"/>
                </a:lnTo>
                <a:lnTo>
                  <a:pt x="106" y="2"/>
                </a:lnTo>
                <a:lnTo>
                  <a:pt x="114" y="8"/>
                </a:lnTo>
                <a:lnTo>
                  <a:pt x="126" y="22"/>
                </a:lnTo>
                <a:lnTo>
                  <a:pt x="126" y="26"/>
                </a:lnTo>
                <a:lnTo>
                  <a:pt x="120" y="28"/>
                </a:lnTo>
                <a:lnTo>
                  <a:pt x="112" y="30"/>
                </a:lnTo>
                <a:lnTo>
                  <a:pt x="102" y="36"/>
                </a:lnTo>
                <a:lnTo>
                  <a:pt x="92" y="44"/>
                </a:lnTo>
                <a:lnTo>
                  <a:pt x="86" y="46"/>
                </a:lnTo>
                <a:lnTo>
                  <a:pt x="78" y="46"/>
                </a:lnTo>
                <a:lnTo>
                  <a:pt x="72" y="46"/>
                </a:lnTo>
                <a:lnTo>
                  <a:pt x="66" y="44"/>
                </a:lnTo>
                <a:lnTo>
                  <a:pt x="74" y="50"/>
                </a:lnTo>
                <a:lnTo>
                  <a:pt x="66" y="52"/>
                </a:lnTo>
                <a:lnTo>
                  <a:pt x="62" y="54"/>
                </a:lnTo>
                <a:lnTo>
                  <a:pt x="52" y="54"/>
                </a:lnTo>
                <a:lnTo>
                  <a:pt x="44" y="54"/>
                </a:lnTo>
                <a:lnTo>
                  <a:pt x="26" y="50"/>
                </a:lnTo>
                <a:lnTo>
                  <a:pt x="10" y="48"/>
                </a:lnTo>
                <a:lnTo>
                  <a:pt x="16" y="44"/>
                </a:lnTo>
                <a:lnTo>
                  <a:pt x="24" y="40"/>
                </a:lnTo>
                <a:lnTo>
                  <a:pt x="16" y="36"/>
                </a:lnTo>
                <a:lnTo>
                  <a:pt x="12" y="34"/>
                </a:lnTo>
                <a:lnTo>
                  <a:pt x="0" y="28"/>
                </a:lnTo>
                <a:lnTo>
                  <a:pt x="8" y="24"/>
                </a:lnTo>
                <a:lnTo>
                  <a:pt x="12" y="22"/>
                </a:lnTo>
                <a:lnTo>
                  <a:pt x="6" y="20"/>
                </a:lnTo>
                <a:lnTo>
                  <a:pt x="0" y="1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1" name="Freeform 131">
            <a:extLst>
              <a:ext uri="{FF2B5EF4-FFF2-40B4-BE49-F238E27FC236}">
                <a16:creationId xmlns:a16="http://schemas.microsoft.com/office/drawing/2014/main" id="{A3F0DB7F-1FED-4D7A-A901-120CCFB846D1}"/>
              </a:ext>
            </a:extLst>
          </p:cNvPr>
          <p:cNvSpPr>
            <a:spLocks/>
          </p:cNvSpPr>
          <p:nvPr/>
        </p:nvSpPr>
        <p:spPr bwMode="auto">
          <a:xfrm>
            <a:off x="4342811" y="1363952"/>
            <a:ext cx="282191" cy="89290"/>
          </a:xfrm>
          <a:custGeom>
            <a:avLst/>
            <a:gdLst/>
            <a:ahLst/>
            <a:cxnLst>
              <a:cxn ang="0">
                <a:pos x="8" y="20"/>
              </a:cxn>
              <a:cxn ang="0">
                <a:pos x="6" y="20"/>
              </a:cxn>
              <a:cxn ang="0">
                <a:pos x="2" y="16"/>
              </a:cxn>
              <a:cxn ang="0">
                <a:pos x="0" y="8"/>
              </a:cxn>
              <a:cxn ang="0">
                <a:pos x="0" y="2"/>
              </a:cxn>
              <a:cxn ang="0">
                <a:pos x="4" y="2"/>
              </a:cxn>
              <a:cxn ang="0">
                <a:pos x="12" y="2"/>
              </a:cxn>
              <a:cxn ang="0">
                <a:pos x="26" y="2"/>
              </a:cxn>
              <a:cxn ang="0">
                <a:pos x="36" y="4"/>
              </a:cxn>
              <a:cxn ang="0">
                <a:pos x="54" y="10"/>
              </a:cxn>
              <a:cxn ang="0">
                <a:pos x="50" y="4"/>
              </a:cxn>
              <a:cxn ang="0">
                <a:pos x="54" y="2"/>
              </a:cxn>
              <a:cxn ang="0">
                <a:pos x="60" y="0"/>
              </a:cxn>
              <a:cxn ang="0">
                <a:pos x="62" y="0"/>
              </a:cxn>
              <a:cxn ang="0">
                <a:pos x="66" y="2"/>
              </a:cxn>
              <a:cxn ang="0">
                <a:pos x="70" y="2"/>
              </a:cxn>
              <a:cxn ang="0">
                <a:pos x="74" y="2"/>
              </a:cxn>
              <a:cxn ang="0">
                <a:pos x="78" y="10"/>
              </a:cxn>
              <a:cxn ang="0">
                <a:pos x="82" y="12"/>
              </a:cxn>
              <a:cxn ang="0">
                <a:pos x="93" y="12"/>
              </a:cxn>
              <a:cxn ang="0">
                <a:pos x="119" y="20"/>
              </a:cxn>
              <a:cxn ang="0">
                <a:pos x="133" y="26"/>
              </a:cxn>
              <a:cxn ang="0">
                <a:pos x="143" y="30"/>
              </a:cxn>
              <a:cxn ang="0">
                <a:pos x="135" y="36"/>
              </a:cxn>
              <a:cxn ang="0">
                <a:pos x="127" y="38"/>
              </a:cxn>
              <a:cxn ang="0">
                <a:pos x="119" y="38"/>
              </a:cxn>
              <a:cxn ang="0">
                <a:pos x="115" y="34"/>
              </a:cxn>
              <a:cxn ang="0">
                <a:pos x="107" y="28"/>
              </a:cxn>
              <a:cxn ang="0">
                <a:pos x="97" y="20"/>
              </a:cxn>
              <a:cxn ang="0">
                <a:pos x="93" y="18"/>
              </a:cxn>
              <a:cxn ang="0">
                <a:pos x="89" y="16"/>
              </a:cxn>
              <a:cxn ang="0">
                <a:pos x="82" y="18"/>
              </a:cxn>
              <a:cxn ang="0">
                <a:pos x="80" y="22"/>
              </a:cxn>
              <a:cxn ang="0">
                <a:pos x="80" y="34"/>
              </a:cxn>
              <a:cxn ang="0">
                <a:pos x="76" y="34"/>
              </a:cxn>
              <a:cxn ang="0">
                <a:pos x="74" y="36"/>
              </a:cxn>
              <a:cxn ang="0">
                <a:pos x="70" y="42"/>
              </a:cxn>
              <a:cxn ang="0">
                <a:pos x="68" y="48"/>
              </a:cxn>
              <a:cxn ang="0">
                <a:pos x="66" y="50"/>
              </a:cxn>
              <a:cxn ang="0">
                <a:pos x="62" y="50"/>
              </a:cxn>
              <a:cxn ang="0">
                <a:pos x="56" y="48"/>
              </a:cxn>
              <a:cxn ang="0">
                <a:pos x="48" y="46"/>
              </a:cxn>
              <a:cxn ang="0">
                <a:pos x="34" y="34"/>
              </a:cxn>
              <a:cxn ang="0">
                <a:pos x="24" y="26"/>
              </a:cxn>
              <a:cxn ang="0">
                <a:pos x="16" y="22"/>
              </a:cxn>
              <a:cxn ang="0">
                <a:pos x="8" y="20"/>
              </a:cxn>
            </a:cxnLst>
            <a:rect l="0" t="0" r="r" b="b"/>
            <a:pathLst>
              <a:path w="143" h="50">
                <a:moveTo>
                  <a:pt x="8" y="20"/>
                </a:moveTo>
                <a:lnTo>
                  <a:pt x="6" y="20"/>
                </a:lnTo>
                <a:lnTo>
                  <a:pt x="2" y="16"/>
                </a:lnTo>
                <a:lnTo>
                  <a:pt x="0" y="8"/>
                </a:lnTo>
                <a:lnTo>
                  <a:pt x="0" y="2"/>
                </a:lnTo>
                <a:lnTo>
                  <a:pt x="4" y="2"/>
                </a:lnTo>
                <a:lnTo>
                  <a:pt x="12" y="2"/>
                </a:lnTo>
                <a:lnTo>
                  <a:pt x="26" y="2"/>
                </a:lnTo>
                <a:lnTo>
                  <a:pt x="36" y="4"/>
                </a:lnTo>
                <a:lnTo>
                  <a:pt x="54" y="10"/>
                </a:lnTo>
                <a:lnTo>
                  <a:pt x="50" y="4"/>
                </a:lnTo>
                <a:lnTo>
                  <a:pt x="54" y="2"/>
                </a:lnTo>
                <a:lnTo>
                  <a:pt x="60" y="0"/>
                </a:lnTo>
                <a:lnTo>
                  <a:pt x="62" y="0"/>
                </a:lnTo>
                <a:lnTo>
                  <a:pt x="66" y="2"/>
                </a:lnTo>
                <a:lnTo>
                  <a:pt x="70" y="2"/>
                </a:lnTo>
                <a:lnTo>
                  <a:pt x="74" y="2"/>
                </a:lnTo>
                <a:lnTo>
                  <a:pt x="78" y="10"/>
                </a:lnTo>
                <a:lnTo>
                  <a:pt x="82" y="12"/>
                </a:lnTo>
                <a:lnTo>
                  <a:pt x="93" y="12"/>
                </a:lnTo>
                <a:lnTo>
                  <a:pt x="119" y="20"/>
                </a:lnTo>
                <a:lnTo>
                  <a:pt x="133" y="26"/>
                </a:lnTo>
                <a:lnTo>
                  <a:pt x="143" y="30"/>
                </a:lnTo>
                <a:lnTo>
                  <a:pt x="135" y="36"/>
                </a:lnTo>
                <a:lnTo>
                  <a:pt x="127" y="38"/>
                </a:lnTo>
                <a:lnTo>
                  <a:pt x="119" y="38"/>
                </a:lnTo>
                <a:lnTo>
                  <a:pt x="115" y="34"/>
                </a:lnTo>
                <a:lnTo>
                  <a:pt x="107" y="28"/>
                </a:lnTo>
                <a:lnTo>
                  <a:pt x="97" y="20"/>
                </a:lnTo>
                <a:lnTo>
                  <a:pt x="93" y="18"/>
                </a:lnTo>
                <a:lnTo>
                  <a:pt x="89" y="16"/>
                </a:lnTo>
                <a:lnTo>
                  <a:pt x="82" y="18"/>
                </a:lnTo>
                <a:lnTo>
                  <a:pt x="80" y="22"/>
                </a:lnTo>
                <a:lnTo>
                  <a:pt x="80" y="34"/>
                </a:lnTo>
                <a:lnTo>
                  <a:pt x="76" y="34"/>
                </a:lnTo>
                <a:lnTo>
                  <a:pt x="74" y="36"/>
                </a:lnTo>
                <a:lnTo>
                  <a:pt x="70" y="42"/>
                </a:lnTo>
                <a:lnTo>
                  <a:pt x="68" y="48"/>
                </a:lnTo>
                <a:lnTo>
                  <a:pt x="66" y="50"/>
                </a:lnTo>
                <a:lnTo>
                  <a:pt x="62" y="50"/>
                </a:lnTo>
                <a:lnTo>
                  <a:pt x="56" y="48"/>
                </a:lnTo>
                <a:lnTo>
                  <a:pt x="48" y="46"/>
                </a:lnTo>
                <a:lnTo>
                  <a:pt x="34" y="34"/>
                </a:lnTo>
                <a:lnTo>
                  <a:pt x="24" y="26"/>
                </a:lnTo>
                <a:lnTo>
                  <a:pt x="16" y="22"/>
                </a:lnTo>
                <a:lnTo>
                  <a:pt x="8" y="2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2" name="Freeform 132">
            <a:extLst>
              <a:ext uri="{FF2B5EF4-FFF2-40B4-BE49-F238E27FC236}">
                <a16:creationId xmlns:a16="http://schemas.microsoft.com/office/drawing/2014/main" id="{9ED98345-1A92-497E-A37A-14FFD584B9E6}"/>
              </a:ext>
            </a:extLst>
          </p:cNvPr>
          <p:cNvSpPr>
            <a:spLocks/>
          </p:cNvSpPr>
          <p:nvPr/>
        </p:nvSpPr>
        <p:spPr bwMode="auto">
          <a:xfrm>
            <a:off x="4493313" y="1349344"/>
            <a:ext cx="167604" cy="32469"/>
          </a:xfrm>
          <a:custGeom>
            <a:avLst/>
            <a:gdLst/>
            <a:ahLst/>
            <a:cxnLst>
              <a:cxn ang="0">
                <a:pos x="31" y="18"/>
              </a:cxn>
              <a:cxn ang="0">
                <a:pos x="23" y="16"/>
              </a:cxn>
              <a:cxn ang="0">
                <a:pos x="15" y="14"/>
              </a:cxn>
              <a:cxn ang="0">
                <a:pos x="6" y="10"/>
              </a:cxn>
              <a:cxn ang="0">
                <a:pos x="0" y="6"/>
              </a:cxn>
              <a:cxn ang="0">
                <a:pos x="6" y="4"/>
              </a:cxn>
              <a:cxn ang="0">
                <a:pos x="13" y="2"/>
              </a:cxn>
              <a:cxn ang="0">
                <a:pos x="21" y="0"/>
              </a:cxn>
              <a:cxn ang="0">
                <a:pos x="27" y="2"/>
              </a:cxn>
              <a:cxn ang="0">
                <a:pos x="41" y="4"/>
              </a:cxn>
              <a:cxn ang="0">
                <a:pos x="55" y="4"/>
              </a:cxn>
              <a:cxn ang="0">
                <a:pos x="71" y="6"/>
              </a:cxn>
              <a:cxn ang="0">
                <a:pos x="85" y="8"/>
              </a:cxn>
              <a:cxn ang="0">
                <a:pos x="79" y="12"/>
              </a:cxn>
              <a:cxn ang="0">
                <a:pos x="73" y="14"/>
              </a:cxn>
              <a:cxn ang="0">
                <a:pos x="67" y="18"/>
              </a:cxn>
              <a:cxn ang="0">
                <a:pos x="63" y="18"/>
              </a:cxn>
              <a:cxn ang="0">
                <a:pos x="47" y="18"/>
              </a:cxn>
              <a:cxn ang="0">
                <a:pos x="31" y="18"/>
              </a:cxn>
            </a:cxnLst>
            <a:rect l="0" t="0" r="r" b="b"/>
            <a:pathLst>
              <a:path w="85" h="18">
                <a:moveTo>
                  <a:pt x="31" y="18"/>
                </a:moveTo>
                <a:lnTo>
                  <a:pt x="23" y="16"/>
                </a:lnTo>
                <a:lnTo>
                  <a:pt x="15" y="14"/>
                </a:lnTo>
                <a:lnTo>
                  <a:pt x="6" y="10"/>
                </a:lnTo>
                <a:lnTo>
                  <a:pt x="0" y="6"/>
                </a:lnTo>
                <a:lnTo>
                  <a:pt x="6" y="4"/>
                </a:lnTo>
                <a:lnTo>
                  <a:pt x="13" y="2"/>
                </a:lnTo>
                <a:lnTo>
                  <a:pt x="21" y="0"/>
                </a:lnTo>
                <a:lnTo>
                  <a:pt x="27" y="2"/>
                </a:lnTo>
                <a:lnTo>
                  <a:pt x="41" y="4"/>
                </a:lnTo>
                <a:lnTo>
                  <a:pt x="55" y="4"/>
                </a:lnTo>
                <a:lnTo>
                  <a:pt x="71" y="6"/>
                </a:lnTo>
                <a:lnTo>
                  <a:pt x="85" y="8"/>
                </a:lnTo>
                <a:lnTo>
                  <a:pt x="79" y="12"/>
                </a:lnTo>
                <a:lnTo>
                  <a:pt x="73" y="14"/>
                </a:lnTo>
                <a:lnTo>
                  <a:pt x="67" y="18"/>
                </a:lnTo>
                <a:lnTo>
                  <a:pt x="63" y="18"/>
                </a:lnTo>
                <a:lnTo>
                  <a:pt x="47" y="18"/>
                </a:lnTo>
                <a:lnTo>
                  <a:pt x="31" y="1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3" name="Freeform 133">
            <a:extLst>
              <a:ext uri="{FF2B5EF4-FFF2-40B4-BE49-F238E27FC236}">
                <a16:creationId xmlns:a16="http://schemas.microsoft.com/office/drawing/2014/main" id="{24558B76-2398-41A3-AAAB-6C836990C34E}"/>
              </a:ext>
            </a:extLst>
          </p:cNvPr>
          <p:cNvSpPr>
            <a:spLocks/>
          </p:cNvSpPr>
          <p:nvPr/>
        </p:nvSpPr>
        <p:spPr bwMode="auto">
          <a:xfrm>
            <a:off x="4568564" y="2378617"/>
            <a:ext cx="107746" cy="68185"/>
          </a:xfrm>
          <a:custGeom>
            <a:avLst/>
            <a:gdLst/>
            <a:ahLst/>
            <a:cxnLst>
              <a:cxn ang="0">
                <a:pos x="46" y="6"/>
              </a:cxn>
              <a:cxn ang="0">
                <a:pos x="48" y="16"/>
              </a:cxn>
              <a:cxn ang="0">
                <a:pos x="54" y="22"/>
              </a:cxn>
              <a:cxn ang="0">
                <a:pos x="52" y="28"/>
              </a:cxn>
              <a:cxn ang="0">
                <a:pos x="44" y="30"/>
              </a:cxn>
              <a:cxn ang="0">
                <a:pos x="40" y="38"/>
              </a:cxn>
              <a:cxn ang="0">
                <a:pos x="30" y="32"/>
              </a:cxn>
              <a:cxn ang="0">
                <a:pos x="28" y="30"/>
              </a:cxn>
              <a:cxn ang="0">
                <a:pos x="16" y="26"/>
              </a:cxn>
              <a:cxn ang="0">
                <a:pos x="10" y="20"/>
              </a:cxn>
              <a:cxn ang="0">
                <a:pos x="6" y="14"/>
              </a:cxn>
              <a:cxn ang="0">
                <a:pos x="0" y="6"/>
              </a:cxn>
              <a:cxn ang="0">
                <a:pos x="0" y="2"/>
              </a:cxn>
              <a:cxn ang="0">
                <a:pos x="6" y="2"/>
              </a:cxn>
              <a:cxn ang="0">
                <a:pos x="12" y="0"/>
              </a:cxn>
              <a:cxn ang="0">
                <a:pos x="20" y="0"/>
              </a:cxn>
              <a:cxn ang="0">
                <a:pos x="36" y="0"/>
              </a:cxn>
              <a:cxn ang="0">
                <a:pos x="40" y="6"/>
              </a:cxn>
              <a:cxn ang="0">
                <a:pos x="46" y="6"/>
              </a:cxn>
            </a:cxnLst>
            <a:rect l="0" t="0" r="r" b="b"/>
            <a:pathLst>
              <a:path w="54" h="38">
                <a:moveTo>
                  <a:pt x="46" y="6"/>
                </a:moveTo>
                <a:lnTo>
                  <a:pt x="48" y="16"/>
                </a:lnTo>
                <a:lnTo>
                  <a:pt x="54" y="22"/>
                </a:lnTo>
                <a:lnTo>
                  <a:pt x="52" y="28"/>
                </a:lnTo>
                <a:lnTo>
                  <a:pt x="44" y="30"/>
                </a:lnTo>
                <a:lnTo>
                  <a:pt x="40" y="38"/>
                </a:lnTo>
                <a:lnTo>
                  <a:pt x="30" y="32"/>
                </a:lnTo>
                <a:lnTo>
                  <a:pt x="28" y="30"/>
                </a:lnTo>
                <a:lnTo>
                  <a:pt x="16" y="26"/>
                </a:lnTo>
                <a:lnTo>
                  <a:pt x="10" y="20"/>
                </a:lnTo>
                <a:lnTo>
                  <a:pt x="6" y="14"/>
                </a:lnTo>
                <a:lnTo>
                  <a:pt x="0" y="6"/>
                </a:lnTo>
                <a:lnTo>
                  <a:pt x="0" y="2"/>
                </a:lnTo>
                <a:lnTo>
                  <a:pt x="6" y="2"/>
                </a:lnTo>
                <a:lnTo>
                  <a:pt x="12" y="0"/>
                </a:lnTo>
                <a:lnTo>
                  <a:pt x="20" y="0"/>
                </a:lnTo>
                <a:lnTo>
                  <a:pt x="36" y="0"/>
                </a:lnTo>
                <a:lnTo>
                  <a:pt x="40" y="6"/>
                </a:lnTo>
                <a:lnTo>
                  <a:pt x="46" y="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4" name="Freeform 134">
            <a:extLst>
              <a:ext uri="{FF2B5EF4-FFF2-40B4-BE49-F238E27FC236}">
                <a16:creationId xmlns:a16="http://schemas.microsoft.com/office/drawing/2014/main" id="{EE5C3FAF-BD13-4CAE-819A-9075D1AEB037}"/>
              </a:ext>
            </a:extLst>
          </p:cNvPr>
          <p:cNvSpPr>
            <a:spLocks/>
          </p:cNvSpPr>
          <p:nvPr/>
        </p:nvSpPr>
        <p:spPr bwMode="auto">
          <a:xfrm>
            <a:off x="4537780" y="2336407"/>
            <a:ext cx="126558" cy="92537"/>
          </a:xfrm>
          <a:custGeom>
            <a:avLst/>
            <a:gdLst/>
            <a:ahLst/>
            <a:cxnLst>
              <a:cxn ang="0">
                <a:pos x="28" y="0"/>
              </a:cxn>
              <a:cxn ang="0">
                <a:pos x="38" y="10"/>
              </a:cxn>
              <a:cxn ang="0">
                <a:pos x="44" y="12"/>
              </a:cxn>
              <a:cxn ang="0">
                <a:pos x="48" y="12"/>
              </a:cxn>
              <a:cxn ang="0">
                <a:pos x="58" y="10"/>
              </a:cxn>
              <a:cxn ang="0">
                <a:pos x="64" y="24"/>
              </a:cxn>
              <a:cxn ang="0">
                <a:pos x="62" y="30"/>
              </a:cxn>
              <a:cxn ang="0">
                <a:pos x="56" y="30"/>
              </a:cxn>
              <a:cxn ang="0">
                <a:pos x="52" y="24"/>
              </a:cxn>
              <a:cxn ang="0">
                <a:pos x="36" y="24"/>
              </a:cxn>
              <a:cxn ang="0">
                <a:pos x="28" y="24"/>
              </a:cxn>
              <a:cxn ang="0">
                <a:pos x="22" y="26"/>
              </a:cxn>
              <a:cxn ang="0">
                <a:pos x="16" y="26"/>
              </a:cxn>
              <a:cxn ang="0">
                <a:pos x="16" y="30"/>
              </a:cxn>
              <a:cxn ang="0">
                <a:pos x="22" y="38"/>
              </a:cxn>
              <a:cxn ang="0">
                <a:pos x="26" y="44"/>
              </a:cxn>
              <a:cxn ang="0">
                <a:pos x="32" y="50"/>
              </a:cxn>
              <a:cxn ang="0">
                <a:pos x="18" y="52"/>
              </a:cxn>
              <a:cxn ang="0">
                <a:pos x="8" y="36"/>
              </a:cxn>
              <a:cxn ang="0">
                <a:pos x="0" y="18"/>
              </a:cxn>
              <a:cxn ang="0">
                <a:pos x="8" y="18"/>
              </a:cxn>
              <a:cxn ang="0">
                <a:pos x="12" y="10"/>
              </a:cxn>
              <a:cxn ang="0">
                <a:pos x="14" y="4"/>
              </a:cxn>
              <a:cxn ang="0">
                <a:pos x="28" y="0"/>
              </a:cxn>
            </a:cxnLst>
            <a:rect l="0" t="0" r="r" b="b"/>
            <a:pathLst>
              <a:path w="64" h="52">
                <a:moveTo>
                  <a:pt x="28" y="0"/>
                </a:moveTo>
                <a:lnTo>
                  <a:pt x="38" y="10"/>
                </a:lnTo>
                <a:lnTo>
                  <a:pt x="44" y="12"/>
                </a:lnTo>
                <a:lnTo>
                  <a:pt x="48" y="12"/>
                </a:lnTo>
                <a:lnTo>
                  <a:pt x="58" y="10"/>
                </a:lnTo>
                <a:lnTo>
                  <a:pt x="64" y="24"/>
                </a:lnTo>
                <a:lnTo>
                  <a:pt x="62" y="30"/>
                </a:lnTo>
                <a:lnTo>
                  <a:pt x="56" y="30"/>
                </a:lnTo>
                <a:lnTo>
                  <a:pt x="52" y="24"/>
                </a:lnTo>
                <a:lnTo>
                  <a:pt x="36" y="24"/>
                </a:lnTo>
                <a:lnTo>
                  <a:pt x="28" y="24"/>
                </a:lnTo>
                <a:lnTo>
                  <a:pt x="22" y="26"/>
                </a:lnTo>
                <a:lnTo>
                  <a:pt x="16" y="26"/>
                </a:lnTo>
                <a:lnTo>
                  <a:pt x="16" y="30"/>
                </a:lnTo>
                <a:lnTo>
                  <a:pt x="22" y="38"/>
                </a:lnTo>
                <a:lnTo>
                  <a:pt x="26" y="44"/>
                </a:lnTo>
                <a:lnTo>
                  <a:pt x="32" y="50"/>
                </a:lnTo>
                <a:lnTo>
                  <a:pt x="18" y="52"/>
                </a:lnTo>
                <a:lnTo>
                  <a:pt x="8" y="36"/>
                </a:lnTo>
                <a:lnTo>
                  <a:pt x="0" y="18"/>
                </a:lnTo>
                <a:lnTo>
                  <a:pt x="8" y="18"/>
                </a:lnTo>
                <a:lnTo>
                  <a:pt x="12" y="10"/>
                </a:lnTo>
                <a:lnTo>
                  <a:pt x="14" y="4"/>
                </a:lnTo>
                <a:lnTo>
                  <a:pt x="28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5" name="Freeform 135">
            <a:extLst>
              <a:ext uri="{FF2B5EF4-FFF2-40B4-BE49-F238E27FC236}">
                <a16:creationId xmlns:a16="http://schemas.microsoft.com/office/drawing/2014/main" id="{BED51B3A-58E3-43C0-ADAC-C9FF6B3B5E92}"/>
              </a:ext>
            </a:extLst>
          </p:cNvPr>
          <p:cNvSpPr>
            <a:spLocks/>
          </p:cNvSpPr>
          <p:nvPr/>
        </p:nvSpPr>
        <p:spPr bwMode="auto">
          <a:xfrm>
            <a:off x="4607901" y="1613965"/>
            <a:ext cx="290742" cy="300340"/>
          </a:xfrm>
          <a:custGeom>
            <a:avLst/>
            <a:gdLst/>
            <a:ahLst/>
            <a:cxnLst>
              <a:cxn ang="0">
                <a:pos x="92" y="20"/>
              </a:cxn>
              <a:cxn ang="0">
                <a:pos x="90" y="26"/>
              </a:cxn>
              <a:cxn ang="0">
                <a:pos x="92" y="32"/>
              </a:cxn>
              <a:cxn ang="0">
                <a:pos x="108" y="36"/>
              </a:cxn>
              <a:cxn ang="0">
                <a:pos x="110" y="40"/>
              </a:cxn>
              <a:cxn ang="0">
                <a:pos x="108" y="48"/>
              </a:cxn>
              <a:cxn ang="0">
                <a:pos x="104" y="54"/>
              </a:cxn>
              <a:cxn ang="0">
                <a:pos x="108" y="54"/>
              </a:cxn>
              <a:cxn ang="0">
                <a:pos x="114" y="64"/>
              </a:cxn>
              <a:cxn ang="0">
                <a:pos x="120" y="82"/>
              </a:cxn>
              <a:cxn ang="0">
                <a:pos x="126" y="88"/>
              </a:cxn>
              <a:cxn ang="0">
                <a:pos x="128" y="98"/>
              </a:cxn>
              <a:cxn ang="0">
                <a:pos x="130" y="108"/>
              </a:cxn>
              <a:cxn ang="0">
                <a:pos x="146" y="118"/>
              </a:cxn>
              <a:cxn ang="0">
                <a:pos x="136" y="132"/>
              </a:cxn>
              <a:cxn ang="0">
                <a:pos x="122" y="144"/>
              </a:cxn>
              <a:cxn ang="0">
                <a:pos x="112" y="154"/>
              </a:cxn>
              <a:cxn ang="0">
                <a:pos x="96" y="158"/>
              </a:cxn>
              <a:cxn ang="0">
                <a:pos x="88" y="162"/>
              </a:cxn>
              <a:cxn ang="0">
                <a:pos x="78" y="162"/>
              </a:cxn>
              <a:cxn ang="0">
                <a:pos x="64" y="164"/>
              </a:cxn>
              <a:cxn ang="0">
                <a:pos x="44" y="166"/>
              </a:cxn>
              <a:cxn ang="0">
                <a:pos x="36" y="160"/>
              </a:cxn>
              <a:cxn ang="0">
                <a:pos x="32" y="156"/>
              </a:cxn>
              <a:cxn ang="0">
                <a:pos x="24" y="138"/>
              </a:cxn>
              <a:cxn ang="0">
                <a:pos x="22" y="108"/>
              </a:cxn>
              <a:cxn ang="0">
                <a:pos x="34" y="100"/>
              </a:cxn>
              <a:cxn ang="0">
                <a:pos x="50" y="90"/>
              </a:cxn>
              <a:cxn ang="0">
                <a:pos x="62" y="80"/>
              </a:cxn>
              <a:cxn ang="0">
                <a:pos x="54" y="74"/>
              </a:cxn>
              <a:cxn ang="0">
                <a:pos x="40" y="62"/>
              </a:cxn>
              <a:cxn ang="0">
                <a:pos x="36" y="46"/>
              </a:cxn>
              <a:cxn ang="0">
                <a:pos x="26" y="28"/>
              </a:cxn>
              <a:cxn ang="0">
                <a:pos x="8" y="22"/>
              </a:cxn>
              <a:cxn ang="0">
                <a:pos x="4" y="16"/>
              </a:cxn>
              <a:cxn ang="0">
                <a:pos x="8" y="16"/>
              </a:cxn>
              <a:cxn ang="0">
                <a:pos x="26" y="20"/>
              </a:cxn>
              <a:cxn ang="0">
                <a:pos x="46" y="26"/>
              </a:cxn>
              <a:cxn ang="0">
                <a:pos x="56" y="22"/>
              </a:cxn>
              <a:cxn ang="0">
                <a:pos x="60" y="14"/>
              </a:cxn>
              <a:cxn ang="0">
                <a:pos x="62" y="4"/>
              </a:cxn>
              <a:cxn ang="0">
                <a:pos x="70" y="0"/>
              </a:cxn>
              <a:cxn ang="0">
                <a:pos x="90" y="6"/>
              </a:cxn>
              <a:cxn ang="0">
                <a:pos x="104" y="14"/>
              </a:cxn>
            </a:cxnLst>
            <a:rect l="0" t="0" r="r" b="b"/>
            <a:pathLst>
              <a:path w="146" h="168">
                <a:moveTo>
                  <a:pt x="98" y="16"/>
                </a:moveTo>
                <a:lnTo>
                  <a:pt x="92" y="20"/>
                </a:lnTo>
                <a:lnTo>
                  <a:pt x="90" y="24"/>
                </a:lnTo>
                <a:lnTo>
                  <a:pt x="90" y="26"/>
                </a:lnTo>
                <a:lnTo>
                  <a:pt x="90" y="30"/>
                </a:lnTo>
                <a:lnTo>
                  <a:pt x="92" y="32"/>
                </a:lnTo>
                <a:lnTo>
                  <a:pt x="100" y="34"/>
                </a:lnTo>
                <a:lnTo>
                  <a:pt x="108" y="36"/>
                </a:lnTo>
                <a:lnTo>
                  <a:pt x="110" y="38"/>
                </a:lnTo>
                <a:lnTo>
                  <a:pt x="110" y="40"/>
                </a:lnTo>
                <a:lnTo>
                  <a:pt x="110" y="44"/>
                </a:lnTo>
                <a:lnTo>
                  <a:pt x="108" y="48"/>
                </a:lnTo>
                <a:lnTo>
                  <a:pt x="104" y="50"/>
                </a:lnTo>
                <a:lnTo>
                  <a:pt x="104" y="54"/>
                </a:lnTo>
                <a:lnTo>
                  <a:pt x="106" y="56"/>
                </a:lnTo>
                <a:lnTo>
                  <a:pt x="108" y="54"/>
                </a:lnTo>
                <a:lnTo>
                  <a:pt x="114" y="54"/>
                </a:lnTo>
                <a:lnTo>
                  <a:pt x="114" y="64"/>
                </a:lnTo>
                <a:lnTo>
                  <a:pt x="118" y="76"/>
                </a:lnTo>
                <a:lnTo>
                  <a:pt x="120" y="82"/>
                </a:lnTo>
                <a:lnTo>
                  <a:pt x="122" y="86"/>
                </a:lnTo>
                <a:lnTo>
                  <a:pt x="126" y="88"/>
                </a:lnTo>
                <a:lnTo>
                  <a:pt x="126" y="92"/>
                </a:lnTo>
                <a:lnTo>
                  <a:pt x="128" y="98"/>
                </a:lnTo>
                <a:lnTo>
                  <a:pt x="130" y="102"/>
                </a:lnTo>
                <a:lnTo>
                  <a:pt x="130" y="108"/>
                </a:lnTo>
                <a:lnTo>
                  <a:pt x="140" y="112"/>
                </a:lnTo>
                <a:lnTo>
                  <a:pt x="146" y="118"/>
                </a:lnTo>
                <a:lnTo>
                  <a:pt x="146" y="130"/>
                </a:lnTo>
                <a:lnTo>
                  <a:pt x="136" y="132"/>
                </a:lnTo>
                <a:lnTo>
                  <a:pt x="128" y="138"/>
                </a:lnTo>
                <a:lnTo>
                  <a:pt x="122" y="144"/>
                </a:lnTo>
                <a:lnTo>
                  <a:pt x="118" y="150"/>
                </a:lnTo>
                <a:lnTo>
                  <a:pt x="112" y="154"/>
                </a:lnTo>
                <a:lnTo>
                  <a:pt x="106" y="158"/>
                </a:lnTo>
                <a:lnTo>
                  <a:pt x="96" y="158"/>
                </a:lnTo>
                <a:lnTo>
                  <a:pt x="90" y="160"/>
                </a:lnTo>
                <a:lnTo>
                  <a:pt x="88" y="162"/>
                </a:lnTo>
                <a:lnTo>
                  <a:pt x="86" y="162"/>
                </a:lnTo>
                <a:lnTo>
                  <a:pt x="78" y="162"/>
                </a:lnTo>
                <a:lnTo>
                  <a:pt x="70" y="164"/>
                </a:lnTo>
                <a:lnTo>
                  <a:pt x="64" y="164"/>
                </a:lnTo>
                <a:lnTo>
                  <a:pt x="50" y="168"/>
                </a:lnTo>
                <a:lnTo>
                  <a:pt x="44" y="166"/>
                </a:lnTo>
                <a:lnTo>
                  <a:pt x="40" y="162"/>
                </a:lnTo>
                <a:lnTo>
                  <a:pt x="36" y="160"/>
                </a:lnTo>
                <a:lnTo>
                  <a:pt x="34" y="158"/>
                </a:lnTo>
                <a:lnTo>
                  <a:pt x="32" y="156"/>
                </a:lnTo>
                <a:lnTo>
                  <a:pt x="28" y="152"/>
                </a:lnTo>
                <a:lnTo>
                  <a:pt x="24" y="138"/>
                </a:lnTo>
                <a:lnTo>
                  <a:pt x="20" y="118"/>
                </a:lnTo>
                <a:lnTo>
                  <a:pt x="22" y="108"/>
                </a:lnTo>
                <a:lnTo>
                  <a:pt x="26" y="104"/>
                </a:lnTo>
                <a:lnTo>
                  <a:pt x="34" y="100"/>
                </a:lnTo>
                <a:lnTo>
                  <a:pt x="40" y="94"/>
                </a:lnTo>
                <a:lnTo>
                  <a:pt x="50" y="90"/>
                </a:lnTo>
                <a:lnTo>
                  <a:pt x="58" y="86"/>
                </a:lnTo>
                <a:lnTo>
                  <a:pt x="62" y="80"/>
                </a:lnTo>
                <a:lnTo>
                  <a:pt x="64" y="74"/>
                </a:lnTo>
                <a:lnTo>
                  <a:pt x="54" y="74"/>
                </a:lnTo>
                <a:lnTo>
                  <a:pt x="44" y="74"/>
                </a:lnTo>
                <a:lnTo>
                  <a:pt x="40" y="62"/>
                </a:lnTo>
                <a:lnTo>
                  <a:pt x="38" y="54"/>
                </a:lnTo>
                <a:lnTo>
                  <a:pt x="36" y="46"/>
                </a:lnTo>
                <a:lnTo>
                  <a:pt x="32" y="34"/>
                </a:lnTo>
                <a:lnTo>
                  <a:pt x="26" y="28"/>
                </a:lnTo>
                <a:lnTo>
                  <a:pt x="16" y="26"/>
                </a:lnTo>
                <a:lnTo>
                  <a:pt x="8" y="22"/>
                </a:lnTo>
                <a:lnTo>
                  <a:pt x="0" y="18"/>
                </a:lnTo>
                <a:lnTo>
                  <a:pt x="4" y="16"/>
                </a:lnTo>
                <a:lnTo>
                  <a:pt x="6" y="16"/>
                </a:lnTo>
                <a:lnTo>
                  <a:pt x="8" y="16"/>
                </a:lnTo>
                <a:lnTo>
                  <a:pt x="16" y="18"/>
                </a:lnTo>
                <a:lnTo>
                  <a:pt x="26" y="20"/>
                </a:lnTo>
                <a:lnTo>
                  <a:pt x="36" y="24"/>
                </a:lnTo>
                <a:lnTo>
                  <a:pt x="46" y="26"/>
                </a:lnTo>
                <a:lnTo>
                  <a:pt x="52" y="26"/>
                </a:lnTo>
                <a:lnTo>
                  <a:pt x="56" y="22"/>
                </a:lnTo>
                <a:lnTo>
                  <a:pt x="58" y="18"/>
                </a:lnTo>
                <a:lnTo>
                  <a:pt x="60" y="14"/>
                </a:lnTo>
                <a:lnTo>
                  <a:pt x="60" y="8"/>
                </a:lnTo>
                <a:lnTo>
                  <a:pt x="62" y="4"/>
                </a:lnTo>
                <a:lnTo>
                  <a:pt x="64" y="2"/>
                </a:lnTo>
                <a:lnTo>
                  <a:pt x="70" y="0"/>
                </a:lnTo>
                <a:lnTo>
                  <a:pt x="82" y="2"/>
                </a:lnTo>
                <a:lnTo>
                  <a:pt x="90" y="6"/>
                </a:lnTo>
                <a:lnTo>
                  <a:pt x="96" y="10"/>
                </a:lnTo>
                <a:lnTo>
                  <a:pt x="104" y="14"/>
                </a:lnTo>
                <a:lnTo>
                  <a:pt x="98" y="1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6" name="Freeform 136">
            <a:extLst>
              <a:ext uri="{FF2B5EF4-FFF2-40B4-BE49-F238E27FC236}">
                <a16:creationId xmlns:a16="http://schemas.microsoft.com/office/drawing/2014/main" id="{2B680FC8-E6F6-4713-9BC9-19072BD6C756}"/>
              </a:ext>
            </a:extLst>
          </p:cNvPr>
          <p:cNvSpPr>
            <a:spLocks/>
          </p:cNvSpPr>
          <p:nvPr/>
        </p:nvSpPr>
        <p:spPr bwMode="auto">
          <a:xfrm>
            <a:off x="4826813" y="2688698"/>
            <a:ext cx="82092" cy="14611"/>
          </a:xfrm>
          <a:custGeom>
            <a:avLst/>
            <a:gdLst/>
            <a:ahLst/>
            <a:cxnLst>
              <a:cxn ang="0">
                <a:pos x="20" y="2"/>
              </a:cxn>
              <a:cxn ang="0">
                <a:pos x="8" y="2"/>
              </a:cxn>
              <a:cxn ang="0">
                <a:pos x="0" y="0"/>
              </a:cxn>
              <a:cxn ang="0">
                <a:pos x="4" y="2"/>
              </a:cxn>
              <a:cxn ang="0">
                <a:pos x="8" y="6"/>
              </a:cxn>
              <a:cxn ang="0">
                <a:pos x="22" y="8"/>
              </a:cxn>
              <a:cxn ang="0">
                <a:pos x="34" y="8"/>
              </a:cxn>
              <a:cxn ang="0">
                <a:pos x="42" y="6"/>
              </a:cxn>
              <a:cxn ang="0">
                <a:pos x="36" y="2"/>
              </a:cxn>
              <a:cxn ang="0">
                <a:pos x="32" y="0"/>
              </a:cxn>
              <a:cxn ang="0">
                <a:pos x="20" y="2"/>
              </a:cxn>
            </a:cxnLst>
            <a:rect l="0" t="0" r="r" b="b"/>
            <a:pathLst>
              <a:path w="42" h="8">
                <a:moveTo>
                  <a:pt x="20" y="2"/>
                </a:moveTo>
                <a:lnTo>
                  <a:pt x="8" y="2"/>
                </a:lnTo>
                <a:lnTo>
                  <a:pt x="0" y="0"/>
                </a:lnTo>
                <a:lnTo>
                  <a:pt x="4" y="2"/>
                </a:lnTo>
                <a:lnTo>
                  <a:pt x="8" y="6"/>
                </a:lnTo>
                <a:lnTo>
                  <a:pt x="22" y="8"/>
                </a:lnTo>
                <a:lnTo>
                  <a:pt x="34" y="8"/>
                </a:lnTo>
                <a:lnTo>
                  <a:pt x="42" y="6"/>
                </a:lnTo>
                <a:lnTo>
                  <a:pt x="36" y="2"/>
                </a:lnTo>
                <a:lnTo>
                  <a:pt x="32" y="0"/>
                </a:lnTo>
                <a:lnTo>
                  <a:pt x="20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7" name="Freeform 137">
            <a:extLst>
              <a:ext uri="{FF2B5EF4-FFF2-40B4-BE49-F238E27FC236}">
                <a16:creationId xmlns:a16="http://schemas.microsoft.com/office/drawing/2014/main" id="{728ED43B-9629-46AF-A5CA-0A411695F2A3}"/>
              </a:ext>
            </a:extLst>
          </p:cNvPr>
          <p:cNvSpPr>
            <a:spLocks/>
          </p:cNvSpPr>
          <p:nvPr/>
        </p:nvSpPr>
        <p:spPr bwMode="auto">
          <a:xfrm>
            <a:off x="4192310" y="2542583"/>
            <a:ext cx="32495" cy="17858"/>
          </a:xfrm>
          <a:custGeom>
            <a:avLst/>
            <a:gdLst/>
            <a:ahLst/>
            <a:cxnLst>
              <a:cxn ang="0">
                <a:pos x="16" y="6"/>
              </a:cxn>
              <a:cxn ang="0">
                <a:pos x="12" y="0"/>
              </a:cxn>
              <a:cxn ang="0">
                <a:pos x="6" y="0"/>
              </a:cxn>
              <a:cxn ang="0">
                <a:pos x="4" y="0"/>
              </a:cxn>
              <a:cxn ang="0">
                <a:pos x="2" y="2"/>
              </a:cxn>
              <a:cxn ang="0">
                <a:pos x="0" y="10"/>
              </a:cxn>
              <a:cxn ang="0">
                <a:pos x="16" y="10"/>
              </a:cxn>
              <a:cxn ang="0">
                <a:pos x="14" y="4"/>
              </a:cxn>
              <a:cxn ang="0">
                <a:pos x="16" y="6"/>
              </a:cxn>
            </a:cxnLst>
            <a:rect l="0" t="0" r="r" b="b"/>
            <a:pathLst>
              <a:path w="16" h="10">
                <a:moveTo>
                  <a:pt x="16" y="6"/>
                </a:moveTo>
                <a:lnTo>
                  <a:pt x="12" y="0"/>
                </a:lnTo>
                <a:lnTo>
                  <a:pt x="6" y="0"/>
                </a:lnTo>
                <a:lnTo>
                  <a:pt x="4" y="0"/>
                </a:lnTo>
                <a:lnTo>
                  <a:pt x="2" y="2"/>
                </a:lnTo>
                <a:lnTo>
                  <a:pt x="0" y="10"/>
                </a:lnTo>
                <a:lnTo>
                  <a:pt x="16" y="10"/>
                </a:lnTo>
                <a:lnTo>
                  <a:pt x="14" y="4"/>
                </a:lnTo>
                <a:lnTo>
                  <a:pt x="16" y="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8" name="Freeform 138">
            <a:extLst>
              <a:ext uri="{FF2B5EF4-FFF2-40B4-BE49-F238E27FC236}">
                <a16:creationId xmlns:a16="http://schemas.microsoft.com/office/drawing/2014/main" id="{41017872-759A-4E94-AC66-BEAE861311F3}"/>
              </a:ext>
            </a:extLst>
          </p:cNvPr>
          <p:cNvSpPr>
            <a:spLocks/>
          </p:cNvSpPr>
          <p:nvPr/>
        </p:nvSpPr>
        <p:spPr bwMode="auto">
          <a:xfrm>
            <a:off x="3951165" y="1938657"/>
            <a:ext cx="217202" cy="275988"/>
          </a:xfrm>
          <a:custGeom>
            <a:avLst/>
            <a:gdLst/>
            <a:ahLst/>
            <a:cxnLst>
              <a:cxn ang="0">
                <a:pos x="82" y="86"/>
              </a:cxn>
              <a:cxn ang="0">
                <a:pos x="90" y="94"/>
              </a:cxn>
              <a:cxn ang="0">
                <a:pos x="90" y="104"/>
              </a:cxn>
              <a:cxn ang="0">
                <a:pos x="94" y="106"/>
              </a:cxn>
              <a:cxn ang="0">
                <a:pos x="108" y="110"/>
              </a:cxn>
              <a:cxn ang="0">
                <a:pos x="108" y="118"/>
              </a:cxn>
              <a:cxn ang="0">
                <a:pos x="94" y="128"/>
              </a:cxn>
              <a:cxn ang="0">
                <a:pos x="98" y="132"/>
              </a:cxn>
              <a:cxn ang="0">
                <a:pos x="102" y="138"/>
              </a:cxn>
              <a:cxn ang="0">
                <a:pos x="92" y="144"/>
              </a:cxn>
              <a:cxn ang="0">
                <a:pos x="66" y="144"/>
              </a:cxn>
              <a:cxn ang="0">
                <a:pos x="40" y="144"/>
              </a:cxn>
              <a:cxn ang="0">
                <a:pos x="40" y="152"/>
              </a:cxn>
              <a:cxn ang="0">
                <a:pos x="26" y="154"/>
              </a:cxn>
              <a:cxn ang="0">
                <a:pos x="12" y="154"/>
              </a:cxn>
              <a:cxn ang="0">
                <a:pos x="18" y="144"/>
              </a:cxn>
              <a:cxn ang="0">
                <a:pos x="30" y="140"/>
              </a:cxn>
              <a:cxn ang="0">
                <a:pos x="46" y="132"/>
              </a:cxn>
              <a:cxn ang="0">
                <a:pos x="32" y="126"/>
              </a:cxn>
              <a:cxn ang="0">
                <a:pos x="18" y="122"/>
              </a:cxn>
              <a:cxn ang="0">
                <a:pos x="36" y="108"/>
              </a:cxn>
              <a:cxn ang="0">
                <a:pos x="36" y="100"/>
              </a:cxn>
              <a:cxn ang="0">
                <a:pos x="40" y="94"/>
              </a:cxn>
              <a:cxn ang="0">
                <a:pos x="42" y="84"/>
              </a:cxn>
              <a:cxn ang="0">
                <a:pos x="40" y="76"/>
              </a:cxn>
              <a:cxn ang="0">
                <a:pos x="42" y="68"/>
              </a:cxn>
              <a:cxn ang="0">
                <a:pos x="38" y="58"/>
              </a:cxn>
              <a:cxn ang="0">
                <a:pos x="12" y="56"/>
              </a:cxn>
              <a:cxn ang="0">
                <a:pos x="10" y="48"/>
              </a:cxn>
              <a:cxn ang="0">
                <a:pos x="12" y="36"/>
              </a:cxn>
              <a:cxn ang="0">
                <a:pos x="0" y="28"/>
              </a:cxn>
              <a:cxn ang="0">
                <a:pos x="22" y="10"/>
              </a:cxn>
              <a:cxn ang="0">
                <a:pos x="50" y="0"/>
              </a:cxn>
              <a:cxn ang="0">
                <a:pos x="46" y="12"/>
              </a:cxn>
              <a:cxn ang="0">
                <a:pos x="38" y="20"/>
              </a:cxn>
              <a:cxn ang="0">
                <a:pos x="54" y="22"/>
              </a:cxn>
              <a:cxn ang="0">
                <a:pos x="66" y="26"/>
              </a:cxn>
              <a:cxn ang="0">
                <a:pos x="54" y="40"/>
              </a:cxn>
              <a:cxn ang="0">
                <a:pos x="56" y="56"/>
              </a:cxn>
              <a:cxn ang="0">
                <a:pos x="74" y="82"/>
              </a:cxn>
            </a:cxnLst>
            <a:rect l="0" t="0" r="r" b="b"/>
            <a:pathLst>
              <a:path w="110" h="154">
                <a:moveTo>
                  <a:pt x="76" y="82"/>
                </a:moveTo>
                <a:lnTo>
                  <a:pt x="82" y="86"/>
                </a:lnTo>
                <a:lnTo>
                  <a:pt x="88" y="90"/>
                </a:lnTo>
                <a:lnTo>
                  <a:pt x="90" y="94"/>
                </a:lnTo>
                <a:lnTo>
                  <a:pt x="90" y="100"/>
                </a:lnTo>
                <a:lnTo>
                  <a:pt x="90" y="104"/>
                </a:lnTo>
                <a:lnTo>
                  <a:pt x="90" y="108"/>
                </a:lnTo>
                <a:lnTo>
                  <a:pt x="94" y="106"/>
                </a:lnTo>
                <a:lnTo>
                  <a:pt x="104" y="104"/>
                </a:lnTo>
                <a:lnTo>
                  <a:pt x="108" y="110"/>
                </a:lnTo>
                <a:lnTo>
                  <a:pt x="110" y="114"/>
                </a:lnTo>
                <a:lnTo>
                  <a:pt x="108" y="118"/>
                </a:lnTo>
                <a:lnTo>
                  <a:pt x="104" y="122"/>
                </a:lnTo>
                <a:lnTo>
                  <a:pt x="94" y="128"/>
                </a:lnTo>
                <a:lnTo>
                  <a:pt x="94" y="130"/>
                </a:lnTo>
                <a:lnTo>
                  <a:pt x="98" y="132"/>
                </a:lnTo>
                <a:lnTo>
                  <a:pt x="104" y="134"/>
                </a:lnTo>
                <a:lnTo>
                  <a:pt x="102" y="138"/>
                </a:lnTo>
                <a:lnTo>
                  <a:pt x="98" y="142"/>
                </a:lnTo>
                <a:lnTo>
                  <a:pt x="92" y="144"/>
                </a:lnTo>
                <a:lnTo>
                  <a:pt x="82" y="144"/>
                </a:lnTo>
                <a:lnTo>
                  <a:pt x="66" y="144"/>
                </a:lnTo>
                <a:lnTo>
                  <a:pt x="50" y="144"/>
                </a:lnTo>
                <a:lnTo>
                  <a:pt x="40" y="144"/>
                </a:lnTo>
                <a:lnTo>
                  <a:pt x="40" y="148"/>
                </a:lnTo>
                <a:lnTo>
                  <a:pt x="40" y="152"/>
                </a:lnTo>
                <a:lnTo>
                  <a:pt x="34" y="152"/>
                </a:lnTo>
                <a:lnTo>
                  <a:pt x="26" y="154"/>
                </a:lnTo>
                <a:lnTo>
                  <a:pt x="18" y="154"/>
                </a:lnTo>
                <a:lnTo>
                  <a:pt x="12" y="154"/>
                </a:lnTo>
                <a:lnTo>
                  <a:pt x="14" y="148"/>
                </a:lnTo>
                <a:lnTo>
                  <a:pt x="18" y="144"/>
                </a:lnTo>
                <a:lnTo>
                  <a:pt x="24" y="142"/>
                </a:lnTo>
                <a:lnTo>
                  <a:pt x="30" y="140"/>
                </a:lnTo>
                <a:lnTo>
                  <a:pt x="42" y="136"/>
                </a:lnTo>
                <a:lnTo>
                  <a:pt x="46" y="132"/>
                </a:lnTo>
                <a:lnTo>
                  <a:pt x="50" y="128"/>
                </a:lnTo>
                <a:lnTo>
                  <a:pt x="32" y="126"/>
                </a:lnTo>
                <a:lnTo>
                  <a:pt x="24" y="124"/>
                </a:lnTo>
                <a:lnTo>
                  <a:pt x="18" y="122"/>
                </a:lnTo>
                <a:lnTo>
                  <a:pt x="26" y="114"/>
                </a:lnTo>
                <a:lnTo>
                  <a:pt x="36" y="108"/>
                </a:lnTo>
                <a:lnTo>
                  <a:pt x="36" y="104"/>
                </a:lnTo>
                <a:lnTo>
                  <a:pt x="36" y="100"/>
                </a:lnTo>
                <a:lnTo>
                  <a:pt x="38" y="98"/>
                </a:lnTo>
                <a:lnTo>
                  <a:pt x="40" y="94"/>
                </a:lnTo>
                <a:lnTo>
                  <a:pt x="48" y="90"/>
                </a:lnTo>
                <a:lnTo>
                  <a:pt x="42" y="84"/>
                </a:lnTo>
                <a:lnTo>
                  <a:pt x="40" y="80"/>
                </a:lnTo>
                <a:lnTo>
                  <a:pt x="40" y="76"/>
                </a:lnTo>
                <a:lnTo>
                  <a:pt x="40" y="70"/>
                </a:lnTo>
                <a:lnTo>
                  <a:pt x="42" y="68"/>
                </a:lnTo>
                <a:lnTo>
                  <a:pt x="40" y="62"/>
                </a:lnTo>
                <a:lnTo>
                  <a:pt x="38" y="58"/>
                </a:lnTo>
                <a:lnTo>
                  <a:pt x="14" y="58"/>
                </a:lnTo>
                <a:lnTo>
                  <a:pt x="12" y="56"/>
                </a:lnTo>
                <a:lnTo>
                  <a:pt x="12" y="50"/>
                </a:lnTo>
                <a:lnTo>
                  <a:pt x="10" y="48"/>
                </a:lnTo>
                <a:lnTo>
                  <a:pt x="6" y="46"/>
                </a:lnTo>
                <a:lnTo>
                  <a:pt x="12" y="36"/>
                </a:lnTo>
                <a:lnTo>
                  <a:pt x="6" y="32"/>
                </a:lnTo>
                <a:lnTo>
                  <a:pt x="0" y="28"/>
                </a:lnTo>
                <a:lnTo>
                  <a:pt x="10" y="20"/>
                </a:lnTo>
                <a:lnTo>
                  <a:pt x="22" y="10"/>
                </a:lnTo>
                <a:lnTo>
                  <a:pt x="38" y="4"/>
                </a:lnTo>
                <a:lnTo>
                  <a:pt x="50" y="0"/>
                </a:lnTo>
                <a:lnTo>
                  <a:pt x="48" y="8"/>
                </a:lnTo>
                <a:lnTo>
                  <a:pt x="46" y="12"/>
                </a:lnTo>
                <a:lnTo>
                  <a:pt x="42" y="16"/>
                </a:lnTo>
                <a:lnTo>
                  <a:pt x="38" y="20"/>
                </a:lnTo>
                <a:lnTo>
                  <a:pt x="46" y="22"/>
                </a:lnTo>
                <a:lnTo>
                  <a:pt x="54" y="22"/>
                </a:lnTo>
                <a:lnTo>
                  <a:pt x="60" y="24"/>
                </a:lnTo>
                <a:lnTo>
                  <a:pt x="66" y="26"/>
                </a:lnTo>
                <a:lnTo>
                  <a:pt x="58" y="36"/>
                </a:lnTo>
                <a:lnTo>
                  <a:pt x="54" y="40"/>
                </a:lnTo>
                <a:lnTo>
                  <a:pt x="54" y="46"/>
                </a:lnTo>
                <a:lnTo>
                  <a:pt x="56" y="56"/>
                </a:lnTo>
                <a:lnTo>
                  <a:pt x="62" y="64"/>
                </a:lnTo>
                <a:lnTo>
                  <a:pt x="74" y="82"/>
                </a:lnTo>
                <a:lnTo>
                  <a:pt x="76" y="8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9" name="Freeform 139">
            <a:extLst>
              <a:ext uri="{FF2B5EF4-FFF2-40B4-BE49-F238E27FC236}">
                <a16:creationId xmlns:a16="http://schemas.microsoft.com/office/drawing/2014/main" id="{4134EC3F-3E68-40FE-9412-A699F073FEDB}"/>
              </a:ext>
            </a:extLst>
          </p:cNvPr>
          <p:cNvSpPr>
            <a:spLocks/>
          </p:cNvSpPr>
          <p:nvPr/>
        </p:nvSpPr>
        <p:spPr bwMode="auto">
          <a:xfrm>
            <a:off x="3855389" y="2057169"/>
            <a:ext cx="118008" cy="113642"/>
          </a:xfrm>
          <a:custGeom>
            <a:avLst/>
            <a:gdLst/>
            <a:ahLst/>
            <a:cxnLst>
              <a:cxn ang="0">
                <a:pos x="32" y="20"/>
              </a:cxn>
              <a:cxn ang="0">
                <a:pos x="32" y="4"/>
              </a:cxn>
              <a:cxn ang="0">
                <a:pos x="32" y="2"/>
              </a:cxn>
              <a:cxn ang="0">
                <a:pos x="34" y="0"/>
              </a:cxn>
              <a:cxn ang="0">
                <a:pos x="44" y="0"/>
              </a:cxn>
              <a:cxn ang="0">
                <a:pos x="56" y="0"/>
              </a:cxn>
              <a:cxn ang="0">
                <a:pos x="60" y="2"/>
              </a:cxn>
              <a:cxn ang="0">
                <a:pos x="60" y="6"/>
              </a:cxn>
              <a:cxn ang="0">
                <a:pos x="58" y="14"/>
              </a:cxn>
              <a:cxn ang="0">
                <a:pos x="54" y="18"/>
              </a:cxn>
              <a:cxn ang="0">
                <a:pos x="50" y="20"/>
              </a:cxn>
              <a:cxn ang="0">
                <a:pos x="48" y="24"/>
              </a:cxn>
              <a:cxn ang="0">
                <a:pos x="50" y="26"/>
              </a:cxn>
              <a:cxn ang="0">
                <a:pos x="52" y="30"/>
              </a:cxn>
              <a:cxn ang="0">
                <a:pos x="54" y="32"/>
              </a:cxn>
              <a:cxn ang="0">
                <a:pos x="56" y="36"/>
              </a:cxn>
              <a:cxn ang="0">
                <a:pos x="54" y="42"/>
              </a:cxn>
              <a:cxn ang="0">
                <a:pos x="50" y="46"/>
              </a:cxn>
              <a:cxn ang="0">
                <a:pos x="38" y="54"/>
              </a:cxn>
              <a:cxn ang="0">
                <a:pos x="24" y="62"/>
              </a:cxn>
              <a:cxn ang="0">
                <a:pos x="16" y="64"/>
              </a:cxn>
              <a:cxn ang="0">
                <a:pos x="10" y="64"/>
              </a:cxn>
              <a:cxn ang="0">
                <a:pos x="6" y="64"/>
              </a:cxn>
              <a:cxn ang="0">
                <a:pos x="4" y="62"/>
              </a:cxn>
              <a:cxn ang="0">
                <a:pos x="0" y="56"/>
              </a:cxn>
              <a:cxn ang="0">
                <a:pos x="2" y="52"/>
              </a:cxn>
              <a:cxn ang="0">
                <a:pos x="6" y="48"/>
              </a:cxn>
              <a:cxn ang="0">
                <a:pos x="14" y="40"/>
              </a:cxn>
              <a:cxn ang="0">
                <a:pos x="6" y="34"/>
              </a:cxn>
              <a:cxn ang="0">
                <a:pos x="2" y="30"/>
              </a:cxn>
              <a:cxn ang="0">
                <a:pos x="6" y="26"/>
              </a:cxn>
              <a:cxn ang="0">
                <a:pos x="4" y="20"/>
              </a:cxn>
              <a:cxn ang="0">
                <a:pos x="10" y="18"/>
              </a:cxn>
              <a:cxn ang="0">
                <a:pos x="20" y="16"/>
              </a:cxn>
              <a:cxn ang="0">
                <a:pos x="26" y="18"/>
              </a:cxn>
              <a:cxn ang="0">
                <a:pos x="32" y="20"/>
              </a:cxn>
            </a:cxnLst>
            <a:rect l="0" t="0" r="r" b="b"/>
            <a:pathLst>
              <a:path w="60" h="64">
                <a:moveTo>
                  <a:pt x="32" y="20"/>
                </a:moveTo>
                <a:lnTo>
                  <a:pt x="32" y="4"/>
                </a:lnTo>
                <a:lnTo>
                  <a:pt x="32" y="2"/>
                </a:lnTo>
                <a:lnTo>
                  <a:pt x="34" y="0"/>
                </a:lnTo>
                <a:lnTo>
                  <a:pt x="44" y="0"/>
                </a:lnTo>
                <a:lnTo>
                  <a:pt x="56" y="0"/>
                </a:lnTo>
                <a:lnTo>
                  <a:pt x="60" y="2"/>
                </a:lnTo>
                <a:lnTo>
                  <a:pt x="60" y="6"/>
                </a:lnTo>
                <a:lnTo>
                  <a:pt x="58" y="14"/>
                </a:lnTo>
                <a:lnTo>
                  <a:pt x="54" y="18"/>
                </a:lnTo>
                <a:lnTo>
                  <a:pt x="50" y="20"/>
                </a:lnTo>
                <a:lnTo>
                  <a:pt x="48" y="24"/>
                </a:lnTo>
                <a:lnTo>
                  <a:pt x="50" y="26"/>
                </a:lnTo>
                <a:lnTo>
                  <a:pt x="52" y="30"/>
                </a:lnTo>
                <a:lnTo>
                  <a:pt x="54" y="32"/>
                </a:lnTo>
                <a:lnTo>
                  <a:pt x="56" y="36"/>
                </a:lnTo>
                <a:lnTo>
                  <a:pt x="54" y="42"/>
                </a:lnTo>
                <a:lnTo>
                  <a:pt x="50" y="46"/>
                </a:lnTo>
                <a:lnTo>
                  <a:pt x="38" y="54"/>
                </a:lnTo>
                <a:lnTo>
                  <a:pt x="24" y="62"/>
                </a:lnTo>
                <a:lnTo>
                  <a:pt x="16" y="64"/>
                </a:lnTo>
                <a:lnTo>
                  <a:pt x="10" y="64"/>
                </a:lnTo>
                <a:lnTo>
                  <a:pt x="6" y="64"/>
                </a:lnTo>
                <a:lnTo>
                  <a:pt x="4" y="62"/>
                </a:lnTo>
                <a:lnTo>
                  <a:pt x="0" y="56"/>
                </a:lnTo>
                <a:lnTo>
                  <a:pt x="2" y="52"/>
                </a:lnTo>
                <a:lnTo>
                  <a:pt x="6" y="48"/>
                </a:lnTo>
                <a:lnTo>
                  <a:pt x="14" y="40"/>
                </a:lnTo>
                <a:lnTo>
                  <a:pt x="6" y="34"/>
                </a:lnTo>
                <a:lnTo>
                  <a:pt x="2" y="30"/>
                </a:lnTo>
                <a:lnTo>
                  <a:pt x="6" y="26"/>
                </a:lnTo>
                <a:lnTo>
                  <a:pt x="4" y="20"/>
                </a:lnTo>
                <a:lnTo>
                  <a:pt x="10" y="18"/>
                </a:lnTo>
                <a:lnTo>
                  <a:pt x="20" y="16"/>
                </a:lnTo>
                <a:lnTo>
                  <a:pt x="26" y="18"/>
                </a:lnTo>
                <a:lnTo>
                  <a:pt x="32" y="2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0" name="Freeform 140">
            <a:extLst>
              <a:ext uri="{FF2B5EF4-FFF2-40B4-BE49-F238E27FC236}">
                <a16:creationId xmlns:a16="http://schemas.microsoft.com/office/drawing/2014/main" id="{0802CAC7-11BF-4239-8BEA-297F8A0A627B}"/>
              </a:ext>
            </a:extLst>
          </p:cNvPr>
          <p:cNvSpPr>
            <a:spLocks/>
          </p:cNvSpPr>
          <p:nvPr/>
        </p:nvSpPr>
        <p:spPr bwMode="auto">
          <a:xfrm>
            <a:off x="4382146" y="2446802"/>
            <a:ext cx="18813" cy="50327"/>
          </a:xfrm>
          <a:custGeom>
            <a:avLst/>
            <a:gdLst/>
            <a:ahLst/>
            <a:cxnLst>
              <a:cxn ang="0">
                <a:pos x="0" y="28"/>
              </a:cxn>
              <a:cxn ang="0">
                <a:pos x="0" y="12"/>
              </a:cxn>
              <a:cxn ang="0">
                <a:pos x="2" y="6"/>
              </a:cxn>
              <a:cxn ang="0">
                <a:pos x="6" y="0"/>
              </a:cxn>
              <a:cxn ang="0">
                <a:pos x="8" y="6"/>
              </a:cxn>
              <a:cxn ang="0">
                <a:pos x="10" y="10"/>
              </a:cxn>
              <a:cxn ang="0">
                <a:pos x="10" y="28"/>
              </a:cxn>
              <a:cxn ang="0">
                <a:pos x="0" y="28"/>
              </a:cxn>
            </a:cxnLst>
            <a:rect l="0" t="0" r="r" b="b"/>
            <a:pathLst>
              <a:path w="10" h="28">
                <a:moveTo>
                  <a:pt x="0" y="28"/>
                </a:moveTo>
                <a:lnTo>
                  <a:pt x="0" y="12"/>
                </a:lnTo>
                <a:lnTo>
                  <a:pt x="2" y="6"/>
                </a:lnTo>
                <a:lnTo>
                  <a:pt x="6" y="0"/>
                </a:lnTo>
                <a:lnTo>
                  <a:pt x="8" y="6"/>
                </a:lnTo>
                <a:lnTo>
                  <a:pt x="10" y="10"/>
                </a:lnTo>
                <a:lnTo>
                  <a:pt x="10" y="28"/>
                </a:lnTo>
                <a:lnTo>
                  <a:pt x="0" y="2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1" name="Freeform 141">
            <a:extLst>
              <a:ext uri="{FF2B5EF4-FFF2-40B4-BE49-F238E27FC236}">
                <a16:creationId xmlns:a16="http://schemas.microsoft.com/office/drawing/2014/main" id="{3C67E352-24A8-42EA-939F-17B11B0F15E3}"/>
              </a:ext>
            </a:extLst>
          </p:cNvPr>
          <p:cNvSpPr>
            <a:spLocks/>
          </p:cNvSpPr>
          <p:nvPr/>
        </p:nvSpPr>
        <p:spPr bwMode="auto">
          <a:xfrm>
            <a:off x="4354782" y="2503620"/>
            <a:ext cx="54728" cy="71432"/>
          </a:xfrm>
          <a:custGeom>
            <a:avLst/>
            <a:gdLst/>
            <a:ahLst/>
            <a:cxnLst>
              <a:cxn ang="0">
                <a:pos x="12" y="8"/>
              </a:cxn>
              <a:cxn ang="0">
                <a:pos x="16" y="4"/>
              </a:cxn>
              <a:cxn ang="0">
                <a:pos x="20" y="0"/>
              </a:cxn>
              <a:cxn ang="0">
                <a:pos x="24" y="4"/>
              </a:cxn>
              <a:cxn ang="0">
                <a:pos x="28" y="8"/>
              </a:cxn>
              <a:cxn ang="0">
                <a:pos x="28" y="34"/>
              </a:cxn>
              <a:cxn ang="0">
                <a:pos x="24" y="36"/>
              </a:cxn>
              <a:cxn ang="0">
                <a:pos x="20" y="38"/>
              </a:cxn>
              <a:cxn ang="0">
                <a:pos x="14" y="40"/>
              </a:cxn>
              <a:cxn ang="0">
                <a:pos x="10" y="36"/>
              </a:cxn>
              <a:cxn ang="0">
                <a:pos x="10" y="34"/>
              </a:cxn>
              <a:cxn ang="0">
                <a:pos x="10" y="30"/>
              </a:cxn>
              <a:cxn ang="0">
                <a:pos x="10" y="14"/>
              </a:cxn>
              <a:cxn ang="0">
                <a:pos x="4" y="12"/>
              </a:cxn>
              <a:cxn ang="0">
                <a:pos x="0" y="8"/>
              </a:cxn>
              <a:cxn ang="0">
                <a:pos x="4" y="6"/>
              </a:cxn>
              <a:cxn ang="0">
                <a:pos x="8" y="6"/>
              </a:cxn>
              <a:cxn ang="0">
                <a:pos x="12" y="8"/>
              </a:cxn>
            </a:cxnLst>
            <a:rect l="0" t="0" r="r" b="b"/>
            <a:pathLst>
              <a:path w="28" h="40">
                <a:moveTo>
                  <a:pt x="12" y="8"/>
                </a:moveTo>
                <a:lnTo>
                  <a:pt x="16" y="4"/>
                </a:lnTo>
                <a:lnTo>
                  <a:pt x="20" y="0"/>
                </a:lnTo>
                <a:lnTo>
                  <a:pt x="24" y="4"/>
                </a:lnTo>
                <a:lnTo>
                  <a:pt x="28" y="8"/>
                </a:lnTo>
                <a:lnTo>
                  <a:pt x="28" y="34"/>
                </a:lnTo>
                <a:lnTo>
                  <a:pt x="24" y="36"/>
                </a:lnTo>
                <a:lnTo>
                  <a:pt x="20" y="38"/>
                </a:lnTo>
                <a:lnTo>
                  <a:pt x="14" y="40"/>
                </a:lnTo>
                <a:lnTo>
                  <a:pt x="10" y="36"/>
                </a:lnTo>
                <a:lnTo>
                  <a:pt x="10" y="34"/>
                </a:lnTo>
                <a:lnTo>
                  <a:pt x="10" y="30"/>
                </a:lnTo>
                <a:lnTo>
                  <a:pt x="10" y="14"/>
                </a:lnTo>
                <a:lnTo>
                  <a:pt x="4" y="12"/>
                </a:lnTo>
                <a:lnTo>
                  <a:pt x="0" y="8"/>
                </a:lnTo>
                <a:lnTo>
                  <a:pt x="4" y="6"/>
                </a:lnTo>
                <a:lnTo>
                  <a:pt x="8" y="6"/>
                </a:lnTo>
                <a:lnTo>
                  <a:pt x="12" y="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2" name="Freeform 142">
            <a:extLst>
              <a:ext uri="{FF2B5EF4-FFF2-40B4-BE49-F238E27FC236}">
                <a16:creationId xmlns:a16="http://schemas.microsoft.com/office/drawing/2014/main" id="{01542BEC-C2F9-4DA9-AFD5-7E757C1497E2}"/>
              </a:ext>
            </a:extLst>
          </p:cNvPr>
          <p:cNvSpPr>
            <a:spLocks/>
          </p:cNvSpPr>
          <p:nvPr/>
        </p:nvSpPr>
        <p:spPr bwMode="auto">
          <a:xfrm>
            <a:off x="4496735" y="2604275"/>
            <a:ext cx="82092" cy="42210"/>
          </a:xfrm>
          <a:custGeom>
            <a:avLst/>
            <a:gdLst/>
            <a:ahLst/>
            <a:cxnLst>
              <a:cxn ang="0">
                <a:pos x="41" y="12"/>
              </a:cxn>
              <a:cxn ang="0">
                <a:pos x="39" y="16"/>
              </a:cxn>
              <a:cxn ang="0">
                <a:pos x="39" y="18"/>
              </a:cxn>
              <a:cxn ang="0">
                <a:pos x="39" y="22"/>
              </a:cxn>
              <a:cxn ang="0">
                <a:pos x="39" y="24"/>
              </a:cxn>
              <a:cxn ang="0">
                <a:pos x="31" y="22"/>
              </a:cxn>
              <a:cxn ang="0">
                <a:pos x="17" y="16"/>
              </a:cxn>
              <a:cxn ang="0">
                <a:pos x="4" y="10"/>
              </a:cxn>
              <a:cxn ang="0">
                <a:pos x="0" y="6"/>
              </a:cxn>
              <a:cxn ang="0">
                <a:pos x="0" y="2"/>
              </a:cxn>
              <a:cxn ang="0">
                <a:pos x="2" y="0"/>
              </a:cxn>
              <a:cxn ang="0">
                <a:pos x="9" y="0"/>
              </a:cxn>
              <a:cxn ang="0">
                <a:pos x="19" y="2"/>
              </a:cxn>
              <a:cxn ang="0">
                <a:pos x="27" y="4"/>
              </a:cxn>
              <a:cxn ang="0">
                <a:pos x="33" y="2"/>
              </a:cxn>
              <a:cxn ang="0">
                <a:pos x="41" y="0"/>
              </a:cxn>
              <a:cxn ang="0">
                <a:pos x="41" y="4"/>
              </a:cxn>
              <a:cxn ang="0">
                <a:pos x="41" y="12"/>
              </a:cxn>
            </a:cxnLst>
            <a:rect l="0" t="0" r="r" b="b"/>
            <a:pathLst>
              <a:path w="41" h="24">
                <a:moveTo>
                  <a:pt x="41" y="12"/>
                </a:moveTo>
                <a:lnTo>
                  <a:pt x="39" y="16"/>
                </a:lnTo>
                <a:lnTo>
                  <a:pt x="39" y="18"/>
                </a:lnTo>
                <a:lnTo>
                  <a:pt x="39" y="22"/>
                </a:lnTo>
                <a:lnTo>
                  <a:pt x="39" y="24"/>
                </a:lnTo>
                <a:lnTo>
                  <a:pt x="31" y="22"/>
                </a:lnTo>
                <a:lnTo>
                  <a:pt x="17" y="16"/>
                </a:lnTo>
                <a:lnTo>
                  <a:pt x="4" y="10"/>
                </a:lnTo>
                <a:lnTo>
                  <a:pt x="0" y="6"/>
                </a:lnTo>
                <a:lnTo>
                  <a:pt x="0" y="2"/>
                </a:lnTo>
                <a:lnTo>
                  <a:pt x="2" y="0"/>
                </a:lnTo>
                <a:lnTo>
                  <a:pt x="9" y="0"/>
                </a:lnTo>
                <a:lnTo>
                  <a:pt x="19" y="2"/>
                </a:lnTo>
                <a:lnTo>
                  <a:pt x="27" y="4"/>
                </a:lnTo>
                <a:lnTo>
                  <a:pt x="33" y="2"/>
                </a:lnTo>
                <a:lnTo>
                  <a:pt x="41" y="0"/>
                </a:lnTo>
                <a:lnTo>
                  <a:pt x="41" y="4"/>
                </a:lnTo>
                <a:lnTo>
                  <a:pt x="41" y="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3" name="Freeform 143">
            <a:extLst>
              <a:ext uri="{FF2B5EF4-FFF2-40B4-BE49-F238E27FC236}">
                <a16:creationId xmlns:a16="http://schemas.microsoft.com/office/drawing/2014/main" id="{BEA1F29F-6494-46C2-BBA4-F58CAA30475A}"/>
              </a:ext>
            </a:extLst>
          </p:cNvPr>
          <p:cNvSpPr>
            <a:spLocks/>
          </p:cNvSpPr>
          <p:nvPr/>
        </p:nvSpPr>
        <p:spPr bwMode="auto">
          <a:xfrm>
            <a:off x="4400961" y="2021453"/>
            <a:ext cx="47887" cy="53574"/>
          </a:xfrm>
          <a:custGeom>
            <a:avLst/>
            <a:gdLst/>
            <a:ahLst/>
            <a:cxnLst>
              <a:cxn ang="0">
                <a:pos x="12" y="4"/>
              </a:cxn>
              <a:cxn ang="0">
                <a:pos x="12" y="12"/>
              </a:cxn>
              <a:cxn ang="0">
                <a:pos x="18" y="8"/>
              </a:cxn>
              <a:cxn ang="0">
                <a:pos x="24" y="4"/>
              </a:cxn>
              <a:cxn ang="0">
                <a:pos x="24" y="16"/>
              </a:cxn>
              <a:cxn ang="0">
                <a:pos x="22" y="20"/>
              </a:cxn>
              <a:cxn ang="0">
                <a:pos x="18" y="26"/>
              </a:cxn>
              <a:cxn ang="0">
                <a:pos x="16" y="30"/>
              </a:cxn>
              <a:cxn ang="0">
                <a:pos x="14" y="30"/>
              </a:cxn>
              <a:cxn ang="0">
                <a:pos x="14" y="28"/>
              </a:cxn>
              <a:cxn ang="0">
                <a:pos x="12" y="24"/>
              </a:cxn>
              <a:cxn ang="0">
                <a:pos x="10" y="20"/>
              </a:cxn>
              <a:cxn ang="0">
                <a:pos x="6" y="14"/>
              </a:cxn>
              <a:cxn ang="0">
                <a:pos x="2" y="10"/>
              </a:cxn>
              <a:cxn ang="0">
                <a:pos x="0" y="6"/>
              </a:cxn>
              <a:cxn ang="0">
                <a:pos x="0" y="4"/>
              </a:cxn>
              <a:cxn ang="0">
                <a:pos x="2" y="2"/>
              </a:cxn>
              <a:cxn ang="0">
                <a:pos x="4" y="0"/>
              </a:cxn>
              <a:cxn ang="0">
                <a:pos x="6" y="0"/>
              </a:cxn>
              <a:cxn ang="0">
                <a:pos x="8" y="0"/>
              </a:cxn>
              <a:cxn ang="0">
                <a:pos x="12" y="4"/>
              </a:cxn>
            </a:cxnLst>
            <a:rect l="0" t="0" r="r" b="b"/>
            <a:pathLst>
              <a:path w="24" h="30">
                <a:moveTo>
                  <a:pt x="12" y="4"/>
                </a:moveTo>
                <a:lnTo>
                  <a:pt x="12" y="12"/>
                </a:lnTo>
                <a:lnTo>
                  <a:pt x="18" y="8"/>
                </a:lnTo>
                <a:lnTo>
                  <a:pt x="24" y="4"/>
                </a:lnTo>
                <a:lnTo>
                  <a:pt x="24" y="16"/>
                </a:lnTo>
                <a:lnTo>
                  <a:pt x="22" y="20"/>
                </a:lnTo>
                <a:lnTo>
                  <a:pt x="18" y="26"/>
                </a:lnTo>
                <a:lnTo>
                  <a:pt x="16" y="30"/>
                </a:lnTo>
                <a:lnTo>
                  <a:pt x="14" y="30"/>
                </a:lnTo>
                <a:lnTo>
                  <a:pt x="14" y="28"/>
                </a:lnTo>
                <a:lnTo>
                  <a:pt x="12" y="24"/>
                </a:lnTo>
                <a:lnTo>
                  <a:pt x="10" y="20"/>
                </a:lnTo>
                <a:lnTo>
                  <a:pt x="6" y="14"/>
                </a:lnTo>
                <a:lnTo>
                  <a:pt x="2" y="10"/>
                </a:lnTo>
                <a:lnTo>
                  <a:pt x="0" y="6"/>
                </a:lnTo>
                <a:lnTo>
                  <a:pt x="0" y="4"/>
                </a:lnTo>
                <a:lnTo>
                  <a:pt x="2" y="2"/>
                </a:lnTo>
                <a:lnTo>
                  <a:pt x="4" y="0"/>
                </a:lnTo>
                <a:lnTo>
                  <a:pt x="6" y="0"/>
                </a:lnTo>
                <a:lnTo>
                  <a:pt x="8" y="0"/>
                </a:lnTo>
                <a:lnTo>
                  <a:pt x="12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4" name="Freeform 144">
            <a:extLst>
              <a:ext uri="{FF2B5EF4-FFF2-40B4-BE49-F238E27FC236}">
                <a16:creationId xmlns:a16="http://schemas.microsoft.com/office/drawing/2014/main" id="{691DECE5-49EA-4022-B3CB-D94346DF187D}"/>
              </a:ext>
            </a:extLst>
          </p:cNvPr>
          <p:cNvSpPr>
            <a:spLocks/>
          </p:cNvSpPr>
          <p:nvPr/>
        </p:nvSpPr>
        <p:spPr bwMode="auto">
          <a:xfrm>
            <a:off x="4400959" y="1646437"/>
            <a:ext cx="295874" cy="399371"/>
          </a:xfrm>
          <a:custGeom>
            <a:avLst/>
            <a:gdLst/>
            <a:ahLst/>
            <a:cxnLst>
              <a:cxn ang="0">
                <a:pos x="145" y="44"/>
              </a:cxn>
              <a:cxn ang="0">
                <a:pos x="141" y="28"/>
              </a:cxn>
              <a:cxn ang="0">
                <a:pos x="131" y="10"/>
              </a:cxn>
              <a:cxn ang="0">
                <a:pos x="113" y="4"/>
              </a:cxn>
              <a:cxn ang="0">
                <a:pos x="97" y="4"/>
              </a:cxn>
              <a:cxn ang="0">
                <a:pos x="77" y="6"/>
              </a:cxn>
              <a:cxn ang="0">
                <a:pos x="59" y="12"/>
              </a:cxn>
              <a:cxn ang="0">
                <a:pos x="42" y="32"/>
              </a:cxn>
              <a:cxn ang="0">
                <a:pos x="32" y="54"/>
              </a:cxn>
              <a:cxn ang="0">
                <a:pos x="30" y="76"/>
              </a:cxn>
              <a:cxn ang="0">
                <a:pos x="12" y="76"/>
              </a:cxn>
              <a:cxn ang="0">
                <a:pos x="6" y="82"/>
              </a:cxn>
              <a:cxn ang="0">
                <a:pos x="4" y="90"/>
              </a:cxn>
              <a:cxn ang="0">
                <a:pos x="8" y="108"/>
              </a:cxn>
              <a:cxn ang="0">
                <a:pos x="12" y="130"/>
              </a:cxn>
              <a:cxn ang="0">
                <a:pos x="14" y="134"/>
              </a:cxn>
              <a:cxn ang="0">
                <a:pos x="0" y="168"/>
              </a:cxn>
              <a:cxn ang="0">
                <a:pos x="14" y="182"/>
              </a:cxn>
              <a:cxn ang="0">
                <a:pos x="30" y="204"/>
              </a:cxn>
              <a:cxn ang="0">
                <a:pos x="28" y="216"/>
              </a:cxn>
              <a:cxn ang="0">
                <a:pos x="30" y="222"/>
              </a:cxn>
              <a:cxn ang="0">
                <a:pos x="38" y="224"/>
              </a:cxn>
              <a:cxn ang="0">
                <a:pos x="52" y="216"/>
              </a:cxn>
              <a:cxn ang="0">
                <a:pos x="63" y="212"/>
              </a:cxn>
              <a:cxn ang="0">
                <a:pos x="73" y="208"/>
              </a:cxn>
              <a:cxn ang="0">
                <a:pos x="81" y="204"/>
              </a:cxn>
              <a:cxn ang="0">
                <a:pos x="83" y="200"/>
              </a:cxn>
              <a:cxn ang="0">
                <a:pos x="79" y="170"/>
              </a:cxn>
              <a:cxn ang="0">
                <a:pos x="89" y="164"/>
              </a:cxn>
              <a:cxn ang="0">
                <a:pos x="99" y="156"/>
              </a:cxn>
              <a:cxn ang="0">
                <a:pos x="95" y="154"/>
              </a:cxn>
              <a:cxn ang="0">
                <a:pos x="105" y="150"/>
              </a:cxn>
              <a:cxn ang="0">
                <a:pos x="87" y="140"/>
              </a:cxn>
              <a:cxn ang="0">
                <a:pos x="79" y="130"/>
              </a:cxn>
              <a:cxn ang="0">
                <a:pos x="79" y="114"/>
              </a:cxn>
              <a:cxn ang="0">
                <a:pos x="91" y="98"/>
              </a:cxn>
              <a:cxn ang="0">
                <a:pos x="113" y="84"/>
              </a:cxn>
              <a:cxn ang="0">
                <a:pos x="121" y="72"/>
              </a:cxn>
              <a:cxn ang="0">
                <a:pos x="121" y="62"/>
              </a:cxn>
              <a:cxn ang="0">
                <a:pos x="129" y="58"/>
              </a:cxn>
              <a:cxn ang="0">
                <a:pos x="141" y="56"/>
              </a:cxn>
            </a:cxnLst>
            <a:rect l="0" t="0" r="r" b="b"/>
            <a:pathLst>
              <a:path w="149" h="224">
                <a:moveTo>
                  <a:pt x="149" y="56"/>
                </a:moveTo>
                <a:lnTo>
                  <a:pt x="145" y="44"/>
                </a:lnTo>
                <a:lnTo>
                  <a:pt x="143" y="36"/>
                </a:lnTo>
                <a:lnTo>
                  <a:pt x="141" y="28"/>
                </a:lnTo>
                <a:lnTo>
                  <a:pt x="137" y="16"/>
                </a:lnTo>
                <a:lnTo>
                  <a:pt x="131" y="10"/>
                </a:lnTo>
                <a:lnTo>
                  <a:pt x="121" y="8"/>
                </a:lnTo>
                <a:lnTo>
                  <a:pt x="113" y="4"/>
                </a:lnTo>
                <a:lnTo>
                  <a:pt x="105" y="0"/>
                </a:lnTo>
                <a:lnTo>
                  <a:pt x="97" y="4"/>
                </a:lnTo>
                <a:lnTo>
                  <a:pt x="89" y="6"/>
                </a:lnTo>
                <a:lnTo>
                  <a:pt x="77" y="6"/>
                </a:lnTo>
                <a:lnTo>
                  <a:pt x="65" y="8"/>
                </a:lnTo>
                <a:lnTo>
                  <a:pt x="59" y="12"/>
                </a:lnTo>
                <a:lnTo>
                  <a:pt x="50" y="22"/>
                </a:lnTo>
                <a:lnTo>
                  <a:pt x="42" y="32"/>
                </a:lnTo>
                <a:lnTo>
                  <a:pt x="36" y="42"/>
                </a:lnTo>
                <a:lnTo>
                  <a:pt x="32" y="54"/>
                </a:lnTo>
                <a:lnTo>
                  <a:pt x="30" y="64"/>
                </a:lnTo>
                <a:lnTo>
                  <a:pt x="30" y="76"/>
                </a:lnTo>
                <a:lnTo>
                  <a:pt x="22" y="76"/>
                </a:lnTo>
                <a:lnTo>
                  <a:pt x="12" y="76"/>
                </a:lnTo>
                <a:lnTo>
                  <a:pt x="8" y="78"/>
                </a:lnTo>
                <a:lnTo>
                  <a:pt x="6" y="82"/>
                </a:lnTo>
                <a:lnTo>
                  <a:pt x="4" y="86"/>
                </a:lnTo>
                <a:lnTo>
                  <a:pt x="4" y="90"/>
                </a:lnTo>
                <a:lnTo>
                  <a:pt x="4" y="98"/>
                </a:lnTo>
                <a:lnTo>
                  <a:pt x="8" y="108"/>
                </a:lnTo>
                <a:lnTo>
                  <a:pt x="12" y="122"/>
                </a:lnTo>
                <a:lnTo>
                  <a:pt x="12" y="130"/>
                </a:lnTo>
                <a:lnTo>
                  <a:pt x="12" y="132"/>
                </a:lnTo>
                <a:lnTo>
                  <a:pt x="14" y="134"/>
                </a:lnTo>
                <a:lnTo>
                  <a:pt x="20" y="138"/>
                </a:lnTo>
                <a:lnTo>
                  <a:pt x="0" y="168"/>
                </a:lnTo>
                <a:lnTo>
                  <a:pt x="4" y="172"/>
                </a:lnTo>
                <a:lnTo>
                  <a:pt x="14" y="182"/>
                </a:lnTo>
                <a:lnTo>
                  <a:pt x="28" y="202"/>
                </a:lnTo>
                <a:lnTo>
                  <a:pt x="30" y="204"/>
                </a:lnTo>
                <a:lnTo>
                  <a:pt x="30" y="208"/>
                </a:lnTo>
                <a:lnTo>
                  <a:pt x="28" y="216"/>
                </a:lnTo>
                <a:lnTo>
                  <a:pt x="30" y="218"/>
                </a:lnTo>
                <a:lnTo>
                  <a:pt x="30" y="222"/>
                </a:lnTo>
                <a:lnTo>
                  <a:pt x="32" y="224"/>
                </a:lnTo>
                <a:lnTo>
                  <a:pt x="38" y="224"/>
                </a:lnTo>
                <a:lnTo>
                  <a:pt x="50" y="224"/>
                </a:lnTo>
                <a:lnTo>
                  <a:pt x="52" y="216"/>
                </a:lnTo>
                <a:lnTo>
                  <a:pt x="57" y="214"/>
                </a:lnTo>
                <a:lnTo>
                  <a:pt x="63" y="212"/>
                </a:lnTo>
                <a:lnTo>
                  <a:pt x="73" y="212"/>
                </a:lnTo>
                <a:lnTo>
                  <a:pt x="73" y="208"/>
                </a:lnTo>
                <a:lnTo>
                  <a:pt x="79" y="208"/>
                </a:lnTo>
                <a:lnTo>
                  <a:pt x="81" y="204"/>
                </a:lnTo>
                <a:lnTo>
                  <a:pt x="81" y="200"/>
                </a:lnTo>
                <a:lnTo>
                  <a:pt x="83" y="200"/>
                </a:lnTo>
                <a:lnTo>
                  <a:pt x="79" y="196"/>
                </a:lnTo>
                <a:lnTo>
                  <a:pt x="79" y="170"/>
                </a:lnTo>
                <a:lnTo>
                  <a:pt x="85" y="166"/>
                </a:lnTo>
                <a:lnTo>
                  <a:pt x="89" y="164"/>
                </a:lnTo>
                <a:lnTo>
                  <a:pt x="95" y="160"/>
                </a:lnTo>
                <a:lnTo>
                  <a:pt x="99" y="156"/>
                </a:lnTo>
                <a:lnTo>
                  <a:pt x="79" y="156"/>
                </a:lnTo>
                <a:lnTo>
                  <a:pt x="95" y="154"/>
                </a:lnTo>
                <a:lnTo>
                  <a:pt x="101" y="152"/>
                </a:lnTo>
                <a:lnTo>
                  <a:pt x="105" y="150"/>
                </a:lnTo>
                <a:lnTo>
                  <a:pt x="105" y="146"/>
                </a:lnTo>
                <a:lnTo>
                  <a:pt x="87" y="140"/>
                </a:lnTo>
                <a:lnTo>
                  <a:pt x="81" y="134"/>
                </a:lnTo>
                <a:lnTo>
                  <a:pt x="79" y="130"/>
                </a:lnTo>
                <a:lnTo>
                  <a:pt x="77" y="124"/>
                </a:lnTo>
                <a:lnTo>
                  <a:pt x="79" y="114"/>
                </a:lnTo>
                <a:lnTo>
                  <a:pt x="85" y="104"/>
                </a:lnTo>
                <a:lnTo>
                  <a:pt x="91" y="98"/>
                </a:lnTo>
                <a:lnTo>
                  <a:pt x="99" y="92"/>
                </a:lnTo>
                <a:lnTo>
                  <a:pt x="113" y="84"/>
                </a:lnTo>
                <a:lnTo>
                  <a:pt x="119" y="78"/>
                </a:lnTo>
                <a:lnTo>
                  <a:pt x="121" y="72"/>
                </a:lnTo>
                <a:lnTo>
                  <a:pt x="121" y="66"/>
                </a:lnTo>
                <a:lnTo>
                  <a:pt x="121" y="62"/>
                </a:lnTo>
                <a:lnTo>
                  <a:pt x="123" y="60"/>
                </a:lnTo>
                <a:lnTo>
                  <a:pt x="129" y="58"/>
                </a:lnTo>
                <a:lnTo>
                  <a:pt x="137" y="56"/>
                </a:lnTo>
                <a:lnTo>
                  <a:pt x="141" y="56"/>
                </a:lnTo>
                <a:lnTo>
                  <a:pt x="149" y="5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5" name="Freeform 145">
            <a:extLst>
              <a:ext uri="{FF2B5EF4-FFF2-40B4-BE49-F238E27FC236}">
                <a16:creationId xmlns:a16="http://schemas.microsoft.com/office/drawing/2014/main" id="{48C15479-B401-4F34-8137-AE18651F2A7C}"/>
              </a:ext>
            </a:extLst>
          </p:cNvPr>
          <p:cNvSpPr>
            <a:spLocks/>
          </p:cNvSpPr>
          <p:nvPr/>
        </p:nvSpPr>
        <p:spPr bwMode="auto">
          <a:xfrm>
            <a:off x="4250458" y="1589615"/>
            <a:ext cx="583195" cy="381513"/>
          </a:xfrm>
          <a:custGeom>
            <a:avLst/>
            <a:gdLst/>
            <a:ahLst/>
            <a:cxnLst>
              <a:cxn ang="0">
                <a:pos x="271" y="20"/>
              </a:cxn>
              <a:cxn ang="0">
                <a:pos x="245" y="16"/>
              </a:cxn>
              <a:cxn ang="0">
                <a:pos x="241" y="28"/>
              </a:cxn>
              <a:cxn ang="0">
                <a:pos x="233" y="40"/>
              </a:cxn>
              <a:cxn ang="0">
                <a:pos x="207" y="34"/>
              </a:cxn>
              <a:cxn ang="0">
                <a:pos x="187" y="30"/>
              </a:cxn>
              <a:cxn ang="0">
                <a:pos x="173" y="36"/>
              </a:cxn>
              <a:cxn ang="0">
                <a:pos x="141" y="40"/>
              </a:cxn>
              <a:cxn ang="0">
                <a:pos x="118" y="64"/>
              </a:cxn>
              <a:cxn ang="0">
                <a:pos x="106" y="96"/>
              </a:cxn>
              <a:cxn ang="0">
                <a:pos x="88" y="108"/>
              </a:cxn>
              <a:cxn ang="0">
                <a:pos x="80" y="118"/>
              </a:cxn>
              <a:cxn ang="0">
                <a:pos x="84" y="140"/>
              </a:cxn>
              <a:cxn ang="0">
                <a:pos x="88" y="164"/>
              </a:cxn>
              <a:cxn ang="0">
                <a:pos x="76" y="200"/>
              </a:cxn>
              <a:cxn ang="0">
                <a:pos x="64" y="188"/>
              </a:cxn>
              <a:cxn ang="0">
                <a:pos x="50" y="206"/>
              </a:cxn>
              <a:cxn ang="0">
                <a:pos x="26" y="212"/>
              </a:cxn>
              <a:cxn ang="0">
                <a:pos x="8" y="202"/>
              </a:cxn>
              <a:cxn ang="0">
                <a:pos x="12" y="194"/>
              </a:cxn>
              <a:cxn ang="0">
                <a:pos x="2" y="188"/>
              </a:cxn>
              <a:cxn ang="0">
                <a:pos x="8" y="174"/>
              </a:cxn>
              <a:cxn ang="0">
                <a:pos x="0" y="144"/>
              </a:cxn>
              <a:cxn ang="0">
                <a:pos x="22" y="136"/>
              </a:cxn>
              <a:cxn ang="0">
                <a:pos x="38" y="124"/>
              </a:cxn>
              <a:cxn ang="0">
                <a:pos x="54" y="120"/>
              </a:cxn>
              <a:cxn ang="0">
                <a:pos x="64" y="118"/>
              </a:cxn>
              <a:cxn ang="0">
                <a:pos x="62" y="116"/>
              </a:cxn>
              <a:cxn ang="0">
                <a:pos x="60" y="106"/>
              </a:cxn>
              <a:cxn ang="0">
                <a:pos x="80" y="94"/>
              </a:cxn>
              <a:cxn ang="0">
                <a:pos x="94" y="68"/>
              </a:cxn>
              <a:cxn ang="0">
                <a:pos x="106" y="60"/>
              </a:cxn>
              <a:cxn ang="0">
                <a:pos x="112" y="50"/>
              </a:cxn>
              <a:cxn ang="0">
                <a:pos x="106" y="44"/>
              </a:cxn>
              <a:cxn ang="0">
                <a:pos x="106" y="42"/>
              </a:cxn>
              <a:cxn ang="0">
                <a:pos x="114" y="34"/>
              </a:cxn>
              <a:cxn ang="0">
                <a:pos x="135" y="36"/>
              </a:cxn>
              <a:cxn ang="0">
                <a:pos x="139" y="26"/>
              </a:cxn>
              <a:cxn ang="0">
                <a:pos x="161" y="16"/>
              </a:cxn>
              <a:cxn ang="0">
                <a:pos x="169" y="16"/>
              </a:cxn>
              <a:cxn ang="0">
                <a:pos x="185" y="12"/>
              </a:cxn>
              <a:cxn ang="0">
                <a:pos x="227" y="0"/>
              </a:cxn>
              <a:cxn ang="0">
                <a:pos x="243" y="8"/>
              </a:cxn>
              <a:cxn ang="0">
                <a:pos x="251" y="2"/>
              </a:cxn>
              <a:cxn ang="0">
                <a:pos x="271" y="4"/>
              </a:cxn>
              <a:cxn ang="0">
                <a:pos x="289" y="14"/>
              </a:cxn>
              <a:cxn ang="0">
                <a:pos x="287" y="18"/>
              </a:cxn>
              <a:cxn ang="0">
                <a:pos x="295" y="26"/>
              </a:cxn>
            </a:cxnLst>
            <a:rect l="0" t="0" r="r" b="b"/>
            <a:pathLst>
              <a:path w="295" h="214">
                <a:moveTo>
                  <a:pt x="285" y="28"/>
                </a:moveTo>
                <a:lnTo>
                  <a:pt x="277" y="24"/>
                </a:lnTo>
                <a:lnTo>
                  <a:pt x="271" y="20"/>
                </a:lnTo>
                <a:lnTo>
                  <a:pt x="263" y="16"/>
                </a:lnTo>
                <a:lnTo>
                  <a:pt x="251" y="14"/>
                </a:lnTo>
                <a:lnTo>
                  <a:pt x="245" y="16"/>
                </a:lnTo>
                <a:lnTo>
                  <a:pt x="243" y="18"/>
                </a:lnTo>
                <a:lnTo>
                  <a:pt x="241" y="22"/>
                </a:lnTo>
                <a:lnTo>
                  <a:pt x="241" y="28"/>
                </a:lnTo>
                <a:lnTo>
                  <a:pt x="239" y="32"/>
                </a:lnTo>
                <a:lnTo>
                  <a:pt x="237" y="36"/>
                </a:lnTo>
                <a:lnTo>
                  <a:pt x="233" y="40"/>
                </a:lnTo>
                <a:lnTo>
                  <a:pt x="227" y="40"/>
                </a:lnTo>
                <a:lnTo>
                  <a:pt x="217" y="38"/>
                </a:lnTo>
                <a:lnTo>
                  <a:pt x="207" y="34"/>
                </a:lnTo>
                <a:lnTo>
                  <a:pt x="197" y="32"/>
                </a:lnTo>
                <a:lnTo>
                  <a:pt x="189" y="30"/>
                </a:lnTo>
                <a:lnTo>
                  <a:pt x="187" y="30"/>
                </a:lnTo>
                <a:lnTo>
                  <a:pt x="185" y="30"/>
                </a:lnTo>
                <a:lnTo>
                  <a:pt x="181" y="32"/>
                </a:lnTo>
                <a:lnTo>
                  <a:pt x="173" y="36"/>
                </a:lnTo>
                <a:lnTo>
                  <a:pt x="165" y="38"/>
                </a:lnTo>
                <a:lnTo>
                  <a:pt x="153" y="38"/>
                </a:lnTo>
                <a:lnTo>
                  <a:pt x="141" y="40"/>
                </a:lnTo>
                <a:lnTo>
                  <a:pt x="135" y="44"/>
                </a:lnTo>
                <a:lnTo>
                  <a:pt x="126" y="54"/>
                </a:lnTo>
                <a:lnTo>
                  <a:pt x="118" y="64"/>
                </a:lnTo>
                <a:lnTo>
                  <a:pt x="112" y="74"/>
                </a:lnTo>
                <a:lnTo>
                  <a:pt x="108" y="86"/>
                </a:lnTo>
                <a:lnTo>
                  <a:pt x="106" y="96"/>
                </a:lnTo>
                <a:lnTo>
                  <a:pt x="106" y="108"/>
                </a:lnTo>
                <a:lnTo>
                  <a:pt x="98" y="108"/>
                </a:lnTo>
                <a:lnTo>
                  <a:pt x="88" y="108"/>
                </a:lnTo>
                <a:lnTo>
                  <a:pt x="84" y="110"/>
                </a:lnTo>
                <a:lnTo>
                  <a:pt x="82" y="114"/>
                </a:lnTo>
                <a:lnTo>
                  <a:pt x="80" y="118"/>
                </a:lnTo>
                <a:lnTo>
                  <a:pt x="80" y="122"/>
                </a:lnTo>
                <a:lnTo>
                  <a:pt x="80" y="130"/>
                </a:lnTo>
                <a:lnTo>
                  <a:pt x="84" y="140"/>
                </a:lnTo>
                <a:lnTo>
                  <a:pt x="88" y="154"/>
                </a:lnTo>
                <a:lnTo>
                  <a:pt x="88" y="162"/>
                </a:lnTo>
                <a:lnTo>
                  <a:pt x="88" y="164"/>
                </a:lnTo>
                <a:lnTo>
                  <a:pt x="90" y="166"/>
                </a:lnTo>
                <a:lnTo>
                  <a:pt x="96" y="170"/>
                </a:lnTo>
                <a:lnTo>
                  <a:pt x="76" y="200"/>
                </a:lnTo>
                <a:lnTo>
                  <a:pt x="70" y="198"/>
                </a:lnTo>
                <a:lnTo>
                  <a:pt x="68" y="196"/>
                </a:lnTo>
                <a:lnTo>
                  <a:pt x="64" y="188"/>
                </a:lnTo>
                <a:lnTo>
                  <a:pt x="62" y="192"/>
                </a:lnTo>
                <a:lnTo>
                  <a:pt x="62" y="196"/>
                </a:lnTo>
                <a:lnTo>
                  <a:pt x="50" y="206"/>
                </a:lnTo>
                <a:lnTo>
                  <a:pt x="42" y="210"/>
                </a:lnTo>
                <a:lnTo>
                  <a:pt x="36" y="214"/>
                </a:lnTo>
                <a:lnTo>
                  <a:pt x="26" y="212"/>
                </a:lnTo>
                <a:lnTo>
                  <a:pt x="18" y="208"/>
                </a:lnTo>
                <a:lnTo>
                  <a:pt x="10" y="204"/>
                </a:lnTo>
                <a:lnTo>
                  <a:pt x="8" y="202"/>
                </a:lnTo>
                <a:lnTo>
                  <a:pt x="8" y="200"/>
                </a:lnTo>
                <a:lnTo>
                  <a:pt x="10" y="196"/>
                </a:lnTo>
                <a:lnTo>
                  <a:pt x="12" y="194"/>
                </a:lnTo>
                <a:lnTo>
                  <a:pt x="6" y="192"/>
                </a:lnTo>
                <a:lnTo>
                  <a:pt x="2" y="190"/>
                </a:lnTo>
                <a:lnTo>
                  <a:pt x="2" y="188"/>
                </a:lnTo>
                <a:lnTo>
                  <a:pt x="2" y="184"/>
                </a:lnTo>
                <a:lnTo>
                  <a:pt x="4" y="178"/>
                </a:lnTo>
                <a:lnTo>
                  <a:pt x="8" y="174"/>
                </a:lnTo>
                <a:lnTo>
                  <a:pt x="4" y="168"/>
                </a:lnTo>
                <a:lnTo>
                  <a:pt x="2" y="160"/>
                </a:lnTo>
                <a:lnTo>
                  <a:pt x="0" y="144"/>
                </a:lnTo>
                <a:lnTo>
                  <a:pt x="10" y="144"/>
                </a:lnTo>
                <a:lnTo>
                  <a:pt x="16" y="140"/>
                </a:lnTo>
                <a:lnTo>
                  <a:pt x="22" y="136"/>
                </a:lnTo>
                <a:lnTo>
                  <a:pt x="24" y="128"/>
                </a:lnTo>
                <a:lnTo>
                  <a:pt x="32" y="128"/>
                </a:lnTo>
                <a:lnTo>
                  <a:pt x="38" y="124"/>
                </a:lnTo>
                <a:lnTo>
                  <a:pt x="44" y="122"/>
                </a:lnTo>
                <a:lnTo>
                  <a:pt x="52" y="122"/>
                </a:lnTo>
                <a:lnTo>
                  <a:pt x="54" y="120"/>
                </a:lnTo>
                <a:lnTo>
                  <a:pt x="58" y="116"/>
                </a:lnTo>
                <a:lnTo>
                  <a:pt x="60" y="118"/>
                </a:lnTo>
                <a:lnTo>
                  <a:pt x="64" y="118"/>
                </a:lnTo>
                <a:lnTo>
                  <a:pt x="70" y="118"/>
                </a:lnTo>
                <a:lnTo>
                  <a:pt x="72" y="116"/>
                </a:lnTo>
                <a:lnTo>
                  <a:pt x="62" y="116"/>
                </a:lnTo>
                <a:lnTo>
                  <a:pt x="60" y="114"/>
                </a:lnTo>
                <a:lnTo>
                  <a:pt x="58" y="110"/>
                </a:lnTo>
                <a:lnTo>
                  <a:pt x="60" y="106"/>
                </a:lnTo>
                <a:lnTo>
                  <a:pt x="66" y="102"/>
                </a:lnTo>
                <a:lnTo>
                  <a:pt x="76" y="98"/>
                </a:lnTo>
                <a:lnTo>
                  <a:pt x="80" y="94"/>
                </a:lnTo>
                <a:lnTo>
                  <a:pt x="86" y="86"/>
                </a:lnTo>
                <a:lnTo>
                  <a:pt x="92" y="70"/>
                </a:lnTo>
                <a:lnTo>
                  <a:pt x="94" y="68"/>
                </a:lnTo>
                <a:lnTo>
                  <a:pt x="96" y="68"/>
                </a:lnTo>
                <a:lnTo>
                  <a:pt x="102" y="64"/>
                </a:lnTo>
                <a:lnTo>
                  <a:pt x="106" y="60"/>
                </a:lnTo>
                <a:lnTo>
                  <a:pt x="108" y="56"/>
                </a:lnTo>
                <a:lnTo>
                  <a:pt x="108" y="52"/>
                </a:lnTo>
                <a:lnTo>
                  <a:pt x="112" y="50"/>
                </a:lnTo>
                <a:lnTo>
                  <a:pt x="116" y="48"/>
                </a:lnTo>
                <a:lnTo>
                  <a:pt x="116" y="40"/>
                </a:lnTo>
                <a:lnTo>
                  <a:pt x="106" y="44"/>
                </a:lnTo>
                <a:lnTo>
                  <a:pt x="104" y="44"/>
                </a:lnTo>
                <a:lnTo>
                  <a:pt x="100" y="42"/>
                </a:lnTo>
                <a:lnTo>
                  <a:pt x="106" y="42"/>
                </a:lnTo>
                <a:lnTo>
                  <a:pt x="106" y="40"/>
                </a:lnTo>
                <a:lnTo>
                  <a:pt x="112" y="38"/>
                </a:lnTo>
                <a:lnTo>
                  <a:pt x="114" y="34"/>
                </a:lnTo>
                <a:lnTo>
                  <a:pt x="116" y="34"/>
                </a:lnTo>
                <a:lnTo>
                  <a:pt x="120" y="36"/>
                </a:lnTo>
                <a:lnTo>
                  <a:pt x="135" y="36"/>
                </a:lnTo>
                <a:lnTo>
                  <a:pt x="135" y="28"/>
                </a:lnTo>
                <a:lnTo>
                  <a:pt x="135" y="26"/>
                </a:lnTo>
                <a:lnTo>
                  <a:pt x="139" y="26"/>
                </a:lnTo>
                <a:lnTo>
                  <a:pt x="145" y="28"/>
                </a:lnTo>
                <a:lnTo>
                  <a:pt x="155" y="22"/>
                </a:lnTo>
                <a:lnTo>
                  <a:pt x="161" y="16"/>
                </a:lnTo>
                <a:lnTo>
                  <a:pt x="165" y="12"/>
                </a:lnTo>
                <a:lnTo>
                  <a:pt x="167" y="14"/>
                </a:lnTo>
                <a:lnTo>
                  <a:pt x="169" y="16"/>
                </a:lnTo>
                <a:lnTo>
                  <a:pt x="175" y="18"/>
                </a:lnTo>
                <a:lnTo>
                  <a:pt x="181" y="16"/>
                </a:lnTo>
                <a:lnTo>
                  <a:pt x="185" y="12"/>
                </a:lnTo>
                <a:lnTo>
                  <a:pt x="189" y="8"/>
                </a:lnTo>
                <a:lnTo>
                  <a:pt x="209" y="4"/>
                </a:lnTo>
                <a:lnTo>
                  <a:pt x="227" y="0"/>
                </a:lnTo>
                <a:lnTo>
                  <a:pt x="233" y="2"/>
                </a:lnTo>
                <a:lnTo>
                  <a:pt x="239" y="4"/>
                </a:lnTo>
                <a:lnTo>
                  <a:pt x="243" y="8"/>
                </a:lnTo>
                <a:lnTo>
                  <a:pt x="245" y="12"/>
                </a:lnTo>
                <a:lnTo>
                  <a:pt x="249" y="6"/>
                </a:lnTo>
                <a:lnTo>
                  <a:pt x="251" y="2"/>
                </a:lnTo>
                <a:lnTo>
                  <a:pt x="257" y="2"/>
                </a:lnTo>
                <a:lnTo>
                  <a:pt x="265" y="2"/>
                </a:lnTo>
                <a:lnTo>
                  <a:pt x="271" y="4"/>
                </a:lnTo>
                <a:lnTo>
                  <a:pt x="279" y="6"/>
                </a:lnTo>
                <a:lnTo>
                  <a:pt x="289" y="6"/>
                </a:lnTo>
                <a:lnTo>
                  <a:pt x="289" y="14"/>
                </a:lnTo>
                <a:lnTo>
                  <a:pt x="277" y="14"/>
                </a:lnTo>
                <a:lnTo>
                  <a:pt x="281" y="16"/>
                </a:lnTo>
                <a:lnTo>
                  <a:pt x="287" y="18"/>
                </a:lnTo>
                <a:lnTo>
                  <a:pt x="291" y="18"/>
                </a:lnTo>
                <a:lnTo>
                  <a:pt x="295" y="14"/>
                </a:lnTo>
                <a:lnTo>
                  <a:pt x="295" y="26"/>
                </a:lnTo>
                <a:lnTo>
                  <a:pt x="279" y="30"/>
                </a:lnTo>
                <a:lnTo>
                  <a:pt x="285" y="2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6" name="Freeform 146">
            <a:extLst>
              <a:ext uri="{FF2B5EF4-FFF2-40B4-BE49-F238E27FC236}">
                <a16:creationId xmlns:a16="http://schemas.microsoft.com/office/drawing/2014/main" id="{B0DFB989-7822-46FB-96CF-C80ECD842889}"/>
              </a:ext>
            </a:extLst>
          </p:cNvPr>
          <p:cNvSpPr>
            <a:spLocks/>
          </p:cNvSpPr>
          <p:nvPr/>
        </p:nvSpPr>
        <p:spPr bwMode="auto">
          <a:xfrm>
            <a:off x="4719066" y="1917554"/>
            <a:ext cx="114587" cy="61691"/>
          </a:xfrm>
          <a:custGeom>
            <a:avLst/>
            <a:gdLst/>
            <a:ahLst/>
            <a:cxnLst>
              <a:cxn ang="0">
                <a:pos x="58" y="34"/>
              </a:cxn>
              <a:cxn ang="0">
                <a:pos x="52" y="24"/>
              </a:cxn>
              <a:cxn ang="0">
                <a:pos x="48" y="16"/>
              </a:cxn>
              <a:cxn ang="0">
                <a:pos x="52" y="16"/>
              </a:cxn>
              <a:cxn ang="0">
                <a:pos x="54" y="14"/>
              </a:cxn>
              <a:cxn ang="0">
                <a:pos x="54" y="4"/>
              </a:cxn>
              <a:cxn ang="0">
                <a:pos x="48" y="6"/>
              </a:cxn>
              <a:cxn ang="0">
                <a:pos x="44" y="6"/>
              </a:cxn>
              <a:cxn ang="0">
                <a:pos x="40" y="4"/>
              </a:cxn>
              <a:cxn ang="0">
                <a:pos x="32" y="0"/>
              </a:cxn>
              <a:cxn ang="0">
                <a:pos x="24" y="0"/>
              </a:cxn>
              <a:cxn ang="0">
                <a:pos x="14" y="2"/>
              </a:cxn>
              <a:cxn ang="0">
                <a:pos x="6" y="6"/>
              </a:cxn>
              <a:cxn ang="0">
                <a:pos x="2" y="8"/>
              </a:cxn>
              <a:cxn ang="0">
                <a:pos x="0" y="10"/>
              </a:cxn>
              <a:cxn ang="0">
                <a:pos x="2" y="16"/>
              </a:cxn>
              <a:cxn ang="0">
                <a:pos x="6" y="20"/>
              </a:cxn>
              <a:cxn ang="0">
                <a:pos x="10" y="22"/>
              </a:cxn>
              <a:cxn ang="0">
                <a:pos x="18" y="24"/>
              </a:cxn>
              <a:cxn ang="0">
                <a:pos x="26" y="22"/>
              </a:cxn>
              <a:cxn ang="0">
                <a:pos x="30" y="22"/>
              </a:cxn>
              <a:cxn ang="0">
                <a:pos x="34" y="24"/>
              </a:cxn>
              <a:cxn ang="0">
                <a:pos x="36" y="28"/>
              </a:cxn>
              <a:cxn ang="0">
                <a:pos x="38" y="32"/>
              </a:cxn>
              <a:cxn ang="0">
                <a:pos x="42" y="34"/>
              </a:cxn>
              <a:cxn ang="0">
                <a:pos x="44" y="34"/>
              </a:cxn>
              <a:cxn ang="0">
                <a:pos x="46" y="30"/>
              </a:cxn>
              <a:cxn ang="0">
                <a:pos x="50" y="30"/>
              </a:cxn>
              <a:cxn ang="0">
                <a:pos x="54" y="32"/>
              </a:cxn>
              <a:cxn ang="0">
                <a:pos x="58" y="34"/>
              </a:cxn>
            </a:cxnLst>
            <a:rect l="0" t="0" r="r" b="b"/>
            <a:pathLst>
              <a:path w="58" h="34">
                <a:moveTo>
                  <a:pt x="58" y="34"/>
                </a:moveTo>
                <a:lnTo>
                  <a:pt x="52" y="24"/>
                </a:lnTo>
                <a:lnTo>
                  <a:pt x="48" y="16"/>
                </a:lnTo>
                <a:lnTo>
                  <a:pt x="52" y="16"/>
                </a:lnTo>
                <a:lnTo>
                  <a:pt x="54" y="14"/>
                </a:lnTo>
                <a:lnTo>
                  <a:pt x="54" y="4"/>
                </a:lnTo>
                <a:lnTo>
                  <a:pt x="48" y="6"/>
                </a:lnTo>
                <a:lnTo>
                  <a:pt x="44" y="6"/>
                </a:lnTo>
                <a:lnTo>
                  <a:pt x="40" y="4"/>
                </a:lnTo>
                <a:lnTo>
                  <a:pt x="32" y="0"/>
                </a:lnTo>
                <a:lnTo>
                  <a:pt x="24" y="0"/>
                </a:lnTo>
                <a:lnTo>
                  <a:pt x="14" y="2"/>
                </a:lnTo>
                <a:lnTo>
                  <a:pt x="6" y="6"/>
                </a:lnTo>
                <a:lnTo>
                  <a:pt x="2" y="8"/>
                </a:lnTo>
                <a:lnTo>
                  <a:pt x="0" y="10"/>
                </a:lnTo>
                <a:lnTo>
                  <a:pt x="2" y="16"/>
                </a:lnTo>
                <a:lnTo>
                  <a:pt x="6" y="20"/>
                </a:lnTo>
                <a:lnTo>
                  <a:pt x="10" y="22"/>
                </a:lnTo>
                <a:lnTo>
                  <a:pt x="18" y="24"/>
                </a:lnTo>
                <a:lnTo>
                  <a:pt x="26" y="22"/>
                </a:lnTo>
                <a:lnTo>
                  <a:pt x="30" y="22"/>
                </a:lnTo>
                <a:lnTo>
                  <a:pt x="34" y="24"/>
                </a:lnTo>
                <a:lnTo>
                  <a:pt x="36" y="28"/>
                </a:lnTo>
                <a:lnTo>
                  <a:pt x="38" y="32"/>
                </a:lnTo>
                <a:lnTo>
                  <a:pt x="42" y="34"/>
                </a:lnTo>
                <a:lnTo>
                  <a:pt x="44" y="34"/>
                </a:lnTo>
                <a:lnTo>
                  <a:pt x="46" y="30"/>
                </a:lnTo>
                <a:lnTo>
                  <a:pt x="50" y="30"/>
                </a:lnTo>
                <a:lnTo>
                  <a:pt x="54" y="32"/>
                </a:lnTo>
                <a:lnTo>
                  <a:pt x="58" y="3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7" name="Freeform 147">
            <a:extLst>
              <a:ext uri="{FF2B5EF4-FFF2-40B4-BE49-F238E27FC236}">
                <a16:creationId xmlns:a16="http://schemas.microsoft.com/office/drawing/2014/main" id="{A0565839-DAF4-45D7-8FA1-41FF64F1607D}"/>
              </a:ext>
            </a:extLst>
          </p:cNvPr>
          <p:cNvSpPr>
            <a:spLocks/>
          </p:cNvSpPr>
          <p:nvPr/>
        </p:nvSpPr>
        <p:spPr bwMode="auto">
          <a:xfrm>
            <a:off x="4676310" y="1956515"/>
            <a:ext cx="169315" cy="89290"/>
          </a:xfrm>
          <a:custGeom>
            <a:avLst/>
            <a:gdLst/>
            <a:ahLst/>
            <a:cxnLst>
              <a:cxn ang="0">
                <a:pos x="68" y="50"/>
              </a:cxn>
              <a:cxn ang="0">
                <a:pos x="74" y="50"/>
              </a:cxn>
              <a:cxn ang="0">
                <a:pos x="80" y="48"/>
              </a:cxn>
              <a:cxn ang="0">
                <a:pos x="84" y="46"/>
              </a:cxn>
              <a:cxn ang="0">
                <a:pos x="86" y="42"/>
              </a:cxn>
              <a:cxn ang="0">
                <a:pos x="86" y="38"/>
              </a:cxn>
              <a:cxn ang="0">
                <a:pos x="84" y="30"/>
              </a:cxn>
              <a:cxn ang="0">
                <a:pos x="84" y="26"/>
              </a:cxn>
              <a:cxn ang="0">
                <a:pos x="80" y="12"/>
              </a:cxn>
              <a:cxn ang="0">
                <a:pos x="76" y="10"/>
              </a:cxn>
              <a:cxn ang="0">
                <a:pos x="72" y="8"/>
              </a:cxn>
              <a:cxn ang="0">
                <a:pos x="68" y="8"/>
              </a:cxn>
              <a:cxn ang="0">
                <a:pos x="66" y="12"/>
              </a:cxn>
              <a:cxn ang="0">
                <a:pos x="64" y="12"/>
              </a:cxn>
              <a:cxn ang="0">
                <a:pos x="60" y="10"/>
              </a:cxn>
              <a:cxn ang="0">
                <a:pos x="58" y="6"/>
              </a:cxn>
              <a:cxn ang="0">
                <a:pos x="56" y="2"/>
              </a:cxn>
              <a:cxn ang="0">
                <a:pos x="52" y="0"/>
              </a:cxn>
              <a:cxn ang="0">
                <a:pos x="48" y="0"/>
              </a:cxn>
              <a:cxn ang="0">
                <a:pos x="40" y="2"/>
              </a:cxn>
              <a:cxn ang="0">
                <a:pos x="42" y="4"/>
              </a:cxn>
              <a:cxn ang="0">
                <a:pos x="44" y="12"/>
              </a:cxn>
              <a:cxn ang="0">
                <a:pos x="42" y="16"/>
              </a:cxn>
              <a:cxn ang="0">
                <a:pos x="42" y="18"/>
              </a:cxn>
              <a:cxn ang="0">
                <a:pos x="38" y="22"/>
              </a:cxn>
              <a:cxn ang="0">
                <a:pos x="32" y="24"/>
              </a:cxn>
              <a:cxn ang="0">
                <a:pos x="30" y="24"/>
              </a:cxn>
              <a:cxn ang="0">
                <a:pos x="28" y="22"/>
              </a:cxn>
              <a:cxn ang="0">
                <a:pos x="24" y="18"/>
              </a:cxn>
              <a:cxn ang="0">
                <a:pos x="18" y="12"/>
              </a:cxn>
              <a:cxn ang="0">
                <a:pos x="16" y="10"/>
              </a:cxn>
              <a:cxn ang="0">
                <a:pos x="12" y="10"/>
              </a:cxn>
              <a:cxn ang="0">
                <a:pos x="8" y="10"/>
              </a:cxn>
              <a:cxn ang="0">
                <a:pos x="6" y="12"/>
              </a:cxn>
              <a:cxn ang="0">
                <a:pos x="2" y="20"/>
              </a:cxn>
              <a:cxn ang="0">
                <a:pos x="2" y="26"/>
              </a:cxn>
              <a:cxn ang="0">
                <a:pos x="0" y="30"/>
              </a:cxn>
              <a:cxn ang="0">
                <a:pos x="2" y="38"/>
              </a:cxn>
              <a:cxn ang="0">
                <a:pos x="2" y="36"/>
              </a:cxn>
              <a:cxn ang="0">
                <a:pos x="4" y="34"/>
              </a:cxn>
              <a:cxn ang="0">
                <a:pos x="12" y="34"/>
              </a:cxn>
              <a:cxn ang="0">
                <a:pos x="24" y="34"/>
              </a:cxn>
              <a:cxn ang="0">
                <a:pos x="28" y="36"/>
              </a:cxn>
              <a:cxn ang="0">
                <a:pos x="34" y="38"/>
              </a:cxn>
              <a:cxn ang="0">
                <a:pos x="42" y="36"/>
              </a:cxn>
              <a:cxn ang="0">
                <a:pos x="50" y="32"/>
              </a:cxn>
              <a:cxn ang="0">
                <a:pos x="54" y="38"/>
              </a:cxn>
              <a:cxn ang="0">
                <a:pos x="58" y="40"/>
              </a:cxn>
              <a:cxn ang="0">
                <a:pos x="58" y="44"/>
              </a:cxn>
              <a:cxn ang="0">
                <a:pos x="60" y="48"/>
              </a:cxn>
              <a:cxn ang="0">
                <a:pos x="66" y="50"/>
              </a:cxn>
              <a:cxn ang="0">
                <a:pos x="68" y="50"/>
              </a:cxn>
            </a:cxnLst>
            <a:rect l="0" t="0" r="r" b="b"/>
            <a:pathLst>
              <a:path w="86" h="50">
                <a:moveTo>
                  <a:pt x="68" y="50"/>
                </a:moveTo>
                <a:lnTo>
                  <a:pt x="74" y="50"/>
                </a:lnTo>
                <a:lnTo>
                  <a:pt x="80" y="48"/>
                </a:lnTo>
                <a:lnTo>
                  <a:pt x="84" y="46"/>
                </a:lnTo>
                <a:lnTo>
                  <a:pt x="86" y="42"/>
                </a:lnTo>
                <a:lnTo>
                  <a:pt x="86" y="38"/>
                </a:lnTo>
                <a:lnTo>
                  <a:pt x="84" y="30"/>
                </a:lnTo>
                <a:lnTo>
                  <a:pt x="84" y="26"/>
                </a:lnTo>
                <a:lnTo>
                  <a:pt x="80" y="12"/>
                </a:lnTo>
                <a:lnTo>
                  <a:pt x="76" y="10"/>
                </a:lnTo>
                <a:lnTo>
                  <a:pt x="72" y="8"/>
                </a:lnTo>
                <a:lnTo>
                  <a:pt x="68" y="8"/>
                </a:lnTo>
                <a:lnTo>
                  <a:pt x="66" y="12"/>
                </a:lnTo>
                <a:lnTo>
                  <a:pt x="64" y="12"/>
                </a:lnTo>
                <a:lnTo>
                  <a:pt x="60" y="10"/>
                </a:lnTo>
                <a:lnTo>
                  <a:pt x="58" y="6"/>
                </a:lnTo>
                <a:lnTo>
                  <a:pt x="56" y="2"/>
                </a:lnTo>
                <a:lnTo>
                  <a:pt x="52" y="0"/>
                </a:lnTo>
                <a:lnTo>
                  <a:pt x="48" y="0"/>
                </a:lnTo>
                <a:lnTo>
                  <a:pt x="40" y="2"/>
                </a:lnTo>
                <a:lnTo>
                  <a:pt x="42" y="4"/>
                </a:lnTo>
                <a:lnTo>
                  <a:pt x="44" y="12"/>
                </a:lnTo>
                <a:lnTo>
                  <a:pt x="42" y="16"/>
                </a:lnTo>
                <a:lnTo>
                  <a:pt x="42" y="18"/>
                </a:lnTo>
                <a:lnTo>
                  <a:pt x="38" y="22"/>
                </a:lnTo>
                <a:lnTo>
                  <a:pt x="32" y="24"/>
                </a:lnTo>
                <a:lnTo>
                  <a:pt x="30" y="24"/>
                </a:lnTo>
                <a:lnTo>
                  <a:pt x="28" y="22"/>
                </a:lnTo>
                <a:lnTo>
                  <a:pt x="24" y="18"/>
                </a:lnTo>
                <a:lnTo>
                  <a:pt x="18" y="12"/>
                </a:lnTo>
                <a:lnTo>
                  <a:pt x="16" y="10"/>
                </a:lnTo>
                <a:lnTo>
                  <a:pt x="12" y="10"/>
                </a:lnTo>
                <a:lnTo>
                  <a:pt x="8" y="10"/>
                </a:lnTo>
                <a:lnTo>
                  <a:pt x="6" y="12"/>
                </a:lnTo>
                <a:lnTo>
                  <a:pt x="2" y="20"/>
                </a:lnTo>
                <a:lnTo>
                  <a:pt x="2" y="26"/>
                </a:lnTo>
                <a:lnTo>
                  <a:pt x="0" y="30"/>
                </a:lnTo>
                <a:lnTo>
                  <a:pt x="2" y="38"/>
                </a:lnTo>
                <a:lnTo>
                  <a:pt x="2" y="36"/>
                </a:lnTo>
                <a:lnTo>
                  <a:pt x="4" y="34"/>
                </a:lnTo>
                <a:lnTo>
                  <a:pt x="12" y="34"/>
                </a:lnTo>
                <a:lnTo>
                  <a:pt x="24" y="34"/>
                </a:lnTo>
                <a:lnTo>
                  <a:pt x="28" y="36"/>
                </a:lnTo>
                <a:lnTo>
                  <a:pt x="34" y="38"/>
                </a:lnTo>
                <a:lnTo>
                  <a:pt x="42" y="36"/>
                </a:lnTo>
                <a:lnTo>
                  <a:pt x="50" y="32"/>
                </a:lnTo>
                <a:lnTo>
                  <a:pt x="54" y="38"/>
                </a:lnTo>
                <a:lnTo>
                  <a:pt x="58" y="40"/>
                </a:lnTo>
                <a:lnTo>
                  <a:pt x="58" y="44"/>
                </a:lnTo>
                <a:lnTo>
                  <a:pt x="60" y="48"/>
                </a:lnTo>
                <a:lnTo>
                  <a:pt x="66" y="50"/>
                </a:lnTo>
                <a:lnTo>
                  <a:pt x="68" y="5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8" name="Freeform 148">
            <a:extLst>
              <a:ext uri="{FF2B5EF4-FFF2-40B4-BE49-F238E27FC236}">
                <a16:creationId xmlns:a16="http://schemas.microsoft.com/office/drawing/2014/main" id="{A5548455-485E-4CAA-85EB-C725678B49E8}"/>
              </a:ext>
            </a:extLst>
          </p:cNvPr>
          <p:cNvSpPr>
            <a:spLocks/>
          </p:cNvSpPr>
          <p:nvPr/>
        </p:nvSpPr>
        <p:spPr bwMode="auto">
          <a:xfrm>
            <a:off x="4676309" y="2014959"/>
            <a:ext cx="124849" cy="84420"/>
          </a:xfrm>
          <a:custGeom>
            <a:avLst/>
            <a:gdLst/>
            <a:ahLst/>
            <a:cxnLst>
              <a:cxn ang="0">
                <a:pos x="64" y="18"/>
              </a:cxn>
              <a:cxn ang="0">
                <a:pos x="60" y="16"/>
              </a:cxn>
              <a:cxn ang="0">
                <a:pos x="58" y="12"/>
              </a:cxn>
              <a:cxn ang="0">
                <a:pos x="58" y="8"/>
              </a:cxn>
              <a:cxn ang="0">
                <a:pos x="54" y="6"/>
              </a:cxn>
              <a:cxn ang="0">
                <a:pos x="50" y="0"/>
              </a:cxn>
              <a:cxn ang="0">
                <a:pos x="42" y="4"/>
              </a:cxn>
              <a:cxn ang="0">
                <a:pos x="34" y="6"/>
              </a:cxn>
              <a:cxn ang="0">
                <a:pos x="28" y="4"/>
              </a:cxn>
              <a:cxn ang="0">
                <a:pos x="24" y="2"/>
              </a:cxn>
              <a:cxn ang="0">
                <a:pos x="12" y="2"/>
              </a:cxn>
              <a:cxn ang="0">
                <a:pos x="4" y="2"/>
              </a:cxn>
              <a:cxn ang="0">
                <a:pos x="2" y="4"/>
              </a:cxn>
              <a:cxn ang="0">
                <a:pos x="0" y="6"/>
              </a:cxn>
              <a:cxn ang="0">
                <a:pos x="0" y="20"/>
              </a:cxn>
              <a:cxn ang="0">
                <a:pos x="8" y="20"/>
              </a:cxn>
              <a:cxn ang="0">
                <a:pos x="16" y="20"/>
              </a:cxn>
              <a:cxn ang="0">
                <a:pos x="22" y="22"/>
              </a:cxn>
              <a:cxn ang="0">
                <a:pos x="28" y="24"/>
              </a:cxn>
              <a:cxn ang="0">
                <a:pos x="26" y="36"/>
              </a:cxn>
              <a:cxn ang="0">
                <a:pos x="30" y="40"/>
              </a:cxn>
              <a:cxn ang="0">
                <a:pos x="32" y="40"/>
              </a:cxn>
              <a:cxn ang="0">
                <a:pos x="34" y="42"/>
              </a:cxn>
              <a:cxn ang="0">
                <a:pos x="38" y="46"/>
              </a:cxn>
              <a:cxn ang="0">
                <a:pos x="40" y="48"/>
              </a:cxn>
              <a:cxn ang="0">
                <a:pos x="44" y="46"/>
              </a:cxn>
              <a:cxn ang="0">
                <a:pos x="50" y="46"/>
              </a:cxn>
              <a:cxn ang="0">
                <a:pos x="56" y="34"/>
              </a:cxn>
              <a:cxn ang="0">
                <a:pos x="58" y="30"/>
              </a:cxn>
              <a:cxn ang="0">
                <a:pos x="64" y="24"/>
              </a:cxn>
              <a:cxn ang="0">
                <a:pos x="64" y="20"/>
              </a:cxn>
              <a:cxn ang="0">
                <a:pos x="64" y="18"/>
              </a:cxn>
            </a:cxnLst>
            <a:rect l="0" t="0" r="r" b="b"/>
            <a:pathLst>
              <a:path w="64" h="48">
                <a:moveTo>
                  <a:pt x="64" y="18"/>
                </a:moveTo>
                <a:lnTo>
                  <a:pt x="60" y="16"/>
                </a:lnTo>
                <a:lnTo>
                  <a:pt x="58" y="12"/>
                </a:lnTo>
                <a:lnTo>
                  <a:pt x="58" y="8"/>
                </a:lnTo>
                <a:lnTo>
                  <a:pt x="54" y="6"/>
                </a:lnTo>
                <a:lnTo>
                  <a:pt x="50" y="0"/>
                </a:lnTo>
                <a:lnTo>
                  <a:pt x="42" y="4"/>
                </a:lnTo>
                <a:lnTo>
                  <a:pt x="34" y="6"/>
                </a:lnTo>
                <a:lnTo>
                  <a:pt x="28" y="4"/>
                </a:lnTo>
                <a:lnTo>
                  <a:pt x="24" y="2"/>
                </a:lnTo>
                <a:lnTo>
                  <a:pt x="12" y="2"/>
                </a:lnTo>
                <a:lnTo>
                  <a:pt x="4" y="2"/>
                </a:lnTo>
                <a:lnTo>
                  <a:pt x="2" y="4"/>
                </a:lnTo>
                <a:lnTo>
                  <a:pt x="0" y="6"/>
                </a:lnTo>
                <a:lnTo>
                  <a:pt x="0" y="20"/>
                </a:lnTo>
                <a:lnTo>
                  <a:pt x="8" y="20"/>
                </a:lnTo>
                <a:lnTo>
                  <a:pt x="16" y="20"/>
                </a:lnTo>
                <a:lnTo>
                  <a:pt x="22" y="22"/>
                </a:lnTo>
                <a:lnTo>
                  <a:pt x="28" y="24"/>
                </a:lnTo>
                <a:lnTo>
                  <a:pt x="26" y="36"/>
                </a:lnTo>
                <a:lnTo>
                  <a:pt x="30" y="40"/>
                </a:lnTo>
                <a:lnTo>
                  <a:pt x="32" y="40"/>
                </a:lnTo>
                <a:lnTo>
                  <a:pt x="34" y="42"/>
                </a:lnTo>
                <a:lnTo>
                  <a:pt x="38" y="46"/>
                </a:lnTo>
                <a:lnTo>
                  <a:pt x="40" y="48"/>
                </a:lnTo>
                <a:lnTo>
                  <a:pt x="44" y="46"/>
                </a:lnTo>
                <a:lnTo>
                  <a:pt x="50" y="46"/>
                </a:lnTo>
                <a:lnTo>
                  <a:pt x="56" y="34"/>
                </a:lnTo>
                <a:lnTo>
                  <a:pt x="58" y="30"/>
                </a:lnTo>
                <a:lnTo>
                  <a:pt x="64" y="24"/>
                </a:lnTo>
                <a:lnTo>
                  <a:pt x="64" y="20"/>
                </a:lnTo>
                <a:lnTo>
                  <a:pt x="64" y="1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9" name="Freeform 149">
            <a:extLst>
              <a:ext uri="{FF2B5EF4-FFF2-40B4-BE49-F238E27FC236}">
                <a16:creationId xmlns:a16="http://schemas.microsoft.com/office/drawing/2014/main" id="{E71B036E-FFA9-4E9A-9B06-06EB4BA170A8}"/>
              </a:ext>
            </a:extLst>
          </p:cNvPr>
          <p:cNvSpPr>
            <a:spLocks/>
          </p:cNvSpPr>
          <p:nvPr/>
        </p:nvSpPr>
        <p:spPr bwMode="auto">
          <a:xfrm>
            <a:off x="4654077" y="2050676"/>
            <a:ext cx="78671" cy="27599"/>
          </a:xfrm>
          <a:custGeom>
            <a:avLst/>
            <a:gdLst/>
            <a:ahLst/>
            <a:cxnLst>
              <a:cxn ang="0">
                <a:pos x="38" y="16"/>
              </a:cxn>
              <a:cxn ang="0">
                <a:pos x="40" y="4"/>
              </a:cxn>
              <a:cxn ang="0">
                <a:pos x="34" y="2"/>
              </a:cxn>
              <a:cxn ang="0">
                <a:pos x="28" y="0"/>
              </a:cxn>
              <a:cxn ang="0">
                <a:pos x="20" y="0"/>
              </a:cxn>
              <a:cxn ang="0">
                <a:pos x="14" y="0"/>
              </a:cxn>
              <a:cxn ang="0">
                <a:pos x="12" y="6"/>
              </a:cxn>
              <a:cxn ang="0">
                <a:pos x="8" y="6"/>
              </a:cxn>
              <a:cxn ang="0">
                <a:pos x="4" y="8"/>
              </a:cxn>
              <a:cxn ang="0">
                <a:pos x="2" y="12"/>
              </a:cxn>
              <a:cxn ang="0">
                <a:pos x="0" y="16"/>
              </a:cxn>
              <a:cxn ang="0">
                <a:pos x="38" y="16"/>
              </a:cxn>
            </a:cxnLst>
            <a:rect l="0" t="0" r="r" b="b"/>
            <a:pathLst>
              <a:path w="40" h="16">
                <a:moveTo>
                  <a:pt x="38" y="16"/>
                </a:moveTo>
                <a:lnTo>
                  <a:pt x="40" y="4"/>
                </a:lnTo>
                <a:lnTo>
                  <a:pt x="34" y="2"/>
                </a:lnTo>
                <a:lnTo>
                  <a:pt x="28" y="0"/>
                </a:lnTo>
                <a:lnTo>
                  <a:pt x="20" y="0"/>
                </a:lnTo>
                <a:lnTo>
                  <a:pt x="14" y="0"/>
                </a:lnTo>
                <a:lnTo>
                  <a:pt x="12" y="6"/>
                </a:lnTo>
                <a:lnTo>
                  <a:pt x="8" y="6"/>
                </a:lnTo>
                <a:lnTo>
                  <a:pt x="4" y="8"/>
                </a:lnTo>
                <a:lnTo>
                  <a:pt x="2" y="12"/>
                </a:lnTo>
                <a:lnTo>
                  <a:pt x="0" y="16"/>
                </a:lnTo>
                <a:lnTo>
                  <a:pt x="38" y="1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0" name="Freeform 150">
            <a:extLst>
              <a:ext uri="{FF2B5EF4-FFF2-40B4-BE49-F238E27FC236}">
                <a16:creationId xmlns:a16="http://schemas.microsoft.com/office/drawing/2014/main" id="{CF347760-AD60-4B6D-940A-B0C3BA7EFD76}"/>
              </a:ext>
            </a:extLst>
          </p:cNvPr>
          <p:cNvSpPr>
            <a:spLocks/>
          </p:cNvSpPr>
          <p:nvPr/>
        </p:nvSpPr>
        <p:spPr bwMode="auto">
          <a:xfrm>
            <a:off x="3855391" y="2474398"/>
            <a:ext cx="78671" cy="160722"/>
          </a:xfrm>
          <a:custGeom>
            <a:avLst/>
            <a:gdLst/>
            <a:ahLst/>
            <a:cxnLst>
              <a:cxn ang="0">
                <a:pos x="24" y="90"/>
              </a:cxn>
              <a:cxn ang="0">
                <a:pos x="16" y="90"/>
              </a:cxn>
              <a:cxn ang="0">
                <a:pos x="12" y="90"/>
              </a:cxn>
              <a:cxn ang="0">
                <a:pos x="8" y="90"/>
              </a:cxn>
              <a:cxn ang="0">
                <a:pos x="6" y="76"/>
              </a:cxn>
              <a:cxn ang="0">
                <a:pos x="8" y="66"/>
              </a:cxn>
              <a:cxn ang="0">
                <a:pos x="6" y="64"/>
              </a:cxn>
              <a:cxn ang="0">
                <a:pos x="4" y="64"/>
              </a:cxn>
              <a:cxn ang="0">
                <a:pos x="0" y="62"/>
              </a:cxn>
              <a:cxn ang="0">
                <a:pos x="0" y="58"/>
              </a:cxn>
              <a:cxn ang="0">
                <a:pos x="0" y="52"/>
              </a:cxn>
              <a:cxn ang="0">
                <a:pos x="2" y="48"/>
              </a:cxn>
              <a:cxn ang="0">
                <a:pos x="6" y="38"/>
              </a:cxn>
              <a:cxn ang="0">
                <a:pos x="10" y="32"/>
              </a:cxn>
              <a:cxn ang="0">
                <a:pos x="12" y="26"/>
              </a:cxn>
              <a:cxn ang="0">
                <a:pos x="12" y="22"/>
              </a:cxn>
              <a:cxn ang="0">
                <a:pos x="12" y="18"/>
              </a:cxn>
              <a:cxn ang="0">
                <a:pos x="10" y="16"/>
              </a:cxn>
              <a:cxn ang="0">
                <a:pos x="8" y="14"/>
              </a:cxn>
              <a:cxn ang="0">
                <a:pos x="8" y="12"/>
              </a:cxn>
              <a:cxn ang="0">
                <a:pos x="10" y="6"/>
              </a:cxn>
              <a:cxn ang="0">
                <a:pos x="12" y="0"/>
              </a:cxn>
              <a:cxn ang="0">
                <a:pos x="16" y="4"/>
              </a:cxn>
              <a:cxn ang="0">
                <a:pos x="22" y="6"/>
              </a:cxn>
              <a:cxn ang="0">
                <a:pos x="36" y="6"/>
              </a:cxn>
              <a:cxn ang="0">
                <a:pos x="38" y="8"/>
              </a:cxn>
              <a:cxn ang="0">
                <a:pos x="40" y="12"/>
              </a:cxn>
              <a:cxn ang="0">
                <a:pos x="38" y="24"/>
              </a:cxn>
              <a:cxn ang="0">
                <a:pos x="34" y="34"/>
              </a:cxn>
              <a:cxn ang="0">
                <a:pos x="30" y="40"/>
              </a:cxn>
              <a:cxn ang="0">
                <a:pos x="28" y="50"/>
              </a:cxn>
              <a:cxn ang="0">
                <a:pos x="30" y="54"/>
              </a:cxn>
              <a:cxn ang="0">
                <a:pos x="30" y="60"/>
              </a:cxn>
              <a:cxn ang="0">
                <a:pos x="30" y="64"/>
              </a:cxn>
              <a:cxn ang="0">
                <a:pos x="28" y="68"/>
              </a:cxn>
              <a:cxn ang="0">
                <a:pos x="30" y="70"/>
              </a:cxn>
              <a:cxn ang="0">
                <a:pos x="32" y="74"/>
              </a:cxn>
              <a:cxn ang="0">
                <a:pos x="30" y="78"/>
              </a:cxn>
              <a:cxn ang="0">
                <a:pos x="28" y="80"/>
              </a:cxn>
              <a:cxn ang="0">
                <a:pos x="26" y="84"/>
              </a:cxn>
              <a:cxn ang="0">
                <a:pos x="24" y="86"/>
              </a:cxn>
              <a:cxn ang="0">
                <a:pos x="24" y="90"/>
              </a:cxn>
            </a:cxnLst>
            <a:rect l="0" t="0" r="r" b="b"/>
            <a:pathLst>
              <a:path w="40" h="90">
                <a:moveTo>
                  <a:pt x="24" y="90"/>
                </a:moveTo>
                <a:lnTo>
                  <a:pt x="16" y="90"/>
                </a:lnTo>
                <a:lnTo>
                  <a:pt x="12" y="90"/>
                </a:lnTo>
                <a:lnTo>
                  <a:pt x="8" y="90"/>
                </a:lnTo>
                <a:lnTo>
                  <a:pt x="6" y="76"/>
                </a:lnTo>
                <a:lnTo>
                  <a:pt x="8" y="66"/>
                </a:lnTo>
                <a:lnTo>
                  <a:pt x="6" y="64"/>
                </a:lnTo>
                <a:lnTo>
                  <a:pt x="4" y="64"/>
                </a:lnTo>
                <a:lnTo>
                  <a:pt x="0" y="62"/>
                </a:lnTo>
                <a:lnTo>
                  <a:pt x="0" y="58"/>
                </a:lnTo>
                <a:lnTo>
                  <a:pt x="0" y="52"/>
                </a:lnTo>
                <a:lnTo>
                  <a:pt x="2" y="48"/>
                </a:lnTo>
                <a:lnTo>
                  <a:pt x="6" y="38"/>
                </a:lnTo>
                <a:lnTo>
                  <a:pt x="10" y="32"/>
                </a:lnTo>
                <a:lnTo>
                  <a:pt x="12" y="26"/>
                </a:lnTo>
                <a:lnTo>
                  <a:pt x="12" y="22"/>
                </a:lnTo>
                <a:lnTo>
                  <a:pt x="12" y="18"/>
                </a:lnTo>
                <a:lnTo>
                  <a:pt x="10" y="16"/>
                </a:lnTo>
                <a:lnTo>
                  <a:pt x="8" y="14"/>
                </a:lnTo>
                <a:lnTo>
                  <a:pt x="8" y="12"/>
                </a:lnTo>
                <a:lnTo>
                  <a:pt x="10" y="6"/>
                </a:lnTo>
                <a:lnTo>
                  <a:pt x="12" y="0"/>
                </a:lnTo>
                <a:lnTo>
                  <a:pt x="16" y="4"/>
                </a:lnTo>
                <a:lnTo>
                  <a:pt x="22" y="6"/>
                </a:lnTo>
                <a:lnTo>
                  <a:pt x="36" y="6"/>
                </a:lnTo>
                <a:lnTo>
                  <a:pt x="38" y="8"/>
                </a:lnTo>
                <a:lnTo>
                  <a:pt x="40" y="12"/>
                </a:lnTo>
                <a:lnTo>
                  <a:pt x="38" y="24"/>
                </a:lnTo>
                <a:lnTo>
                  <a:pt x="34" y="34"/>
                </a:lnTo>
                <a:lnTo>
                  <a:pt x="30" y="40"/>
                </a:lnTo>
                <a:lnTo>
                  <a:pt x="28" y="50"/>
                </a:lnTo>
                <a:lnTo>
                  <a:pt x="30" y="54"/>
                </a:lnTo>
                <a:lnTo>
                  <a:pt x="30" y="60"/>
                </a:lnTo>
                <a:lnTo>
                  <a:pt x="30" y="64"/>
                </a:lnTo>
                <a:lnTo>
                  <a:pt x="28" y="68"/>
                </a:lnTo>
                <a:lnTo>
                  <a:pt x="30" y="70"/>
                </a:lnTo>
                <a:lnTo>
                  <a:pt x="32" y="74"/>
                </a:lnTo>
                <a:lnTo>
                  <a:pt x="30" y="78"/>
                </a:lnTo>
                <a:lnTo>
                  <a:pt x="28" y="80"/>
                </a:lnTo>
                <a:lnTo>
                  <a:pt x="26" y="84"/>
                </a:lnTo>
                <a:lnTo>
                  <a:pt x="24" y="86"/>
                </a:lnTo>
                <a:lnTo>
                  <a:pt x="24" y="9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1" name="Freeform 151">
            <a:extLst>
              <a:ext uri="{FF2B5EF4-FFF2-40B4-BE49-F238E27FC236}">
                <a16:creationId xmlns:a16="http://schemas.microsoft.com/office/drawing/2014/main" id="{3BCAE238-55E2-4435-91AD-7CF3E556FC27}"/>
              </a:ext>
            </a:extLst>
          </p:cNvPr>
          <p:cNvSpPr>
            <a:spLocks/>
          </p:cNvSpPr>
          <p:nvPr/>
        </p:nvSpPr>
        <p:spPr bwMode="auto">
          <a:xfrm>
            <a:off x="3869071" y="2420827"/>
            <a:ext cx="342050" cy="250013"/>
          </a:xfrm>
          <a:custGeom>
            <a:avLst/>
            <a:gdLst/>
            <a:ahLst/>
            <a:cxnLst>
              <a:cxn ang="0">
                <a:pos x="174" y="34"/>
              </a:cxn>
              <a:cxn ang="0">
                <a:pos x="164" y="44"/>
              </a:cxn>
              <a:cxn ang="0">
                <a:pos x="138" y="56"/>
              </a:cxn>
              <a:cxn ang="0">
                <a:pos x="128" y="68"/>
              </a:cxn>
              <a:cxn ang="0">
                <a:pos x="128" y="86"/>
              </a:cxn>
              <a:cxn ang="0">
                <a:pos x="124" y="96"/>
              </a:cxn>
              <a:cxn ang="0">
                <a:pos x="106" y="118"/>
              </a:cxn>
              <a:cxn ang="0">
                <a:pos x="102" y="126"/>
              </a:cxn>
              <a:cxn ang="0">
                <a:pos x="64" y="128"/>
              </a:cxn>
              <a:cxn ang="0">
                <a:pos x="56" y="134"/>
              </a:cxn>
              <a:cxn ang="0">
                <a:pos x="50" y="140"/>
              </a:cxn>
              <a:cxn ang="0">
                <a:pos x="42" y="140"/>
              </a:cxn>
              <a:cxn ang="0">
                <a:pos x="36" y="130"/>
              </a:cxn>
              <a:cxn ang="0">
                <a:pos x="34" y="122"/>
              </a:cxn>
              <a:cxn ang="0">
                <a:pos x="24" y="120"/>
              </a:cxn>
              <a:cxn ang="0">
                <a:pos x="20" y="116"/>
              </a:cxn>
              <a:cxn ang="0">
                <a:pos x="24" y="108"/>
              </a:cxn>
              <a:cxn ang="0">
                <a:pos x="24" y="100"/>
              </a:cxn>
              <a:cxn ang="0">
                <a:pos x="24" y="94"/>
              </a:cxn>
              <a:cxn ang="0">
                <a:pos x="24" y="84"/>
              </a:cxn>
              <a:cxn ang="0">
                <a:pos x="24" y="70"/>
              </a:cxn>
              <a:cxn ang="0">
                <a:pos x="32" y="54"/>
              </a:cxn>
              <a:cxn ang="0">
                <a:pos x="32" y="38"/>
              </a:cxn>
              <a:cxn ang="0">
                <a:pos x="16" y="36"/>
              </a:cxn>
              <a:cxn ang="0">
                <a:pos x="6" y="30"/>
              </a:cxn>
              <a:cxn ang="0">
                <a:pos x="4" y="22"/>
              </a:cxn>
              <a:cxn ang="0">
                <a:pos x="0" y="16"/>
              </a:cxn>
              <a:cxn ang="0">
                <a:pos x="0" y="10"/>
              </a:cxn>
              <a:cxn ang="0">
                <a:pos x="12" y="6"/>
              </a:cxn>
              <a:cxn ang="0">
                <a:pos x="14" y="0"/>
              </a:cxn>
              <a:cxn ang="0">
                <a:pos x="40" y="2"/>
              </a:cxn>
              <a:cxn ang="0">
                <a:pos x="80" y="8"/>
              </a:cxn>
              <a:cxn ang="0">
                <a:pos x="124" y="16"/>
              </a:cxn>
              <a:cxn ang="0">
                <a:pos x="150" y="20"/>
              </a:cxn>
              <a:cxn ang="0">
                <a:pos x="154" y="22"/>
              </a:cxn>
              <a:cxn ang="0">
                <a:pos x="174" y="32"/>
              </a:cxn>
            </a:cxnLst>
            <a:rect l="0" t="0" r="r" b="b"/>
            <a:pathLst>
              <a:path w="174" h="140">
                <a:moveTo>
                  <a:pt x="174" y="32"/>
                </a:moveTo>
                <a:lnTo>
                  <a:pt x="174" y="34"/>
                </a:lnTo>
                <a:lnTo>
                  <a:pt x="168" y="38"/>
                </a:lnTo>
                <a:lnTo>
                  <a:pt x="164" y="44"/>
                </a:lnTo>
                <a:lnTo>
                  <a:pt x="146" y="52"/>
                </a:lnTo>
                <a:lnTo>
                  <a:pt x="138" y="56"/>
                </a:lnTo>
                <a:lnTo>
                  <a:pt x="134" y="62"/>
                </a:lnTo>
                <a:lnTo>
                  <a:pt x="128" y="68"/>
                </a:lnTo>
                <a:lnTo>
                  <a:pt x="126" y="80"/>
                </a:lnTo>
                <a:lnTo>
                  <a:pt x="128" y="86"/>
                </a:lnTo>
                <a:lnTo>
                  <a:pt x="132" y="90"/>
                </a:lnTo>
                <a:lnTo>
                  <a:pt x="124" y="96"/>
                </a:lnTo>
                <a:lnTo>
                  <a:pt x="112" y="108"/>
                </a:lnTo>
                <a:lnTo>
                  <a:pt x="106" y="118"/>
                </a:lnTo>
                <a:lnTo>
                  <a:pt x="102" y="122"/>
                </a:lnTo>
                <a:lnTo>
                  <a:pt x="102" y="126"/>
                </a:lnTo>
                <a:lnTo>
                  <a:pt x="70" y="126"/>
                </a:lnTo>
                <a:lnTo>
                  <a:pt x="64" y="128"/>
                </a:lnTo>
                <a:lnTo>
                  <a:pt x="62" y="132"/>
                </a:lnTo>
                <a:lnTo>
                  <a:pt x="56" y="134"/>
                </a:lnTo>
                <a:lnTo>
                  <a:pt x="54" y="136"/>
                </a:lnTo>
                <a:lnTo>
                  <a:pt x="50" y="140"/>
                </a:lnTo>
                <a:lnTo>
                  <a:pt x="48" y="140"/>
                </a:lnTo>
                <a:lnTo>
                  <a:pt x="42" y="140"/>
                </a:lnTo>
                <a:lnTo>
                  <a:pt x="38" y="136"/>
                </a:lnTo>
                <a:lnTo>
                  <a:pt x="36" y="130"/>
                </a:lnTo>
                <a:lnTo>
                  <a:pt x="36" y="124"/>
                </a:lnTo>
                <a:lnTo>
                  <a:pt x="34" y="122"/>
                </a:lnTo>
                <a:lnTo>
                  <a:pt x="30" y="120"/>
                </a:lnTo>
                <a:lnTo>
                  <a:pt x="24" y="120"/>
                </a:lnTo>
                <a:lnTo>
                  <a:pt x="18" y="120"/>
                </a:lnTo>
                <a:lnTo>
                  <a:pt x="20" y="116"/>
                </a:lnTo>
                <a:lnTo>
                  <a:pt x="22" y="112"/>
                </a:lnTo>
                <a:lnTo>
                  <a:pt x="24" y="108"/>
                </a:lnTo>
                <a:lnTo>
                  <a:pt x="26" y="104"/>
                </a:lnTo>
                <a:lnTo>
                  <a:pt x="24" y="100"/>
                </a:lnTo>
                <a:lnTo>
                  <a:pt x="22" y="98"/>
                </a:lnTo>
                <a:lnTo>
                  <a:pt x="24" y="94"/>
                </a:lnTo>
                <a:lnTo>
                  <a:pt x="24" y="90"/>
                </a:lnTo>
                <a:lnTo>
                  <a:pt x="24" y="84"/>
                </a:lnTo>
                <a:lnTo>
                  <a:pt x="22" y="80"/>
                </a:lnTo>
                <a:lnTo>
                  <a:pt x="24" y="70"/>
                </a:lnTo>
                <a:lnTo>
                  <a:pt x="28" y="64"/>
                </a:lnTo>
                <a:lnTo>
                  <a:pt x="32" y="54"/>
                </a:lnTo>
                <a:lnTo>
                  <a:pt x="34" y="42"/>
                </a:lnTo>
                <a:lnTo>
                  <a:pt x="32" y="38"/>
                </a:lnTo>
                <a:lnTo>
                  <a:pt x="30" y="36"/>
                </a:lnTo>
                <a:lnTo>
                  <a:pt x="16" y="36"/>
                </a:lnTo>
                <a:lnTo>
                  <a:pt x="10" y="34"/>
                </a:lnTo>
                <a:lnTo>
                  <a:pt x="6" y="30"/>
                </a:lnTo>
                <a:lnTo>
                  <a:pt x="6" y="26"/>
                </a:lnTo>
                <a:lnTo>
                  <a:pt x="4" y="22"/>
                </a:lnTo>
                <a:lnTo>
                  <a:pt x="2" y="18"/>
                </a:lnTo>
                <a:lnTo>
                  <a:pt x="0" y="16"/>
                </a:lnTo>
                <a:lnTo>
                  <a:pt x="0" y="12"/>
                </a:lnTo>
                <a:lnTo>
                  <a:pt x="0" y="10"/>
                </a:lnTo>
                <a:lnTo>
                  <a:pt x="4" y="8"/>
                </a:lnTo>
                <a:lnTo>
                  <a:pt x="12" y="6"/>
                </a:lnTo>
                <a:lnTo>
                  <a:pt x="12" y="2"/>
                </a:lnTo>
                <a:lnTo>
                  <a:pt x="14" y="0"/>
                </a:lnTo>
                <a:lnTo>
                  <a:pt x="20" y="0"/>
                </a:lnTo>
                <a:lnTo>
                  <a:pt x="40" y="2"/>
                </a:lnTo>
                <a:lnTo>
                  <a:pt x="60" y="4"/>
                </a:lnTo>
                <a:lnTo>
                  <a:pt x="80" y="8"/>
                </a:lnTo>
                <a:lnTo>
                  <a:pt x="102" y="10"/>
                </a:lnTo>
                <a:lnTo>
                  <a:pt x="124" y="16"/>
                </a:lnTo>
                <a:lnTo>
                  <a:pt x="136" y="18"/>
                </a:lnTo>
                <a:lnTo>
                  <a:pt x="150" y="20"/>
                </a:lnTo>
                <a:lnTo>
                  <a:pt x="152" y="20"/>
                </a:lnTo>
                <a:lnTo>
                  <a:pt x="154" y="22"/>
                </a:lnTo>
                <a:lnTo>
                  <a:pt x="160" y="26"/>
                </a:lnTo>
                <a:lnTo>
                  <a:pt x="174" y="3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2" name="Freeform 152">
            <a:extLst>
              <a:ext uri="{FF2B5EF4-FFF2-40B4-BE49-F238E27FC236}">
                <a16:creationId xmlns:a16="http://schemas.microsoft.com/office/drawing/2014/main" id="{8B9AF9FF-A197-4F0D-9B31-9E7934224644}"/>
              </a:ext>
            </a:extLst>
          </p:cNvPr>
          <p:cNvSpPr>
            <a:spLocks/>
          </p:cNvSpPr>
          <p:nvPr/>
        </p:nvSpPr>
        <p:spPr bwMode="auto">
          <a:xfrm>
            <a:off x="3995632" y="2188672"/>
            <a:ext cx="350602" cy="290599"/>
          </a:xfrm>
          <a:custGeom>
            <a:avLst/>
            <a:gdLst/>
            <a:ahLst/>
            <a:cxnLst>
              <a:cxn ang="0">
                <a:pos x="174" y="128"/>
              </a:cxn>
              <a:cxn ang="0">
                <a:pos x="162" y="136"/>
              </a:cxn>
              <a:cxn ang="0">
                <a:pos x="154" y="142"/>
              </a:cxn>
              <a:cxn ang="0">
                <a:pos x="138" y="138"/>
              </a:cxn>
              <a:cxn ang="0">
                <a:pos x="126" y="134"/>
              </a:cxn>
              <a:cxn ang="0">
                <a:pos x="114" y="138"/>
              </a:cxn>
              <a:cxn ang="0">
                <a:pos x="110" y="150"/>
              </a:cxn>
              <a:cxn ang="0">
                <a:pos x="96" y="156"/>
              </a:cxn>
              <a:cxn ang="0">
                <a:pos x="88" y="150"/>
              </a:cxn>
              <a:cxn ang="0">
                <a:pos x="72" y="148"/>
              </a:cxn>
              <a:cxn ang="0">
                <a:pos x="38" y="140"/>
              </a:cxn>
              <a:cxn ang="0">
                <a:pos x="44" y="136"/>
              </a:cxn>
              <a:cxn ang="0">
                <a:pos x="48" y="114"/>
              </a:cxn>
              <a:cxn ang="0">
                <a:pos x="48" y="92"/>
              </a:cxn>
              <a:cxn ang="0">
                <a:pos x="38" y="68"/>
              </a:cxn>
              <a:cxn ang="0">
                <a:pos x="30" y="62"/>
              </a:cxn>
              <a:cxn ang="0">
                <a:pos x="8" y="58"/>
              </a:cxn>
              <a:cxn ang="0">
                <a:pos x="2" y="50"/>
              </a:cxn>
              <a:cxn ang="0">
                <a:pos x="6" y="42"/>
              </a:cxn>
              <a:cxn ang="0">
                <a:pos x="16" y="36"/>
              </a:cxn>
              <a:cxn ang="0">
                <a:pos x="24" y="36"/>
              </a:cxn>
              <a:cxn ang="0">
                <a:pos x="32" y="40"/>
              </a:cxn>
              <a:cxn ang="0">
                <a:pos x="42" y="42"/>
              </a:cxn>
              <a:cxn ang="0">
                <a:pos x="44" y="36"/>
              </a:cxn>
              <a:cxn ang="0">
                <a:pos x="40" y="32"/>
              </a:cxn>
              <a:cxn ang="0">
                <a:pos x="46" y="26"/>
              </a:cxn>
              <a:cxn ang="0">
                <a:pos x="56" y="30"/>
              </a:cxn>
              <a:cxn ang="0">
                <a:pos x="66" y="30"/>
              </a:cxn>
              <a:cxn ang="0">
                <a:pos x="68" y="22"/>
              </a:cxn>
              <a:cxn ang="0">
                <a:pos x="80" y="14"/>
              </a:cxn>
              <a:cxn ang="0">
                <a:pos x="86" y="6"/>
              </a:cxn>
              <a:cxn ang="0">
                <a:pos x="98" y="0"/>
              </a:cxn>
              <a:cxn ang="0">
                <a:pos x="106" y="8"/>
              </a:cxn>
              <a:cxn ang="0">
                <a:pos x="120" y="12"/>
              </a:cxn>
              <a:cxn ang="0">
                <a:pos x="122" y="18"/>
              </a:cxn>
              <a:cxn ang="0">
                <a:pos x="130" y="20"/>
              </a:cxn>
              <a:cxn ang="0">
                <a:pos x="132" y="22"/>
              </a:cxn>
              <a:cxn ang="0">
                <a:pos x="140" y="28"/>
              </a:cxn>
              <a:cxn ang="0">
                <a:pos x="154" y="30"/>
              </a:cxn>
              <a:cxn ang="0">
                <a:pos x="168" y="34"/>
              </a:cxn>
              <a:cxn ang="0">
                <a:pos x="174" y="44"/>
              </a:cxn>
              <a:cxn ang="0">
                <a:pos x="168" y="60"/>
              </a:cxn>
              <a:cxn ang="0">
                <a:pos x="164" y="64"/>
              </a:cxn>
              <a:cxn ang="0">
                <a:pos x="158" y="70"/>
              </a:cxn>
              <a:cxn ang="0">
                <a:pos x="150" y="82"/>
              </a:cxn>
              <a:cxn ang="0">
                <a:pos x="154" y="88"/>
              </a:cxn>
              <a:cxn ang="0">
                <a:pos x="154" y="84"/>
              </a:cxn>
              <a:cxn ang="0">
                <a:pos x="160" y="84"/>
              </a:cxn>
              <a:cxn ang="0">
                <a:pos x="162" y="96"/>
              </a:cxn>
              <a:cxn ang="0">
                <a:pos x="166" y="100"/>
              </a:cxn>
              <a:cxn ang="0">
                <a:pos x="158" y="108"/>
              </a:cxn>
              <a:cxn ang="0">
                <a:pos x="170" y="124"/>
              </a:cxn>
              <a:cxn ang="0">
                <a:pos x="178" y="128"/>
              </a:cxn>
            </a:cxnLst>
            <a:rect l="0" t="0" r="r" b="b"/>
            <a:pathLst>
              <a:path w="178" h="162">
                <a:moveTo>
                  <a:pt x="178" y="128"/>
                </a:moveTo>
                <a:lnTo>
                  <a:pt x="174" y="128"/>
                </a:lnTo>
                <a:lnTo>
                  <a:pt x="168" y="132"/>
                </a:lnTo>
                <a:lnTo>
                  <a:pt x="162" y="136"/>
                </a:lnTo>
                <a:lnTo>
                  <a:pt x="158" y="140"/>
                </a:lnTo>
                <a:lnTo>
                  <a:pt x="154" y="142"/>
                </a:lnTo>
                <a:lnTo>
                  <a:pt x="146" y="140"/>
                </a:lnTo>
                <a:lnTo>
                  <a:pt x="138" y="138"/>
                </a:lnTo>
                <a:lnTo>
                  <a:pt x="132" y="134"/>
                </a:lnTo>
                <a:lnTo>
                  <a:pt x="126" y="134"/>
                </a:lnTo>
                <a:lnTo>
                  <a:pt x="120" y="134"/>
                </a:lnTo>
                <a:lnTo>
                  <a:pt x="114" y="138"/>
                </a:lnTo>
                <a:lnTo>
                  <a:pt x="110" y="142"/>
                </a:lnTo>
                <a:lnTo>
                  <a:pt x="110" y="150"/>
                </a:lnTo>
                <a:lnTo>
                  <a:pt x="110" y="162"/>
                </a:lnTo>
                <a:lnTo>
                  <a:pt x="96" y="156"/>
                </a:lnTo>
                <a:lnTo>
                  <a:pt x="90" y="152"/>
                </a:lnTo>
                <a:lnTo>
                  <a:pt x="88" y="150"/>
                </a:lnTo>
                <a:lnTo>
                  <a:pt x="86" y="150"/>
                </a:lnTo>
                <a:lnTo>
                  <a:pt x="72" y="148"/>
                </a:lnTo>
                <a:lnTo>
                  <a:pt x="60" y="146"/>
                </a:lnTo>
                <a:lnTo>
                  <a:pt x="38" y="140"/>
                </a:lnTo>
                <a:lnTo>
                  <a:pt x="42" y="138"/>
                </a:lnTo>
                <a:lnTo>
                  <a:pt x="44" y="136"/>
                </a:lnTo>
                <a:lnTo>
                  <a:pt x="46" y="126"/>
                </a:lnTo>
                <a:lnTo>
                  <a:pt x="48" y="114"/>
                </a:lnTo>
                <a:lnTo>
                  <a:pt x="48" y="106"/>
                </a:lnTo>
                <a:lnTo>
                  <a:pt x="48" y="92"/>
                </a:lnTo>
                <a:lnTo>
                  <a:pt x="44" y="80"/>
                </a:lnTo>
                <a:lnTo>
                  <a:pt x="38" y="68"/>
                </a:lnTo>
                <a:lnTo>
                  <a:pt x="34" y="64"/>
                </a:lnTo>
                <a:lnTo>
                  <a:pt x="30" y="62"/>
                </a:lnTo>
                <a:lnTo>
                  <a:pt x="12" y="60"/>
                </a:lnTo>
                <a:lnTo>
                  <a:pt x="8" y="58"/>
                </a:lnTo>
                <a:lnTo>
                  <a:pt x="4" y="54"/>
                </a:lnTo>
                <a:lnTo>
                  <a:pt x="2" y="50"/>
                </a:lnTo>
                <a:lnTo>
                  <a:pt x="0" y="44"/>
                </a:lnTo>
                <a:lnTo>
                  <a:pt x="6" y="42"/>
                </a:lnTo>
                <a:lnTo>
                  <a:pt x="12" y="40"/>
                </a:lnTo>
                <a:lnTo>
                  <a:pt x="16" y="36"/>
                </a:lnTo>
                <a:lnTo>
                  <a:pt x="20" y="36"/>
                </a:lnTo>
                <a:lnTo>
                  <a:pt x="24" y="36"/>
                </a:lnTo>
                <a:lnTo>
                  <a:pt x="28" y="38"/>
                </a:lnTo>
                <a:lnTo>
                  <a:pt x="32" y="40"/>
                </a:lnTo>
                <a:lnTo>
                  <a:pt x="38" y="42"/>
                </a:lnTo>
                <a:lnTo>
                  <a:pt x="42" y="42"/>
                </a:lnTo>
                <a:lnTo>
                  <a:pt x="44" y="40"/>
                </a:lnTo>
                <a:lnTo>
                  <a:pt x="44" y="36"/>
                </a:lnTo>
                <a:lnTo>
                  <a:pt x="44" y="34"/>
                </a:lnTo>
                <a:lnTo>
                  <a:pt x="40" y="32"/>
                </a:lnTo>
                <a:lnTo>
                  <a:pt x="40" y="26"/>
                </a:lnTo>
                <a:lnTo>
                  <a:pt x="46" y="26"/>
                </a:lnTo>
                <a:lnTo>
                  <a:pt x="50" y="28"/>
                </a:lnTo>
                <a:lnTo>
                  <a:pt x="56" y="30"/>
                </a:lnTo>
                <a:lnTo>
                  <a:pt x="62" y="30"/>
                </a:lnTo>
                <a:lnTo>
                  <a:pt x="66" y="30"/>
                </a:lnTo>
                <a:lnTo>
                  <a:pt x="66" y="28"/>
                </a:lnTo>
                <a:lnTo>
                  <a:pt x="68" y="22"/>
                </a:lnTo>
                <a:lnTo>
                  <a:pt x="72" y="18"/>
                </a:lnTo>
                <a:lnTo>
                  <a:pt x="80" y="14"/>
                </a:lnTo>
                <a:lnTo>
                  <a:pt x="86" y="10"/>
                </a:lnTo>
                <a:lnTo>
                  <a:pt x="86" y="6"/>
                </a:lnTo>
                <a:lnTo>
                  <a:pt x="88" y="2"/>
                </a:lnTo>
                <a:lnTo>
                  <a:pt x="98" y="0"/>
                </a:lnTo>
                <a:lnTo>
                  <a:pt x="100" y="4"/>
                </a:lnTo>
                <a:lnTo>
                  <a:pt x="106" y="8"/>
                </a:lnTo>
                <a:lnTo>
                  <a:pt x="112" y="10"/>
                </a:lnTo>
                <a:lnTo>
                  <a:pt x="120" y="12"/>
                </a:lnTo>
                <a:lnTo>
                  <a:pt x="120" y="16"/>
                </a:lnTo>
                <a:lnTo>
                  <a:pt x="122" y="18"/>
                </a:lnTo>
                <a:lnTo>
                  <a:pt x="126" y="20"/>
                </a:lnTo>
                <a:lnTo>
                  <a:pt x="130" y="20"/>
                </a:lnTo>
                <a:lnTo>
                  <a:pt x="130" y="22"/>
                </a:lnTo>
                <a:lnTo>
                  <a:pt x="132" y="22"/>
                </a:lnTo>
                <a:lnTo>
                  <a:pt x="136" y="26"/>
                </a:lnTo>
                <a:lnTo>
                  <a:pt x="140" y="28"/>
                </a:lnTo>
                <a:lnTo>
                  <a:pt x="150" y="28"/>
                </a:lnTo>
                <a:lnTo>
                  <a:pt x="154" y="30"/>
                </a:lnTo>
                <a:lnTo>
                  <a:pt x="160" y="32"/>
                </a:lnTo>
                <a:lnTo>
                  <a:pt x="168" y="34"/>
                </a:lnTo>
                <a:lnTo>
                  <a:pt x="176" y="36"/>
                </a:lnTo>
                <a:lnTo>
                  <a:pt x="174" y="44"/>
                </a:lnTo>
                <a:lnTo>
                  <a:pt x="172" y="54"/>
                </a:lnTo>
                <a:lnTo>
                  <a:pt x="168" y="60"/>
                </a:lnTo>
                <a:lnTo>
                  <a:pt x="166" y="62"/>
                </a:lnTo>
                <a:lnTo>
                  <a:pt x="164" y="64"/>
                </a:lnTo>
                <a:lnTo>
                  <a:pt x="162" y="68"/>
                </a:lnTo>
                <a:lnTo>
                  <a:pt x="158" y="70"/>
                </a:lnTo>
                <a:lnTo>
                  <a:pt x="154" y="74"/>
                </a:lnTo>
                <a:lnTo>
                  <a:pt x="150" y="82"/>
                </a:lnTo>
                <a:lnTo>
                  <a:pt x="150" y="88"/>
                </a:lnTo>
                <a:lnTo>
                  <a:pt x="154" y="88"/>
                </a:lnTo>
                <a:lnTo>
                  <a:pt x="154" y="86"/>
                </a:lnTo>
                <a:lnTo>
                  <a:pt x="154" y="84"/>
                </a:lnTo>
                <a:lnTo>
                  <a:pt x="158" y="86"/>
                </a:lnTo>
                <a:lnTo>
                  <a:pt x="160" y="84"/>
                </a:lnTo>
                <a:lnTo>
                  <a:pt x="162" y="94"/>
                </a:lnTo>
                <a:lnTo>
                  <a:pt x="162" y="96"/>
                </a:lnTo>
                <a:lnTo>
                  <a:pt x="164" y="98"/>
                </a:lnTo>
                <a:lnTo>
                  <a:pt x="166" y="100"/>
                </a:lnTo>
                <a:lnTo>
                  <a:pt x="166" y="102"/>
                </a:lnTo>
                <a:lnTo>
                  <a:pt x="158" y="108"/>
                </a:lnTo>
                <a:lnTo>
                  <a:pt x="166" y="118"/>
                </a:lnTo>
                <a:lnTo>
                  <a:pt x="170" y="124"/>
                </a:lnTo>
                <a:lnTo>
                  <a:pt x="176" y="128"/>
                </a:lnTo>
                <a:lnTo>
                  <a:pt x="178" y="12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3" name="Freeform 153">
            <a:extLst>
              <a:ext uri="{FF2B5EF4-FFF2-40B4-BE49-F238E27FC236}">
                <a16:creationId xmlns:a16="http://schemas.microsoft.com/office/drawing/2014/main" id="{D0790F6F-1ED7-478D-95FC-CC1AF913E917}"/>
              </a:ext>
            </a:extLst>
          </p:cNvPr>
          <p:cNvSpPr>
            <a:spLocks/>
          </p:cNvSpPr>
          <p:nvPr/>
        </p:nvSpPr>
        <p:spPr bwMode="auto">
          <a:xfrm>
            <a:off x="4188889" y="2178929"/>
            <a:ext cx="107746" cy="60068"/>
          </a:xfrm>
          <a:custGeom>
            <a:avLst/>
            <a:gdLst/>
            <a:ahLst/>
            <a:cxnLst>
              <a:cxn ang="0">
                <a:pos x="46" y="34"/>
              </a:cxn>
              <a:cxn ang="0">
                <a:pos x="46" y="32"/>
              </a:cxn>
              <a:cxn ang="0">
                <a:pos x="46" y="30"/>
              </a:cxn>
              <a:cxn ang="0">
                <a:pos x="44" y="28"/>
              </a:cxn>
              <a:cxn ang="0">
                <a:pos x="46" y="26"/>
              </a:cxn>
              <a:cxn ang="0">
                <a:pos x="48" y="22"/>
              </a:cxn>
              <a:cxn ang="0">
                <a:pos x="52" y="20"/>
              </a:cxn>
              <a:cxn ang="0">
                <a:pos x="54" y="16"/>
              </a:cxn>
              <a:cxn ang="0">
                <a:pos x="52" y="12"/>
              </a:cxn>
              <a:cxn ang="0">
                <a:pos x="50" y="10"/>
              </a:cxn>
              <a:cxn ang="0">
                <a:pos x="44" y="6"/>
              </a:cxn>
              <a:cxn ang="0">
                <a:pos x="30" y="0"/>
              </a:cxn>
              <a:cxn ang="0">
                <a:pos x="16" y="4"/>
              </a:cxn>
              <a:cxn ang="0">
                <a:pos x="12" y="2"/>
              </a:cxn>
              <a:cxn ang="0">
                <a:pos x="10" y="0"/>
              </a:cxn>
              <a:cxn ang="0">
                <a:pos x="0" y="6"/>
              </a:cxn>
              <a:cxn ang="0">
                <a:pos x="2" y="10"/>
              </a:cxn>
              <a:cxn ang="0">
                <a:pos x="8" y="14"/>
              </a:cxn>
              <a:cxn ang="0">
                <a:pos x="14" y="16"/>
              </a:cxn>
              <a:cxn ang="0">
                <a:pos x="22" y="18"/>
              </a:cxn>
              <a:cxn ang="0">
                <a:pos x="22" y="22"/>
              </a:cxn>
              <a:cxn ang="0">
                <a:pos x="24" y="24"/>
              </a:cxn>
              <a:cxn ang="0">
                <a:pos x="28" y="26"/>
              </a:cxn>
              <a:cxn ang="0">
                <a:pos x="32" y="26"/>
              </a:cxn>
              <a:cxn ang="0">
                <a:pos x="32" y="28"/>
              </a:cxn>
              <a:cxn ang="0">
                <a:pos x="34" y="28"/>
              </a:cxn>
              <a:cxn ang="0">
                <a:pos x="38" y="32"/>
              </a:cxn>
              <a:cxn ang="0">
                <a:pos x="42" y="34"/>
              </a:cxn>
              <a:cxn ang="0">
                <a:pos x="46" y="34"/>
              </a:cxn>
            </a:cxnLst>
            <a:rect l="0" t="0" r="r" b="b"/>
            <a:pathLst>
              <a:path w="54" h="34">
                <a:moveTo>
                  <a:pt x="46" y="34"/>
                </a:moveTo>
                <a:lnTo>
                  <a:pt x="46" y="32"/>
                </a:lnTo>
                <a:lnTo>
                  <a:pt x="46" y="30"/>
                </a:lnTo>
                <a:lnTo>
                  <a:pt x="44" y="28"/>
                </a:lnTo>
                <a:lnTo>
                  <a:pt x="46" y="26"/>
                </a:lnTo>
                <a:lnTo>
                  <a:pt x="48" y="22"/>
                </a:lnTo>
                <a:lnTo>
                  <a:pt x="52" y="20"/>
                </a:lnTo>
                <a:lnTo>
                  <a:pt x="54" y="16"/>
                </a:lnTo>
                <a:lnTo>
                  <a:pt x="52" y="12"/>
                </a:lnTo>
                <a:lnTo>
                  <a:pt x="50" y="10"/>
                </a:lnTo>
                <a:lnTo>
                  <a:pt x="44" y="6"/>
                </a:lnTo>
                <a:lnTo>
                  <a:pt x="30" y="0"/>
                </a:lnTo>
                <a:lnTo>
                  <a:pt x="16" y="4"/>
                </a:lnTo>
                <a:lnTo>
                  <a:pt x="12" y="2"/>
                </a:lnTo>
                <a:lnTo>
                  <a:pt x="10" y="0"/>
                </a:lnTo>
                <a:lnTo>
                  <a:pt x="0" y="6"/>
                </a:lnTo>
                <a:lnTo>
                  <a:pt x="2" y="10"/>
                </a:lnTo>
                <a:lnTo>
                  <a:pt x="8" y="14"/>
                </a:lnTo>
                <a:lnTo>
                  <a:pt x="14" y="16"/>
                </a:lnTo>
                <a:lnTo>
                  <a:pt x="22" y="18"/>
                </a:lnTo>
                <a:lnTo>
                  <a:pt x="22" y="22"/>
                </a:lnTo>
                <a:lnTo>
                  <a:pt x="24" y="24"/>
                </a:lnTo>
                <a:lnTo>
                  <a:pt x="28" y="26"/>
                </a:lnTo>
                <a:lnTo>
                  <a:pt x="32" y="26"/>
                </a:lnTo>
                <a:lnTo>
                  <a:pt x="32" y="28"/>
                </a:lnTo>
                <a:lnTo>
                  <a:pt x="34" y="28"/>
                </a:lnTo>
                <a:lnTo>
                  <a:pt x="38" y="32"/>
                </a:lnTo>
                <a:lnTo>
                  <a:pt x="42" y="34"/>
                </a:lnTo>
                <a:lnTo>
                  <a:pt x="46" y="3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4" name="Freeform 154">
            <a:extLst>
              <a:ext uri="{FF2B5EF4-FFF2-40B4-BE49-F238E27FC236}">
                <a16:creationId xmlns:a16="http://schemas.microsoft.com/office/drawing/2014/main" id="{28ADCDB7-FA35-4D64-910C-8FCA71C1F1E9}"/>
              </a:ext>
            </a:extLst>
          </p:cNvPr>
          <p:cNvSpPr>
            <a:spLocks/>
          </p:cNvSpPr>
          <p:nvPr/>
        </p:nvSpPr>
        <p:spPr bwMode="auto">
          <a:xfrm>
            <a:off x="4207703" y="2104249"/>
            <a:ext cx="99194" cy="89290"/>
          </a:xfrm>
          <a:custGeom>
            <a:avLst/>
            <a:gdLst/>
            <a:ahLst/>
            <a:cxnLst>
              <a:cxn ang="0">
                <a:pos x="50" y="0"/>
              </a:cxn>
              <a:cxn ang="0">
                <a:pos x="50" y="10"/>
              </a:cxn>
              <a:cxn ang="0">
                <a:pos x="48" y="18"/>
              </a:cxn>
              <a:cxn ang="0">
                <a:pos x="48" y="24"/>
              </a:cxn>
              <a:cxn ang="0">
                <a:pos x="50" y="24"/>
              </a:cxn>
              <a:cxn ang="0">
                <a:pos x="46" y="30"/>
              </a:cxn>
              <a:cxn ang="0">
                <a:pos x="44" y="34"/>
              </a:cxn>
              <a:cxn ang="0">
                <a:pos x="42" y="38"/>
              </a:cxn>
              <a:cxn ang="0">
                <a:pos x="40" y="44"/>
              </a:cxn>
              <a:cxn ang="0">
                <a:pos x="38" y="48"/>
              </a:cxn>
              <a:cxn ang="0">
                <a:pos x="36" y="50"/>
              </a:cxn>
              <a:cxn ang="0">
                <a:pos x="26" y="46"/>
              </a:cxn>
              <a:cxn ang="0">
                <a:pos x="20" y="42"/>
              </a:cxn>
              <a:cxn ang="0">
                <a:pos x="6" y="46"/>
              </a:cxn>
              <a:cxn ang="0">
                <a:pos x="2" y="44"/>
              </a:cxn>
              <a:cxn ang="0">
                <a:pos x="0" y="42"/>
              </a:cxn>
              <a:cxn ang="0">
                <a:pos x="10" y="36"/>
              </a:cxn>
              <a:cxn ang="0">
                <a:pos x="14" y="30"/>
              </a:cxn>
              <a:cxn ang="0">
                <a:pos x="18" y="24"/>
              </a:cxn>
              <a:cxn ang="0">
                <a:pos x="20" y="18"/>
              </a:cxn>
              <a:cxn ang="0">
                <a:pos x="22" y="14"/>
              </a:cxn>
              <a:cxn ang="0">
                <a:pos x="28" y="14"/>
              </a:cxn>
              <a:cxn ang="0">
                <a:pos x="32" y="6"/>
              </a:cxn>
              <a:cxn ang="0">
                <a:pos x="38" y="4"/>
              </a:cxn>
              <a:cxn ang="0">
                <a:pos x="42" y="2"/>
              </a:cxn>
              <a:cxn ang="0">
                <a:pos x="50" y="0"/>
              </a:cxn>
            </a:cxnLst>
            <a:rect l="0" t="0" r="r" b="b"/>
            <a:pathLst>
              <a:path w="50" h="50">
                <a:moveTo>
                  <a:pt x="50" y="0"/>
                </a:moveTo>
                <a:lnTo>
                  <a:pt x="50" y="10"/>
                </a:lnTo>
                <a:lnTo>
                  <a:pt x="48" y="18"/>
                </a:lnTo>
                <a:lnTo>
                  <a:pt x="48" y="24"/>
                </a:lnTo>
                <a:lnTo>
                  <a:pt x="50" y="24"/>
                </a:lnTo>
                <a:lnTo>
                  <a:pt x="46" y="30"/>
                </a:lnTo>
                <a:lnTo>
                  <a:pt x="44" y="34"/>
                </a:lnTo>
                <a:lnTo>
                  <a:pt x="42" y="38"/>
                </a:lnTo>
                <a:lnTo>
                  <a:pt x="40" y="44"/>
                </a:lnTo>
                <a:lnTo>
                  <a:pt x="38" y="48"/>
                </a:lnTo>
                <a:lnTo>
                  <a:pt x="36" y="50"/>
                </a:lnTo>
                <a:lnTo>
                  <a:pt x="26" y="46"/>
                </a:lnTo>
                <a:lnTo>
                  <a:pt x="20" y="42"/>
                </a:lnTo>
                <a:lnTo>
                  <a:pt x="6" y="46"/>
                </a:lnTo>
                <a:lnTo>
                  <a:pt x="2" y="44"/>
                </a:lnTo>
                <a:lnTo>
                  <a:pt x="0" y="42"/>
                </a:lnTo>
                <a:lnTo>
                  <a:pt x="10" y="36"/>
                </a:lnTo>
                <a:lnTo>
                  <a:pt x="14" y="30"/>
                </a:lnTo>
                <a:lnTo>
                  <a:pt x="18" y="24"/>
                </a:lnTo>
                <a:lnTo>
                  <a:pt x="20" y="18"/>
                </a:lnTo>
                <a:lnTo>
                  <a:pt x="22" y="14"/>
                </a:lnTo>
                <a:lnTo>
                  <a:pt x="28" y="14"/>
                </a:lnTo>
                <a:lnTo>
                  <a:pt x="32" y="6"/>
                </a:lnTo>
                <a:lnTo>
                  <a:pt x="38" y="4"/>
                </a:lnTo>
                <a:lnTo>
                  <a:pt x="42" y="2"/>
                </a:lnTo>
                <a:lnTo>
                  <a:pt x="5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5" name="Freeform 155">
            <a:extLst>
              <a:ext uri="{FF2B5EF4-FFF2-40B4-BE49-F238E27FC236}">
                <a16:creationId xmlns:a16="http://schemas.microsoft.com/office/drawing/2014/main" id="{36A6843D-9D52-49CE-887D-0F1B6FDCA5E6}"/>
              </a:ext>
            </a:extLst>
          </p:cNvPr>
          <p:cNvSpPr>
            <a:spLocks/>
          </p:cNvSpPr>
          <p:nvPr/>
        </p:nvSpPr>
        <p:spPr bwMode="auto">
          <a:xfrm>
            <a:off x="4339392" y="1979246"/>
            <a:ext cx="61569" cy="92537"/>
          </a:xfrm>
          <a:custGeom>
            <a:avLst/>
            <a:gdLst/>
            <a:ahLst/>
            <a:cxnLst>
              <a:cxn ang="0">
                <a:pos x="22" y="52"/>
              </a:cxn>
              <a:cxn ang="0">
                <a:pos x="8" y="52"/>
              </a:cxn>
              <a:cxn ang="0">
                <a:pos x="10" y="52"/>
              </a:cxn>
              <a:cxn ang="0">
                <a:pos x="12" y="50"/>
              </a:cxn>
              <a:cxn ang="0">
                <a:pos x="6" y="50"/>
              </a:cxn>
              <a:cxn ang="0">
                <a:pos x="6" y="42"/>
              </a:cxn>
              <a:cxn ang="0">
                <a:pos x="4" y="38"/>
              </a:cxn>
              <a:cxn ang="0">
                <a:pos x="2" y="32"/>
              </a:cxn>
              <a:cxn ang="0">
                <a:pos x="0" y="26"/>
              </a:cxn>
              <a:cxn ang="0">
                <a:pos x="2" y="22"/>
              </a:cxn>
              <a:cxn ang="0">
                <a:pos x="4" y="18"/>
              </a:cxn>
              <a:cxn ang="0">
                <a:pos x="12" y="12"/>
              </a:cxn>
              <a:cxn ang="0">
                <a:pos x="28" y="0"/>
              </a:cxn>
              <a:cxn ang="0">
                <a:pos x="28" y="14"/>
              </a:cxn>
              <a:cxn ang="0">
                <a:pos x="26" y="16"/>
              </a:cxn>
              <a:cxn ang="0">
                <a:pos x="28" y="18"/>
              </a:cxn>
              <a:cxn ang="0">
                <a:pos x="32" y="20"/>
              </a:cxn>
              <a:cxn ang="0">
                <a:pos x="30" y="24"/>
              </a:cxn>
              <a:cxn ang="0">
                <a:pos x="28" y="28"/>
              </a:cxn>
              <a:cxn ang="0">
                <a:pos x="26" y="28"/>
              </a:cxn>
              <a:cxn ang="0">
                <a:pos x="22" y="30"/>
              </a:cxn>
              <a:cxn ang="0">
                <a:pos x="24" y="36"/>
              </a:cxn>
              <a:cxn ang="0">
                <a:pos x="28" y="40"/>
              </a:cxn>
              <a:cxn ang="0">
                <a:pos x="22" y="40"/>
              </a:cxn>
              <a:cxn ang="0">
                <a:pos x="22" y="52"/>
              </a:cxn>
            </a:cxnLst>
            <a:rect l="0" t="0" r="r" b="b"/>
            <a:pathLst>
              <a:path w="32" h="52">
                <a:moveTo>
                  <a:pt x="22" y="52"/>
                </a:moveTo>
                <a:lnTo>
                  <a:pt x="8" y="52"/>
                </a:lnTo>
                <a:lnTo>
                  <a:pt x="10" y="52"/>
                </a:lnTo>
                <a:lnTo>
                  <a:pt x="12" y="50"/>
                </a:lnTo>
                <a:lnTo>
                  <a:pt x="6" y="50"/>
                </a:lnTo>
                <a:lnTo>
                  <a:pt x="6" y="42"/>
                </a:lnTo>
                <a:lnTo>
                  <a:pt x="4" y="38"/>
                </a:lnTo>
                <a:lnTo>
                  <a:pt x="2" y="32"/>
                </a:lnTo>
                <a:lnTo>
                  <a:pt x="0" y="26"/>
                </a:lnTo>
                <a:lnTo>
                  <a:pt x="2" y="22"/>
                </a:lnTo>
                <a:lnTo>
                  <a:pt x="4" y="18"/>
                </a:lnTo>
                <a:lnTo>
                  <a:pt x="12" y="12"/>
                </a:lnTo>
                <a:lnTo>
                  <a:pt x="28" y="0"/>
                </a:lnTo>
                <a:lnTo>
                  <a:pt x="28" y="14"/>
                </a:lnTo>
                <a:lnTo>
                  <a:pt x="26" y="16"/>
                </a:lnTo>
                <a:lnTo>
                  <a:pt x="28" y="18"/>
                </a:lnTo>
                <a:lnTo>
                  <a:pt x="32" y="20"/>
                </a:lnTo>
                <a:lnTo>
                  <a:pt x="30" y="24"/>
                </a:lnTo>
                <a:lnTo>
                  <a:pt x="28" y="28"/>
                </a:lnTo>
                <a:lnTo>
                  <a:pt x="26" y="28"/>
                </a:lnTo>
                <a:lnTo>
                  <a:pt x="22" y="30"/>
                </a:lnTo>
                <a:lnTo>
                  <a:pt x="24" y="36"/>
                </a:lnTo>
                <a:lnTo>
                  <a:pt x="28" y="40"/>
                </a:lnTo>
                <a:lnTo>
                  <a:pt x="22" y="40"/>
                </a:lnTo>
                <a:lnTo>
                  <a:pt x="22" y="5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6" name="Freeform 156">
            <a:extLst>
              <a:ext uri="{FF2B5EF4-FFF2-40B4-BE49-F238E27FC236}">
                <a16:creationId xmlns:a16="http://schemas.microsoft.com/office/drawing/2014/main" id="{772245AA-2384-4B93-97B6-842861B19956}"/>
              </a:ext>
            </a:extLst>
          </p:cNvPr>
          <p:cNvSpPr>
            <a:spLocks/>
          </p:cNvSpPr>
          <p:nvPr/>
        </p:nvSpPr>
        <p:spPr bwMode="auto">
          <a:xfrm>
            <a:off x="4279534" y="2071783"/>
            <a:ext cx="249696" cy="232155"/>
          </a:xfrm>
          <a:custGeom>
            <a:avLst/>
            <a:gdLst/>
            <a:ahLst/>
            <a:cxnLst>
              <a:cxn ang="0">
                <a:pos x="22" y="128"/>
              </a:cxn>
              <a:cxn ang="0">
                <a:pos x="40" y="126"/>
              </a:cxn>
              <a:cxn ang="0">
                <a:pos x="52" y="130"/>
              </a:cxn>
              <a:cxn ang="0">
                <a:pos x="62" y="130"/>
              </a:cxn>
              <a:cxn ang="0">
                <a:pos x="80" y="130"/>
              </a:cxn>
              <a:cxn ang="0">
                <a:pos x="102" y="126"/>
              </a:cxn>
              <a:cxn ang="0">
                <a:pos x="102" y="116"/>
              </a:cxn>
              <a:cxn ang="0">
                <a:pos x="110" y="110"/>
              </a:cxn>
              <a:cxn ang="0">
                <a:pos x="108" y="102"/>
              </a:cxn>
              <a:cxn ang="0">
                <a:pos x="92" y="90"/>
              </a:cxn>
              <a:cxn ang="0">
                <a:pos x="90" y="80"/>
              </a:cxn>
              <a:cxn ang="0">
                <a:pos x="121" y="70"/>
              </a:cxn>
              <a:cxn ang="0">
                <a:pos x="127" y="60"/>
              </a:cxn>
              <a:cxn ang="0">
                <a:pos x="114" y="34"/>
              </a:cxn>
              <a:cxn ang="0">
                <a:pos x="110" y="12"/>
              </a:cxn>
              <a:cxn ang="0">
                <a:pos x="102" y="6"/>
              </a:cxn>
              <a:cxn ang="0">
                <a:pos x="92" y="4"/>
              </a:cxn>
              <a:cxn ang="0">
                <a:pos x="80" y="10"/>
              </a:cxn>
              <a:cxn ang="0">
                <a:pos x="70" y="12"/>
              </a:cxn>
              <a:cxn ang="0">
                <a:pos x="52" y="0"/>
              </a:cxn>
              <a:cxn ang="0">
                <a:pos x="40" y="8"/>
              </a:cxn>
              <a:cxn ang="0">
                <a:pos x="50" y="20"/>
              </a:cxn>
              <a:cxn ang="0">
                <a:pos x="42" y="16"/>
              </a:cxn>
              <a:cxn ang="0">
                <a:pos x="38" y="18"/>
              </a:cxn>
              <a:cxn ang="0">
                <a:pos x="34" y="20"/>
              </a:cxn>
              <a:cxn ang="0">
                <a:pos x="26" y="18"/>
              </a:cxn>
              <a:cxn ang="0">
                <a:pos x="14" y="18"/>
              </a:cxn>
              <a:cxn ang="0">
                <a:pos x="12" y="36"/>
              </a:cxn>
              <a:cxn ang="0">
                <a:pos x="14" y="42"/>
              </a:cxn>
              <a:cxn ang="0">
                <a:pos x="8" y="52"/>
              </a:cxn>
              <a:cxn ang="0">
                <a:pos x="4" y="62"/>
              </a:cxn>
              <a:cxn ang="0">
                <a:pos x="0" y="68"/>
              </a:cxn>
              <a:cxn ang="0">
                <a:pos x="8" y="76"/>
              </a:cxn>
              <a:cxn ang="0">
                <a:pos x="6" y="80"/>
              </a:cxn>
              <a:cxn ang="0">
                <a:pos x="10" y="92"/>
              </a:cxn>
              <a:cxn ang="0">
                <a:pos x="10" y="96"/>
              </a:cxn>
              <a:cxn ang="0">
                <a:pos x="24" y="100"/>
              </a:cxn>
              <a:cxn ang="0">
                <a:pos x="30" y="112"/>
              </a:cxn>
              <a:cxn ang="0">
                <a:pos x="24" y="126"/>
              </a:cxn>
            </a:cxnLst>
            <a:rect l="0" t="0" r="r" b="b"/>
            <a:pathLst>
              <a:path w="127" h="130">
                <a:moveTo>
                  <a:pt x="24" y="128"/>
                </a:moveTo>
                <a:lnTo>
                  <a:pt x="22" y="128"/>
                </a:lnTo>
                <a:lnTo>
                  <a:pt x="32" y="126"/>
                </a:lnTo>
                <a:lnTo>
                  <a:pt x="40" y="126"/>
                </a:lnTo>
                <a:lnTo>
                  <a:pt x="48" y="128"/>
                </a:lnTo>
                <a:lnTo>
                  <a:pt x="52" y="130"/>
                </a:lnTo>
                <a:lnTo>
                  <a:pt x="58" y="130"/>
                </a:lnTo>
                <a:lnTo>
                  <a:pt x="62" y="130"/>
                </a:lnTo>
                <a:lnTo>
                  <a:pt x="74" y="130"/>
                </a:lnTo>
                <a:lnTo>
                  <a:pt x="80" y="130"/>
                </a:lnTo>
                <a:lnTo>
                  <a:pt x="88" y="126"/>
                </a:lnTo>
                <a:lnTo>
                  <a:pt x="102" y="126"/>
                </a:lnTo>
                <a:lnTo>
                  <a:pt x="100" y="122"/>
                </a:lnTo>
                <a:lnTo>
                  <a:pt x="102" y="116"/>
                </a:lnTo>
                <a:lnTo>
                  <a:pt x="106" y="114"/>
                </a:lnTo>
                <a:lnTo>
                  <a:pt x="110" y="110"/>
                </a:lnTo>
                <a:lnTo>
                  <a:pt x="114" y="108"/>
                </a:lnTo>
                <a:lnTo>
                  <a:pt x="108" y="102"/>
                </a:lnTo>
                <a:lnTo>
                  <a:pt x="100" y="96"/>
                </a:lnTo>
                <a:lnTo>
                  <a:pt x="92" y="90"/>
                </a:lnTo>
                <a:lnTo>
                  <a:pt x="92" y="84"/>
                </a:lnTo>
                <a:lnTo>
                  <a:pt x="90" y="80"/>
                </a:lnTo>
                <a:lnTo>
                  <a:pt x="119" y="70"/>
                </a:lnTo>
                <a:lnTo>
                  <a:pt x="121" y="70"/>
                </a:lnTo>
                <a:lnTo>
                  <a:pt x="127" y="70"/>
                </a:lnTo>
                <a:lnTo>
                  <a:pt x="127" y="60"/>
                </a:lnTo>
                <a:lnTo>
                  <a:pt x="121" y="46"/>
                </a:lnTo>
                <a:lnTo>
                  <a:pt x="114" y="34"/>
                </a:lnTo>
                <a:lnTo>
                  <a:pt x="114" y="16"/>
                </a:lnTo>
                <a:lnTo>
                  <a:pt x="110" y="12"/>
                </a:lnTo>
                <a:lnTo>
                  <a:pt x="108" y="8"/>
                </a:lnTo>
                <a:lnTo>
                  <a:pt x="102" y="6"/>
                </a:lnTo>
                <a:lnTo>
                  <a:pt x="96" y="4"/>
                </a:lnTo>
                <a:lnTo>
                  <a:pt x="92" y="4"/>
                </a:lnTo>
                <a:lnTo>
                  <a:pt x="86" y="8"/>
                </a:lnTo>
                <a:lnTo>
                  <a:pt x="80" y="10"/>
                </a:lnTo>
                <a:lnTo>
                  <a:pt x="76" y="16"/>
                </a:lnTo>
                <a:lnTo>
                  <a:pt x="70" y="12"/>
                </a:lnTo>
                <a:lnTo>
                  <a:pt x="66" y="8"/>
                </a:lnTo>
                <a:lnTo>
                  <a:pt x="52" y="0"/>
                </a:lnTo>
                <a:lnTo>
                  <a:pt x="38" y="0"/>
                </a:lnTo>
                <a:lnTo>
                  <a:pt x="40" y="8"/>
                </a:lnTo>
                <a:lnTo>
                  <a:pt x="42" y="12"/>
                </a:lnTo>
                <a:lnTo>
                  <a:pt x="50" y="20"/>
                </a:lnTo>
                <a:lnTo>
                  <a:pt x="46" y="20"/>
                </a:lnTo>
                <a:lnTo>
                  <a:pt x="42" y="16"/>
                </a:lnTo>
                <a:lnTo>
                  <a:pt x="38" y="16"/>
                </a:lnTo>
                <a:lnTo>
                  <a:pt x="38" y="18"/>
                </a:lnTo>
                <a:lnTo>
                  <a:pt x="36" y="20"/>
                </a:lnTo>
                <a:lnTo>
                  <a:pt x="34" y="20"/>
                </a:lnTo>
                <a:lnTo>
                  <a:pt x="30" y="18"/>
                </a:lnTo>
                <a:lnTo>
                  <a:pt x="26" y="18"/>
                </a:lnTo>
                <a:lnTo>
                  <a:pt x="22" y="16"/>
                </a:lnTo>
                <a:lnTo>
                  <a:pt x="14" y="18"/>
                </a:lnTo>
                <a:lnTo>
                  <a:pt x="14" y="28"/>
                </a:lnTo>
                <a:lnTo>
                  <a:pt x="12" y="36"/>
                </a:lnTo>
                <a:lnTo>
                  <a:pt x="12" y="42"/>
                </a:lnTo>
                <a:lnTo>
                  <a:pt x="14" y="42"/>
                </a:lnTo>
                <a:lnTo>
                  <a:pt x="10" y="48"/>
                </a:lnTo>
                <a:lnTo>
                  <a:pt x="8" y="52"/>
                </a:lnTo>
                <a:lnTo>
                  <a:pt x="6" y="56"/>
                </a:lnTo>
                <a:lnTo>
                  <a:pt x="4" y="62"/>
                </a:lnTo>
                <a:lnTo>
                  <a:pt x="2" y="66"/>
                </a:lnTo>
                <a:lnTo>
                  <a:pt x="0" y="68"/>
                </a:lnTo>
                <a:lnTo>
                  <a:pt x="4" y="72"/>
                </a:lnTo>
                <a:lnTo>
                  <a:pt x="8" y="76"/>
                </a:lnTo>
                <a:lnTo>
                  <a:pt x="6" y="78"/>
                </a:lnTo>
                <a:lnTo>
                  <a:pt x="6" y="80"/>
                </a:lnTo>
                <a:lnTo>
                  <a:pt x="10" y="88"/>
                </a:lnTo>
                <a:lnTo>
                  <a:pt x="10" y="92"/>
                </a:lnTo>
                <a:lnTo>
                  <a:pt x="10" y="94"/>
                </a:lnTo>
                <a:lnTo>
                  <a:pt x="10" y="96"/>
                </a:lnTo>
                <a:lnTo>
                  <a:pt x="20" y="98"/>
                </a:lnTo>
                <a:lnTo>
                  <a:pt x="24" y="100"/>
                </a:lnTo>
                <a:lnTo>
                  <a:pt x="32" y="102"/>
                </a:lnTo>
                <a:lnTo>
                  <a:pt x="30" y="112"/>
                </a:lnTo>
                <a:lnTo>
                  <a:pt x="28" y="120"/>
                </a:lnTo>
                <a:lnTo>
                  <a:pt x="24" y="126"/>
                </a:lnTo>
                <a:lnTo>
                  <a:pt x="24" y="12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7" name="Freeform 157">
            <a:extLst>
              <a:ext uri="{FF2B5EF4-FFF2-40B4-BE49-F238E27FC236}">
                <a16:creationId xmlns:a16="http://schemas.microsoft.com/office/drawing/2014/main" id="{87E3ACE2-6593-4071-9E88-C15D495734BE}"/>
              </a:ext>
            </a:extLst>
          </p:cNvPr>
          <p:cNvSpPr>
            <a:spLocks/>
          </p:cNvSpPr>
          <p:nvPr/>
        </p:nvSpPr>
        <p:spPr bwMode="auto">
          <a:xfrm>
            <a:off x="4289795" y="2295818"/>
            <a:ext cx="119717" cy="53574"/>
          </a:xfrm>
          <a:custGeom>
            <a:avLst/>
            <a:gdLst/>
            <a:ahLst/>
            <a:cxnLst>
              <a:cxn ang="0">
                <a:pos x="50" y="4"/>
              </a:cxn>
              <a:cxn ang="0">
                <a:pos x="44" y="2"/>
              </a:cxn>
              <a:cxn ang="0">
                <a:pos x="34" y="0"/>
              </a:cxn>
              <a:cxn ang="0">
                <a:pos x="26" y="0"/>
              </a:cxn>
              <a:cxn ang="0">
                <a:pos x="16" y="2"/>
              </a:cxn>
              <a:cxn ang="0">
                <a:pos x="18" y="2"/>
              </a:cxn>
              <a:cxn ang="0">
                <a:pos x="18" y="0"/>
              </a:cxn>
              <a:cxn ang="0">
                <a:pos x="16" y="2"/>
              </a:cxn>
              <a:cxn ang="0">
                <a:pos x="14" y="4"/>
              </a:cxn>
              <a:cxn ang="0">
                <a:pos x="12" y="8"/>
              </a:cxn>
              <a:cxn ang="0">
                <a:pos x="8" y="10"/>
              </a:cxn>
              <a:cxn ang="0">
                <a:pos x="4" y="14"/>
              </a:cxn>
              <a:cxn ang="0">
                <a:pos x="0" y="22"/>
              </a:cxn>
              <a:cxn ang="0">
                <a:pos x="0" y="28"/>
              </a:cxn>
              <a:cxn ang="0">
                <a:pos x="4" y="28"/>
              </a:cxn>
              <a:cxn ang="0">
                <a:pos x="4" y="26"/>
              </a:cxn>
              <a:cxn ang="0">
                <a:pos x="4" y="24"/>
              </a:cxn>
              <a:cxn ang="0">
                <a:pos x="8" y="26"/>
              </a:cxn>
              <a:cxn ang="0">
                <a:pos x="10" y="24"/>
              </a:cxn>
              <a:cxn ang="0">
                <a:pos x="12" y="30"/>
              </a:cxn>
              <a:cxn ang="0">
                <a:pos x="26" y="30"/>
              </a:cxn>
              <a:cxn ang="0">
                <a:pos x="28" y="28"/>
              </a:cxn>
              <a:cxn ang="0">
                <a:pos x="30" y="26"/>
              </a:cxn>
              <a:cxn ang="0">
                <a:pos x="32" y="26"/>
              </a:cxn>
              <a:cxn ang="0">
                <a:pos x="36" y="28"/>
              </a:cxn>
              <a:cxn ang="0">
                <a:pos x="40" y="30"/>
              </a:cxn>
              <a:cxn ang="0">
                <a:pos x="44" y="30"/>
              </a:cxn>
              <a:cxn ang="0">
                <a:pos x="44" y="26"/>
              </a:cxn>
              <a:cxn ang="0">
                <a:pos x="48" y="24"/>
              </a:cxn>
              <a:cxn ang="0">
                <a:pos x="54" y="22"/>
              </a:cxn>
              <a:cxn ang="0">
                <a:pos x="60" y="20"/>
              </a:cxn>
              <a:cxn ang="0">
                <a:pos x="60" y="14"/>
              </a:cxn>
              <a:cxn ang="0">
                <a:pos x="58" y="14"/>
              </a:cxn>
              <a:cxn ang="0">
                <a:pos x="54" y="12"/>
              </a:cxn>
              <a:cxn ang="0">
                <a:pos x="50" y="8"/>
              </a:cxn>
              <a:cxn ang="0">
                <a:pos x="50" y="4"/>
              </a:cxn>
            </a:cxnLst>
            <a:rect l="0" t="0" r="r" b="b"/>
            <a:pathLst>
              <a:path w="60" h="30">
                <a:moveTo>
                  <a:pt x="50" y="4"/>
                </a:moveTo>
                <a:lnTo>
                  <a:pt x="44" y="2"/>
                </a:lnTo>
                <a:lnTo>
                  <a:pt x="34" y="0"/>
                </a:lnTo>
                <a:lnTo>
                  <a:pt x="26" y="0"/>
                </a:lnTo>
                <a:lnTo>
                  <a:pt x="16" y="2"/>
                </a:lnTo>
                <a:lnTo>
                  <a:pt x="18" y="2"/>
                </a:lnTo>
                <a:lnTo>
                  <a:pt x="18" y="0"/>
                </a:lnTo>
                <a:lnTo>
                  <a:pt x="16" y="2"/>
                </a:lnTo>
                <a:lnTo>
                  <a:pt x="14" y="4"/>
                </a:lnTo>
                <a:lnTo>
                  <a:pt x="12" y="8"/>
                </a:lnTo>
                <a:lnTo>
                  <a:pt x="8" y="10"/>
                </a:lnTo>
                <a:lnTo>
                  <a:pt x="4" y="14"/>
                </a:lnTo>
                <a:lnTo>
                  <a:pt x="0" y="22"/>
                </a:lnTo>
                <a:lnTo>
                  <a:pt x="0" y="28"/>
                </a:lnTo>
                <a:lnTo>
                  <a:pt x="4" y="28"/>
                </a:lnTo>
                <a:lnTo>
                  <a:pt x="4" y="26"/>
                </a:lnTo>
                <a:lnTo>
                  <a:pt x="4" y="24"/>
                </a:lnTo>
                <a:lnTo>
                  <a:pt x="8" y="26"/>
                </a:lnTo>
                <a:lnTo>
                  <a:pt x="10" y="24"/>
                </a:lnTo>
                <a:lnTo>
                  <a:pt x="12" y="30"/>
                </a:lnTo>
                <a:lnTo>
                  <a:pt x="26" y="30"/>
                </a:lnTo>
                <a:lnTo>
                  <a:pt x="28" y="28"/>
                </a:lnTo>
                <a:lnTo>
                  <a:pt x="30" y="26"/>
                </a:lnTo>
                <a:lnTo>
                  <a:pt x="32" y="26"/>
                </a:lnTo>
                <a:lnTo>
                  <a:pt x="36" y="28"/>
                </a:lnTo>
                <a:lnTo>
                  <a:pt x="40" y="30"/>
                </a:lnTo>
                <a:lnTo>
                  <a:pt x="44" y="30"/>
                </a:lnTo>
                <a:lnTo>
                  <a:pt x="44" y="26"/>
                </a:lnTo>
                <a:lnTo>
                  <a:pt x="48" y="24"/>
                </a:lnTo>
                <a:lnTo>
                  <a:pt x="54" y="22"/>
                </a:lnTo>
                <a:lnTo>
                  <a:pt x="60" y="20"/>
                </a:lnTo>
                <a:lnTo>
                  <a:pt x="60" y="14"/>
                </a:lnTo>
                <a:lnTo>
                  <a:pt x="58" y="14"/>
                </a:lnTo>
                <a:lnTo>
                  <a:pt x="54" y="12"/>
                </a:lnTo>
                <a:lnTo>
                  <a:pt x="50" y="8"/>
                </a:lnTo>
                <a:lnTo>
                  <a:pt x="50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8" name="Freeform 158">
            <a:extLst>
              <a:ext uri="{FF2B5EF4-FFF2-40B4-BE49-F238E27FC236}">
                <a16:creationId xmlns:a16="http://schemas.microsoft.com/office/drawing/2014/main" id="{A7AE561C-A5A9-424D-8AF5-DDB7BCCEC1B9}"/>
              </a:ext>
            </a:extLst>
          </p:cNvPr>
          <p:cNvSpPr>
            <a:spLocks/>
          </p:cNvSpPr>
          <p:nvPr/>
        </p:nvSpPr>
        <p:spPr bwMode="auto">
          <a:xfrm>
            <a:off x="4390697" y="2253608"/>
            <a:ext cx="210361" cy="82796"/>
          </a:xfrm>
          <a:custGeom>
            <a:avLst/>
            <a:gdLst/>
            <a:ahLst/>
            <a:cxnLst>
              <a:cxn ang="0">
                <a:pos x="65" y="8"/>
              </a:cxn>
              <a:cxn ang="0">
                <a:pos x="69" y="6"/>
              </a:cxn>
              <a:cxn ang="0">
                <a:pos x="71" y="4"/>
              </a:cxn>
              <a:cxn ang="0">
                <a:pos x="75" y="2"/>
              </a:cxn>
              <a:cxn ang="0">
                <a:pos x="79" y="0"/>
              </a:cxn>
              <a:cxn ang="0">
                <a:pos x="85" y="2"/>
              </a:cxn>
              <a:cxn ang="0">
                <a:pos x="91" y="4"/>
              </a:cxn>
              <a:cxn ang="0">
                <a:pos x="95" y="6"/>
              </a:cxn>
              <a:cxn ang="0">
                <a:pos x="101" y="6"/>
              </a:cxn>
              <a:cxn ang="0">
                <a:pos x="103" y="14"/>
              </a:cxn>
              <a:cxn ang="0">
                <a:pos x="107" y="18"/>
              </a:cxn>
              <a:cxn ang="0">
                <a:pos x="101" y="24"/>
              </a:cxn>
              <a:cxn ang="0">
                <a:pos x="99" y="30"/>
              </a:cxn>
              <a:cxn ang="0">
                <a:pos x="95" y="38"/>
              </a:cxn>
              <a:cxn ang="0">
                <a:pos x="93" y="40"/>
              </a:cxn>
              <a:cxn ang="0">
                <a:pos x="79" y="42"/>
              </a:cxn>
              <a:cxn ang="0">
                <a:pos x="75" y="44"/>
              </a:cxn>
              <a:cxn ang="0">
                <a:pos x="73" y="44"/>
              </a:cxn>
              <a:cxn ang="0">
                <a:pos x="65" y="46"/>
              </a:cxn>
              <a:cxn ang="0">
                <a:pos x="52" y="44"/>
              </a:cxn>
              <a:cxn ang="0">
                <a:pos x="42" y="40"/>
              </a:cxn>
              <a:cxn ang="0">
                <a:pos x="36" y="38"/>
              </a:cxn>
              <a:cxn ang="0">
                <a:pos x="26" y="36"/>
              </a:cxn>
              <a:cxn ang="0">
                <a:pos x="22" y="36"/>
              </a:cxn>
              <a:cxn ang="0">
                <a:pos x="22" y="38"/>
              </a:cxn>
              <a:cxn ang="0">
                <a:pos x="10" y="38"/>
              </a:cxn>
              <a:cxn ang="0">
                <a:pos x="8" y="38"/>
              </a:cxn>
              <a:cxn ang="0">
                <a:pos x="4" y="36"/>
              </a:cxn>
              <a:cxn ang="0">
                <a:pos x="0" y="32"/>
              </a:cxn>
              <a:cxn ang="0">
                <a:pos x="0" y="28"/>
              </a:cxn>
              <a:cxn ang="0">
                <a:pos x="6" y="28"/>
              </a:cxn>
              <a:cxn ang="0">
                <a:pos x="18" y="28"/>
              </a:cxn>
              <a:cxn ang="0">
                <a:pos x="24" y="28"/>
              </a:cxn>
              <a:cxn ang="0">
                <a:pos x="32" y="24"/>
              </a:cxn>
              <a:cxn ang="0">
                <a:pos x="46" y="24"/>
              </a:cxn>
              <a:cxn ang="0">
                <a:pos x="44" y="20"/>
              </a:cxn>
              <a:cxn ang="0">
                <a:pos x="46" y="14"/>
              </a:cxn>
              <a:cxn ang="0">
                <a:pos x="50" y="12"/>
              </a:cxn>
              <a:cxn ang="0">
                <a:pos x="54" y="8"/>
              </a:cxn>
              <a:cxn ang="0">
                <a:pos x="58" y="6"/>
              </a:cxn>
              <a:cxn ang="0">
                <a:pos x="56" y="6"/>
              </a:cxn>
              <a:cxn ang="0">
                <a:pos x="65" y="8"/>
              </a:cxn>
            </a:cxnLst>
            <a:rect l="0" t="0" r="r" b="b"/>
            <a:pathLst>
              <a:path w="107" h="46">
                <a:moveTo>
                  <a:pt x="65" y="8"/>
                </a:moveTo>
                <a:lnTo>
                  <a:pt x="69" y="6"/>
                </a:lnTo>
                <a:lnTo>
                  <a:pt x="71" y="4"/>
                </a:lnTo>
                <a:lnTo>
                  <a:pt x="75" y="2"/>
                </a:lnTo>
                <a:lnTo>
                  <a:pt x="79" y="0"/>
                </a:lnTo>
                <a:lnTo>
                  <a:pt x="85" y="2"/>
                </a:lnTo>
                <a:lnTo>
                  <a:pt x="91" y="4"/>
                </a:lnTo>
                <a:lnTo>
                  <a:pt x="95" y="6"/>
                </a:lnTo>
                <a:lnTo>
                  <a:pt x="101" y="6"/>
                </a:lnTo>
                <a:lnTo>
                  <a:pt x="103" y="14"/>
                </a:lnTo>
                <a:lnTo>
                  <a:pt x="107" y="18"/>
                </a:lnTo>
                <a:lnTo>
                  <a:pt x="101" y="24"/>
                </a:lnTo>
                <a:lnTo>
                  <a:pt x="99" y="30"/>
                </a:lnTo>
                <a:lnTo>
                  <a:pt x="95" y="38"/>
                </a:lnTo>
                <a:lnTo>
                  <a:pt x="93" y="40"/>
                </a:lnTo>
                <a:lnTo>
                  <a:pt x="79" y="42"/>
                </a:lnTo>
                <a:lnTo>
                  <a:pt x="75" y="44"/>
                </a:lnTo>
                <a:lnTo>
                  <a:pt x="73" y="44"/>
                </a:lnTo>
                <a:lnTo>
                  <a:pt x="65" y="46"/>
                </a:lnTo>
                <a:lnTo>
                  <a:pt x="52" y="44"/>
                </a:lnTo>
                <a:lnTo>
                  <a:pt x="42" y="40"/>
                </a:lnTo>
                <a:lnTo>
                  <a:pt x="36" y="38"/>
                </a:lnTo>
                <a:lnTo>
                  <a:pt x="26" y="36"/>
                </a:lnTo>
                <a:lnTo>
                  <a:pt x="22" y="36"/>
                </a:lnTo>
                <a:lnTo>
                  <a:pt x="22" y="38"/>
                </a:lnTo>
                <a:lnTo>
                  <a:pt x="10" y="38"/>
                </a:lnTo>
                <a:lnTo>
                  <a:pt x="8" y="38"/>
                </a:lnTo>
                <a:lnTo>
                  <a:pt x="4" y="36"/>
                </a:lnTo>
                <a:lnTo>
                  <a:pt x="0" y="32"/>
                </a:lnTo>
                <a:lnTo>
                  <a:pt x="0" y="28"/>
                </a:lnTo>
                <a:lnTo>
                  <a:pt x="6" y="28"/>
                </a:lnTo>
                <a:lnTo>
                  <a:pt x="18" y="28"/>
                </a:lnTo>
                <a:lnTo>
                  <a:pt x="24" y="28"/>
                </a:lnTo>
                <a:lnTo>
                  <a:pt x="32" y="24"/>
                </a:lnTo>
                <a:lnTo>
                  <a:pt x="46" y="24"/>
                </a:lnTo>
                <a:lnTo>
                  <a:pt x="44" y="20"/>
                </a:lnTo>
                <a:lnTo>
                  <a:pt x="46" y="14"/>
                </a:lnTo>
                <a:lnTo>
                  <a:pt x="50" y="12"/>
                </a:lnTo>
                <a:lnTo>
                  <a:pt x="54" y="8"/>
                </a:lnTo>
                <a:lnTo>
                  <a:pt x="58" y="6"/>
                </a:lnTo>
                <a:lnTo>
                  <a:pt x="56" y="6"/>
                </a:lnTo>
                <a:lnTo>
                  <a:pt x="65" y="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9" name="Freeform 159">
            <a:extLst>
              <a:ext uri="{FF2B5EF4-FFF2-40B4-BE49-F238E27FC236}">
                <a16:creationId xmlns:a16="http://schemas.microsoft.com/office/drawing/2014/main" id="{5CBBE6D4-15DB-4F42-828B-095547E2746E}"/>
              </a:ext>
            </a:extLst>
          </p:cNvPr>
          <p:cNvSpPr>
            <a:spLocks/>
          </p:cNvSpPr>
          <p:nvPr/>
        </p:nvSpPr>
        <p:spPr bwMode="auto">
          <a:xfrm>
            <a:off x="4306897" y="2318546"/>
            <a:ext cx="365993" cy="288976"/>
          </a:xfrm>
          <a:custGeom>
            <a:avLst/>
            <a:gdLst/>
            <a:ahLst/>
            <a:cxnLst>
              <a:cxn ang="0">
                <a:pos x="12" y="52"/>
              </a:cxn>
              <a:cxn ang="0">
                <a:pos x="0" y="36"/>
              </a:cxn>
              <a:cxn ang="0">
                <a:pos x="8" y="28"/>
              </a:cxn>
              <a:cxn ang="0">
                <a:pos x="4" y="24"/>
              </a:cxn>
              <a:cxn ang="0">
                <a:pos x="4" y="18"/>
              </a:cxn>
              <a:cxn ang="0">
                <a:pos x="20" y="16"/>
              </a:cxn>
              <a:cxn ang="0">
                <a:pos x="24" y="14"/>
              </a:cxn>
              <a:cxn ang="0">
                <a:pos x="32" y="18"/>
              </a:cxn>
              <a:cxn ang="0">
                <a:pos x="36" y="14"/>
              </a:cxn>
              <a:cxn ang="0">
                <a:pos x="46" y="10"/>
              </a:cxn>
              <a:cxn ang="0">
                <a:pos x="52" y="2"/>
              </a:cxn>
              <a:cxn ang="0">
                <a:pos x="64" y="0"/>
              </a:cxn>
              <a:cxn ang="0">
                <a:pos x="74" y="2"/>
              </a:cxn>
              <a:cxn ang="0">
                <a:pos x="94" y="8"/>
              </a:cxn>
              <a:cxn ang="0">
                <a:pos x="96" y="16"/>
              </a:cxn>
              <a:cxn ang="0">
                <a:pos x="86" y="28"/>
              </a:cxn>
              <a:cxn ang="0">
                <a:pos x="84" y="38"/>
              </a:cxn>
              <a:cxn ang="0">
                <a:pos x="84" y="48"/>
              </a:cxn>
              <a:cxn ang="0">
                <a:pos x="96" y="58"/>
              </a:cxn>
              <a:cxn ang="0">
                <a:pos x="109" y="64"/>
              </a:cxn>
              <a:cxn ang="0">
                <a:pos x="119" y="72"/>
              </a:cxn>
              <a:cxn ang="0">
                <a:pos x="125" y="86"/>
              </a:cxn>
              <a:cxn ang="0">
                <a:pos x="135" y="92"/>
              </a:cxn>
              <a:cxn ang="0">
                <a:pos x="139" y="90"/>
              </a:cxn>
              <a:cxn ang="0">
                <a:pos x="145" y="98"/>
              </a:cxn>
              <a:cxn ang="0">
                <a:pos x="161" y="108"/>
              </a:cxn>
              <a:cxn ang="0">
                <a:pos x="179" y="120"/>
              </a:cxn>
              <a:cxn ang="0">
                <a:pos x="179" y="124"/>
              </a:cxn>
              <a:cxn ang="0">
                <a:pos x="169" y="122"/>
              </a:cxn>
              <a:cxn ang="0">
                <a:pos x="159" y="118"/>
              </a:cxn>
              <a:cxn ang="0">
                <a:pos x="153" y="124"/>
              </a:cxn>
              <a:cxn ang="0">
                <a:pos x="155" y="128"/>
              </a:cxn>
              <a:cxn ang="0">
                <a:pos x="161" y="136"/>
              </a:cxn>
              <a:cxn ang="0">
                <a:pos x="163" y="140"/>
              </a:cxn>
              <a:cxn ang="0">
                <a:pos x="161" y="146"/>
              </a:cxn>
              <a:cxn ang="0">
                <a:pos x="155" y="152"/>
              </a:cxn>
              <a:cxn ang="0">
                <a:pos x="151" y="158"/>
              </a:cxn>
              <a:cxn ang="0">
                <a:pos x="141" y="162"/>
              </a:cxn>
              <a:cxn ang="0">
                <a:pos x="145" y="152"/>
              </a:cxn>
              <a:cxn ang="0">
                <a:pos x="147" y="142"/>
              </a:cxn>
              <a:cxn ang="0">
                <a:pos x="145" y="132"/>
              </a:cxn>
              <a:cxn ang="0">
                <a:pos x="135" y="124"/>
              </a:cxn>
              <a:cxn ang="0">
                <a:pos x="119" y="112"/>
              </a:cxn>
              <a:cxn ang="0">
                <a:pos x="84" y="92"/>
              </a:cxn>
              <a:cxn ang="0">
                <a:pos x="64" y="74"/>
              </a:cxn>
              <a:cxn ang="0">
                <a:pos x="52" y="50"/>
              </a:cxn>
              <a:cxn ang="0">
                <a:pos x="36" y="44"/>
              </a:cxn>
              <a:cxn ang="0">
                <a:pos x="28" y="50"/>
              </a:cxn>
              <a:cxn ang="0">
                <a:pos x="20" y="56"/>
              </a:cxn>
            </a:cxnLst>
            <a:rect l="0" t="0" r="r" b="b"/>
            <a:pathLst>
              <a:path w="185" h="162">
                <a:moveTo>
                  <a:pt x="18" y="56"/>
                </a:moveTo>
                <a:lnTo>
                  <a:pt x="12" y="52"/>
                </a:lnTo>
                <a:lnTo>
                  <a:pt x="8" y="46"/>
                </a:lnTo>
                <a:lnTo>
                  <a:pt x="0" y="36"/>
                </a:lnTo>
                <a:lnTo>
                  <a:pt x="8" y="30"/>
                </a:lnTo>
                <a:lnTo>
                  <a:pt x="8" y="28"/>
                </a:lnTo>
                <a:lnTo>
                  <a:pt x="6" y="26"/>
                </a:lnTo>
                <a:lnTo>
                  <a:pt x="4" y="24"/>
                </a:lnTo>
                <a:lnTo>
                  <a:pt x="4" y="22"/>
                </a:lnTo>
                <a:lnTo>
                  <a:pt x="4" y="18"/>
                </a:lnTo>
                <a:lnTo>
                  <a:pt x="18" y="18"/>
                </a:lnTo>
                <a:lnTo>
                  <a:pt x="20" y="16"/>
                </a:lnTo>
                <a:lnTo>
                  <a:pt x="22" y="14"/>
                </a:lnTo>
                <a:lnTo>
                  <a:pt x="24" y="14"/>
                </a:lnTo>
                <a:lnTo>
                  <a:pt x="28" y="16"/>
                </a:lnTo>
                <a:lnTo>
                  <a:pt x="32" y="18"/>
                </a:lnTo>
                <a:lnTo>
                  <a:pt x="36" y="18"/>
                </a:lnTo>
                <a:lnTo>
                  <a:pt x="36" y="14"/>
                </a:lnTo>
                <a:lnTo>
                  <a:pt x="40" y="12"/>
                </a:lnTo>
                <a:lnTo>
                  <a:pt x="46" y="10"/>
                </a:lnTo>
                <a:lnTo>
                  <a:pt x="52" y="8"/>
                </a:lnTo>
                <a:lnTo>
                  <a:pt x="52" y="2"/>
                </a:lnTo>
                <a:lnTo>
                  <a:pt x="64" y="2"/>
                </a:lnTo>
                <a:lnTo>
                  <a:pt x="64" y="0"/>
                </a:lnTo>
                <a:lnTo>
                  <a:pt x="68" y="0"/>
                </a:lnTo>
                <a:lnTo>
                  <a:pt x="74" y="2"/>
                </a:lnTo>
                <a:lnTo>
                  <a:pt x="80" y="2"/>
                </a:lnTo>
                <a:lnTo>
                  <a:pt x="94" y="8"/>
                </a:lnTo>
                <a:lnTo>
                  <a:pt x="96" y="8"/>
                </a:lnTo>
                <a:lnTo>
                  <a:pt x="96" y="16"/>
                </a:lnTo>
                <a:lnTo>
                  <a:pt x="88" y="24"/>
                </a:lnTo>
                <a:lnTo>
                  <a:pt x="86" y="28"/>
                </a:lnTo>
                <a:lnTo>
                  <a:pt x="86" y="32"/>
                </a:lnTo>
                <a:lnTo>
                  <a:pt x="84" y="38"/>
                </a:lnTo>
                <a:lnTo>
                  <a:pt x="84" y="44"/>
                </a:lnTo>
                <a:lnTo>
                  <a:pt x="84" y="48"/>
                </a:lnTo>
                <a:lnTo>
                  <a:pt x="88" y="52"/>
                </a:lnTo>
                <a:lnTo>
                  <a:pt x="96" y="58"/>
                </a:lnTo>
                <a:lnTo>
                  <a:pt x="107" y="62"/>
                </a:lnTo>
                <a:lnTo>
                  <a:pt x="109" y="64"/>
                </a:lnTo>
                <a:lnTo>
                  <a:pt x="115" y="68"/>
                </a:lnTo>
                <a:lnTo>
                  <a:pt x="119" y="72"/>
                </a:lnTo>
                <a:lnTo>
                  <a:pt x="121" y="80"/>
                </a:lnTo>
                <a:lnTo>
                  <a:pt x="125" y="86"/>
                </a:lnTo>
                <a:lnTo>
                  <a:pt x="131" y="90"/>
                </a:lnTo>
                <a:lnTo>
                  <a:pt x="135" y="92"/>
                </a:lnTo>
                <a:lnTo>
                  <a:pt x="137" y="92"/>
                </a:lnTo>
                <a:lnTo>
                  <a:pt x="139" y="90"/>
                </a:lnTo>
                <a:lnTo>
                  <a:pt x="141" y="94"/>
                </a:lnTo>
                <a:lnTo>
                  <a:pt x="145" y="98"/>
                </a:lnTo>
                <a:lnTo>
                  <a:pt x="149" y="102"/>
                </a:lnTo>
                <a:lnTo>
                  <a:pt x="161" y="108"/>
                </a:lnTo>
                <a:lnTo>
                  <a:pt x="173" y="114"/>
                </a:lnTo>
                <a:lnTo>
                  <a:pt x="179" y="120"/>
                </a:lnTo>
                <a:lnTo>
                  <a:pt x="185" y="124"/>
                </a:lnTo>
                <a:lnTo>
                  <a:pt x="179" y="124"/>
                </a:lnTo>
                <a:lnTo>
                  <a:pt x="173" y="124"/>
                </a:lnTo>
                <a:lnTo>
                  <a:pt x="169" y="122"/>
                </a:lnTo>
                <a:lnTo>
                  <a:pt x="163" y="118"/>
                </a:lnTo>
                <a:lnTo>
                  <a:pt x="159" y="118"/>
                </a:lnTo>
                <a:lnTo>
                  <a:pt x="153" y="120"/>
                </a:lnTo>
                <a:lnTo>
                  <a:pt x="153" y="124"/>
                </a:lnTo>
                <a:lnTo>
                  <a:pt x="153" y="126"/>
                </a:lnTo>
                <a:lnTo>
                  <a:pt x="155" y="128"/>
                </a:lnTo>
                <a:lnTo>
                  <a:pt x="159" y="132"/>
                </a:lnTo>
                <a:lnTo>
                  <a:pt x="161" y="136"/>
                </a:lnTo>
                <a:lnTo>
                  <a:pt x="163" y="138"/>
                </a:lnTo>
                <a:lnTo>
                  <a:pt x="163" y="140"/>
                </a:lnTo>
                <a:lnTo>
                  <a:pt x="163" y="144"/>
                </a:lnTo>
                <a:lnTo>
                  <a:pt x="161" y="146"/>
                </a:lnTo>
                <a:lnTo>
                  <a:pt x="155" y="144"/>
                </a:lnTo>
                <a:lnTo>
                  <a:pt x="155" y="152"/>
                </a:lnTo>
                <a:lnTo>
                  <a:pt x="155" y="154"/>
                </a:lnTo>
                <a:lnTo>
                  <a:pt x="151" y="158"/>
                </a:lnTo>
                <a:lnTo>
                  <a:pt x="147" y="162"/>
                </a:lnTo>
                <a:lnTo>
                  <a:pt x="141" y="162"/>
                </a:lnTo>
                <a:lnTo>
                  <a:pt x="141" y="156"/>
                </a:lnTo>
                <a:lnTo>
                  <a:pt x="145" y="152"/>
                </a:lnTo>
                <a:lnTo>
                  <a:pt x="147" y="148"/>
                </a:lnTo>
                <a:lnTo>
                  <a:pt x="147" y="142"/>
                </a:lnTo>
                <a:lnTo>
                  <a:pt x="147" y="136"/>
                </a:lnTo>
                <a:lnTo>
                  <a:pt x="145" y="132"/>
                </a:lnTo>
                <a:lnTo>
                  <a:pt x="141" y="126"/>
                </a:lnTo>
                <a:lnTo>
                  <a:pt x="135" y="124"/>
                </a:lnTo>
                <a:lnTo>
                  <a:pt x="129" y="120"/>
                </a:lnTo>
                <a:lnTo>
                  <a:pt x="119" y="112"/>
                </a:lnTo>
                <a:lnTo>
                  <a:pt x="107" y="104"/>
                </a:lnTo>
                <a:lnTo>
                  <a:pt x="84" y="92"/>
                </a:lnTo>
                <a:lnTo>
                  <a:pt x="74" y="84"/>
                </a:lnTo>
                <a:lnTo>
                  <a:pt x="64" y="74"/>
                </a:lnTo>
                <a:lnTo>
                  <a:pt x="56" y="64"/>
                </a:lnTo>
                <a:lnTo>
                  <a:pt x="52" y="50"/>
                </a:lnTo>
                <a:lnTo>
                  <a:pt x="42" y="48"/>
                </a:lnTo>
                <a:lnTo>
                  <a:pt x="36" y="44"/>
                </a:lnTo>
                <a:lnTo>
                  <a:pt x="30" y="46"/>
                </a:lnTo>
                <a:lnTo>
                  <a:pt x="28" y="50"/>
                </a:lnTo>
                <a:lnTo>
                  <a:pt x="24" y="54"/>
                </a:lnTo>
                <a:lnTo>
                  <a:pt x="20" y="56"/>
                </a:lnTo>
                <a:lnTo>
                  <a:pt x="18" y="5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0" name="Freeform 160">
            <a:extLst>
              <a:ext uri="{FF2B5EF4-FFF2-40B4-BE49-F238E27FC236}">
                <a16:creationId xmlns:a16="http://schemas.microsoft.com/office/drawing/2014/main" id="{3560E2B6-0854-4457-9561-E54506D36045}"/>
              </a:ext>
            </a:extLst>
          </p:cNvPr>
          <p:cNvSpPr>
            <a:spLocks/>
          </p:cNvSpPr>
          <p:nvPr/>
        </p:nvSpPr>
        <p:spPr bwMode="auto">
          <a:xfrm>
            <a:off x="4505285" y="2068533"/>
            <a:ext cx="277060" cy="178580"/>
          </a:xfrm>
          <a:custGeom>
            <a:avLst/>
            <a:gdLst/>
            <a:ahLst/>
            <a:cxnLst>
              <a:cxn ang="0">
                <a:pos x="121" y="100"/>
              </a:cxn>
              <a:cxn ang="0">
                <a:pos x="117" y="100"/>
              </a:cxn>
              <a:cxn ang="0">
                <a:pos x="111" y="100"/>
              </a:cxn>
              <a:cxn ang="0">
                <a:pos x="101" y="98"/>
              </a:cxn>
              <a:cxn ang="0">
                <a:pos x="91" y="100"/>
              </a:cxn>
              <a:cxn ang="0">
                <a:pos x="85" y="100"/>
              </a:cxn>
              <a:cxn ang="0">
                <a:pos x="83" y="100"/>
              </a:cxn>
              <a:cxn ang="0">
                <a:pos x="81" y="96"/>
              </a:cxn>
              <a:cxn ang="0">
                <a:pos x="75" y="96"/>
              </a:cxn>
              <a:cxn ang="0">
                <a:pos x="71" y="96"/>
              </a:cxn>
              <a:cxn ang="0">
                <a:pos x="69" y="96"/>
              </a:cxn>
              <a:cxn ang="0">
                <a:pos x="67" y="94"/>
              </a:cxn>
              <a:cxn ang="0">
                <a:pos x="65" y="88"/>
              </a:cxn>
              <a:cxn ang="0">
                <a:pos x="61" y="86"/>
              </a:cxn>
              <a:cxn ang="0">
                <a:pos x="55" y="84"/>
              </a:cxn>
              <a:cxn ang="0">
                <a:pos x="47" y="82"/>
              </a:cxn>
              <a:cxn ang="0">
                <a:pos x="43" y="78"/>
              </a:cxn>
              <a:cxn ang="0">
                <a:pos x="41" y="82"/>
              </a:cxn>
              <a:cxn ang="0">
                <a:pos x="37" y="82"/>
              </a:cxn>
              <a:cxn ang="0">
                <a:pos x="35" y="82"/>
              </a:cxn>
              <a:cxn ang="0">
                <a:pos x="35" y="78"/>
              </a:cxn>
              <a:cxn ang="0">
                <a:pos x="13" y="72"/>
              </a:cxn>
              <a:cxn ang="0">
                <a:pos x="13" y="62"/>
              </a:cxn>
              <a:cxn ang="0">
                <a:pos x="7" y="48"/>
              </a:cxn>
              <a:cxn ang="0">
                <a:pos x="0" y="36"/>
              </a:cxn>
              <a:cxn ang="0">
                <a:pos x="0" y="18"/>
              </a:cxn>
              <a:cxn ang="0">
                <a:pos x="5" y="18"/>
              </a:cxn>
              <a:cxn ang="0">
                <a:pos x="13" y="16"/>
              </a:cxn>
              <a:cxn ang="0">
                <a:pos x="25" y="10"/>
              </a:cxn>
              <a:cxn ang="0">
                <a:pos x="41" y="0"/>
              </a:cxn>
              <a:cxn ang="0">
                <a:pos x="59" y="0"/>
              </a:cxn>
              <a:cxn ang="0">
                <a:pos x="61" y="4"/>
              </a:cxn>
              <a:cxn ang="0">
                <a:pos x="61" y="6"/>
              </a:cxn>
              <a:cxn ang="0">
                <a:pos x="65" y="8"/>
              </a:cxn>
              <a:cxn ang="0">
                <a:pos x="75" y="6"/>
              </a:cxn>
              <a:cxn ang="0">
                <a:pos x="113" y="6"/>
              </a:cxn>
              <a:cxn ang="0">
                <a:pos x="117" y="10"/>
              </a:cxn>
              <a:cxn ang="0">
                <a:pos x="119" y="12"/>
              </a:cxn>
              <a:cxn ang="0">
                <a:pos x="123" y="14"/>
              </a:cxn>
              <a:cxn ang="0">
                <a:pos x="125" y="16"/>
              </a:cxn>
              <a:cxn ang="0">
                <a:pos x="129" y="22"/>
              </a:cxn>
              <a:cxn ang="0">
                <a:pos x="131" y="28"/>
              </a:cxn>
              <a:cxn ang="0">
                <a:pos x="131" y="34"/>
              </a:cxn>
              <a:cxn ang="0">
                <a:pos x="135" y="40"/>
              </a:cxn>
              <a:cxn ang="0">
                <a:pos x="129" y="44"/>
              </a:cxn>
              <a:cxn ang="0">
                <a:pos x="127" y="46"/>
              </a:cxn>
              <a:cxn ang="0">
                <a:pos x="125" y="46"/>
              </a:cxn>
              <a:cxn ang="0">
                <a:pos x="125" y="50"/>
              </a:cxn>
              <a:cxn ang="0">
                <a:pos x="127" y="54"/>
              </a:cxn>
              <a:cxn ang="0">
                <a:pos x="133" y="62"/>
              </a:cxn>
              <a:cxn ang="0">
                <a:pos x="141" y="76"/>
              </a:cxn>
              <a:cxn ang="0">
                <a:pos x="135" y="80"/>
              </a:cxn>
              <a:cxn ang="0">
                <a:pos x="131" y="88"/>
              </a:cxn>
              <a:cxn ang="0">
                <a:pos x="121" y="98"/>
              </a:cxn>
              <a:cxn ang="0">
                <a:pos x="121" y="100"/>
              </a:cxn>
            </a:cxnLst>
            <a:rect l="0" t="0" r="r" b="b"/>
            <a:pathLst>
              <a:path w="141" h="100">
                <a:moveTo>
                  <a:pt x="121" y="100"/>
                </a:moveTo>
                <a:lnTo>
                  <a:pt x="117" y="100"/>
                </a:lnTo>
                <a:lnTo>
                  <a:pt x="111" y="100"/>
                </a:lnTo>
                <a:lnTo>
                  <a:pt x="101" y="98"/>
                </a:lnTo>
                <a:lnTo>
                  <a:pt x="91" y="100"/>
                </a:lnTo>
                <a:lnTo>
                  <a:pt x="85" y="100"/>
                </a:lnTo>
                <a:lnTo>
                  <a:pt x="83" y="100"/>
                </a:lnTo>
                <a:lnTo>
                  <a:pt x="81" y="96"/>
                </a:lnTo>
                <a:lnTo>
                  <a:pt x="75" y="96"/>
                </a:lnTo>
                <a:lnTo>
                  <a:pt x="71" y="96"/>
                </a:lnTo>
                <a:lnTo>
                  <a:pt x="69" y="96"/>
                </a:lnTo>
                <a:lnTo>
                  <a:pt x="67" y="94"/>
                </a:lnTo>
                <a:lnTo>
                  <a:pt x="65" y="88"/>
                </a:lnTo>
                <a:lnTo>
                  <a:pt x="61" y="86"/>
                </a:lnTo>
                <a:lnTo>
                  <a:pt x="55" y="84"/>
                </a:lnTo>
                <a:lnTo>
                  <a:pt x="47" y="82"/>
                </a:lnTo>
                <a:lnTo>
                  <a:pt x="43" y="78"/>
                </a:lnTo>
                <a:lnTo>
                  <a:pt x="41" y="82"/>
                </a:lnTo>
                <a:lnTo>
                  <a:pt x="37" y="82"/>
                </a:lnTo>
                <a:lnTo>
                  <a:pt x="35" y="82"/>
                </a:lnTo>
                <a:lnTo>
                  <a:pt x="35" y="78"/>
                </a:lnTo>
                <a:lnTo>
                  <a:pt x="13" y="72"/>
                </a:lnTo>
                <a:lnTo>
                  <a:pt x="13" y="62"/>
                </a:lnTo>
                <a:lnTo>
                  <a:pt x="7" y="48"/>
                </a:lnTo>
                <a:lnTo>
                  <a:pt x="0" y="36"/>
                </a:lnTo>
                <a:lnTo>
                  <a:pt x="0" y="18"/>
                </a:lnTo>
                <a:lnTo>
                  <a:pt x="5" y="18"/>
                </a:lnTo>
                <a:lnTo>
                  <a:pt x="13" y="16"/>
                </a:lnTo>
                <a:lnTo>
                  <a:pt x="25" y="10"/>
                </a:lnTo>
                <a:lnTo>
                  <a:pt x="41" y="0"/>
                </a:lnTo>
                <a:lnTo>
                  <a:pt x="59" y="0"/>
                </a:lnTo>
                <a:lnTo>
                  <a:pt x="61" y="4"/>
                </a:lnTo>
                <a:lnTo>
                  <a:pt x="61" y="6"/>
                </a:lnTo>
                <a:lnTo>
                  <a:pt x="65" y="8"/>
                </a:lnTo>
                <a:lnTo>
                  <a:pt x="75" y="6"/>
                </a:lnTo>
                <a:lnTo>
                  <a:pt x="113" y="6"/>
                </a:lnTo>
                <a:lnTo>
                  <a:pt x="117" y="10"/>
                </a:lnTo>
                <a:lnTo>
                  <a:pt x="119" y="12"/>
                </a:lnTo>
                <a:lnTo>
                  <a:pt x="123" y="14"/>
                </a:lnTo>
                <a:lnTo>
                  <a:pt x="125" y="16"/>
                </a:lnTo>
                <a:lnTo>
                  <a:pt x="129" y="22"/>
                </a:lnTo>
                <a:lnTo>
                  <a:pt x="131" y="28"/>
                </a:lnTo>
                <a:lnTo>
                  <a:pt x="131" y="34"/>
                </a:lnTo>
                <a:lnTo>
                  <a:pt x="135" y="40"/>
                </a:lnTo>
                <a:lnTo>
                  <a:pt x="129" y="44"/>
                </a:lnTo>
                <a:lnTo>
                  <a:pt x="127" y="46"/>
                </a:lnTo>
                <a:lnTo>
                  <a:pt x="125" y="46"/>
                </a:lnTo>
                <a:lnTo>
                  <a:pt x="125" y="50"/>
                </a:lnTo>
                <a:lnTo>
                  <a:pt x="127" y="54"/>
                </a:lnTo>
                <a:lnTo>
                  <a:pt x="133" y="62"/>
                </a:lnTo>
                <a:lnTo>
                  <a:pt x="141" y="76"/>
                </a:lnTo>
                <a:lnTo>
                  <a:pt x="135" y="80"/>
                </a:lnTo>
                <a:lnTo>
                  <a:pt x="131" y="88"/>
                </a:lnTo>
                <a:lnTo>
                  <a:pt x="121" y="98"/>
                </a:lnTo>
                <a:lnTo>
                  <a:pt x="121" y="1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1" name="Freeform 161">
            <a:extLst>
              <a:ext uri="{FF2B5EF4-FFF2-40B4-BE49-F238E27FC236}">
                <a16:creationId xmlns:a16="http://schemas.microsoft.com/office/drawing/2014/main" id="{5E4A32AA-3D76-418D-BE00-81B5815F1D3A}"/>
              </a:ext>
            </a:extLst>
          </p:cNvPr>
          <p:cNvSpPr>
            <a:spLocks/>
          </p:cNvSpPr>
          <p:nvPr/>
        </p:nvSpPr>
        <p:spPr bwMode="auto">
          <a:xfrm>
            <a:off x="4679731" y="2461413"/>
            <a:ext cx="56438" cy="92537"/>
          </a:xfrm>
          <a:custGeom>
            <a:avLst/>
            <a:gdLst/>
            <a:ahLst/>
            <a:cxnLst>
              <a:cxn ang="0">
                <a:pos x="28" y="30"/>
              </a:cxn>
              <a:cxn ang="0">
                <a:pos x="28" y="38"/>
              </a:cxn>
              <a:cxn ang="0">
                <a:pos x="24" y="42"/>
              </a:cxn>
              <a:cxn ang="0">
                <a:pos x="20" y="46"/>
              </a:cxn>
              <a:cxn ang="0">
                <a:pos x="16" y="52"/>
              </a:cxn>
              <a:cxn ang="0">
                <a:pos x="12" y="46"/>
              </a:cxn>
              <a:cxn ang="0">
                <a:pos x="8" y="42"/>
              </a:cxn>
              <a:cxn ang="0">
                <a:pos x="6" y="26"/>
              </a:cxn>
              <a:cxn ang="0">
                <a:pos x="4" y="16"/>
              </a:cxn>
              <a:cxn ang="0">
                <a:pos x="0" y="8"/>
              </a:cxn>
              <a:cxn ang="0">
                <a:pos x="2" y="6"/>
              </a:cxn>
              <a:cxn ang="0">
                <a:pos x="2" y="2"/>
              </a:cxn>
              <a:cxn ang="0">
                <a:pos x="2" y="0"/>
              </a:cxn>
              <a:cxn ang="0">
                <a:pos x="6" y="0"/>
              </a:cxn>
              <a:cxn ang="0">
                <a:pos x="10" y="0"/>
              </a:cxn>
              <a:cxn ang="0">
                <a:pos x="12" y="2"/>
              </a:cxn>
              <a:cxn ang="0">
                <a:pos x="18" y="8"/>
              </a:cxn>
              <a:cxn ang="0">
                <a:pos x="18" y="16"/>
              </a:cxn>
              <a:cxn ang="0">
                <a:pos x="18" y="22"/>
              </a:cxn>
              <a:cxn ang="0">
                <a:pos x="22" y="28"/>
              </a:cxn>
              <a:cxn ang="0">
                <a:pos x="26" y="28"/>
              </a:cxn>
              <a:cxn ang="0">
                <a:pos x="28" y="30"/>
              </a:cxn>
            </a:cxnLst>
            <a:rect l="0" t="0" r="r" b="b"/>
            <a:pathLst>
              <a:path w="28" h="52">
                <a:moveTo>
                  <a:pt x="28" y="30"/>
                </a:moveTo>
                <a:lnTo>
                  <a:pt x="28" y="38"/>
                </a:lnTo>
                <a:lnTo>
                  <a:pt x="24" y="42"/>
                </a:lnTo>
                <a:lnTo>
                  <a:pt x="20" y="46"/>
                </a:lnTo>
                <a:lnTo>
                  <a:pt x="16" y="52"/>
                </a:lnTo>
                <a:lnTo>
                  <a:pt x="12" y="46"/>
                </a:lnTo>
                <a:lnTo>
                  <a:pt x="8" y="42"/>
                </a:lnTo>
                <a:lnTo>
                  <a:pt x="6" y="26"/>
                </a:lnTo>
                <a:lnTo>
                  <a:pt x="4" y="16"/>
                </a:lnTo>
                <a:lnTo>
                  <a:pt x="0" y="8"/>
                </a:lnTo>
                <a:lnTo>
                  <a:pt x="2" y="6"/>
                </a:lnTo>
                <a:lnTo>
                  <a:pt x="2" y="2"/>
                </a:lnTo>
                <a:lnTo>
                  <a:pt x="2" y="0"/>
                </a:lnTo>
                <a:lnTo>
                  <a:pt x="6" y="0"/>
                </a:lnTo>
                <a:lnTo>
                  <a:pt x="10" y="0"/>
                </a:lnTo>
                <a:lnTo>
                  <a:pt x="12" y="2"/>
                </a:lnTo>
                <a:lnTo>
                  <a:pt x="18" y="8"/>
                </a:lnTo>
                <a:lnTo>
                  <a:pt x="18" y="16"/>
                </a:lnTo>
                <a:lnTo>
                  <a:pt x="18" y="22"/>
                </a:lnTo>
                <a:lnTo>
                  <a:pt x="22" y="28"/>
                </a:lnTo>
                <a:lnTo>
                  <a:pt x="26" y="28"/>
                </a:lnTo>
                <a:lnTo>
                  <a:pt x="28" y="3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2" name="Freeform 162">
            <a:extLst>
              <a:ext uri="{FF2B5EF4-FFF2-40B4-BE49-F238E27FC236}">
                <a16:creationId xmlns:a16="http://schemas.microsoft.com/office/drawing/2014/main" id="{47AF4197-3322-4C1C-8A53-1AFB81588737}"/>
              </a:ext>
            </a:extLst>
          </p:cNvPr>
          <p:cNvSpPr>
            <a:spLocks/>
          </p:cNvSpPr>
          <p:nvPr/>
        </p:nvSpPr>
        <p:spPr bwMode="auto">
          <a:xfrm>
            <a:off x="4712226" y="2489009"/>
            <a:ext cx="186417" cy="175334"/>
          </a:xfrm>
          <a:custGeom>
            <a:avLst/>
            <a:gdLst/>
            <a:ahLst/>
            <a:cxnLst>
              <a:cxn ang="0">
                <a:pos x="20" y="12"/>
              </a:cxn>
              <a:cxn ang="0">
                <a:pos x="36" y="8"/>
              </a:cxn>
              <a:cxn ang="0">
                <a:pos x="38" y="2"/>
              </a:cxn>
              <a:cxn ang="0">
                <a:pos x="42" y="4"/>
              </a:cxn>
              <a:cxn ang="0">
                <a:pos x="54" y="2"/>
              </a:cxn>
              <a:cxn ang="0">
                <a:pos x="64" y="2"/>
              </a:cxn>
              <a:cxn ang="0">
                <a:pos x="70" y="6"/>
              </a:cxn>
              <a:cxn ang="0">
                <a:pos x="78" y="6"/>
              </a:cxn>
              <a:cxn ang="0">
                <a:pos x="84" y="4"/>
              </a:cxn>
              <a:cxn ang="0">
                <a:pos x="88" y="0"/>
              </a:cxn>
              <a:cxn ang="0">
                <a:pos x="90" y="4"/>
              </a:cxn>
              <a:cxn ang="0">
                <a:pos x="94" y="16"/>
              </a:cxn>
              <a:cxn ang="0">
                <a:pos x="60" y="20"/>
              </a:cxn>
              <a:cxn ang="0">
                <a:pos x="58" y="24"/>
              </a:cxn>
              <a:cxn ang="0">
                <a:pos x="56" y="28"/>
              </a:cxn>
              <a:cxn ang="0">
                <a:pos x="46" y="26"/>
              </a:cxn>
              <a:cxn ang="0">
                <a:pos x="38" y="22"/>
              </a:cxn>
              <a:cxn ang="0">
                <a:pos x="40" y="28"/>
              </a:cxn>
              <a:cxn ang="0">
                <a:pos x="44" y="38"/>
              </a:cxn>
              <a:cxn ang="0">
                <a:pos x="54" y="48"/>
              </a:cxn>
              <a:cxn ang="0">
                <a:pos x="70" y="60"/>
              </a:cxn>
              <a:cxn ang="0">
                <a:pos x="66" y="64"/>
              </a:cxn>
              <a:cxn ang="0">
                <a:pos x="60" y="68"/>
              </a:cxn>
              <a:cxn ang="0">
                <a:pos x="52" y="64"/>
              </a:cxn>
              <a:cxn ang="0">
                <a:pos x="58" y="74"/>
              </a:cxn>
              <a:cxn ang="0">
                <a:pos x="46" y="74"/>
              </a:cxn>
              <a:cxn ang="0">
                <a:pos x="50" y="84"/>
              </a:cxn>
              <a:cxn ang="0">
                <a:pos x="54" y="98"/>
              </a:cxn>
              <a:cxn ang="0">
                <a:pos x="42" y="90"/>
              </a:cxn>
              <a:cxn ang="0">
                <a:pos x="38" y="84"/>
              </a:cxn>
              <a:cxn ang="0">
                <a:pos x="30" y="82"/>
              </a:cxn>
              <a:cxn ang="0">
                <a:pos x="24" y="78"/>
              </a:cxn>
              <a:cxn ang="0">
                <a:pos x="18" y="58"/>
              </a:cxn>
              <a:cxn ang="0">
                <a:pos x="12" y="46"/>
              </a:cxn>
              <a:cxn ang="0">
                <a:pos x="4" y="30"/>
              </a:cxn>
              <a:cxn ang="0">
                <a:pos x="12" y="22"/>
              </a:cxn>
            </a:cxnLst>
            <a:rect l="0" t="0" r="r" b="b"/>
            <a:pathLst>
              <a:path w="94" h="98">
                <a:moveTo>
                  <a:pt x="12" y="14"/>
                </a:moveTo>
                <a:lnTo>
                  <a:pt x="20" y="12"/>
                </a:lnTo>
                <a:lnTo>
                  <a:pt x="30" y="10"/>
                </a:lnTo>
                <a:lnTo>
                  <a:pt x="36" y="8"/>
                </a:lnTo>
                <a:lnTo>
                  <a:pt x="38" y="6"/>
                </a:lnTo>
                <a:lnTo>
                  <a:pt x="38" y="2"/>
                </a:lnTo>
                <a:lnTo>
                  <a:pt x="38" y="4"/>
                </a:lnTo>
                <a:lnTo>
                  <a:pt x="42" y="4"/>
                </a:lnTo>
                <a:lnTo>
                  <a:pt x="48" y="4"/>
                </a:lnTo>
                <a:lnTo>
                  <a:pt x="54" y="2"/>
                </a:lnTo>
                <a:lnTo>
                  <a:pt x="60" y="0"/>
                </a:lnTo>
                <a:lnTo>
                  <a:pt x="64" y="2"/>
                </a:lnTo>
                <a:lnTo>
                  <a:pt x="66" y="4"/>
                </a:lnTo>
                <a:lnTo>
                  <a:pt x="70" y="6"/>
                </a:lnTo>
                <a:lnTo>
                  <a:pt x="76" y="6"/>
                </a:lnTo>
                <a:lnTo>
                  <a:pt x="78" y="6"/>
                </a:lnTo>
                <a:lnTo>
                  <a:pt x="80" y="4"/>
                </a:lnTo>
                <a:lnTo>
                  <a:pt x="84" y="4"/>
                </a:lnTo>
                <a:lnTo>
                  <a:pt x="86" y="0"/>
                </a:lnTo>
                <a:lnTo>
                  <a:pt x="88" y="0"/>
                </a:lnTo>
                <a:lnTo>
                  <a:pt x="90" y="2"/>
                </a:lnTo>
                <a:lnTo>
                  <a:pt x="90" y="4"/>
                </a:lnTo>
                <a:lnTo>
                  <a:pt x="94" y="6"/>
                </a:lnTo>
                <a:lnTo>
                  <a:pt x="94" y="16"/>
                </a:lnTo>
                <a:lnTo>
                  <a:pt x="58" y="16"/>
                </a:lnTo>
                <a:lnTo>
                  <a:pt x="60" y="20"/>
                </a:lnTo>
                <a:lnTo>
                  <a:pt x="62" y="24"/>
                </a:lnTo>
                <a:lnTo>
                  <a:pt x="58" y="24"/>
                </a:lnTo>
                <a:lnTo>
                  <a:pt x="56" y="26"/>
                </a:lnTo>
                <a:lnTo>
                  <a:pt x="56" y="28"/>
                </a:lnTo>
                <a:lnTo>
                  <a:pt x="50" y="28"/>
                </a:lnTo>
                <a:lnTo>
                  <a:pt x="46" y="26"/>
                </a:lnTo>
                <a:lnTo>
                  <a:pt x="40" y="20"/>
                </a:lnTo>
                <a:lnTo>
                  <a:pt x="38" y="22"/>
                </a:lnTo>
                <a:lnTo>
                  <a:pt x="38" y="24"/>
                </a:lnTo>
                <a:lnTo>
                  <a:pt x="40" y="28"/>
                </a:lnTo>
                <a:lnTo>
                  <a:pt x="40" y="32"/>
                </a:lnTo>
                <a:lnTo>
                  <a:pt x="44" y="38"/>
                </a:lnTo>
                <a:lnTo>
                  <a:pt x="48" y="44"/>
                </a:lnTo>
                <a:lnTo>
                  <a:pt x="54" y="48"/>
                </a:lnTo>
                <a:lnTo>
                  <a:pt x="66" y="56"/>
                </a:lnTo>
                <a:lnTo>
                  <a:pt x="70" y="60"/>
                </a:lnTo>
                <a:lnTo>
                  <a:pt x="74" y="64"/>
                </a:lnTo>
                <a:lnTo>
                  <a:pt x="66" y="64"/>
                </a:lnTo>
                <a:lnTo>
                  <a:pt x="64" y="68"/>
                </a:lnTo>
                <a:lnTo>
                  <a:pt x="60" y="68"/>
                </a:lnTo>
                <a:lnTo>
                  <a:pt x="56" y="66"/>
                </a:lnTo>
                <a:lnTo>
                  <a:pt x="52" y="64"/>
                </a:lnTo>
                <a:lnTo>
                  <a:pt x="54" y="70"/>
                </a:lnTo>
                <a:lnTo>
                  <a:pt x="58" y="74"/>
                </a:lnTo>
                <a:lnTo>
                  <a:pt x="52" y="76"/>
                </a:lnTo>
                <a:lnTo>
                  <a:pt x="46" y="74"/>
                </a:lnTo>
                <a:lnTo>
                  <a:pt x="48" y="82"/>
                </a:lnTo>
                <a:lnTo>
                  <a:pt x="50" y="84"/>
                </a:lnTo>
                <a:lnTo>
                  <a:pt x="52" y="90"/>
                </a:lnTo>
                <a:lnTo>
                  <a:pt x="54" y="98"/>
                </a:lnTo>
                <a:lnTo>
                  <a:pt x="48" y="92"/>
                </a:lnTo>
                <a:lnTo>
                  <a:pt x="42" y="90"/>
                </a:lnTo>
                <a:lnTo>
                  <a:pt x="38" y="88"/>
                </a:lnTo>
                <a:lnTo>
                  <a:pt x="38" y="84"/>
                </a:lnTo>
                <a:lnTo>
                  <a:pt x="34" y="84"/>
                </a:lnTo>
                <a:lnTo>
                  <a:pt x="30" y="82"/>
                </a:lnTo>
                <a:lnTo>
                  <a:pt x="26" y="82"/>
                </a:lnTo>
                <a:lnTo>
                  <a:pt x="24" y="78"/>
                </a:lnTo>
                <a:lnTo>
                  <a:pt x="20" y="68"/>
                </a:lnTo>
                <a:lnTo>
                  <a:pt x="18" y="58"/>
                </a:lnTo>
                <a:lnTo>
                  <a:pt x="14" y="48"/>
                </a:lnTo>
                <a:lnTo>
                  <a:pt x="12" y="46"/>
                </a:lnTo>
                <a:lnTo>
                  <a:pt x="0" y="36"/>
                </a:lnTo>
                <a:lnTo>
                  <a:pt x="4" y="30"/>
                </a:lnTo>
                <a:lnTo>
                  <a:pt x="8" y="26"/>
                </a:lnTo>
                <a:lnTo>
                  <a:pt x="12" y="22"/>
                </a:lnTo>
                <a:lnTo>
                  <a:pt x="12" y="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3" name="Freeform 163">
            <a:extLst>
              <a:ext uri="{FF2B5EF4-FFF2-40B4-BE49-F238E27FC236}">
                <a16:creationId xmlns:a16="http://schemas.microsoft.com/office/drawing/2014/main" id="{2B00615C-0FBA-429E-9A11-5445A38931BC}"/>
              </a:ext>
            </a:extLst>
          </p:cNvPr>
          <p:cNvSpPr>
            <a:spLocks/>
          </p:cNvSpPr>
          <p:nvPr/>
        </p:nvSpPr>
        <p:spPr bwMode="auto">
          <a:xfrm>
            <a:off x="4589088" y="2224385"/>
            <a:ext cx="153922" cy="71432"/>
          </a:xfrm>
          <a:custGeom>
            <a:avLst/>
            <a:gdLst/>
            <a:ahLst/>
            <a:cxnLst>
              <a:cxn ang="0">
                <a:pos x="22" y="0"/>
              </a:cxn>
              <a:cxn ang="0">
                <a:pos x="24" y="6"/>
              </a:cxn>
              <a:cxn ang="0">
                <a:pos x="26" y="8"/>
              </a:cxn>
              <a:cxn ang="0">
                <a:pos x="28" y="8"/>
              </a:cxn>
              <a:cxn ang="0">
                <a:pos x="32" y="8"/>
              </a:cxn>
              <a:cxn ang="0">
                <a:pos x="38" y="8"/>
              </a:cxn>
              <a:cxn ang="0">
                <a:pos x="40" y="12"/>
              </a:cxn>
              <a:cxn ang="0">
                <a:pos x="42" y="12"/>
              </a:cxn>
              <a:cxn ang="0">
                <a:pos x="48" y="12"/>
              </a:cxn>
              <a:cxn ang="0">
                <a:pos x="58" y="10"/>
              </a:cxn>
              <a:cxn ang="0">
                <a:pos x="68" y="12"/>
              </a:cxn>
              <a:cxn ang="0">
                <a:pos x="74" y="12"/>
              </a:cxn>
              <a:cxn ang="0">
                <a:pos x="78" y="12"/>
              </a:cxn>
              <a:cxn ang="0">
                <a:pos x="78" y="16"/>
              </a:cxn>
              <a:cxn ang="0">
                <a:pos x="76" y="24"/>
              </a:cxn>
              <a:cxn ang="0">
                <a:pos x="76" y="26"/>
              </a:cxn>
              <a:cxn ang="0">
                <a:pos x="72" y="26"/>
              </a:cxn>
              <a:cxn ang="0">
                <a:pos x="64" y="24"/>
              </a:cxn>
              <a:cxn ang="0">
                <a:pos x="56" y="24"/>
              </a:cxn>
              <a:cxn ang="0">
                <a:pos x="52" y="24"/>
              </a:cxn>
              <a:cxn ang="0">
                <a:pos x="50" y="26"/>
              </a:cxn>
              <a:cxn ang="0">
                <a:pos x="46" y="30"/>
              </a:cxn>
              <a:cxn ang="0">
                <a:pos x="36" y="34"/>
              </a:cxn>
              <a:cxn ang="0">
                <a:pos x="20" y="40"/>
              </a:cxn>
              <a:cxn ang="0">
                <a:pos x="12" y="38"/>
              </a:cxn>
              <a:cxn ang="0">
                <a:pos x="6" y="34"/>
              </a:cxn>
              <a:cxn ang="0">
                <a:pos x="2" y="30"/>
              </a:cxn>
              <a:cxn ang="0">
                <a:pos x="0" y="22"/>
              </a:cxn>
              <a:cxn ang="0">
                <a:pos x="6" y="16"/>
              </a:cxn>
              <a:cxn ang="0">
                <a:pos x="12" y="14"/>
              </a:cxn>
              <a:cxn ang="0">
                <a:pos x="18" y="12"/>
              </a:cxn>
              <a:cxn ang="0">
                <a:pos x="18" y="10"/>
              </a:cxn>
              <a:cxn ang="0">
                <a:pos x="18" y="6"/>
              </a:cxn>
              <a:cxn ang="0">
                <a:pos x="20" y="6"/>
              </a:cxn>
              <a:cxn ang="0">
                <a:pos x="22" y="0"/>
              </a:cxn>
            </a:cxnLst>
            <a:rect l="0" t="0" r="r" b="b"/>
            <a:pathLst>
              <a:path w="78" h="40">
                <a:moveTo>
                  <a:pt x="22" y="0"/>
                </a:moveTo>
                <a:lnTo>
                  <a:pt x="24" y="6"/>
                </a:lnTo>
                <a:lnTo>
                  <a:pt x="26" y="8"/>
                </a:lnTo>
                <a:lnTo>
                  <a:pt x="28" y="8"/>
                </a:lnTo>
                <a:lnTo>
                  <a:pt x="32" y="8"/>
                </a:lnTo>
                <a:lnTo>
                  <a:pt x="38" y="8"/>
                </a:lnTo>
                <a:lnTo>
                  <a:pt x="40" y="12"/>
                </a:lnTo>
                <a:lnTo>
                  <a:pt x="42" y="12"/>
                </a:lnTo>
                <a:lnTo>
                  <a:pt x="48" y="12"/>
                </a:lnTo>
                <a:lnTo>
                  <a:pt x="58" y="10"/>
                </a:lnTo>
                <a:lnTo>
                  <a:pt x="68" y="12"/>
                </a:lnTo>
                <a:lnTo>
                  <a:pt x="74" y="12"/>
                </a:lnTo>
                <a:lnTo>
                  <a:pt x="78" y="12"/>
                </a:lnTo>
                <a:lnTo>
                  <a:pt x="78" y="16"/>
                </a:lnTo>
                <a:lnTo>
                  <a:pt x="76" y="24"/>
                </a:lnTo>
                <a:lnTo>
                  <a:pt x="76" y="26"/>
                </a:lnTo>
                <a:lnTo>
                  <a:pt x="72" y="26"/>
                </a:lnTo>
                <a:lnTo>
                  <a:pt x="64" y="24"/>
                </a:lnTo>
                <a:lnTo>
                  <a:pt x="56" y="24"/>
                </a:lnTo>
                <a:lnTo>
                  <a:pt x="52" y="24"/>
                </a:lnTo>
                <a:lnTo>
                  <a:pt x="50" y="26"/>
                </a:lnTo>
                <a:lnTo>
                  <a:pt x="46" y="30"/>
                </a:lnTo>
                <a:lnTo>
                  <a:pt x="36" y="34"/>
                </a:lnTo>
                <a:lnTo>
                  <a:pt x="20" y="40"/>
                </a:lnTo>
                <a:lnTo>
                  <a:pt x="12" y="38"/>
                </a:lnTo>
                <a:lnTo>
                  <a:pt x="6" y="34"/>
                </a:lnTo>
                <a:lnTo>
                  <a:pt x="2" y="30"/>
                </a:lnTo>
                <a:lnTo>
                  <a:pt x="0" y="22"/>
                </a:lnTo>
                <a:lnTo>
                  <a:pt x="6" y="16"/>
                </a:lnTo>
                <a:lnTo>
                  <a:pt x="12" y="14"/>
                </a:lnTo>
                <a:lnTo>
                  <a:pt x="18" y="12"/>
                </a:lnTo>
                <a:lnTo>
                  <a:pt x="18" y="10"/>
                </a:lnTo>
                <a:lnTo>
                  <a:pt x="18" y="6"/>
                </a:lnTo>
                <a:lnTo>
                  <a:pt x="20" y="6"/>
                </a:lnTo>
                <a:lnTo>
                  <a:pt x="2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4" name="Freeform 164">
            <a:extLst>
              <a:ext uri="{FF2B5EF4-FFF2-40B4-BE49-F238E27FC236}">
                <a16:creationId xmlns:a16="http://schemas.microsoft.com/office/drawing/2014/main" id="{5051A0BD-8F48-48CB-987D-EBA135C8ED11}"/>
              </a:ext>
            </a:extLst>
          </p:cNvPr>
          <p:cNvSpPr>
            <a:spLocks/>
          </p:cNvSpPr>
          <p:nvPr/>
        </p:nvSpPr>
        <p:spPr bwMode="auto">
          <a:xfrm>
            <a:off x="4457399" y="2196787"/>
            <a:ext cx="174445" cy="71432"/>
          </a:xfrm>
          <a:custGeom>
            <a:avLst/>
            <a:gdLst/>
            <a:ahLst/>
            <a:cxnLst>
              <a:cxn ang="0">
                <a:pos x="89" y="16"/>
              </a:cxn>
              <a:cxn ang="0">
                <a:pos x="85" y="14"/>
              </a:cxn>
              <a:cxn ang="0">
                <a:pos x="79" y="12"/>
              </a:cxn>
              <a:cxn ang="0">
                <a:pos x="71" y="10"/>
              </a:cxn>
              <a:cxn ang="0">
                <a:pos x="67" y="6"/>
              </a:cxn>
              <a:cxn ang="0">
                <a:pos x="65" y="10"/>
              </a:cxn>
              <a:cxn ang="0">
                <a:pos x="61" y="10"/>
              </a:cxn>
              <a:cxn ang="0">
                <a:pos x="59" y="10"/>
              </a:cxn>
              <a:cxn ang="0">
                <a:pos x="59" y="6"/>
              </a:cxn>
              <a:cxn ang="0">
                <a:pos x="37" y="0"/>
              </a:cxn>
              <a:cxn ang="0">
                <a:pos x="31" y="0"/>
              </a:cxn>
              <a:cxn ang="0">
                <a:pos x="29" y="0"/>
              </a:cxn>
              <a:cxn ang="0">
                <a:pos x="0" y="10"/>
              </a:cxn>
              <a:cxn ang="0">
                <a:pos x="2" y="14"/>
              </a:cxn>
              <a:cxn ang="0">
                <a:pos x="2" y="20"/>
              </a:cxn>
              <a:cxn ang="0">
                <a:pos x="10" y="26"/>
              </a:cxn>
              <a:cxn ang="0">
                <a:pos x="18" y="32"/>
              </a:cxn>
              <a:cxn ang="0">
                <a:pos x="24" y="38"/>
              </a:cxn>
              <a:cxn ang="0">
                <a:pos x="31" y="40"/>
              </a:cxn>
              <a:cxn ang="0">
                <a:pos x="35" y="38"/>
              </a:cxn>
              <a:cxn ang="0">
                <a:pos x="37" y="36"/>
              </a:cxn>
              <a:cxn ang="0">
                <a:pos x="41" y="34"/>
              </a:cxn>
              <a:cxn ang="0">
                <a:pos x="45" y="32"/>
              </a:cxn>
              <a:cxn ang="0">
                <a:pos x="51" y="34"/>
              </a:cxn>
              <a:cxn ang="0">
                <a:pos x="55" y="36"/>
              </a:cxn>
              <a:cxn ang="0">
                <a:pos x="61" y="38"/>
              </a:cxn>
              <a:cxn ang="0">
                <a:pos x="65" y="38"/>
              </a:cxn>
              <a:cxn ang="0">
                <a:pos x="67" y="38"/>
              </a:cxn>
              <a:cxn ang="0">
                <a:pos x="73" y="32"/>
              </a:cxn>
              <a:cxn ang="0">
                <a:pos x="79" y="30"/>
              </a:cxn>
              <a:cxn ang="0">
                <a:pos x="85" y="28"/>
              </a:cxn>
              <a:cxn ang="0">
                <a:pos x="85" y="26"/>
              </a:cxn>
              <a:cxn ang="0">
                <a:pos x="85" y="22"/>
              </a:cxn>
              <a:cxn ang="0">
                <a:pos x="87" y="22"/>
              </a:cxn>
              <a:cxn ang="0">
                <a:pos x="89" y="16"/>
              </a:cxn>
            </a:cxnLst>
            <a:rect l="0" t="0" r="r" b="b"/>
            <a:pathLst>
              <a:path w="89" h="40">
                <a:moveTo>
                  <a:pt x="89" y="16"/>
                </a:moveTo>
                <a:lnTo>
                  <a:pt x="85" y="14"/>
                </a:lnTo>
                <a:lnTo>
                  <a:pt x="79" y="12"/>
                </a:lnTo>
                <a:lnTo>
                  <a:pt x="71" y="10"/>
                </a:lnTo>
                <a:lnTo>
                  <a:pt x="67" y="6"/>
                </a:lnTo>
                <a:lnTo>
                  <a:pt x="65" y="10"/>
                </a:lnTo>
                <a:lnTo>
                  <a:pt x="61" y="10"/>
                </a:lnTo>
                <a:lnTo>
                  <a:pt x="59" y="10"/>
                </a:lnTo>
                <a:lnTo>
                  <a:pt x="59" y="6"/>
                </a:lnTo>
                <a:lnTo>
                  <a:pt x="37" y="0"/>
                </a:lnTo>
                <a:lnTo>
                  <a:pt x="31" y="0"/>
                </a:lnTo>
                <a:lnTo>
                  <a:pt x="29" y="0"/>
                </a:lnTo>
                <a:lnTo>
                  <a:pt x="0" y="10"/>
                </a:lnTo>
                <a:lnTo>
                  <a:pt x="2" y="14"/>
                </a:lnTo>
                <a:lnTo>
                  <a:pt x="2" y="20"/>
                </a:lnTo>
                <a:lnTo>
                  <a:pt x="10" y="26"/>
                </a:lnTo>
                <a:lnTo>
                  <a:pt x="18" y="32"/>
                </a:lnTo>
                <a:lnTo>
                  <a:pt x="24" y="38"/>
                </a:lnTo>
                <a:lnTo>
                  <a:pt x="31" y="40"/>
                </a:lnTo>
                <a:lnTo>
                  <a:pt x="35" y="38"/>
                </a:lnTo>
                <a:lnTo>
                  <a:pt x="37" y="36"/>
                </a:lnTo>
                <a:lnTo>
                  <a:pt x="41" y="34"/>
                </a:lnTo>
                <a:lnTo>
                  <a:pt x="45" y="32"/>
                </a:lnTo>
                <a:lnTo>
                  <a:pt x="51" y="34"/>
                </a:lnTo>
                <a:lnTo>
                  <a:pt x="55" y="36"/>
                </a:lnTo>
                <a:lnTo>
                  <a:pt x="61" y="38"/>
                </a:lnTo>
                <a:lnTo>
                  <a:pt x="65" y="38"/>
                </a:lnTo>
                <a:lnTo>
                  <a:pt x="67" y="38"/>
                </a:lnTo>
                <a:lnTo>
                  <a:pt x="73" y="32"/>
                </a:lnTo>
                <a:lnTo>
                  <a:pt x="79" y="30"/>
                </a:lnTo>
                <a:lnTo>
                  <a:pt x="85" y="28"/>
                </a:lnTo>
                <a:lnTo>
                  <a:pt x="85" y="26"/>
                </a:lnTo>
                <a:lnTo>
                  <a:pt x="85" y="22"/>
                </a:lnTo>
                <a:lnTo>
                  <a:pt x="87" y="22"/>
                </a:lnTo>
                <a:lnTo>
                  <a:pt x="89" y="1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5" name="Freeform 165">
            <a:extLst>
              <a:ext uri="{FF2B5EF4-FFF2-40B4-BE49-F238E27FC236}">
                <a16:creationId xmlns:a16="http://schemas.microsoft.com/office/drawing/2014/main" id="{DD2F5813-ECC5-436E-AEE0-64CA2BD99063}"/>
              </a:ext>
            </a:extLst>
          </p:cNvPr>
          <p:cNvSpPr>
            <a:spLocks/>
          </p:cNvSpPr>
          <p:nvPr/>
        </p:nvSpPr>
        <p:spPr bwMode="auto">
          <a:xfrm>
            <a:off x="4869568" y="2264972"/>
            <a:ext cx="99194" cy="89290"/>
          </a:xfrm>
          <a:custGeom>
            <a:avLst/>
            <a:gdLst/>
            <a:ahLst/>
            <a:cxnLst>
              <a:cxn ang="0">
                <a:pos x="26" y="50"/>
              </a:cxn>
              <a:cxn ang="0">
                <a:pos x="22" y="34"/>
              </a:cxn>
              <a:cxn ang="0">
                <a:pos x="18" y="24"/>
              </a:cxn>
              <a:cxn ang="0">
                <a:pos x="14" y="16"/>
              </a:cxn>
              <a:cxn ang="0">
                <a:pos x="8" y="10"/>
              </a:cxn>
              <a:cxn ang="0">
                <a:pos x="0" y="8"/>
              </a:cxn>
              <a:cxn ang="0">
                <a:pos x="16" y="0"/>
              </a:cxn>
              <a:cxn ang="0">
                <a:pos x="24" y="2"/>
              </a:cxn>
              <a:cxn ang="0">
                <a:pos x="32" y="6"/>
              </a:cxn>
              <a:cxn ang="0">
                <a:pos x="40" y="18"/>
              </a:cxn>
              <a:cxn ang="0">
                <a:pos x="44" y="24"/>
              </a:cxn>
              <a:cxn ang="0">
                <a:pos x="50" y="36"/>
              </a:cxn>
              <a:cxn ang="0">
                <a:pos x="34" y="34"/>
              </a:cxn>
              <a:cxn ang="0">
                <a:pos x="34" y="44"/>
              </a:cxn>
              <a:cxn ang="0">
                <a:pos x="26" y="48"/>
              </a:cxn>
              <a:cxn ang="0">
                <a:pos x="26" y="50"/>
              </a:cxn>
            </a:cxnLst>
            <a:rect l="0" t="0" r="r" b="b"/>
            <a:pathLst>
              <a:path w="50" h="50">
                <a:moveTo>
                  <a:pt x="26" y="50"/>
                </a:moveTo>
                <a:lnTo>
                  <a:pt x="22" y="34"/>
                </a:lnTo>
                <a:lnTo>
                  <a:pt x="18" y="24"/>
                </a:lnTo>
                <a:lnTo>
                  <a:pt x="14" y="16"/>
                </a:lnTo>
                <a:lnTo>
                  <a:pt x="8" y="10"/>
                </a:lnTo>
                <a:lnTo>
                  <a:pt x="0" y="8"/>
                </a:lnTo>
                <a:lnTo>
                  <a:pt x="16" y="0"/>
                </a:lnTo>
                <a:lnTo>
                  <a:pt x="24" y="2"/>
                </a:lnTo>
                <a:lnTo>
                  <a:pt x="32" y="6"/>
                </a:lnTo>
                <a:lnTo>
                  <a:pt x="40" y="18"/>
                </a:lnTo>
                <a:lnTo>
                  <a:pt x="44" y="24"/>
                </a:lnTo>
                <a:lnTo>
                  <a:pt x="50" y="36"/>
                </a:lnTo>
                <a:lnTo>
                  <a:pt x="34" y="34"/>
                </a:lnTo>
                <a:lnTo>
                  <a:pt x="34" y="44"/>
                </a:lnTo>
                <a:lnTo>
                  <a:pt x="26" y="48"/>
                </a:lnTo>
                <a:lnTo>
                  <a:pt x="26" y="5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6" name="Freeform 166">
            <a:extLst>
              <a:ext uri="{FF2B5EF4-FFF2-40B4-BE49-F238E27FC236}">
                <a16:creationId xmlns:a16="http://schemas.microsoft.com/office/drawing/2014/main" id="{4954F104-9A40-46A0-B32E-8623AF801E98}"/>
              </a:ext>
            </a:extLst>
          </p:cNvPr>
          <p:cNvSpPr>
            <a:spLocks/>
          </p:cNvSpPr>
          <p:nvPr/>
        </p:nvSpPr>
        <p:spPr bwMode="auto">
          <a:xfrm>
            <a:off x="4573696" y="2268219"/>
            <a:ext cx="188127" cy="89290"/>
          </a:xfrm>
          <a:custGeom>
            <a:avLst/>
            <a:gdLst/>
            <a:ahLst/>
            <a:cxnLst>
              <a:cxn ang="0">
                <a:pos x="58" y="46"/>
              </a:cxn>
              <a:cxn ang="0">
                <a:pos x="56" y="44"/>
              </a:cxn>
              <a:cxn ang="0">
                <a:pos x="54" y="42"/>
              </a:cxn>
              <a:cxn ang="0">
                <a:pos x="44" y="46"/>
              </a:cxn>
              <a:cxn ang="0">
                <a:pos x="38" y="48"/>
              </a:cxn>
              <a:cxn ang="0">
                <a:pos x="30" y="50"/>
              </a:cxn>
              <a:cxn ang="0">
                <a:pos x="26" y="50"/>
              </a:cxn>
              <a:cxn ang="0">
                <a:pos x="22" y="48"/>
              </a:cxn>
              <a:cxn ang="0">
                <a:pos x="16" y="44"/>
              </a:cxn>
              <a:cxn ang="0">
                <a:pos x="8" y="38"/>
              </a:cxn>
              <a:cxn ang="0">
                <a:pos x="0" y="32"/>
              </a:cxn>
              <a:cxn ang="0">
                <a:pos x="2" y="30"/>
              </a:cxn>
              <a:cxn ang="0">
                <a:pos x="6" y="22"/>
              </a:cxn>
              <a:cxn ang="0">
                <a:pos x="8" y="16"/>
              </a:cxn>
              <a:cxn ang="0">
                <a:pos x="14" y="10"/>
              </a:cxn>
              <a:cxn ang="0">
                <a:pos x="20" y="14"/>
              </a:cxn>
              <a:cxn ang="0">
                <a:pos x="28" y="16"/>
              </a:cxn>
              <a:cxn ang="0">
                <a:pos x="44" y="10"/>
              </a:cxn>
              <a:cxn ang="0">
                <a:pos x="54" y="6"/>
              </a:cxn>
              <a:cxn ang="0">
                <a:pos x="58" y="2"/>
              </a:cxn>
              <a:cxn ang="0">
                <a:pos x="60" y="0"/>
              </a:cxn>
              <a:cxn ang="0">
                <a:pos x="64" y="0"/>
              </a:cxn>
              <a:cxn ang="0">
                <a:pos x="72" y="0"/>
              </a:cxn>
              <a:cxn ang="0">
                <a:pos x="80" y="2"/>
              </a:cxn>
              <a:cxn ang="0">
                <a:pos x="84" y="2"/>
              </a:cxn>
              <a:cxn ang="0">
                <a:pos x="86" y="4"/>
              </a:cxn>
              <a:cxn ang="0">
                <a:pos x="90" y="6"/>
              </a:cxn>
              <a:cxn ang="0">
                <a:pos x="96" y="8"/>
              </a:cxn>
              <a:cxn ang="0">
                <a:pos x="94" y="14"/>
              </a:cxn>
              <a:cxn ang="0">
                <a:pos x="90" y="16"/>
              </a:cxn>
              <a:cxn ang="0">
                <a:pos x="86" y="18"/>
              </a:cxn>
              <a:cxn ang="0">
                <a:pos x="82" y="22"/>
              </a:cxn>
              <a:cxn ang="0">
                <a:pos x="82" y="30"/>
              </a:cxn>
              <a:cxn ang="0">
                <a:pos x="80" y="36"/>
              </a:cxn>
              <a:cxn ang="0">
                <a:pos x="78" y="38"/>
              </a:cxn>
              <a:cxn ang="0">
                <a:pos x="74" y="42"/>
              </a:cxn>
              <a:cxn ang="0">
                <a:pos x="68" y="42"/>
              </a:cxn>
              <a:cxn ang="0">
                <a:pos x="62" y="42"/>
              </a:cxn>
              <a:cxn ang="0">
                <a:pos x="58" y="46"/>
              </a:cxn>
            </a:cxnLst>
            <a:rect l="0" t="0" r="r" b="b"/>
            <a:pathLst>
              <a:path w="96" h="50">
                <a:moveTo>
                  <a:pt x="58" y="46"/>
                </a:moveTo>
                <a:lnTo>
                  <a:pt x="56" y="44"/>
                </a:lnTo>
                <a:lnTo>
                  <a:pt x="54" y="42"/>
                </a:lnTo>
                <a:lnTo>
                  <a:pt x="44" y="46"/>
                </a:lnTo>
                <a:lnTo>
                  <a:pt x="38" y="48"/>
                </a:lnTo>
                <a:lnTo>
                  <a:pt x="30" y="50"/>
                </a:lnTo>
                <a:lnTo>
                  <a:pt x="26" y="50"/>
                </a:lnTo>
                <a:lnTo>
                  <a:pt x="22" y="48"/>
                </a:lnTo>
                <a:lnTo>
                  <a:pt x="16" y="44"/>
                </a:lnTo>
                <a:lnTo>
                  <a:pt x="8" y="38"/>
                </a:lnTo>
                <a:lnTo>
                  <a:pt x="0" y="32"/>
                </a:lnTo>
                <a:lnTo>
                  <a:pt x="2" y="30"/>
                </a:lnTo>
                <a:lnTo>
                  <a:pt x="6" y="22"/>
                </a:lnTo>
                <a:lnTo>
                  <a:pt x="8" y="16"/>
                </a:lnTo>
                <a:lnTo>
                  <a:pt x="14" y="10"/>
                </a:lnTo>
                <a:lnTo>
                  <a:pt x="20" y="14"/>
                </a:lnTo>
                <a:lnTo>
                  <a:pt x="28" y="16"/>
                </a:lnTo>
                <a:lnTo>
                  <a:pt x="44" y="10"/>
                </a:lnTo>
                <a:lnTo>
                  <a:pt x="54" y="6"/>
                </a:lnTo>
                <a:lnTo>
                  <a:pt x="58" y="2"/>
                </a:lnTo>
                <a:lnTo>
                  <a:pt x="60" y="0"/>
                </a:lnTo>
                <a:lnTo>
                  <a:pt x="64" y="0"/>
                </a:lnTo>
                <a:lnTo>
                  <a:pt x="72" y="0"/>
                </a:lnTo>
                <a:lnTo>
                  <a:pt x="80" y="2"/>
                </a:lnTo>
                <a:lnTo>
                  <a:pt x="84" y="2"/>
                </a:lnTo>
                <a:lnTo>
                  <a:pt x="86" y="4"/>
                </a:lnTo>
                <a:lnTo>
                  <a:pt x="90" y="6"/>
                </a:lnTo>
                <a:lnTo>
                  <a:pt x="96" y="8"/>
                </a:lnTo>
                <a:lnTo>
                  <a:pt x="94" y="14"/>
                </a:lnTo>
                <a:lnTo>
                  <a:pt x="90" y="16"/>
                </a:lnTo>
                <a:lnTo>
                  <a:pt x="86" y="18"/>
                </a:lnTo>
                <a:lnTo>
                  <a:pt x="82" y="22"/>
                </a:lnTo>
                <a:lnTo>
                  <a:pt x="82" y="30"/>
                </a:lnTo>
                <a:lnTo>
                  <a:pt x="80" y="36"/>
                </a:lnTo>
                <a:lnTo>
                  <a:pt x="78" y="38"/>
                </a:lnTo>
                <a:lnTo>
                  <a:pt x="74" y="42"/>
                </a:lnTo>
                <a:lnTo>
                  <a:pt x="68" y="42"/>
                </a:lnTo>
                <a:lnTo>
                  <a:pt x="62" y="42"/>
                </a:lnTo>
                <a:lnTo>
                  <a:pt x="58" y="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7" name="Freeform 167">
            <a:extLst>
              <a:ext uri="{FF2B5EF4-FFF2-40B4-BE49-F238E27FC236}">
                <a16:creationId xmlns:a16="http://schemas.microsoft.com/office/drawing/2014/main" id="{702DE168-20A4-42EE-89BE-C40DCE1AF5A0}"/>
              </a:ext>
            </a:extLst>
          </p:cNvPr>
          <p:cNvSpPr>
            <a:spLocks/>
          </p:cNvSpPr>
          <p:nvPr/>
        </p:nvSpPr>
        <p:spPr bwMode="auto">
          <a:xfrm>
            <a:off x="4739590" y="2131848"/>
            <a:ext cx="514785" cy="264624"/>
          </a:xfrm>
          <a:custGeom>
            <a:avLst/>
            <a:gdLst/>
            <a:ahLst/>
            <a:cxnLst>
              <a:cxn ang="0">
                <a:pos x="60" y="84"/>
              </a:cxn>
              <a:cxn ang="0">
                <a:pos x="44" y="90"/>
              </a:cxn>
              <a:cxn ang="0">
                <a:pos x="26" y="88"/>
              </a:cxn>
              <a:cxn ang="0">
                <a:pos x="12" y="84"/>
              </a:cxn>
              <a:cxn ang="0">
                <a:pos x="2" y="80"/>
              </a:cxn>
              <a:cxn ang="0">
                <a:pos x="2" y="66"/>
              </a:cxn>
              <a:cxn ang="0">
                <a:pos x="12" y="52"/>
              </a:cxn>
              <a:cxn ang="0">
                <a:pos x="22" y="38"/>
              </a:cxn>
              <a:cxn ang="0">
                <a:pos x="8" y="20"/>
              </a:cxn>
              <a:cxn ang="0">
                <a:pos x="24" y="10"/>
              </a:cxn>
              <a:cxn ang="0">
                <a:pos x="64" y="10"/>
              </a:cxn>
              <a:cxn ang="0">
                <a:pos x="96" y="14"/>
              </a:cxn>
              <a:cxn ang="0">
                <a:pos x="116" y="8"/>
              </a:cxn>
              <a:cxn ang="0">
                <a:pos x="138" y="6"/>
              </a:cxn>
              <a:cxn ang="0">
                <a:pos x="166" y="8"/>
              </a:cxn>
              <a:cxn ang="0">
                <a:pos x="168" y="22"/>
              </a:cxn>
              <a:cxn ang="0">
                <a:pos x="186" y="30"/>
              </a:cxn>
              <a:cxn ang="0">
                <a:pos x="198" y="36"/>
              </a:cxn>
              <a:cxn ang="0">
                <a:pos x="216" y="36"/>
              </a:cxn>
              <a:cxn ang="0">
                <a:pos x="234" y="48"/>
              </a:cxn>
              <a:cxn ang="0">
                <a:pos x="260" y="56"/>
              </a:cxn>
              <a:cxn ang="0">
                <a:pos x="254" y="64"/>
              </a:cxn>
              <a:cxn ang="0">
                <a:pos x="260" y="78"/>
              </a:cxn>
              <a:cxn ang="0">
                <a:pos x="244" y="84"/>
              </a:cxn>
              <a:cxn ang="0">
                <a:pos x="236" y="92"/>
              </a:cxn>
              <a:cxn ang="0">
                <a:pos x="226" y="100"/>
              </a:cxn>
              <a:cxn ang="0">
                <a:pos x="208" y="106"/>
              </a:cxn>
              <a:cxn ang="0">
                <a:pos x="190" y="112"/>
              </a:cxn>
              <a:cxn ang="0">
                <a:pos x="184" y="118"/>
              </a:cxn>
              <a:cxn ang="0">
                <a:pos x="194" y="128"/>
              </a:cxn>
              <a:cxn ang="0">
                <a:pos x="212" y="138"/>
              </a:cxn>
              <a:cxn ang="0">
                <a:pos x="200" y="140"/>
              </a:cxn>
              <a:cxn ang="0">
                <a:pos x="186" y="146"/>
              </a:cxn>
              <a:cxn ang="0">
                <a:pos x="174" y="138"/>
              </a:cxn>
              <a:cxn ang="0">
                <a:pos x="160" y="128"/>
              </a:cxn>
              <a:cxn ang="0">
                <a:pos x="172" y="118"/>
              </a:cxn>
              <a:cxn ang="0">
                <a:pos x="160" y="118"/>
              </a:cxn>
              <a:cxn ang="0">
                <a:pos x="146" y="114"/>
              </a:cxn>
              <a:cxn ang="0">
                <a:pos x="140" y="108"/>
              </a:cxn>
              <a:cxn ang="0">
                <a:pos x="130" y="112"/>
              </a:cxn>
              <a:cxn ang="0">
                <a:pos x="124" y="120"/>
              </a:cxn>
              <a:cxn ang="0">
                <a:pos x="114" y="128"/>
              </a:cxn>
              <a:cxn ang="0">
                <a:pos x="102" y="128"/>
              </a:cxn>
              <a:cxn ang="0">
                <a:pos x="92" y="124"/>
              </a:cxn>
              <a:cxn ang="0">
                <a:pos x="100" y="108"/>
              </a:cxn>
              <a:cxn ang="0">
                <a:pos x="116" y="110"/>
              </a:cxn>
              <a:cxn ang="0">
                <a:pos x="106" y="92"/>
              </a:cxn>
              <a:cxn ang="0">
                <a:pos x="90" y="76"/>
              </a:cxn>
              <a:cxn ang="0">
                <a:pos x="74" y="78"/>
              </a:cxn>
            </a:cxnLst>
            <a:rect l="0" t="0" r="r" b="b"/>
            <a:pathLst>
              <a:path w="260" h="148">
                <a:moveTo>
                  <a:pt x="66" y="82"/>
                </a:moveTo>
                <a:lnTo>
                  <a:pt x="60" y="84"/>
                </a:lnTo>
                <a:lnTo>
                  <a:pt x="54" y="88"/>
                </a:lnTo>
                <a:lnTo>
                  <a:pt x="44" y="90"/>
                </a:lnTo>
                <a:lnTo>
                  <a:pt x="36" y="90"/>
                </a:lnTo>
                <a:lnTo>
                  <a:pt x="26" y="88"/>
                </a:lnTo>
                <a:lnTo>
                  <a:pt x="18" y="84"/>
                </a:lnTo>
                <a:lnTo>
                  <a:pt x="12" y="84"/>
                </a:lnTo>
                <a:lnTo>
                  <a:pt x="6" y="82"/>
                </a:lnTo>
                <a:lnTo>
                  <a:pt x="2" y="80"/>
                </a:lnTo>
                <a:lnTo>
                  <a:pt x="0" y="78"/>
                </a:lnTo>
                <a:lnTo>
                  <a:pt x="2" y="66"/>
                </a:lnTo>
                <a:lnTo>
                  <a:pt x="2" y="62"/>
                </a:lnTo>
                <a:lnTo>
                  <a:pt x="12" y="52"/>
                </a:lnTo>
                <a:lnTo>
                  <a:pt x="16" y="44"/>
                </a:lnTo>
                <a:lnTo>
                  <a:pt x="22" y="38"/>
                </a:lnTo>
                <a:lnTo>
                  <a:pt x="16" y="30"/>
                </a:lnTo>
                <a:lnTo>
                  <a:pt x="8" y="20"/>
                </a:lnTo>
                <a:lnTo>
                  <a:pt x="6" y="14"/>
                </a:lnTo>
                <a:lnTo>
                  <a:pt x="24" y="10"/>
                </a:lnTo>
                <a:lnTo>
                  <a:pt x="46" y="10"/>
                </a:lnTo>
                <a:lnTo>
                  <a:pt x="64" y="10"/>
                </a:lnTo>
                <a:lnTo>
                  <a:pt x="80" y="16"/>
                </a:lnTo>
                <a:lnTo>
                  <a:pt x="96" y="14"/>
                </a:lnTo>
                <a:lnTo>
                  <a:pt x="112" y="16"/>
                </a:lnTo>
                <a:lnTo>
                  <a:pt x="116" y="8"/>
                </a:lnTo>
                <a:lnTo>
                  <a:pt x="128" y="6"/>
                </a:lnTo>
                <a:lnTo>
                  <a:pt x="138" y="6"/>
                </a:lnTo>
                <a:lnTo>
                  <a:pt x="156" y="0"/>
                </a:lnTo>
                <a:lnTo>
                  <a:pt x="166" y="8"/>
                </a:lnTo>
                <a:lnTo>
                  <a:pt x="166" y="14"/>
                </a:lnTo>
                <a:lnTo>
                  <a:pt x="168" y="22"/>
                </a:lnTo>
                <a:lnTo>
                  <a:pt x="184" y="24"/>
                </a:lnTo>
                <a:lnTo>
                  <a:pt x="186" y="30"/>
                </a:lnTo>
                <a:lnTo>
                  <a:pt x="188" y="36"/>
                </a:lnTo>
                <a:lnTo>
                  <a:pt x="198" y="36"/>
                </a:lnTo>
                <a:lnTo>
                  <a:pt x="202" y="40"/>
                </a:lnTo>
                <a:lnTo>
                  <a:pt x="216" y="36"/>
                </a:lnTo>
                <a:lnTo>
                  <a:pt x="222" y="44"/>
                </a:lnTo>
                <a:lnTo>
                  <a:pt x="234" y="48"/>
                </a:lnTo>
                <a:lnTo>
                  <a:pt x="248" y="50"/>
                </a:lnTo>
                <a:lnTo>
                  <a:pt x="260" y="56"/>
                </a:lnTo>
                <a:lnTo>
                  <a:pt x="260" y="58"/>
                </a:lnTo>
                <a:lnTo>
                  <a:pt x="254" y="64"/>
                </a:lnTo>
                <a:lnTo>
                  <a:pt x="258" y="72"/>
                </a:lnTo>
                <a:lnTo>
                  <a:pt x="260" y="78"/>
                </a:lnTo>
                <a:lnTo>
                  <a:pt x="260" y="84"/>
                </a:lnTo>
                <a:lnTo>
                  <a:pt x="244" y="84"/>
                </a:lnTo>
                <a:lnTo>
                  <a:pt x="240" y="88"/>
                </a:lnTo>
                <a:lnTo>
                  <a:pt x="236" y="92"/>
                </a:lnTo>
                <a:lnTo>
                  <a:pt x="236" y="100"/>
                </a:lnTo>
                <a:lnTo>
                  <a:pt x="226" y="100"/>
                </a:lnTo>
                <a:lnTo>
                  <a:pt x="216" y="100"/>
                </a:lnTo>
                <a:lnTo>
                  <a:pt x="208" y="106"/>
                </a:lnTo>
                <a:lnTo>
                  <a:pt x="204" y="108"/>
                </a:lnTo>
                <a:lnTo>
                  <a:pt x="190" y="112"/>
                </a:lnTo>
                <a:lnTo>
                  <a:pt x="182" y="116"/>
                </a:lnTo>
                <a:lnTo>
                  <a:pt x="184" y="118"/>
                </a:lnTo>
                <a:lnTo>
                  <a:pt x="186" y="122"/>
                </a:lnTo>
                <a:lnTo>
                  <a:pt x="194" y="128"/>
                </a:lnTo>
                <a:lnTo>
                  <a:pt x="204" y="130"/>
                </a:lnTo>
                <a:lnTo>
                  <a:pt x="212" y="138"/>
                </a:lnTo>
                <a:lnTo>
                  <a:pt x="204" y="138"/>
                </a:lnTo>
                <a:lnTo>
                  <a:pt x="200" y="140"/>
                </a:lnTo>
                <a:lnTo>
                  <a:pt x="192" y="144"/>
                </a:lnTo>
                <a:lnTo>
                  <a:pt x="186" y="146"/>
                </a:lnTo>
                <a:lnTo>
                  <a:pt x="176" y="148"/>
                </a:lnTo>
                <a:lnTo>
                  <a:pt x="174" y="138"/>
                </a:lnTo>
                <a:lnTo>
                  <a:pt x="170" y="134"/>
                </a:lnTo>
                <a:lnTo>
                  <a:pt x="160" y="128"/>
                </a:lnTo>
                <a:lnTo>
                  <a:pt x="166" y="120"/>
                </a:lnTo>
                <a:lnTo>
                  <a:pt x="172" y="118"/>
                </a:lnTo>
                <a:lnTo>
                  <a:pt x="164" y="118"/>
                </a:lnTo>
                <a:lnTo>
                  <a:pt x="160" y="118"/>
                </a:lnTo>
                <a:lnTo>
                  <a:pt x="152" y="116"/>
                </a:lnTo>
                <a:lnTo>
                  <a:pt x="146" y="114"/>
                </a:lnTo>
                <a:lnTo>
                  <a:pt x="144" y="112"/>
                </a:lnTo>
                <a:lnTo>
                  <a:pt x="140" y="108"/>
                </a:lnTo>
                <a:lnTo>
                  <a:pt x="132" y="108"/>
                </a:lnTo>
                <a:lnTo>
                  <a:pt x="130" y="112"/>
                </a:lnTo>
                <a:lnTo>
                  <a:pt x="128" y="116"/>
                </a:lnTo>
                <a:lnTo>
                  <a:pt x="124" y="120"/>
                </a:lnTo>
                <a:lnTo>
                  <a:pt x="118" y="126"/>
                </a:lnTo>
                <a:lnTo>
                  <a:pt x="114" y="128"/>
                </a:lnTo>
                <a:lnTo>
                  <a:pt x="110" y="126"/>
                </a:lnTo>
                <a:lnTo>
                  <a:pt x="102" y="128"/>
                </a:lnTo>
                <a:lnTo>
                  <a:pt x="94" y="132"/>
                </a:lnTo>
                <a:lnTo>
                  <a:pt x="92" y="124"/>
                </a:lnTo>
                <a:lnTo>
                  <a:pt x="100" y="118"/>
                </a:lnTo>
                <a:lnTo>
                  <a:pt x="100" y="108"/>
                </a:lnTo>
                <a:lnTo>
                  <a:pt x="106" y="108"/>
                </a:lnTo>
                <a:lnTo>
                  <a:pt x="116" y="110"/>
                </a:lnTo>
                <a:lnTo>
                  <a:pt x="110" y="98"/>
                </a:lnTo>
                <a:lnTo>
                  <a:pt x="106" y="92"/>
                </a:lnTo>
                <a:lnTo>
                  <a:pt x="98" y="80"/>
                </a:lnTo>
                <a:lnTo>
                  <a:pt x="90" y="76"/>
                </a:lnTo>
                <a:lnTo>
                  <a:pt x="82" y="74"/>
                </a:lnTo>
                <a:lnTo>
                  <a:pt x="74" y="78"/>
                </a:lnTo>
                <a:lnTo>
                  <a:pt x="66" y="8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8" name="Freeform 168">
            <a:extLst>
              <a:ext uri="{FF2B5EF4-FFF2-40B4-BE49-F238E27FC236}">
                <a16:creationId xmlns:a16="http://schemas.microsoft.com/office/drawing/2014/main" id="{D87DBB0B-9106-463E-AF00-EEC787321D4A}"/>
              </a:ext>
            </a:extLst>
          </p:cNvPr>
          <p:cNvSpPr>
            <a:spLocks/>
          </p:cNvSpPr>
          <p:nvPr/>
        </p:nvSpPr>
        <p:spPr bwMode="auto">
          <a:xfrm>
            <a:off x="4751561" y="2014960"/>
            <a:ext cx="261668" cy="146111"/>
          </a:xfrm>
          <a:custGeom>
            <a:avLst/>
            <a:gdLst/>
            <a:ahLst/>
            <a:cxnLst>
              <a:cxn ang="0">
                <a:pos x="122" y="72"/>
              </a:cxn>
              <a:cxn ang="0">
                <a:pos x="110" y="74"/>
              </a:cxn>
              <a:cxn ang="0">
                <a:pos x="106" y="82"/>
              </a:cxn>
              <a:cxn ang="0">
                <a:pos x="98" y="82"/>
              </a:cxn>
              <a:cxn ang="0">
                <a:pos x="90" y="80"/>
              </a:cxn>
              <a:cxn ang="0">
                <a:pos x="80" y="82"/>
              </a:cxn>
              <a:cxn ang="0">
                <a:pos x="74" y="82"/>
              </a:cxn>
              <a:cxn ang="0">
                <a:pos x="62" y="78"/>
              </a:cxn>
              <a:cxn ang="0">
                <a:pos x="58" y="76"/>
              </a:cxn>
              <a:cxn ang="0">
                <a:pos x="40" y="76"/>
              </a:cxn>
              <a:cxn ang="0">
                <a:pos x="30" y="76"/>
              </a:cxn>
              <a:cxn ang="0">
                <a:pos x="22" y="76"/>
              </a:cxn>
              <a:cxn ang="0">
                <a:pos x="16" y="78"/>
              </a:cxn>
              <a:cxn ang="0">
                <a:pos x="0" y="80"/>
              </a:cxn>
              <a:cxn ang="0">
                <a:pos x="0" y="76"/>
              </a:cxn>
              <a:cxn ang="0">
                <a:pos x="10" y="70"/>
              </a:cxn>
              <a:cxn ang="0">
                <a:pos x="6" y="64"/>
              </a:cxn>
              <a:cxn ang="0">
                <a:pos x="4" y="52"/>
              </a:cxn>
              <a:cxn ang="0">
                <a:pos x="2" y="48"/>
              </a:cxn>
              <a:cxn ang="0">
                <a:pos x="12" y="46"/>
              </a:cxn>
              <a:cxn ang="0">
                <a:pos x="18" y="34"/>
              </a:cxn>
              <a:cxn ang="0">
                <a:pos x="26" y="24"/>
              </a:cxn>
              <a:cxn ang="0">
                <a:pos x="26" y="18"/>
              </a:cxn>
              <a:cxn ang="0">
                <a:pos x="30" y="18"/>
              </a:cxn>
              <a:cxn ang="0">
                <a:pos x="36" y="18"/>
              </a:cxn>
              <a:cxn ang="0">
                <a:pos x="46" y="14"/>
              </a:cxn>
              <a:cxn ang="0">
                <a:pos x="48" y="6"/>
              </a:cxn>
              <a:cxn ang="0">
                <a:pos x="60" y="4"/>
              </a:cxn>
              <a:cxn ang="0">
                <a:pos x="68" y="0"/>
              </a:cxn>
              <a:cxn ang="0">
                <a:pos x="76" y="4"/>
              </a:cxn>
              <a:cxn ang="0">
                <a:pos x="98" y="4"/>
              </a:cxn>
              <a:cxn ang="0">
                <a:pos x="106" y="16"/>
              </a:cxn>
              <a:cxn ang="0">
                <a:pos x="106" y="24"/>
              </a:cxn>
              <a:cxn ang="0">
                <a:pos x="112" y="28"/>
              </a:cxn>
              <a:cxn ang="0">
                <a:pos x="116" y="34"/>
              </a:cxn>
              <a:cxn ang="0">
                <a:pos x="120" y="40"/>
              </a:cxn>
              <a:cxn ang="0">
                <a:pos x="122" y="42"/>
              </a:cxn>
              <a:cxn ang="0">
                <a:pos x="130" y="44"/>
              </a:cxn>
              <a:cxn ang="0">
                <a:pos x="132" y="50"/>
              </a:cxn>
              <a:cxn ang="0">
                <a:pos x="126" y="52"/>
              </a:cxn>
              <a:cxn ang="0">
                <a:pos x="114" y="54"/>
              </a:cxn>
              <a:cxn ang="0">
                <a:pos x="118" y="62"/>
              </a:cxn>
              <a:cxn ang="0">
                <a:pos x="122" y="72"/>
              </a:cxn>
            </a:cxnLst>
            <a:rect l="0" t="0" r="r" b="b"/>
            <a:pathLst>
              <a:path w="132" h="82">
                <a:moveTo>
                  <a:pt x="122" y="72"/>
                </a:moveTo>
                <a:lnTo>
                  <a:pt x="110" y="74"/>
                </a:lnTo>
                <a:lnTo>
                  <a:pt x="106" y="82"/>
                </a:lnTo>
                <a:lnTo>
                  <a:pt x="98" y="82"/>
                </a:lnTo>
                <a:lnTo>
                  <a:pt x="90" y="80"/>
                </a:lnTo>
                <a:lnTo>
                  <a:pt x="80" y="82"/>
                </a:lnTo>
                <a:lnTo>
                  <a:pt x="74" y="82"/>
                </a:lnTo>
                <a:lnTo>
                  <a:pt x="62" y="78"/>
                </a:lnTo>
                <a:lnTo>
                  <a:pt x="58" y="76"/>
                </a:lnTo>
                <a:lnTo>
                  <a:pt x="40" y="76"/>
                </a:lnTo>
                <a:lnTo>
                  <a:pt x="30" y="76"/>
                </a:lnTo>
                <a:lnTo>
                  <a:pt x="22" y="76"/>
                </a:lnTo>
                <a:lnTo>
                  <a:pt x="16" y="78"/>
                </a:lnTo>
                <a:lnTo>
                  <a:pt x="0" y="80"/>
                </a:lnTo>
                <a:lnTo>
                  <a:pt x="0" y="76"/>
                </a:lnTo>
                <a:lnTo>
                  <a:pt x="10" y="70"/>
                </a:lnTo>
                <a:lnTo>
                  <a:pt x="6" y="64"/>
                </a:lnTo>
                <a:lnTo>
                  <a:pt x="4" y="52"/>
                </a:lnTo>
                <a:lnTo>
                  <a:pt x="2" y="48"/>
                </a:lnTo>
                <a:lnTo>
                  <a:pt x="12" y="46"/>
                </a:lnTo>
                <a:lnTo>
                  <a:pt x="18" y="34"/>
                </a:lnTo>
                <a:lnTo>
                  <a:pt x="26" y="24"/>
                </a:lnTo>
                <a:lnTo>
                  <a:pt x="26" y="18"/>
                </a:lnTo>
                <a:lnTo>
                  <a:pt x="30" y="18"/>
                </a:lnTo>
                <a:lnTo>
                  <a:pt x="36" y="18"/>
                </a:lnTo>
                <a:lnTo>
                  <a:pt x="46" y="14"/>
                </a:lnTo>
                <a:lnTo>
                  <a:pt x="48" y="6"/>
                </a:lnTo>
                <a:lnTo>
                  <a:pt x="60" y="4"/>
                </a:lnTo>
                <a:lnTo>
                  <a:pt x="68" y="0"/>
                </a:lnTo>
                <a:lnTo>
                  <a:pt x="76" y="4"/>
                </a:lnTo>
                <a:lnTo>
                  <a:pt x="98" y="4"/>
                </a:lnTo>
                <a:lnTo>
                  <a:pt x="106" y="16"/>
                </a:lnTo>
                <a:lnTo>
                  <a:pt x="106" y="24"/>
                </a:lnTo>
                <a:lnTo>
                  <a:pt x="112" y="28"/>
                </a:lnTo>
                <a:lnTo>
                  <a:pt x="116" y="34"/>
                </a:lnTo>
                <a:lnTo>
                  <a:pt x="120" y="40"/>
                </a:lnTo>
                <a:lnTo>
                  <a:pt x="122" y="42"/>
                </a:lnTo>
                <a:lnTo>
                  <a:pt x="130" y="44"/>
                </a:lnTo>
                <a:lnTo>
                  <a:pt x="132" y="50"/>
                </a:lnTo>
                <a:lnTo>
                  <a:pt x="126" y="52"/>
                </a:lnTo>
                <a:lnTo>
                  <a:pt x="114" y="54"/>
                </a:lnTo>
                <a:lnTo>
                  <a:pt x="118" y="62"/>
                </a:lnTo>
                <a:lnTo>
                  <a:pt x="122" y="7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9" name="Freeform 169">
            <a:extLst>
              <a:ext uri="{FF2B5EF4-FFF2-40B4-BE49-F238E27FC236}">
                <a16:creationId xmlns:a16="http://schemas.microsoft.com/office/drawing/2014/main" id="{55444A36-2743-4BDF-ABE3-D34A6BCBD99E}"/>
              </a:ext>
            </a:extLst>
          </p:cNvPr>
          <p:cNvSpPr>
            <a:spLocks/>
          </p:cNvSpPr>
          <p:nvPr/>
        </p:nvSpPr>
        <p:spPr bwMode="auto">
          <a:xfrm>
            <a:off x="4496734" y="2325040"/>
            <a:ext cx="95774" cy="64938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13" y="6"/>
              </a:cxn>
              <a:cxn ang="0">
                <a:pos x="21" y="4"/>
              </a:cxn>
              <a:cxn ang="0">
                <a:pos x="25" y="2"/>
              </a:cxn>
              <a:cxn ang="0">
                <a:pos x="39" y="0"/>
              </a:cxn>
              <a:cxn ang="0">
                <a:pos x="49" y="6"/>
              </a:cxn>
              <a:cxn ang="0">
                <a:pos x="35" y="10"/>
              </a:cxn>
              <a:cxn ang="0">
                <a:pos x="33" y="16"/>
              </a:cxn>
              <a:cxn ang="0">
                <a:pos x="29" y="24"/>
              </a:cxn>
              <a:cxn ang="0">
                <a:pos x="21" y="24"/>
              </a:cxn>
              <a:cxn ang="0">
                <a:pos x="17" y="28"/>
              </a:cxn>
              <a:cxn ang="0">
                <a:pos x="15" y="36"/>
              </a:cxn>
              <a:cxn ang="0">
                <a:pos x="11" y="32"/>
              </a:cxn>
              <a:cxn ang="0">
                <a:pos x="7" y="26"/>
              </a:cxn>
              <a:cxn ang="0">
                <a:pos x="4" y="18"/>
              </a:cxn>
              <a:cxn ang="0">
                <a:pos x="0" y="14"/>
              </a:cxn>
              <a:cxn ang="0">
                <a:pos x="0" y="4"/>
              </a:cxn>
            </a:cxnLst>
            <a:rect l="0" t="0" r="r" b="b"/>
            <a:pathLst>
              <a:path w="49" h="36">
                <a:moveTo>
                  <a:pt x="0" y="4"/>
                </a:moveTo>
                <a:lnTo>
                  <a:pt x="13" y="6"/>
                </a:lnTo>
                <a:lnTo>
                  <a:pt x="21" y="4"/>
                </a:lnTo>
                <a:lnTo>
                  <a:pt x="25" y="2"/>
                </a:lnTo>
                <a:lnTo>
                  <a:pt x="39" y="0"/>
                </a:lnTo>
                <a:lnTo>
                  <a:pt x="49" y="6"/>
                </a:lnTo>
                <a:lnTo>
                  <a:pt x="35" y="10"/>
                </a:lnTo>
                <a:lnTo>
                  <a:pt x="33" y="16"/>
                </a:lnTo>
                <a:lnTo>
                  <a:pt x="29" y="24"/>
                </a:lnTo>
                <a:lnTo>
                  <a:pt x="21" y="24"/>
                </a:lnTo>
                <a:lnTo>
                  <a:pt x="17" y="28"/>
                </a:lnTo>
                <a:lnTo>
                  <a:pt x="15" y="36"/>
                </a:lnTo>
                <a:lnTo>
                  <a:pt x="11" y="32"/>
                </a:lnTo>
                <a:lnTo>
                  <a:pt x="7" y="26"/>
                </a:lnTo>
                <a:lnTo>
                  <a:pt x="4" y="18"/>
                </a:lnTo>
                <a:lnTo>
                  <a:pt x="0" y="14"/>
                </a:lnTo>
                <a:lnTo>
                  <a:pt x="0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0" name="Freeform 170">
            <a:extLst>
              <a:ext uri="{FF2B5EF4-FFF2-40B4-BE49-F238E27FC236}">
                <a16:creationId xmlns:a16="http://schemas.microsoft.com/office/drawing/2014/main" id="{2EBF1B05-64B8-4A5A-9C5A-F68C0213180F}"/>
              </a:ext>
            </a:extLst>
          </p:cNvPr>
          <p:cNvSpPr>
            <a:spLocks/>
          </p:cNvSpPr>
          <p:nvPr/>
        </p:nvSpPr>
        <p:spPr bwMode="auto">
          <a:xfrm>
            <a:off x="4715646" y="2471154"/>
            <a:ext cx="71830" cy="43833"/>
          </a:xfrm>
          <a:custGeom>
            <a:avLst/>
            <a:gdLst/>
            <a:ahLst/>
            <a:cxnLst>
              <a:cxn ang="0">
                <a:pos x="26" y="0"/>
              </a:cxn>
              <a:cxn ang="0">
                <a:pos x="36" y="4"/>
              </a:cxn>
              <a:cxn ang="0">
                <a:pos x="36" y="16"/>
              </a:cxn>
              <a:cxn ang="0">
                <a:pos x="30" y="20"/>
              </a:cxn>
              <a:cxn ang="0">
                <a:pos x="10" y="24"/>
              </a:cxn>
              <a:cxn ang="0">
                <a:pos x="6" y="22"/>
              </a:cxn>
              <a:cxn ang="0">
                <a:pos x="4" y="22"/>
              </a:cxn>
              <a:cxn ang="0">
                <a:pos x="0" y="16"/>
              </a:cxn>
              <a:cxn ang="0">
                <a:pos x="0" y="2"/>
              </a:cxn>
              <a:cxn ang="0">
                <a:pos x="8" y="2"/>
              </a:cxn>
              <a:cxn ang="0">
                <a:pos x="12" y="0"/>
              </a:cxn>
              <a:cxn ang="0">
                <a:pos x="26" y="0"/>
              </a:cxn>
            </a:cxnLst>
            <a:rect l="0" t="0" r="r" b="b"/>
            <a:pathLst>
              <a:path w="36" h="24">
                <a:moveTo>
                  <a:pt x="26" y="0"/>
                </a:moveTo>
                <a:lnTo>
                  <a:pt x="36" y="4"/>
                </a:lnTo>
                <a:lnTo>
                  <a:pt x="36" y="16"/>
                </a:lnTo>
                <a:lnTo>
                  <a:pt x="30" y="20"/>
                </a:lnTo>
                <a:lnTo>
                  <a:pt x="10" y="24"/>
                </a:lnTo>
                <a:lnTo>
                  <a:pt x="6" y="22"/>
                </a:lnTo>
                <a:lnTo>
                  <a:pt x="4" y="22"/>
                </a:lnTo>
                <a:lnTo>
                  <a:pt x="0" y="16"/>
                </a:lnTo>
                <a:lnTo>
                  <a:pt x="0" y="2"/>
                </a:lnTo>
                <a:lnTo>
                  <a:pt x="8" y="2"/>
                </a:lnTo>
                <a:lnTo>
                  <a:pt x="12" y="0"/>
                </a:lnTo>
                <a:lnTo>
                  <a:pt x="2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1" name="Freeform 171">
            <a:extLst>
              <a:ext uri="{FF2B5EF4-FFF2-40B4-BE49-F238E27FC236}">
                <a16:creationId xmlns:a16="http://schemas.microsoft.com/office/drawing/2014/main" id="{806B958C-3A5E-47CF-81A8-68DBA4A26D36}"/>
              </a:ext>
            </a:extLst>
          </p:cNvPr>
          <p:cNvSpPr>
            <a:spLocks/>
          </p:cNvSpPr>
          <p:nvPr/>
        </p:nvSpPr>
        <p:spPr bwMode="auto">
          <a:xfrm>
            <a:off x="4686572" y="2277960"/>
            <a:ext cx="282191" cy="142864"/>
          </a:xfrm>
          <a:custGeom>
            <a:avLst/>
            <a:gdLst/>
            <a:ahLst/>
            <a:cxnLst>
              <a:cxn ang="0">
                <a:pos x="36" y="68"/>
              </a:cxn>
              <a:cxn ang="0">
                <a:pos x="28" y="64"/>
              </a:cxn>
              <a:cxn ang="0">
                <a:pos x="26" y="64"/>
              </a:cxn>
              <a:cxn ang="0">
                <a:pos x="24" y="62"/>
              </a:cxn>
              <a:cxn ang="0">
                <a:pos x="22" y="58"/>
              </a:cxn>
              <a:cxn ang="0">
                <a:pos x="20" y="54"/>
              </a:cxn>
              <a:cxn ang="0">
                <a:pos x="16" y="52"/>
              </a:cxn>
              <a:cxn ang="0">
                <a:pos x="14" y="52"/>
              </a:cxn>
              <a:cxn ang="0">
                <a:pos x="14" y="48"/>
              </a:cxn>
              <a:cxn ang="0">
                <a:pos x="10" y="46"/>
              </a:cxn>
              <a:cxn ang="0">
                <a:pos x="8" y="40"/>
              </a:cxn>
              <a:cxn ang="0">
                <a:pos x="0" y="40"/>
              </a:cxn>
              <a:cxn ang="0">
                <a:pos x="4" y="36"/>
              </a:cxn>
              <a:cxn ang="0">
                <a:pos x="10" y="36"/>
              </a:cxn>
              <a:cxn ang="0">
                <a:pos x="16" y="36"/>
              </a:cxn>
              <a:cxn ang="0">
                <a:pos x="20" y="32"/>
              </a:cxn>
              <a:cxn ang="0">
                <a:pos x="22" y="30"/>
              </a:cxn>
              <a:cxn ang="0">
                <a:pos x="24" y="24"/>
              </a:cxn>
              <a:cxn ang="0">
                <a:pos x="24" y="16"/>
              </a:cxn>
              <a:cxn ang="0">
                <a:pos x="28" y="12"/>
              </a:cxn>
              <a:cxn ang="0">
                <a:pos x="32" y="10"/>
              </a:cxn>
              <a:cxn ang="0">
                <a:pos x="36" y="8"/>
              </a:cxn>
              <a:cxn ang="0">
                <a:pos x="38" y="2"/>
              </a:cxn>
              <a:cxn ang="0">
                <a:pos x="56" y="6"/>
              </a:cxn>
              <a:cxn ang="0">
                <a:pos x="70" y="10"/>
              </a:cxn>
              <a:cxn ang="0">
                <a:pos x="76" y="8"/>
              </a:cxn>
              <a:cxn ang="0">
                <a:pos x="80" y="6"/>
              </a:cxn>
              <a:cxn ang="0">
                <a:pos x="86" y="2"/>
              </a:cxn>
              <a:cxn ang="0">
                <a:pos x="92" y="0"/>
              </a:cxn>
              <a:cxn ang="0">
                <a:pos x="100" y="2"/>
              </a:cxn>
              <a:cxn ang="0">
                <a:pos x="106" y="8"/>
              </a:cxn>
              <a:cxn ang="0">
                <a:pos x="108" y="12"/>
              </a:cxn>
              <a:cxn ang="0">
                <a:pos x="112" y="20"/>
              </a:cxn>
              <a:cxn ang="0">
                <a:pos x="116" y="36"/>
              </a:cxn>
              <a:cxn ang="0">
                <a:pos x="118" y="44"/>
              </a:cxn>
              <a:cxn ang="0">
                <a:pos x="120" y="50"/>
              </a:cxn>
              <a:cxn ang="0">
                <a:pos x="128" y="46"/>
              </a:cxn>
              <a:cxn ang="0">
                <a:pos x="136" y="44"/>
              </a:cxn>
              <a:cxn ang="0">
                <a:pos x="140" y="46"/>
              </a:cxn>
              <a:cxn ang="0">
                <a:pos x="142" y="50"/>
              </a:cxn>
              <a:cxn ang="0">
                <a:pos x="142" y="54"/>
              </a:cxn>
              <a:cxn ang="0">
                <a:pos x="140" y="56"/>
              </a:cxn>
              <a:cxn ang="0">
                <a:pos x="138" y="56"/>
              </a:cxn>
              <a:cxn ang="0">
                <a:pos x="132" y="56"/>
              </a:cxn>
              <a:cxn ang="0">
                <a:pos x="130" y="68"/>
              </a:cxn>
              <a:cxn ang="0">
                <a:pos x="126" y="80"/>
              </a:cxn>
              <a:cxn ang="0">
                <a:pos x="116" y="74"/>
              </a:cxn>
              <a:cxn ang="0">
                <a:pos x="110" y="72"/>
              </a:cxn>
              <a:cxn ang="0">
                <a:pos x="106" y="72"/>
              </a:cxn>
              <a:cxn ang="0">
                <a:pos x="100" y="74"/>
              </a:cxn>
              <a:cxn ang="0">
                <a:pos x="96" y="76"/>
              </a:cxn>
              <a:cxn ang="0">
                <a:pos x="92" y="80"/>
              </a:cxn>
              <a:cxn ang="0">
                <a:pos x="86" y="80"/>
              </a:cxn>
              <a:cxn ang="0">
                <a:pos x="64" y="80"/>
              </a:cxn>
              <a:cxn ang="0">
                <a:pos x="60" y="78"/>
              </a:cxn>
              <a:cxn ang="0">
                <a:pos x="54" y="78"/>
              </a:cxn>
              <a:cxn ang="0">
                <a:pos x="50" y="78"/>
              </a:cxn>
              <a:cxn ang="0">
                <a:pos x="46" y="76"/>
              </a:cxn>
              <a:cxn ang="0">
                <a:pos x="44" y="76"/>
              </a:cxn>
              <a:cxn ang="0">
                <a:pos x="42" y="74"/>
              </a:cxn>
              <a:cxn ang="0">
                <a:pos x="42" y="72"/>
              </a:cxn>
              <a:cxn ang="0">
                <a:pos x="36" y="68"/>
              </a:cxn>
            </a:cxnLst>
            <a:rect l="0" t="0" r="r" b="b"/>
            <a:pathLst>
              <a:path w="142" h="80">
                <a:moveTo>
                  <a:pt x="36" y="68"/>
                </a:moveTo>
                <a:lnTo>
                  <a:pt x="28" y="64"/>
                </a:lnTo>
                <a:lnTo>
                  <a:pt x="26" y="64"/>
                </a:lnTo>
                <a:lnTo>
                  <a:pt x="24" y="62"/>
                </a:lnTo>
                <a:lnTo>
                  <a:pt x="22" y="58"/>
                </a:lnTo>
                <a:lnTo>
                  <a:pt x="20" y="54"/>
                </a:lnTo>
                <a:lnTo>
                  <a:pt x="16" y="52"/>
                </a:lnTo>
                <a:lnTo>
                  <a:pt x="14" y="52"/>
                </a:lnTo>
                <a:lnTo>
                  <a:pt x="14" y="48"/>
                </a:lnTo>
                <a:lnTo>
                  <a:pt x="10" y="46"/>
                </a:lnTo>
                <a:lnTo>
                  <a:pt x="8" y="40"/>
                </a:lnTo>
                <a:lnTo>
                  <a:pt x="0" y="40"/>
                </a:lnTo>
                <a:lnTo>
                  <a:pt x="4" y="36"/>
                </a:lnTo>
                <a:lnTo>
                  <a:pt x="10" y="36"/>
                </a:lnTo>
                <a:lnTo>
                  <a:pt x="16" y="36"/>
                </a:lnTo>
                <a:lnTo>
                  <a:pt x="20" y="32"/>
                </a:lnTo>
                <a:lnTo>
                  <a:pt x="22" y="30"/>
                </a:lnTo>
                <a:lnTo>
                  <a:pt x="24" y="24"/>
                </a:lnTo>
                <a:lnTo>
                  <a:pt x="24" y="16"/>
                </a:lnTo>
                <a:lnTo>
                  <a:pt x="28" y="12"/>
                </a:lnTo>
                <a:lnTo>
                  <a:pt x="32" y="10"/>
                </a:lnTo>
                <a:lnTo>
                  <a:pt x="36" y="8"/>
                </a:lnTo>
                <a:lnTo>
                  <a:pt x="38" y="2"/>
                </a:lnTo>
                <a:lnTo>
                  <a:pt x="56" y="6"/>
                </a:lnTo>
                <a:lnTo>
                  <a:pt x="70" y="10"/>
                </a:lnTo>
                <a:lnTo>
                  <a:pt x="76" y="8"/>
                </a:lnTo>
                <a:lnTo>
                  <a:pt x="80" y="6"/>
                </a:lnTo>
                <a:lnTo>
                  <a:pt x="86" y="2"/>
                </a:lnTo>
                <a:lnTo>
                  <a:pt x="92" y="0"/>
                </a:lnTo>
                <a:lnTo>
                  <a:pt x="100" y="2"/>
                </a:lnTo>
                <a:lnTo>
                  <a:pt x="106" y="8"/>
                </a:lnTo>
                <a:lnTo>
                  <a:pt x="108" y="12"/>
                </a:lnTo>
                <a:lnTo>
                  <a:pt x="112" y="20"/>
                </a:lnTo>
                <a:lnTo>
                  <a:pt x="116" y="36"/>
                </a:lnTo>
                <a:lnTo>
                  <a:pt x="118" y="44"/>
                </a:lnTo>
                <a:lnTo>
                  <a:pt x="120" y="50"/>
                </a:lnTo>
                <a:lnTo>
                  <a:pt x="128" y="46"/>
                </a:lnTo>
                <a:lnTo>
                  <a:pt x="136" y="44"/>
                </a:lnTo>
                <a:lnTo>
                  <a:pt x="140" y="46"/>
                </a:lnTo>
                <a:lnTo>
                  <a:pt x="142" y="50"/>
                </a:lnTo>
                <a:lnTo>
                  <a:pt x="142" y="54"/>
                </a:lnTo>
                <a:lnTo>
                  <a:pt x="140" y="56"/>
                </a:lnTo>
                <a:lnTo>
                  <a:pt x="138" y="56"/>
                </a:lnTo>
                <a:lnTo>
                  <a:pt x="132" y="56"/>
                </a:lnTo>
                <a:lnTo>
                  <a:pt x="130" y="68"/>
                </a:lnTo>
                <a:lnTo>
                  <a:pt x="126" y="80"/>
                </a:lnTo>
                <a:lnTo>
                  <a:pt x="116" y="74"/>
                </a:lnTo>
                <a:lnTo>
                  <a:pt x="110" y="72"/>
                </a:lnTo>
                <a:lnTo>
                  <a:pt x="106" y="72"/>
                </a:lnTo>
                <a:lnTo>
                  <a:pt x="100" y="74"/>
                </a:lnTo>
                <a:lnTo>
                  <a:pt x="96" y="76"/>
                </a:lnTo>
                <a:lnTo>
                  <a:pt x="92" y="80"/>
                </a:lnTo>
                <a:lnTo>
                  <a:pt x="86" y="80"/>
                </a:lnTo>
                <a:lnTo>
                  <a:pt x="64" y="80"/>
                </a:lnTo>
                <a:lnTo>
                  <a:pt x="60" y="78"/>
                </a:lnTo>
                <a:lnTo>
                  <a:pt x="54" y="78"/>
                </a:lnTo>
                <a:lnTo>
                  <a:pt x="50" y="78"/>
                </a:lnTo>
                <a:lnTo>
                  <a:pt x="46" y="76"/>
                </a:lnTo>
                <a:lnTo>
                  <a:pt x="44" y="76"/>
                </a:lnTo>
                <a:lnTo>
                  <a:pt x="42" y="74"/>
                </a:lnTo>
                <a:lnTo>
                  <a:pt x="42" y="72"/>
                </a:lnTo>
                <a:lnTo>
                  <a:pt x="36" y="6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2" name="Freeform 172">
            <a:extLst>
              <a:ext uri="{FF2B5EF4-FFF2-40B4-BE49-F238E27FC236}">
                <a16:creationId xmlns:a16="http://schemas.microsoft.com/office/drawing/2014/main" id="{C2DB23AD-E7F6-46CF-AF40-50A81044139E}"/>
              </a:ext>
            </a:extLst>
          </p:cNvPr>
          <p:cNvSpPr>
            <a:spLocks/>
          </p:cNvSpPr>
          <p:nvPr/>
        </p:nvSpPr>
        <p:spPr bwMode="auto">
          <a:xfrm>
            <a:off x="4647236" y="2339654"/>
            <a:ext cx="135110" cy="134747"/>
          </a:xfrm>
          <a:custGeom>
            <a:avLst/>
            <a:gdLst/>
            <a:ahLst/>
            <a:cxnLst>
              <a:cxn ang="0">
                <a:pos x="2" y="8"/>
              </a:cxn>
              <a:cxn ang="0">
                <a:pos x="6" y="6"/>
              </a:cxn>
              <a:cxn ang="0">
                <a:pos x="16" y="0"/>
              </a:cxn>
              <a:cxn ang="0">
                <a:pos x="20" y="6"/>
              </a:cxn>
              <a:cxn ang="0">
                <a:pos x="28" y="6"/>
              </a:cxn>
              <a:cxn ang="0">
                <a:pos x="30" y="12"/>
              </a:cxn>
              <a:cxn ang="0">
                <a:pos x="34" y="14"/>
              </a:cxn>
              <a:cxn ang="0">
                <a:pos x="34" y="18"/>
              </a:cxn>
              <a:cxn ang="0">
                <a:pos x="36" y="18"/>
              </a:cxn>
              <a:cxn ang="0">
                <a:pos x="40" y="20"/>
              </a:cxn>
              <a:cxn ang="0">
                <a:pos x="42" y="28"/>
              </a:cxn>
              <a:cxn ang="0">
                <a:pos x="48" y="30"/>
              </a:cxn>
              <a:cxn ang="0">
                <a:pos x="56" y="34"/>
              </a:cxn>
              <a:cxn ang="0">
                <a:pos x="62" y="38"/>
              </a:cxn>
              <a:cxn ang="0">
                <a:pos x="62" y="44"/>
              </a:cxn>
              <a:cxn ang="0">
                <a:pos x="64" y="48"/>
              </a:cxn>
              <a:cxn ang="0">
                <a:pos x="68" y="56"/>
              </a:cxn>
              <a:cxn ang="0">
                <a:pos x="64" y="62"/>
              </a:cxn>
              <a:cxn ang="0">
                <a:pos x="60" y="70"/>
              </a:cxn>
              <a:cxn ang="0">
                <a:pos x="60" y="74"/>
              </a:cxn>
              <a:cxn ang="0">
                <a:pos x="46" y="74"/>
              </a:cxn>
              <a:cxn ang="0">
                <a:pos x="42" y="76"/>
              </a:cxn>
              <a:cxn ang="0">
                <a:pos x="34" y="76"/>
              </a:cxn>
              <a:cxn ang="0">
                <a:pos x="26" y="68"/>
              </a:cxn>
              <a:cxn ang="0">
                <a:pos x="18" y="68"/>
              </a:cxn>
              <a:cxn ang="0">
                <a:pos x="18" y="70"/>
              </a:cxn>
              <a:cxn ang="0">
                <a:pos x="16" y="74"/>
              </a:cxn>
              <a:cxn ang="0">
                <a:pos x="16" y="76"/>
              </a:cxn>
              <a:cxn ang="0">
                <a:pos x="10" y="66"/>
              </a:cxn>
              <a:cxn ang="0">
                <a:pos x="0" y="60"/>
              </a:cxn>
              <a:cxn ang="0">
                <a:pos x="4" y="52"/>
              </a:cxn>
              <a:cxn ang="0">
                <a:pos x="12" y="50"/>
              </a:cxn>
              <a:cxn ang="0">
                <a:pos x="14" y="44"/>
              </a:cxn>
              <a:cxn ang="0">
                <a:pos x="8" y="38"/>
              </a:cxn>
              <a:cxn ang="0">
                <a:pos x="6" y="28"/>
              </a:cxn>
              <a:cxn ang="0">
                <a:pos x="8" y="22"/>
              </a:cxn>
              <a:cxn ang="0">
                <a:pos x="2" y="8"/>
              </a:cxn>
            </a:cxnLst>
            <a:rect l="0" t="0" r="r" b="b"/>
            <a:pathLst>
              <a:path w="68" h="76">
                <a:moveTo>
                  <a:pt x="2" y="8"/>
                </a:moveTo>
                <a:lnTo>
                  <a:pt x="6" y="6"/>
                </a:lnTo>
                <a:lnTo>
                  <a:pt x="16" y="0"/>
                </a:lnTo>
                <a:lnTo>
                  <a:pt x="20" y="6"/>
                </a:lnTo>
                <a:lnTo>
                  <a:pt x="28" y="6"/>
                </a:lnTo>
                <a:lnTo>
                  <a:pt x="30" y="12"/>
                </a:lnTo>
                <a:lnTo>
                  <a:pt x="34" y="14"/>
                </a:lnTo>
                <a:lnTo>
                  <a:pt x="34" y="18"/>
                </a:lnTo>
                <a:lnTo>
                  <a:pt x="36" y="18"/>
                </a:lnTo>
                <a:lnTo>
                  <a:pt x="40" y="20"/>
                </a:lnTo>
                <a:lnTo>
                  <a:pt x="42" y="28"/>
                </a:lnTo>
                <a:lnTo>
                  <a:pt x="48" y="30"/>
                </a:lnTo>
                <a:lnTo>
                  <a:pt x="56" y="34"/>
                </a:lnTo>
                <a:lnTo>
                  <a:pt x="62" y="38"/>
                </a:lnTo>
                <a:lnTo>
                  <a:pt x="62" y="44"/>
                </a:lnTo>
                <a:lnTo>
                  <a:pt x="64" y="48"/>
                </a:lnTo>
                <a:lnTo>
                  <a:pt x="68" y="56"/>
                </a:lnTo>
                <a:lnTo>
                  <a:pt x="64" y="62"/>
                </a:lnTo>
                <a:lnTo>
                  <a:pt x="60" y="70"/>
                </a:lnTo>
                <a:lnTo>
                  <a:pt x="60" y="74"/>
                </a:lnTo>
                <a:lnTo>
                  <a:pt x="46" y="74"/>
                </a:lnTo>
                <a:lnTo>
                  <a:pt x="42" y="76"/>
                </a:lnTo>
                <a:lnTo>
                  <a:pt x="34" y="76"/>
                </a:lnTo>
                <a:lnTo>
                  <a:pt x="26" y="68"/>
                </a:lnTo>
                <a:lnTo>
                  <a:pt x="18" y="68"/>
                </a:lnTo>
                <a:lnTo>
                  <a:pt x="18" y="70"/>
                </a:lnTo>
                <a:lnTo>
                  <a:pt x="16" y="74"/>
                </a:lnTo>
                <a:lnTo>
                  <a:pt x="16" y="76"/>
                </a:lnTo>
                <a:lnTo>
                  <a:pt x="10" y="66"/>
                </a:lnTo>
                <a:lnTo>
                  <a:pt x="0" y="60"/>
                </a:lnTo>
                <a:lnTo>
                  <a:pt x="4" y="52"/>
                </a:lnTo>
                <a:lnTo>
                  <a:pt x="12" y="50"/>
                </a:lnTo>
                <a:lnTo>
                  <a:pt x="14" y="44"/>
                </a:lnTo>
                <a:lnTo>
                  <a:pt x="8" y="38"/>
                </a:lnTo>
                <a:lnTo>
                  <a:pt x="6" y="28"/>
                </a:lnTo>
                <a:lnTo>
                  <a:pt x="8" y="22"/>
                </a:lnTo>
                <a:lnTo>
                  <a:pt x="2" y="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3" name="Freeform 173">
            <a:extLst>
              <a:ext uri="{FF2B5EF4-FFF2-40B4-BE49-F238E27FC236}">
                <a16:creationId xmlns:a16="http://schemas.microsoft.com/office/drawing/2014/main" id="{15262106-4323-429C-8669-05823FC9BCCE}"/>
              </a:ext>
            </a:extLst>
          </p:cNvPr>
          <p:cNvSpPr>
            <a:spLocks/>
          </p:cNvSpPr>
          <p:nvPr/>
        </p:nvSpPr>
        <p:spPr bwMode="auto">
          <a:xfrm>
            <a:off x="4766954" y="2407839"/>
            <a:ext cx="174445" cy="92537"/>
          </a:xfrm>
          <a:custGeom>
            <a:avLst/>
            <a:gdLst/>
            <a:ahLst/>
            <a:cxnLst>
              <a:cxn ang="0">
                <a:pos x="10" y="48"/>
              </a:cxn>
              <a:cxn ang="0">
                <a:pos x="8" y="40"/>
              </a:cxn>
              <a:cxn ang="0">
                <a:pos x="6" y="38"/>
              </a:cxn>
              <a:cxn ang="0">
                <a:pos x="0" y="36"/>
              </a:cxn>
              <a:cxn ang="0">
                <a:pos x="2" y="32"/>
              </a:cxn>
              <a:cxn ang="0">
                <a:pos x="4" y="24"/>
              </a:cxn>
              <a:cxn ang="0">
                <a:pos x="8" y="18"/>
              </a:cxn>
              <a:cxn ang="0">
                <a:pos x="4" y="12"/>
              </a:cxn>
              <a:cxn ang="0">
                <a:pos x="2" y="6"/>
              </a:cxn>
              <a:cxn ang="0">
                <a:pos x="2" y="4"/>
              </a:cxn>
              <a:cxn ang="0">
                <a:pos x="2" y="2"/>
              </a:cxn>
              <a:cxn ang="0">
                <a:pos x="4" y="4"/>
              </a:cxn>
              <a:cxn ang="0">
                <a:pos x="6" y="4"/>
              </a:cxn>
              <a:cxn ang="0">
                <a:pos x="10" y="6"/>
              </a:cxn>
              <a:cxn ang="0">
                <a:pos x="14" y="6"/>
              </a:cxn>
              <a:cxn ang="0">
                <a:pos x="20" y="6"/>
              </a:cxn>
              <a:cxn ang="0">
                <a:pos x="24" y="8"/>
              </a:cxn>
              <a:cxn ang="0">
                <a:pos x="46" y="8"/>
              </a:cxn>
              <a:cxn ang="0">
                <a:pos x="52" y="8"/>
              </a:cxn>
              <a:cxn ang="0">
                <a:pos x="56" y="4"/>
              </a:cxn>
              <a:cxn ang="0">
                <a:pos x="60" y="2"/>
              </a:cxn>
              <a:cxn ang="0">
                <a:pos x="66" y="0"/>
              </a:cxn>
              <a:cxn ang="0">
                <a:pos x="70" y="0"/>
              </a:cxn>
              <a:cxn ang="0">
                <a:pos x="76" y="2"/>
              </a:cxn>
              <a:cxn ang="0">
                <a:pos x="86" y="8"/>
              </a:cxn>
              <a:cxn ang="0">
                <a:pos x="84" y="14"/>
              </a:cxn>
              <a:cxn ang="0">
                <a:pos x="84" y="22"/>
              </a:cxn>
              <a:cxn ang="0">
                <a:pos x="84" y="30"/>
              </a:cxn>
              <a:cxn ang="0">
                <a:pos x="88" y="38"/>
              </a:cxn>
              <a:cxn ang="0">
                <a:pos x="70" y="40"/>
              </a:cxn>
              <a:cxn ang="0">
                <a:pos x="64" y="42"/>
              </a:cxn>
              <a:cxn ang="0">
                <a:pos x="62" y="44"/>
              </a:cxn>
              <a:cxn ang="0">
                <a:pos x="60" y="46"/>
              </a:cxn>
              <a:cxn ang="0">
                <a:pos x="58" y="46"/>
              </a:cxn>
              <a:cxn ang="0">
                <a:pos x="56" y="50"/>
              </a:cxn>
              <a:cxn ang="0">
                <a:pos x="52" y="50"/>
              </a:cxn>
              <a:cxn ang="0">
                <a:pos x="50" y="52"/>
              </a:cxn>
              <a:cxn ang="0">
                <a:pos x="48" y="52"/>
              </a:cxn>
              <a:cxn ang="0">
                <a:pos x="42" y="52"/>
              </a:cxn>
              <a:cxn ang="0">
                <a:pos x="38" y="50"/>
              </a:cxn>
              <a:cxn ang="0">
                <a:pos x="36" y="48"/>
              </a:cxn>
              <a:cxn ang="0">
                <a:pos x="32" y="46"/>
              </a:cxn>
              <a:cxn ang="0">
                <a:pos x="26" y="48"/>
              </a:cxn>
              <a:cxn ang="0">
                <a:pos x="20" y="50"/>
              </a:cxn>
              <a:cxn ang="0">
                <a:pos x="14" y="50"/>
              </a:cxn>
              <a:cxn ang="0">
                <a:pos x="10" y="50"/>
              </a:cxn>
              <a:cxn ang="0">
                <a:pos x="10" y="48"/>
              </a:cxn>
            </a:cxnLst>
            <a:rect l="0" t="0" r="r" b="b"/>
            <a:pathLst>
              <a:path w="88" h="52">
                <a:moveTo>
                  <a:pt x="10" y="48"/>
                </a:moveTo>
                <a:lnTo>
                  <a:pt x="8" y="40"/>
                </a:lnTo>
                <a:lnTo>
                  <a:pt x="6" y="38"/>
                </a:lnTo>
                <a:lnTo>
                  <a:pt x="0" y="36"/>
                </a:lnTo>
                <a:lnTo>
                  <a:pt x="2" y="32"/>
                </a:lnTo>
                <a:lnTo>
                  <a:pt x="4" y="24"/>
                </a:lnTo>
                <a:lnTo>
                  <a:pt x="8" y="18"/>
                </a:lnTo>
                <a:lnTo>
                  <a:pt x="4" y="12"/>
                </a:lnTo>
                <a:lnTo>
                  <a:pt x="2" y="6"/>
                </a:lnTo>
                <a:lnTo>
                  <a:pt x="2" y="4"/>
                </a:lnTo>
                <a:lnTo>
                  <a:pt x="2" y="2"/>
                </a:lnTo>
                <a:lnTo>
                  <a:pt x="4" y="4"/>
                </a:lnTo>
                <a:lnTo>
                  <a:pt x="6" y="4"/>
                </a:lnTo>
                <a:lnTo>
                  <a:pt x="10" y="6"/>
                </a:lnTo>
                <a:lnTo>
                  <a:pt x="14" y="6"/>
                </a:lnTo>
                <a:lnTo>
                  <a:pt x="20" y="6"/>
                </a:lnTo>
                <a:lnTo>
                  <a:pt x="24" y="8"/>
                </a:lnTo>
                <a:lnTo>
                  <a:pt x="46" y="8"/>
                </a:lnTo>
                <a:lnTo>
                  <a:pt x="52" y="8"/>
                </a:lnTo>
                <a:lnTo>
                  <a:pt x="56" y="4"/>
                </a:lnTo>
                <a:lnTo>
                  <a:pt x="60" y="2"/>
                </a:lnTo>
                <a:lnTo>
                  <a:pt x="66" y="0"/>
                </a:lnTo>
                <a:lnTo>
                  <a:pt x="70" y="0"/>
                </a:lnTo>
                <a:lnTo>
                  <a:pt x="76" y="2"/>
                </a:lnTo>
                <a:lnTo>
                  <a:pt x="86" y="8"/>
                </a:lnTo>
                <a:lnTo>
                  <a:pt x="84" y="14"/>
                </a:lnTo>
                <a:lnTo>
                  <a:pt x="84" y="22"/>
                </a:lnTo>
                <a:lnTo>
                  <a:pt x="84" y="30"/>
                </a:lnTo>
                <a:lnTo>
                  <a:pt x="88" y="38"/>
                </a:lnTo>
                <a:lnTo>
                  <a:pt x="70" y="40"/>
                </a:lnTo>
                <a:lnTo>
                  <a:pt x="64" y="42"/>
                </a:lnTo>
                <a:lnTo>
                  <a:pt x="62" y="44"/>
                </a:lnTo>
                <a:lnTo>
                  <a:pt x="60" y="46"/>
                </a:lnTo>
                <a:lnTo>
                  <a:pt x="58" y="46"/>
                </a:lnTo>
                <a:lnTo>
                  <a:pt x="56" y="50"/>
                </a:lnTo>
                <a:lnTo>
                  <a:pt x="52" y="50"/>
                </a:lnTo>
                <a:lnTo>
                  <a:pt x="50" y="52"/>
                </a:lnTo>
                <a:lnTo>
                  <a:pt x="48" y="52"/>
                </a:lnTo>
                <a:lnTo>
                  <a:pt x="42" y="52"/>
                </a:lnTo>
                <a:lnTo>
                  <a:pt x="38" y="50"/>
                </a:lnTo>
                <a:lnTo>
                  <a:pt x="36" y="48"/>
                </a:lnTo>
                <a:lnTo>
                  <a:pt x="32" y="46"/>
                </a:lnTo>
                <a:lnTo>
                  <a:pt x="26" y="48"/>
                </a:lnTo>
                <a:lnTo>
                  <a:pt x="20" y="50"/>
                </a:lnTo>
                <a:lnTo>
                  <a:pt x="14" y="50"/>
                </a:lnTo>
                <a:lnTo>
                  <a:pt x="10" y="50"/>
                </a:lnTo>
                <a:lnTo>
                  <a:pt x="10" y="4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4" name="Freeform 174">
            <a:extLst>
              <a:ext uri="{FF2B5EF4-FFF2-40B4-BE49-F238E27FC236}">
                <a16:creationId xmlns:a16="http://schemas.microsoft.com/office/drawing/2014/main" id="{780B1F9D-D7E4-4D04-A392-E398424315F9}"/>
              </a:ext>
            </a:extLst>
          </p:cNvPr>
          <p:cNvSpPr>
            <a:spLocks/>
          </p:cNvSpPr>
          <p:nvPr/>
        </p:nvSpPr>
        <p:spPr bwMode="auto">
          <a:xfrm>
            <a:off x="4394120" y="2060417"/>
            <a:ext cx="27364" cy="8117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6" y="4"/>
              </a:cxn>
              <a:cxn ang="0">
                <a:pos x="8" y="4"/>
              </a:cxn>
              <a:cxn ang="0">
                <a:pos x="14" y="2"/>
              </a:cxn>
              <a:cxn ang="0">
                <a:pos x="8" y="0"/>
              </a:cxn>
              <a:cxn ang="0">
                <a:pos x="4" y="0"/>
              </a:cxn>
              <a:cxn ang="0">
                <a:pos x="0" y="2"/>
              </a:cxn>
            </a:cxnLst>
            <a:rect l="0" t="0" r="r" b="b"/>
            <a:pathLst>
              <a:path w="14" h="4">
                <a:moveTo>
                  <a:pt x="0" y="2"/>
                </a:moveTo>
                <a:lnTo>
                  <a:pt x="6" y="4"/>
                </a:lnTo>
                <a:lnTo>
                  <a:pt x="8" y="4"/>
                </a:lnTo>
                <a:lnTo>
                  <a:pt x="14" y="2"/>
                </a:lnTo>
                <a:lnTo>
                  <a:pt x="8" y="0"/>
                </a:lnTo>
                <a:lnTo>
                  <a:pt x="4" y="0"/>
                </a:lnTo>
                <a:lnTo>
                  <a:pt x="0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5" name="Freeform 175">
            <a:extLst>
              <a:ext uri="{FF2B5EF4-FFF2-40B4-BE49-F238E27FC236}">
                <a16:creationId xmlns:a16="http://schemas.microsoft.com/office/drawing/2014/main" id="{B55AF049-235D-4463-B9EB-14E5F2ACEBB9}"/>
              </a:ext>
            </a:extLst>
          </p:cNvPr>
          <p:cNvSpPr>
            <a:spLocks/>
          </p:cNvSpPr>
          <p:nvPr/>
        </p:nvSpPr>
        <p:spPr bwMode="auto">
          <a:xfrm>
            <a:off x="4152975" y="2456543"/>
            <a:ext cx="32495" cy="14611"/>
          </a:xfrm>
          <a:custGeom>
            <a:avLst/>
            <a:gdLst/>
            <a:ahLst/>
            <a:cxnLst>
              <a:cxn ang="0">
                <a:pos x="14" y="4"/>
              </a:cxn>
              <a:cxn ang="0">
                <a:pos x="12" y="6"/>
              </a:cxn>
              <a:cxn ang="0">
                <a:pos x="6" y="8"/>
              </a:cxn>
              <a:cxn ang="0">
                <a:pos x="2" y="8"/>
              </a:cxn>
              <a:cxn ang="0">
                <a:pos x="0" y="6"/>
              </a:cxn>
              <a:cxn ang="0">
                <a:pos x="0" y="4"/>
              </a:cxn>
              <a:cxn ang="0">
                <a:pos x="2" y="0"/>
              </a:cxn>
              <a:cxn ang="0">
                <a:pos x="6" y="0"/>
              </a:cxn>
              <a:cxn ang="0">
                <a:pos x="8" y="0"/>
              </a:cxn>
              <a:cxn ang="0">
                <a:pos x="10" y="2"/>
              </a:cxn>
              <a:cxn ang="0">
                <a:pos x="16" y="6"/>
              </a:cxn>
              <a:cxn ang="0">
                <a:pos x="14" y="4"/>
              </a:cxn>
            </a:cxnLst>
            <a:rect l="0" t="0" r="r" b="b"/>
            <a:pathLst>
              <a:path w="16" h="8">
                <a:moveTo>
                  <a:pt x="14" y="4"/>
                </a:moveTo>
                <a:lnTo>
                  <a:pt x="12" y="6"/>
                </a:lnTo>
                <a:lnTo>
                  <a:pt x="6" y="8"/>
                </a:lnTo>
                <a:lnTo>
                  <a:pt x="2" y="8"/>
                </a:lnTo>
                <a:lnTo>
                  <a:pt x="0" y="6"/>
                </a:lnTo>
                <a:lnTo>
                  <a:pt x="0" y="4"/>
                </a:lnTo>
                <a:lnTo>
                  <a:pt x="2" y="0"/>
                </a:lnTo>
                <a:lnTo>
                  <a:pt x="6" y="0"/>
                </a:lnTo>
                <a:lnTo>
                  <a:pt x="8" y="0"/>
                </a:lnTo>
                <a:lnTo>
                  <a:pt x="10" y="2"/>
                </a:lnTo>
                <a:lnTo>
                  <a:pt x="16" y="6"/>
                </a:lnTo>
                <a:lnTo>
                  <a:pt x="14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6" name="Freeform 176">
            <a:extLst>
              <a:ext uri="{FF2B5EF4-FFF2-40B4-BE49-F238E27FC236}">
                <a16:creationId xmlns:a16="http://schemas.microsoft.com/office/drawing/2014/main" id="{A808B94A-8077-4303-9281-AFA962D159AF}"/>
              </a:ext>
            </a:extLst>
          </p:cNvPr>
          <p:cNvSpPr>
            <a:spLocks/>
          </p:cNvSpPr>
          <p:nvPr/>
        </p:nvSpPr>
        <p:spPr bwMode="auto">
          <a:xfrm>
            <a:off x="4274401" y="2214648"/>
            <a:ext cx="25655" cy="27599"/>
          </a:xfrm>
          <a:custGeom>
            <a:avLst/>
            <a:gdLst/>
            <a:ahLst/>
            <a:cxnLst>
              <a:cxn ang="0">
                <a:pos x="8" y="0"/>
              </a:cxn>
              <a:cxn ang="0">
                <a:pos x="6" y="2"/>
              </a:cxn>
              <a:cxn ang="0">
                <a:pos x="4" y="4"/>
              </a:cxn>
              <a:cxn ang="0">
                <a:pos x="2" y="6"/>
              </a:cxn>
              <a:cxn ang="0">
                <a:pos x="0" y="8"/>
              </a:cxn>
              <a:cxn ang="0">
                <a:pos x="2" y="12"/>
              </a:cxn>
              <a:cxn ang="0">
                <a:pos x="2" y="14"/>
              </a:cxn>
              <a:cxn ang="0">
                <a:pos x="8" y="14"/>
              </a:cxn>
              <a:cxn ang="0">
                <a:pos x="12" y="16"/>
              </a:cxn>
              <a:cxn ang="0">
                <a:pos x="12" y="12"/>
              </a:cxn>
              <a:cxn ang="0">
                <a:pos x="12" y="8"/>
              </a:cxn>
              <a:cxn ang="0">
                <a:pos x="8" y="0"/>
              </a:cxn>
            </a:cxnLst>
            <a:rect l="0" t="0" r="r" b="b"/>
            <a:pathLst>
              <a:path w="12" h="16">
                <a:moveTo>
                  <a:pt x="8" y="0"/>
                </a:moveTo>
                <a:lnTo>
                  <a:pt x="6" y="2"/>
                </a:lnTo>
                <a:lnTo>
                  <a:pt x="4" y="4"/>
                </a:lnTo>
                <a:lnTo>
                  <a:pt x="2" y="6"/>
                </a:lnTo>
                <a:lnTo>
                  <a:pt x="0" y="8"/>
                </a:lnTo>
                <a:lnTo>
                  <a:pt x="2" y="12"/>
                </a:lnTo>
                <a:lnTo>
                  <a:pt x="2" y="14"/>
                </a:lnTo>
                <a:lnTo>
                  <a:pt x="8" y="14"/>
                </a:lnTo>
                <a:lnTo>
                  <a:pt x="12" y="16"/>
                </a:lnTo>
                <a:lnTo>
                  <a:pt x="12" y="12"/>
                </a:lnTo>
                <a:lnTo>
                  <a:pt x="12" y="8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7" name="Freeform 177">
            <a:extLst>
              <a:ext uri="{FF2B5EF4-FFF2-40B4-BE49-F238E27FC236}">
                <a16:creationId xmlns:a16="http://schemas.microsoft.com/office/drawing/2014/main" id="{3AC27F9C-2953-4825-A74C-6756DB4EECA7}"/>
              </a:ext>
            </a:extLst>
          </p:cNvPr>
          <p:cNvSpPr>
            <a:spLocks/>
          </p:cNvSpPr>
          <p:nvPr/>
        </p:nvSpPr>
        <p:spPr bwMode="auto">
          <a:xfrm>
            <a:off x="5189385" y="2800716"/>
            <a:ext cx="656736" cy="530871"/>
          </a:xfrm>
          <a:custGeom>
            <a:avLst/>
            <a:gdLst/>
            <a:ahLst/>
            <a:cxnLst>
              <a:cxn ang="0">
                <a:pos x="224" y="72"/>
              </a:cxn>
              <a:cxn ang="0">
                <a:pos x="230" y="80"/>
              </a:cxn>
              <a:cxn ang="0">
                <a:pos x="236" y="88"/>
              </a:cxn>
              <a:cxn ang="0">
                <a:pos x="244" y="102"/>
              </a:cxn>
              <a:cxn ang="0">
                <a:pos x="254" y="118"/>
              </a:cxn>
              <a:cxn ang="0">
                <a:pos x="260" y="130"/>
              </a:cxn>
              <a:cxn ang="0">
                <a:pos x="268" y="144"/>
              </a:cxn>
              <a:cxn ang="0">
                <a:pos x="280" y="156"/>
              </a:cxn>
              <a:cxn ang="0">
                <a:pos x="332" y="164"/>
              </a:cxn>
              <a:cxn ang="0">
                <a:pos x="282" y="242"/>
              </a:cxn>
              <a:cxn ang="0">
                <a:pos x="190" y="298"/>
              </a:cxn>
              <a:cxn ang="0">
                <a:pos x="168" y="270"/>
              </a:cxn>
              <a:cxn ang="0">
                <a:pos x="162" y="270"/>
              </a:cxn>
              <a:cxn ang="0">
                <a:pos x="152" y="264"/>
              </a:cxn>
              <a:cxn ang="0">
                <a:pos x="148" y="270"/>
              </a:cxn>
              <a:cxn ang="0">
                <a:pos x="144" y="280"/>
              </a:cxn>
              <a:cxn ang="0">
                <a:pos x="134" y="264"/>
              </a:cxn>
              <a:cxn ang="0">
                <a:pos x="118" y="248"/>
              </a:cxn>
              <a:cxn ang="0">
                <a:pos x="108" y="228"/>
              </a:cxn>
              <a:cxn ang="0">
                <a:pos x="98" y="214"/>
              </a:cxn>
              <a:cxn ang="0">
                <a:pos x="82" y="200"/>
              </a:cxn>
              <a:cxn ang="0">
                <a:pos x="82" y="200"/>
              </a:cxn>
              <a:cxn ang="0">
                <a:pos x="76" y="162"/>
              </a:cxn>
              <a:cxn ang="0">
                <a:pos x="58" y="142"/>
              </a:cxn>
              <a:cxn ang="0">
                <a:pos x="42" y="124"/>
              </a:cxn>
              <a:cxn ang="0">
                <a:pos x="16" y="76"/>
              </a:cxn>
              <a:cxn ang="0">
                <a:pos x="4" y="66"/>
              </a:cxn>
              <a:cxn ang="0">
                <a:pos x="16" y="56"/>
              </a:cxn>
              <a:cxn ang="0">
                <a:pos x="24" y="46"/>
              </a:cxn>
              <a:cxn ang="0">
                <a:pos x="34" y="42"/>
              </a:cxn>
              <a:cxn ang="0">
                <a:pos x="44" y="36"/>
              </a:cxn>
              <a:cxn ang="0">
                <a:pos x="62" y="0"/>
              </a:cxn>
              <a:cxn ang="0">
                <a:pos x="122" y="26"/>
              </a:cxn>
              <a:cxn ang="0">
                <a:pos x="128" y="32"/>
              </a:cxn>
              <a:cxn ang="0">
                <a:pos x="134" y="44"/>
              </a:cxn>
              <a:cxn ang="0">
                <a:pos x="180" y="54"/>
              </a:cxn>
              <a:cxn ang="0">
                <a:pos x="200" y="60"/>
              </a:cxn>
              <a:cxn ang="0">
                <a:pos x="222" y="64"/>
              </a:cxn>
            </a:cxnLst>
            <a:rect l="0" t="0" r="r" b="b"/>
            <a:pathLst>
              <a:path w="332" h="298">
                <a:moveTo>
                  <a:pt x="222" y="62"/>
                </a:moveTo>
                <a:lnTo>
                  <a:pt x="224" y="72"/>
                </a:lnTo>
                <a:lnTo>
                  <a:pt x="226" y="78"/>
                </a:lnTo>
                <a:lnTo>
                  <a:pt x="230" y="80"/>
                </a:lnTo>
                <a:lnTo>
                  <a:pt x="234" y="84"/>
                </a:lnTo>
                <a:lnTo>
                  <a:pt x="236" y="88"/>
                </a:lnTo>
                <a:lnTo>
                  <a:pt x="242" y="96"/>
                </a:lnTo>
                <a:lnTo>
                  <a:pt x="244" y="102"/>
                </a:lnTo>
                <a:lnTo>
                  <a:pt x="248" y="110"/>
                </a:lnTo>
                <a:lnTo>
                  <a:pt x="254" y="118"/>
                </a:lnTo>
                <a:lnTo>
                  <a:pt x="258" y="126"/>
                </a:lnTo>
                <a:lnTo>
                  <a:pt x="260" y="130"/>
                </a:lnTo>
                <a:lnTo>
                  <a:pt x="258" y="136"/>
                </a:lnTo>
                <a:lnTo>
                  <a:pt x="268" y="144"/>
                </a:lnTo>
                <a:lnTo>
                  <a:pt x="280" y="148"/>
                </a:lnTo>
                <a:lnTo>
                  <a:pt x="280" y="156"/>
                </a:lnTo>
                <a:lnTo>
                  <a:pt x="324" y="158"/>
                </a:lnTo>
                <a:lnTo>
                  <a:pt x="332" y="164"/>
                </a:lnTo>
                <a:lnTo>
                  <a:pt x="332" y="198"/>
                </a:lnTo>
                <a:lnTo>
                  <a:pt x="282" y="242"/>
                </a:lnTo>
                <a:lnTo>
                  <a:pt x="234" y="254"/>
                </a:lnTo>
                <a:lnTo>
                  <a:pt x="190" y="298"/>
                </a:lnTo>
                <a:lnTo>
                  <a:pt x="188" y="276"/>
                </a:lnTo>
                <a:lnTo>
                  <a:pt x="168" y="270"/>
                </a:lnTo>
                <a:lnTo>
                  <a:pt x="164" y="268"/>
                </a:lnTo>
                <a:lnTo>
                  <a:pt x="162" y="270"/>
                </a:lnTo>
                <a:lnTo>
                  <a:pt x="156" y="268"/>
                </a:lnTo>
                <a:lnTo>
                  <a:pt x="152" y="264"/>
                </a:lnTo>
                <a:lnTo>
                  <a:pt x="150" y="266"/>
                </a:lnTo>
                <a:lnTo>
                  <a:pt x="148" y="270"/>
                </a:lnTo>
                <a:lnTo>
                  <a:pt x="146" y="276"/>
                </a:lnTo>
                <a:lnTo>
                  <a:pt x="144" y="280"/>
                </a:lnTo>
                <a:lnTo>
                  <a:pt x="142" y="274"/>
                </a:lnTo>
                <a:lnTo>
                  <a:pt x="134" y="264"/>
                </a:lnTo>
                <a:lnTo>
                  <a:pt x="124" y="254"/>
                </a:lnTo>
                <a:lnTo>
                  <a:pt x="118" y="248"/>
                </a:lnTo>
                <a:lnTo>
                  <a:pt x="116" y="240"/>
                </a:lnTo>
                <a:lnTo>
                  <a:pt x="108" y="228"/>
                </a:lnTo>
                <a:lnTo>
                  <a:pt x="102" y="220"/>
                </a:lnTo>
                <a:lnTo>
                  <a:pt x="98" y="214"/>
                </a:lnTo>
                <a:lnTo>
                  <a:pt x="90" y="210"/>
                </a:lnTo>
                <a:lnTo>
                  <a:pt x="82" y="200"/>
                </a:lnTo>
                <a:lnTo>
                  <a:pt x="84" y="200"/>
                </a:lnTo>
                <a:lnTo>
                  <a:pt x="82" y="200"/>
                </a:lnTo>
                <a:lnTo>
                  <a:pt x="76" y="200"/>
                </a:lnTo>
                <a:lnTo>
                  <a:pt x="76" y="162"/>
                </a:lnTo>
                <a:lnTo>
                  <a:pt x="68" y="152"/>
                </a:lnTo>
                <a:lnTo>
                  <a:pt x="58" y="142"/>
                </a:lnTo>
                <a:lnTo>
                  <a:pt x="48" y="134"/>
                </a:lnTo>
                <a:lnTo>
                  <a:pt x="42" y="124"/>
                </a:lnTo>
                <a:lnTo>
                  <a:pt x="24" y="92"/>
                </a:lnTo>
                <a:lnTo>
                  <a:pt x="16" y="76"/>
                </a:lnTo>
                <a:lnTo>
                  <a:pt x="10" y="72"/>
                </a:lnTo>
                <a:lnTo>
                  <a:pt x="4" y="66"/>
                </a:lnTo>
                <a:lnTo>
                  <a:pt x="0" y="54"/>
                </a:lnTo>
                <a:lnTo>
                  <a:pt x="16" y="56"/>
                </a:lnTo>
                <a:lnTo>
                  <a:pt x="20" y="52"/>
                </a:lnTo>
                <a:lnTo>
                  <a:pt x="24" y="46"/>
                </a:lnTo>
                <a:lnTo>
                  <a:pt x="30" y="42"/>
                </a:lnTo>
                <a:lnTo>
                  <a:pt x="34" y="42"/>
                </a:lnTo>
                <a:lnTo>
                  <a:pt x="38" y="36"/>
                </a:lnTo>
                <a:lnTo>
                  <a:pt x="44" y="36"/>
                </a:lnTo>
                <a:lnTo>
                  <a:pt x="32" y="10"/>
                </a:lnTo>
                <a:lnTo>
                  <a:pt x="62" y="0"/>
                </a:lnTo>
                <a:lnTo>
                  <a:pt x="118" y="24"/>
                </a:lnTo>
                <a:lnTo>
                  <a:pt x="122" y="26"/>
                </a:lnTo>
                <a:lnTo>
                  <a:pt x="124" y="30"/>
                </a:lnTo>
                <a:lnTo>
                  <a:pt x="128" y="32"/>
                </a:lnTo>
                <a:lnTo>
                  <a:pt x="134" y="34"/>
                </a:lnTo>
                <a:lnTo>
                  <a:pt x="134" y="44"/>
                </a:lnTo>
                <a:lnTo>
                  <a:pt x="152" y="54"/>
                </a:lnTo>
                <a:lnTo>
                  <a:pt x="180" y="54"/>
                </a:lnTo>
                <a:lnTo>
                  <a:pt x="196" y="58"/>
                </a:lnTo>
                <a:lnTo>
                  <a:pt x="200" y="60"/>
                </a:lnTo>
                <a:lnTo>
                  <a:pt x="204" y="64"/>
                </a:lnTo>
                <a:lnTo>
                  <a:pt x="222" y="64"/>
                </a:lnTo>
                <a:lnTo>
                  <a:pt x="222" y="6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8" name="Freeform 178">
            <a:extLst>
              <a:ext uri="{FF2B5EF4-FFF2-40B4-BE49-F238E27FC236}">
                <a16:creationId xmlns:a16="http://schemas.microsoft.com/office/drawing/2014/main" id="{6E389F14-4028-4DCC-92D1-B50C231A0D65}"/>
              </a:ext>
            </a:extLst>
          </p:cNvPr>
          <p:cNvSpPr>
            <a:spLocks/>
          </p:cNvSpPr>
          <p:nvPr/>
        </p:nvSpPr>
        <p:spPr bwMode="auto">
          <a:xfrm>
            <a:off x="5103872" y="2678957"/>
            <a:ext cx="39336" cy="21105"/>
          </a:xfrm>
          <a:custGeom>
            <a:avLst/>
            <a:gdLst/>
            <a:ahLst/>
            <a:cxnLst>
              <a:cxn ang="0">
                <a:pos x="8" y="12"/>
              </a:cxn>
              <a:cxn ang="0">
                <a:pos x="0" y="12"/>
              </a:cxn>
              <a:cxn ang="0">
                <a:pos x="0" y="8"/>
              </a:cxn>
              <a:cxn ang="0">
                <a:pos x="2" y="6"/>
              </a:cxn>
              <a:cxn ang="0">
                <a:pos x="4" y="4"/>
              </a:cxn>
              <a:cxn ang="0">
                <a:pos x="6" y="0"/>
              </a:cxn>
              <a:cxn ang="0">
                <a:pos x="8" y="4"/>
              </a:cxn>
              <a:cxn ang="0">
                <a:pos x="12" y="4"/>
              </a:cxn>
              <a:cxn ang="0">
                <a:pos x="20" y="0"/>
              </a:cxn>
              <a:cxn ang="0">
                <a:pos x="20" y="4"/>
              </a:cxn>
              <a:cxn ang="0">
                <a:pos x="16" y="8"/>
              </a:cxn>
              <a:cxn ang="0">
                <a:pos x="8" y="12"/>
              </a:cxn>
            </a:cxnLst>
            <a:rect l="0" t="0" r="r" b="b"/>
            <a:pathLst>
              <a:path w="20" h="12">
                <a:moveTo>
                  <a:pt x="8" y="12"/>
                </a:moveTo>
                <a:lnTo>
                  <a:pt x="0" y="12"/>
                </a:lnTo>
                <a:lnTo>
                  <a:pt x="0" y="8"/>
                </a:lnTo>
                <a:lnTo>
                  <a:pt x="2" y="6"/>
                </a:lnTo>
                <a:lnTo>
                  <a:pt x="4" y="4"/>
                </a:lnTo>
                <a:lnTo>
                  <a:pt x="6" y="0"/>
                </a:lnTo>
                <a:lnTo>
                  <a:pt x="8" y="4"/>
                </a:lnTo>
                <a:lnTo>
                  <a:pt x="12" y="4"/>
                </a:lnTo>
                <a:lnTo>
                  <a:pt x="20" y="0"/>
                </a:lnTo>
                <a:lnTo>
                  <a:pt x="20" y="4"/>
                </a:lnTo>
                <a:lnTo>
                  <a:pt x="16" y="8"/>
                </a:lnTo>
                <a:lnTo>
                  <a:pt x="8" y="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9" name="Freeform 179">
            <a:extLst>
              <a:ext uri="{FF2B5EF4-FFF2-40B4-BE49-F238E27FC236}">
                <a16:creationId xmlns:a16="http://schemas.microsoft.com/office/drawing/2014/main" id="{83CDF1EF-9331-48A2-9EE7-9F8174D57E6E}"/>
              </a:ext>
            </a:extLst>
          </p:cNvPr>
          <p:cNvSpPr>
            <a:spLocks/>
          </p:cNvSpPr>
          <p:nvPr/>
        </p:nvSpPr>
        <p:spPr bwMode="auto">
          <a:xfrm>
            <a:off x="4884961" y="2474401"/>
            <a:ext cx="63279" cy="43833"/>
          </a:xfrm>
          <a:custGeom>
            <a:avLst/>
            <a:gdLst/>
            <a:ahLst/>
            <a:cxnLst>
              <a:cxn ang="0">
                <a:pos x="28" y="0"/>
              </a:cxn>
              <a:cxn ang="0">
                <a:pos x="10" y="2"/>
              </a:cxn>
              <a:cxn ang="0">
                <a:pos x="4" y="4"/>
              </a:cxn>
              <a:cxn ang="0">
                <a:pos x="2" y="6"/>
              </a:cxn>
              <a:cxn ang="0">
                <a:pos x="0" y="8"/>
              </a:cxn>
              <a:cxn ang="0">
                <a:pos x="2" y="10"/>
              </a:cxn>
              <a:cxn ang="0">
                <a:pos x="2" y="12"/>
              </a:cxn>
              <a:cxn ang="0">
                <a:pos x="6" y="14"/>
              </a:cxn>
              <a:cxn ang="0">
                <a:pos x="6" y="24"/>
              </a:cxn>
              <a:cxn ang="0">
                <a:pos x="12" y="22"/>
              </a:cxn>
              <a:cxn ang="0">
                <a:pos x="20" y="18"/>
              </a:cxn>
              <a:cxn ang="0">
                <a:pos x="32" y="8"/>
              </a:cxn>
              <a:cxn ang="0">
                <a:pos x="30" y="6"/>
              </a:cxn>
              <a:cxn ang="0">
                <a:pos x="26" y="0"/>
              </a:cxn>
              <a:cxn ang="0">
                <a:pos x="28" y="0"/>
              </a:cxn>
            </a:cxnLst>
            <a:rect l="0" t="0" r="r" b="b"/>
            <a:pathLst>
              <a:path w="32" h="24">
                <a:moveTo>
                  <a:pt x="28" y="0"/>
                </a:moveTo>
                <a:lnTo>
                  <a:pt x="10" y="2"/>
                </a:lnTo>
                <a:lnTo>
                  <a:pt x="4" y="4"/>
                </a:lnTo>
                <a:lnTo>
                  <a:pt x="2" y="6"/>
                </a:lnTo>
                <a:lnTo>
                  <a:pt x="0" y="8"/>
                </a:lnTo>
                <a:lnTo>
                  <a:pt x="2" y="10"/>
                </a:lnTo>
                <a:lnTo>
                  <a:pt x="2" y="12"/>
                </a:lnTo>
                <a:lnTo>
                  <a:pt x="6" y="14"/>
                </a:lnTo>
                <a:lnTo>
                  <a:pt x="6" y="24"/>
                </a:lnTo>
                <a:lnTo>
                  <a:pt x="12" y="22"/>
                </a:lnTo>
                <a:lnTo>
                  <a:pt x="20" y="18"/>
                </a:lnTo>
                <a:lnTo>
                  <a:pt x="32" y="8"/>
                </a:lnTo>
                <a:lnTo>
                  <a:pt x="30" y="6"/>
                </a:lnTo>
                <a:lnTo>
                  <a:pt x="26" y="0"/>
                </a:lnTo>
                <a:lnTo>
                  <a:pt x="28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0" name="Freeform 180">
            <a:extLst>
              <a:ext uri="{FF2B5EF4-FFF2-40B4-BE49-F238E27FC236}">
                <a16:creationId xmlns:a16="http://schemas.microsoft.com/office/drawing/2014/main" id="{7E3BAD7E-45A2-46EB-9692-7A42505294BA}"/>
              </a:ext>
            </a:extLst>
          </p:cNvPr>
          <p:cNvSpPr>
            <a:spLocks/>
          </p:cNvSpPr>
          <p:nvPr/>
        </p:nvSpPr>
        <p:spPr bwMode="auto">
          <a:xfrm>
            <a:off x="5156891" y="2768244"/>
            <a:ext cx="44467" cy="113642"/>
          </a:xfrm>
          <a:custGeom>
            <a:avLst/>
            <a:gdLst/>
            <a:ahLst/>
            <a:cxnLst>
              <a:cxn ang="0">
                <a:pos x="14" y="0"/>
              </a:cxn>
              <a:cxn ang="0">
                <a:pos x="20" y="0"/>
              </a:cxn>
              <a:cxn ang="0">
                <a:pos x="20" y="8"/>
              </a:cxn>
              <a:cxn ang="0">
                <a:pos x="16" y="8"/>
              </a:cxn>
              <a:cxn ang="0">
                <a:pos x="12" y="28"/>
              </a:cxn>
              <a:cxn ang="0">
                <a:pos x="22" y="28"/>
              </a:cxn>
              <a:cxn ang="0">
                <a:pos x="16" y="64"/>
              </a:cxn>
              <a:cxn ang="0">
                <a:pos x="10" y="48"/>
              </a:cxn>
              <a:cxn ang="0">
                <a:pos x="4" y="40"/>
              </a:cxn>
              <a:cxn ang="0">
                <a:pos x="2" y="36"/>
              </a:cxn>
              <a:cxn ang="0">
                <a:pos x="0" y="30"/>
              </a:cxn>
              <a:cxn ang="0">
                <a:pos x="2" y="26"/>
              </a:cxn>
              <a:cxn ang="0">
                <a:pos x="4" y="20"/>
              </a:cxn>
              <a:cxn ang="0">
                <a:pos x="10" y="12"/>
              </a:cxn>
              <a:cxn ang="0">
                <a:pos x="14" y="0"/>
              </a:cxn>
            </a:cxnLst>
            <a:rect l="0" t="0" r="r" b="b"/>
            <a:pathLst>
              <a:path w="22" h="64">
                <a:moveTo>
                  <a:pt x="14" y="0"/>
                </a:moveTo>
                <a:lnTo>
                  <a:pt x="20" y="0"/>
                </a:lnTo>
                <a:lnTo>
                  <a:pt x="20" y="8"/>
                </a:lnTo>
                <a:lnTo>
                  <a:pt x="16" y="8"/>
                </a:lnTo>
                <a:lnTo>
                  <a:pt x="12" y="28"/>
                </a:lnTo>
                <a:lnTo>
                  <a:pt x="22" y="28"/>
                </a:lnTo>
                <a:lnTo>
                  <a:pt x="16" y="64"/>
                </a:lnTo>
                <a:lnTo>
                  <a:pt x="10" y="48"/>
                </a:lnTo>
                <a:lnTo>
                  <a:pt x="4" y="40"/>
                </a:lnTo>
                <a:lnTo>
                  <a:pt x="2" y="36"/>
                </a:lnTo>
                <a:lnTo>
                  <a:pt x="0" y="30"/>
                </a:lnTo>
                <a:lnTo>
                  <a:pt x="2" y="26"/>
                </a:lnTo>
                <a:lnTo>
                  <a:pt x="4" y="20"/>
                </a:lnTo>
                <a:lnTo>
                  <a:pt x="10" y="12"/>
                </a:lnTo>
                <a:lnTo>
                  <a:pt x="1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1" name="Freeform 181">
            <a:extLst>
              <a:ext uri="{FF2B5EF4-FFF2-40B4-BE49-F238E27FC236}">
                <a16:creationId xmlns:a16="http://schemas.microsoft.com/office/drawing/2014/main" id="{DF99A80D-1469-4365-9069-348C7C67F559}"/>
              </a:ext>
            </a:extLst>
          </p:cNvPr>
          <p:cNvSpPr>
            <a:spLocks/>
          </p:cNvSpPr>
          <p:nvPr/>
        </p:nvSpPr>
        <p:spPr bwMode="auto">
          <a:xfrm>
            <a:off x="5197937" y="2631874"/>
            <a:ext cx="184707" cy="157476"/>
          </a:xfrm>
          <a:custGeom>
            <a:avLst/>
            <a:gdLst/>
            <a:ahLst/>
            <a:cxnLst>
              <a:cxn ang="0">
                <a:pos x="0" y="82"/>
              </a:cxn>
              <a:cxn ang="0">
                <a:pos x="10" y="84"/>
              </a:cxn>
              <a:cxn ang="0">
                <a:pos x="14" y="88"/>
              </a:cxn>
              <a:cxn ang="0">
                <a:pos x="18" y="88"/>
              </a:cxn>
              <a:cxn ang="0">
                <a:pos x="20" y="88"/>
              </a:cxn>
              <a:cxn ang="0">
                <a:pos x="80" y="54"/>
              </a:cxn>
              <a:cxn ang="0">
                <a:pos x="80" y="46"/>
              </a:cxn>
              <a:cxn ang="0">
                <a:pos x="80" y="40"/>
              </a:cxn>
              <a:cxn ang="0">
                <a:pos x="82" y="34"/>
              </a:cxn>
              <a:cxn ang="0">
                <a:pos x="84" y="28"/>
              </a:cxn>
              <a:cxn ang="0">
                <a:pos x="82" y="26"/>
              </a:cxn>
              <a:cxn ang="0">
                <a:pos x="80" y="22"/>
              </a:cxn>
              <a:cxn ang="0">
                <a:pos x="82" y="16"/>
              </a:cxn>
              <a:cxn ang="0">
                <a:pos x="84" y="14"/>
              </a:cxn>
              <a:cxn ang="0">
                <a:pos x="88" y="14"/>
              </a:cxn>
              <a:cxn ang="0">
                <a:pos x="94" y="4"/>
              </a:cxn>
              <a:cxn ang="0">
                <a:pos x="94" y="0"/>
              </a:cxn>
              <a:cxn ang="0">
                <a:pos x="86" y="2"/>
              </a:cxn>
              <a:cxn ang="0">
                <a:pos x="74" y="4"/>
              </a:cxn>
              <a:cxn ang="0">
                <a:pos x="68" y="2"/>
              </a:cxn>
              <a:cxn ang="0">
                <a:pos x="66" y="2"/>
              </a:cxn>
              <a:cxn ang="0">
                <a:pos x="62" y="4"/>
              </a:cxn>
              <a:cxn ang="0">
                <a:pos x="56" y="8"/>
              </a:cxn>
              <a:cxn ang="0">
                <a:pos x="52" y="10"/>
              </a:cxn>
              <a:cxn ang="0">
                <a:pos x="46" y="10"/>
              </a:cxn>
              <a:cxn ang="0">
                <a:pos x="40" y="8"/>
              </a:cxn>
              <a:cxn ang="0">
                <a:pos x="36" y="6"/>
              </a:cxn>
              <a:cxn ang="0">
                <a:pos x="30" y="8"/>
              </a:cxn>
              <a:cxn ang="0">
                <a:pos x="24" y="10"/>
              </a:cxn>
              <a:cxn ang="0">
                <a:pos x="16" y="8"/>
              </a:cxn>
              <a:cxn ang="0">
                <a:pos x="12" y="8"/>
              </a:cxn>
              <a:cxn ang="0">
                <a:pos x="12" y="4"/>
              </a:cxn>
              <a:cxn ang="0">
                <a:pos x="8" y="4"/>
              </a:cxn>
              <a:cxn ang="0">
                <a:pos x="8" y="22"/>
              </a:cxn>
              <a:cxn ang="0">
                <a:pos x="4" y="24"/>
              </a:cxn>
              <a:cxn ang="0">
                <a:pos x="4" y="30"/>
              </a:cxn>
              <a:cxn ang="0">
                <a:pos x="2" y="46"/>
              </a:cxn>
              <a:cxn ang="0">
                <a:pos x="12" y="50"/>
              </a:cxn>
              <a:cxn ang="0">
                <a:pos x="10" y="58"/>
              </a:cxn>
              <a:cxn ang="0">
                <a:pos x="6" y="60"/>
              </a:cxn>
              <a:cxn ang="0">
                <a:pos x="2" y="60"/>
              </a:cxn>
              <a:cxn ang="0">
                <a:pos x="4" y="64"/>
              </a:cxn>
              <a:cxn ang="0">
                <a:pos x="6" y="66"/>
              </a:cxn>
              <a:cxn ang="0">
                <a:pos x="4" y="72"/>
              </a:cxn>
              <a:cxn ang="0">
                <a:pos x="0" y="76"/>
              </a:cxn>
              <a:cxn ang="0">
                <a:pos x="0" y="82"/>
              </a:cxn>
            </a:cxnLst>
            <a:rect l="0" t="0" r="r" b="b"/>
            <a:pathLst>
              <a:path w="94" h="88">
                <a:moveTo>
                  <a:pt x="0" y="82"/>
                </a:moveTo>
                <a:lnTo>
                  <a:pt x="10" y="84"/>
                </a:lnTo>
                <a:lnTo>
                  <a:pt x="14" y="88"/>
                </a:lnTo>
                <a:lnTo>
                  <a:pt x="18" y="88"/>
                </a:lnTo>
                <a:lnTo>
                  <a:pt x="20" y="88"/>
                </a:lnTo>
                <a:lnTo>
                  <a:pt x="80" y="54"/>
                </a:lnTo>
                <a:lnTo>
                  <a:pt x="80" y="46"/>
                </a:lnTo>
                <a:lnTo>
                  <a:pt x="80" y="40"/>
                </a:lnTo>
                <a:lnTo>
                  <a:pt x="82" y="34"/>
                </a:lnTo>
                <a:lnTo>
                  <a:pt x="84" y="28"/>
                </a:lnTo>
                <a:lnTo>
                  <a:pt x="82" y="26"/>
                </a:lnTo>
                <a:lnTo>
                  <a:pt x="80" y="22"/>
                </a:lnTo>
                <a:lnTo>
                  <a:pt x="82" y="16"/>
                </a:lnTo>
                <a:lnTo>
                  <a:pt x="84" y="14"/>
                </a:lnTo>
                <a:lnTo>
                  <a:pt x="88" y="14"/>
                </a:lnTo>
                <a:lnTo>
                  <a:pt x="94" y="4"/>
                </a:lnTo>
                <a:lnTo>
                  <a:pt x="94" y="0"/>
                </a:lnTo>
                <a:lnTo>
                  <a:pt x="86" y="2"/>
                </a:lnTo>
                <a:lnTo>
                  <a:pt x="74" y="4"/>
                </a:lnTo>
                <a:lnTo>
                  <a:pt x="68" y="2"/>
                </a:lnTo>
                <a:lnTo>
                  <a:pt x="66" y="2"/>
                </a:lnTo>
                <a:lnTo>
                  <a:pt x="62" y="4"/>
                </a:lnTo>
                <a:lnTo>
                  <a:pt x="56" y="8"/>
                </a:lnTo>
                <a:lnTo>
                  <a:pt x="52" y="10"/>
                </a:lnTo>
                <a:lnTo>
                  <a:pt x="46" y="10"/>
                </a:lnTo>
                <a:lnTo>
                  <a:pt x="40" y="8"/>
                </a:lnTo>
                <a:lnTo>
                  <a:pt x="36" y="6"/>
                </a:lnTo>
                <a:lnTo>
                  <a:pt x="30" y="8"/>
                </a:lnTo>
                <a:lnTo>
                  <a:pt x="24" y="10"/>
                </a:lnTo>
                <a:lnTo>
                  <a:pt x="16" y="8"/>
                </a:lnTo>
                <a:lnTo>
                  <a:pt x="12" y="8"/>
                </a:lnTo>
                <a:lnTo>
                  <a:pt x="12" y="4"/>
                </a:lnTo>
                <a:lnTo>
                  <a:pt x="8" y="4"/>
                </a:lnTo>
                <a:lnTo>
                  <a:pt x="8" y="22"/>
                </a:lnTo>
                <a:lnTo>
                  <a:pt x="4" y="24"/>
                </a:lnTo>
                <a:lnTo>
                  <a:pt x="4" y="30"/>
                </a:lnTo>
                <a:lnTo>
                  <a:pt x="2" y="46"/>
                </a:lnTo>
                <a:lnTo>
                  <a:pt x="12" y="50"/>
                </a:lnTo>
                <a:lnTo>
                  <a:pt x="10" y="58"/>
                </a:lnTo>
                <a:lnTo>
                  <a:pt x="6" y="60"/>
                </a:lnTo>
                <a:lnTo>
                  <a:pt x="2" y="60"/>
                </a:lnTo>
                <a:lnTo>
                  <a:pt x="4" y="64"/>
                </a:lnTo>
                <a:lnTo>
                  <a:pt x="6" y="66"/>
                </a:lnTo>
                <a:lnTo>
                  <a:pt x="4" y="72"/>
                </a:lnTo>
                <a:lnTo>
                  <a:pt x="0" y="76"/>
                </a:lnTo>
                <a:lnTo>
                  <a:pt x="0" y="8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2" name="Freeform 182">
            <a:extLst>
              <a:ext uri="{FF2B5EF4-FFF2-40B4-BE49-F238E27FC236}">
                <a16:creationId xmlns:a16="http://schemas.microsoft.com/office/drawing/2014/main" id="{724F7549-0130-4D90-AE7E-70EA018DC228}"/>
              </a:ext>
            </a:extLst>
          </p:cNvPr>
          <p:cNvSpPr>
            <a:spLocks/>
          </p:cNvSpPr>
          <p:nvPr/>
        </p:nvSpPr>
        <p:spPr bwMode="auto">
          <a:xfrm>
            <a:off x="5297132" y="2628630"/>
            <a:ext cx="304424" cy="267871"/>
          </a:xfrm>
          <a:custGeom>
            <a:avLst/>
            <a:gdLst/>
            <a:ahLst/>
            <a:cxnLst>
              <a:cxn ang="0">
                <a:pos x="48" y="2"/>
              </a:cxn>
              <a:cxn ang="0">
                <a:pos x="62" y="2"/>
              </a:cxn>
              <a:cxn ang="0">
                <a:pos x="66" y="0"/>
              </a:cxn>
              <a:cxn ang="0">
                <a:pos x="70" y="2"/>
              </a:cxn>
              <a:cxn ang="0">
                <a:pos x="76" y="2"/>
              </a:cxn>
              <a:cxn ang="0">
                <a:pos x="80" y="12"/>
              </a:cxn>
              <a:cxn ang="0">
                <a:pos x="88" y="20"/>
              </a:cxn>
              <a:cxn ang="0">
                <a:pos x="98" y="24"/>
              </a:cxn>
              <a:cxn ang="0">
                <a:pos x="108" y="28"/>
              </a:cxn>
              <a:cxn ang="0">
                <a:pos x="102" y="40"/>
              </a:cxn>
              <a:cxn ang="0">
                <a:pos x="100" y="48"/>
              </a:cxn>
              <a:cxn ang="0">
                <a:pos x="98" y="56"/>
              </a:cxn>
              <a:cxn ang="0">
                <a:pos x="100" y="62"/>
              </a:cxn>
              <a:cxn ang="0">
                <a:pos x="102" y="68"/>
              </a:cxn>
              <a:cxn ang="0">
                <a:pos x="108" y="74"/>
              </a:cxn>
              <a:cxn ang="0">
                <a:pos x="112" y="78"/>
              </a:cxn>
              <a:cxn ang="0">
                <a:pos x="124" y="86"/>
              </a:cxn>
              <a:cxn ang="0">
                <a:pos x="132" y="92"/>
              </a:cxn>
              <a:cxn ang="0">
                <a:pos x="136" y="96"/>
              </a:cxn>
              <a:cxn ang="0">
                <a:pos x="136" y="102"/>
              </a:cxn>
              <a:cxn ang="0">
                <a:pos x="138" y="112"/>
              </a:cxn>
              <a:cxn ang="0">
                <a:pos x="142" y="116"/>
              </a:cxn>
              <a:cxn ang="0">
                <a:pos x="148" y="122"/>
              </a:cxn>
              <a:cxn ang="0">
                <a:pos x="152" y="126"/>
              </a:cxn>
              <a:cxn ang="0">
                <a:pos x="154" y="132"/>
              </a:cxn>
              <a:cxn ang="0">
                <a:pos x="152" y="134"/>
              </a:cxn>
              <a:cxn ang="0">
                <a:pos x="148" y="132"/>
              </a:cxn>
              <a:cxn ang="0">
                <a:pos x="142" y="132"/>
              </a:cxn>
              <a:cxn ang="0">
                <a:pos x="138" y="132"/>
              </a:cxn>
              <a:cxn ang="0">
                <a:pos x="134" y="136"/>
              </a:cxn>
              <a:cxn ang="0">
                <a:pos x="130" y="142"/>
              </a:cxn>
              <a:cxn ang="0">
                <a:pos x="126" y="150"/>
              </a:cxn>
              <a:cxn ang="0">
                <a:pos x="98" y="150"/>
              </a:cxn>
              <a:cxn ang="0">
                <a:pos x="80" y="140"/>
              </a:cxn>
              <a:cxn ang="0">
                <a:pos x="80" y="130"/>
              </a:cxn>
              <a:cxn ang="0">
                <a:pos x="74" y="128"/>
              </a:cxn>
              <a:cxn ang="0">
                <a:pos x="70" y="126"/>
              </a:cxn>
              <a:cxn ang="0">
                <a:pos x="68" y="122"/>
              </a:cxn>
              <a:cxn ang="0">
                <a:pos x="64" y="120"/>
              </a:cxn>
              <a:cxn ang="0">
                <a:pos x="8" y="96"/>
              </a:cxn>
              <a:cxn ang="0">
                <a:pos x="0" y="74"/>
              </a:cxn>
              <a:cxn ang="0">
                <a:pos x="30" y="56"/>
              </a:cxn>
              <a:cxn ang="0">
                <a:pos x="30" y="48"/>
              </a:cxn>
              <a:cxn ang="0">
                <a:pos x="30" y="42"/>
              </a:cxn>
              <a:cxn ang="0">
                <a:pos x="32" y="36"/>
              </a:cxn>
              <a:cxn ang="0">
                <a:pos x="34" y="30"/>
              </a:cxn>
              <a:cxn ang="0">
                <a:pos x="32" y="28"/>
              </a:cxn>
              <a:cxn ang="0">
                <a:pos x="30" y="24"/>
              </a:cxn>
              <a:cxn ang="0">
                <a:pos x="32" y="18"/>
              </a:cxn>
              <a:cxn ang="0">
                <a:pos x="34" y="16"/>
              </a:cxn>
              <a:cxn ang="0">
                <a:pos x="38" y="16"/>
              </a:cxn>
              <a:cxn ang="0">
                <a:pos x="44" y="6"/>
              </a:cxn>
              <a:cxn ang="0">
                <a:pos x="44" y="2"/>
              </a:cxn>
              <a:cxn ang="0">
                <a:pos x="48" y="2"/>
              </a:cxn>
            </a:cxnLst>
            <a:rect l="0" t="0" r="r" b="b"/>
            <a:pathLst>
              <a:path w="154" h="150">
                <a:moveTo>
                  <a:pt x="48" y="2"/>
                </a:moveTo>
                <a:lnTo>
                  <a:pt x="62" y="2"/>
                </a:lnTo>
                <a:lnTo>
                  <a:pt x="66" y="0"/>
                </a:lnTo>
                <a:lnTo>
                  <a:pt x="70" y="2"/>
                </a:lnTo>
                <a:lnTo>
                  <a:pt x="76" y="2"/>
                </a:lnTo>
                <a:lnTo>
                  <a:pt x="80" y="12"/>
                </a:lnTo>
                <a:lnTo>
                  <a:pt x="88" y="20"/>
                </a:lnTo>
                <a:lnTo>
                  <a:pt x="98" y="24"/>
                </a:lnTo>
                <a:lnTo>
                  <a:pt x="108" y="28"/>
                </a:lnTo>
                <a:lnTo>
                  <a:pt x="102" y="40"/>
                </a:lnTo>
                <a:lnTo>
                  <a:pt x="100" y="48"/>
                </a:lnTo>
                <a:lnTo>
                  <a:pt x="98" y="56"/>
                </a:lnTo>
                <a:lnTo>
                  <a:pt x="100" y="62"/>
                </a:lnTo>
                <a:lnTo>
                  <a:pt x="102" y="68"/>
                </a:lnTo>
                <a:lnTo>
                  <a:pt x="108" y="74"/>
                </a:lnTo>
                <a:lnTo>
                  <a:pt x="112" y="78"/>
                </a:lnTo>
                <a:lnTo>
                  <a:pt x="124" y="86"/>
                </a:lnTo>
                <a:lnTo>
                  <a:pt x="132" y="92"/>
                </a:lnTo>
                <a:lnTo>
                  <a:pt x="136" y="96"/>
                </a:lnTo>
                <a:lnTo>
                  <a:pt x="136" y="102"/>
                </a:lnTo>
                <a:lnTo>
                  <a:pt x="138" y="112"/>
                </a:lnTo>
                <a:lnTo>
                  <a:pt x="142" y="116"/>
                </a:lnTo>
                <a:lnTo>
                  <a:pt x="148" y="122"/>
                </a:lnTo>
                <a:lnTo>
                  <a:pt x="152" y="126"/>
                </a:lnTo>
                <a:lnTo>
                  <a:pt x="154" y="132"/>
                </a:lnTo>
                <a:lnTo>
                  <a:pt x="152" y="134"/>
                </a:lnTo>
                <a:lnTo>
                  <a:pt x="148" y="132"/>
                </a:lnTo>
                <a:lnTo>
                  <a:pt x="142" y="132"/>
                </a:lnTo>
                <a:lnTo>
                  <a:pt x="138" y="132"/>
                </a:lnTo>
                <a:lnTo>
                  <a:pt x="134" y="136"/>
                </a:lnTo>
                <a:lnTo>
                  <a:pt x="130" y="142"/>
                </a:lnTo>
                <a:lnTo>
                  <a:pt x="126" y="150"/>
                </a:lnTo>
                <a:lnTo>
                  <a:pt x="98" y="150"/>
                </a:lnTo>
                <a:lnTo>
                  <a:pt x="80" y="140"/>
                </a:lnTo>
                <a:lnTo>
                  <a:pt x="80" y="130"/>
                </a:lnTo>
                <a:lnTo>
                  <a:pt x="74" y="128"/>
                </a:lnTo>
                <a:lnTo>
                  <a:pt x="70" y="126"/>
                </a:lnTo>
                <a:lnTo>
                  <a:pt x="68" y="122"/>
                </a:lnTo>
                <a:lnTo>
                  <a:pt x="64" y="120"/>
                </a:lnTo>
                <a:lnTo>
                  <a:pt x="8" y="96"/>
                </a:lnTo>
                <a:lnTo>
                  <a:pt x="0" y="74"/>
                </a:lnTo>
                <a:lnTo>
                  <a:pt x="30" y="56"/>
                </a:lnTo>
                <a:lnTo>
                  <a:pt x="30" y="48"/>
                </a:lnTo>
                <a:lnTo>
                  <a:pt x="30" y="42"/>
                </a:lnTo>
                <a:lnTo>
                  <a:pt x="32" y="36"/>
                </a:lnTo>
                <a:lnTo>
                  <a:pt x="34" y="30"/>
                </a:lnTo>
                <a:lnTo>
                  <a:pt x="32" y="28"/>
                </a:lnTo>
                <a:lnTo>
                  <a:pt x="30" y="24"/>
                </a:lnTo>
                <a:lnTo>
                  <a:pt x="32" y="18"/>
                </a:lnTo>
                <a:lnTo>
                  <a:pt x="34" y="16"/>
                </a:lnTo>
                <a:lnTo>
                  <a:pt x="38" y="16"/>
                </a:lnTo>
                <a:lnTo>
                  <a:pt x="44" y="6"/>
                </a:lnTo>
                <a:lnTo>
                  <a:pt x="44" y="2"/>
                </a:lnTo>
                <a:lnTo>
                  <a:pt x="48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3" name="Freeform 183">
            <a:extLst>
              <a:ext uri="{FF2B5EF4-FFF2-40B4-BE49-F238E27FC236}">
                <a16:creationId xmlns:a16="http://schemas.microsoft.com/office/drawing/2014/main" id="{A5862F1F-40C9-47E5-B273-4469D20452CA}"/>
              </a:ext>
            </a:extLst>
          </p:cNvPr>
          <p:cNvSpPr>
            <a:spLocks/>
          </p:cNvSpPr>
          <p:nvPr/>
        </p:nvSpPr>
        <p:spPr bwMode="auto">
          <a:xfrm>
            <a:off x="4884959" y="2467907"/>
            <a:ext cx="548990" cy="207803"/>
          </a:xfrm>
          <a:custGeom>
            <a:avLst/>
            <a:gdLst/>
            <a:ahLst/>
            <a:cxnLst>
              <a:cxn ang="0">
                <a:pos x="166" y="96"/>
              </a:cxn>
              <a:cxn ang="0">
                <a:pos x="170" y="100"/>
              </a:cxn>
              <a:cxn ang="0">
                <a:pos x="182" y="102"/>
              </a:cxn>
              <a:cxn ang="0">
                <a:pos x="194" y="98"/>
              </a:cxn>
              <a:cxn ang="0">
                <a:pos x="204" y="102"/>
              </a:cxn>
              <a:cxn ang="0">
                <a:pos x="214" y="100"/>
              </a:cxn>
              <a:cxn ang="0">
                <a:pos x="224" y="94"/>
              </a:cxn>
              <a:cxn ang="0">
                <a:pos x="232" y="96"/>
              </a:cxn>
              <a:cxn ang="0">
                <a:pos x="252" y="92"/>
              </a:cxn>
              <a:cxn ang="0">
                <a:pos x="270" y="92"/>
              </a:cxn>
              <a:cxn ang="0">
                <a:pos x="278" y="90"/>
              </a:cxn>
              <a:cxn ang="0">
                <a:pos x="274" y="70"/>
              </a:cxn>
              <a:cxn ang="0">
                <a:pos x="270" y="52"/>
              </a:cxn>
              <a:cxn ang="0">
                <a:pos x="274" y="44"/>
              </a:cxn>
              <a:cxn ang="0">
                <a:pos x="268" y="36"/>
              </a:cxn>
              <a:cxn ang="0">
                <a:pos x="260" y="32"/>
              </a:cxn>
              <a:cxn ang="0">
                <a:pos x="258" y="20"/>
              </a:cxn>
              <a:cxn ang="0">
                <a:pos x="252" y="10"/>
              </a:cxn>
              <a:cxn ang="0">
                <a:pos x="226" y="10"/>
              </a:cxn>
              <a:cxn ang="0">
                <a:pos x="194" y="16"/>
              </a:cxn>
              <a:cxn ang="0">
                <a:pos x="170" y="18"/>
              </a:cxn>
              <a:cxn ang="0">
                <a:pos x="148" y="10"/>
              </a:cxn>
              <a:cxn ang="0">
                <a:pos x="124" y="0"/>
              </a:cxn>
              <a:cxn ang="0">
                <a:pos x="102" y="2"/>
              </a:cxn>
              <a:cxn ang="0">
                <a:pos x="84" y="12"/>
              </a:cxn>
              <a:cxn ang="0">
                <a:pos x="64" y="14"/>
              </a:cxn>
              <a:cxn ang="0">
                <a:pos x="60" y="12"/>
              </a:cxn>
              <a:cxn ang="0">
                <a:pos x="46" y="12"/>
              </a:cxn>
              <a:cxn ang="0">
                <a:pos x="34" y="14"/>
              </a:cxn>
              <a:cxn ang="0">
                <a:pos x="44" y="24"/>
              </a:cxn>
              <a:cxn ang="0">
                <a:pos x="12" y="28"/>
              </a:cxn>
              <a:cxn ang="0">
                <a:pos x="0" y="40"/>
              </a:cxn>
              <a:cxn ang="0">
                <a:pos x="4" y="42"/>
              </a:cxn>
              <a:cxn ang="0">
                <a:pos x="8" y="46"/>
              </a:cxn>
              <a:cxn ang="0">
                <a:pos x="14" y="54"/>
              </a:cxn>
              <a:cxn ang="0">
                <a:pos x="10" y="60"/>
              </a:cxn>
              <a:cxn ang="0">
                <a:pos x="18" y="66"/>
              </a:cxn>
              <a:cxn ang="0">
                <a:pos x="22" y="76"/>
              </a:cxn>
              <a:cxn ang="0">
                <a:pos x="30" y="86"/>
              </a:cxn>
              <a:cxn ang="0">
                <a:pos x="46" y="96"/>
              </a:cxn>
              <a:cxn ang="0">
                <a:pos x="76" y="104"/>
              </a:cxn>
              <a:cxn ang="0">
                <a:pos x="78" y="96"/>
              </a:cxn>
              <a:cxn ang="0">
                <a:pos x="74" y="94"/>
              </a:cxn>
              <a:cxn ang="0">
                <a:pos x="82" y="92"/>
              </a:cxn>
              <a:cxn ang="0">
                <a:pos x="90" y="94"/>
              </a:cxn>
              <a:cxn ang="0">
                <a:pos x="104" y="106"/>
              </a:cxn>
              <a:cxn ang="0">
                <a:pos x="114" y="108"/>
              </a:cxn>
              <a:cxn ang="0">
                <a:pos x="120" y="106"/>
              </a:cxn>
              <a:cxn ang="0">
                <a:pos x="132" y="94"/>
              </a:cxn>
              <a:cxn ang="0">
                <a:pos x="138" y="92"/>
              </a:cxn>
              <a:cxn ang="0">
                <a:pos x="142" y="94"/>
              </a:cxn>
              <a:cxn ang="0">
                <a:pos x="148" y="96"/>
              </a:cxn>
              <a:cxn ang="0">
                <a:pos x="154" y="94"/>
              </a:cxn>
              <a:cxn ang="0">
                <a:pos x="162" y="96"/>
              </a:cxn>
              <a:cxn ang="0">
                <a:pos x="156" y="98"/>
              </a:cxn>
              <a:cxn ang="0">
                <a:pos x="162" y="116"/>
              </a:cxn>
            </a:cxnLst>
            <a:rect l="0" t="0" r="r" b="b"/>
            <a:pathLst>
              <a:path w="278" h="116">
                <a:moveTo>
                  <a:pt x="166" y="114"/>
                </a:moveTo>
                <a:lnTo>
                  <a:pt x="166" y="96"/>
                </a:lnTo>
                <a:lnTo>
                  <a:pt x="170" y="96"/>
                </a:lnTo>
                <a:lnTo>
                  <a:pt x="170" y="100"/>
                </a:lnTo>
                <a:lnTo>
                  <a:pt x="174" y="100"/>
                </a:lnTo>
                <a:lnTo>
                  <a:pt x="182" y="102"/>
                </a:lnTo>
                <a:lnTo>
                  <a:pt x="188" y="100"/>
                </a:lnTo>
                <a:lnTo>
                  <a:pt x="194" y="98"/>
                </a:lnTo>
                <a:lnTo>
                  <a:pt x="198" y="100"/>
                </a:lnTo>
                <a:lnTo>
                  <a:pt x="204" y="102"/>
                </a:lnTo>
                <a:lnTo>
                  <a:pt x="210" y="102"/>
                </a:lnTo>
                <a:lnTo>
                  <a:pt x="214" y="100"/>
                </a:lnTo>
                <a:lnTo>
                  <a:pt x="220" y="96"/>
                </a:lnTo>
                <a:lnTo>
                  <a:pt x="224" y="94"/>
                </a:lnTo>
                <a:lnTo>
                  <a:pt x="226" y="94"/>
                </a:lnTo>
                <a:lnTo>
                  <a:pt x="232" y="96"/>
                </a:lnTo>
                <a:lnTo>
                  <a:pt x="244" y="94"/>
                </a:lnTo>
                <a:lnTo>
                  <a:pt x="252" y="92"/>
                </a:lnTo>
                <a:lnTo>
                  <a:pt x="256" y="92"/>
                </a:lnTo>
                <a:lnTo>
                  <a:pt x="270" y="92"/>
                </a:lnTo>
                <a:lnTo>
                  <a:pt x="274" y="90"/>
                </a:lnTo>
                <a:lnTo>
                  <a:pt x="278" y="90"/>
                </a:lnTo>
                <a:lnTo>
                  <a:pt x="276" y="80"/>
                </a:lnTo>
                <a:lnTo>
                  <a:pt x="274" y="70"/>
                </a:lnTo>
                <a:lnTo>
                  <a:pt x="272" y="62"/>
                </a:lnTo>
                <a:lnTo>
                  <a:pt x="270" y="52"/>
                </a:lnTo>
                <a:lnTo>
                  <a:pt x="272" y="52"/>
                </a:lnTo>
                <a:lnTo>
                  <a:pt x="274" y="44"/>
                </a:lnTo>
                <a:lnTo>
                  <a:pt x="274" y="40"/>
                </a:lnTo>
                <a:lnTo>
                  <a:pt x="268" y="36"/>
                </a:lnTo>
                <a:lnTo>
                  <a:pt x="260" y="36"/>
                </a:lnTo>
                <a:lnTo>
                  <a:pt x="260" y="32"/>
                </a:lnTo>
                <a:lnTo>
                  <a:pt x="260" y="28"/>
                </a:lnTo>
                <a:lnTo>
                  <a:pt x="258" y="20"/>
                </a:lnTo>
                <a:lnTo>
                  <a:pt x="256" y="14"/>
                </a:lnTo>
                <a:lnTo>
                  <a:pt x="252" y="10"/>
                </a:lnTo>
                <a:lnTo>
                  <a:pt x="242" y="8"/>
                </a:lnTo>
                <a:lnTo>
                  <a:pt x="226" y="10"/>
                </a:lnTo>
                <a:lnTo>
                  <a:pt x="210" y="12"/>
                </a:lnTo>
                <a:lnTo>
                  <a:pt x="194" y="16"/>
                </a:lnTo>
                <a:lnTo>
                  <a:pt x="176" y="18"/>
                </a:lnTo>
                <a:lnTo>
                  <a:pt x="170" y="18"/>
                </a:lnTo>
                <a:lnTo>
                  <a:pt x="162" y="14"/>
                </a:lnTo>
                <a:lnTo>
                  <a:pt x="148" y="10"/>
                </a:lnTo>
                <a:lnTo>
                  <a:pt x="134" y="2"/>
                </a:lnTo>
                <a:lnTo>
                  <a:pt x="124" y="0"/>
                </a:lnTo>
                <a:lnTo>
                  <a:pt x="114" y="0"/>
                </a:lnTo>
                <a:lnTo>
                  <a:pt x="102" y="2"/>
                </a:lnTo>
                <a:lnTo>
                  <a:pt x="92" y="6"/>
                </a:lnTo>
                <a:lnTo>
                  <a:pt x="84" y="12"/>
                </a:lnTo>
                <a:lnTo>
                  <a:pt x="76" y="14"/>
                </a:lnTo>
                <a:lnTo>
                  <a:pt x="64" y="14"/>
                </a:lnTo>
                <a:lnTo>
                  <a:pt x="60" y="14"/>
                </a:lnTo>
                <a:lnTo>
                  <a:pt x="60" y="12"/>
                </a:lnTo>
                <a:lnTo>
                  <a:pt x="52" y="12"/>
                </a:lnTo>
                <a:lnTo>
                  <a:pt x="46" y="12"/>
                </a:lnTo>
                <a:lnTo>
                  <a:pt x="34" y="12"/>
                </a:lnTo>
                <a:lnTo>
                  <a:pt x="34" y="14"/>
                </a:lnTo>
                <a:lnTo>
                  <a:pt x="38" y="18"/>
                </a:lnTo>
                <a:lnTo>
                  <a:pt x="44" y="24"/>
                </a:lnTo>
                <a:lnTo>
                  <a:pt x="32" y="26"/>
                </a:lnTo>
                <a:lnTo>
                  <a:pt x="12" y="28"/>
                </a:lnTo>
                <a:lnTo>
                  <a:pt x="6" y="34"/>
                </a:lnTo>
                <a:lnTo>
                  <a:pt x="0" y="40"/>
                </a:lnTo>
                <a:lnTo>
                  <a:pt x="2" y="40"/>
                </a:lnTo>
                <a:lnTo>
                  <a:pt x="4" y="42"/>
                </a:lnTo>
                <a:lnTo>
                  <a:pt x="8" y="44"/>
                </a:lnTo>
                <a:lnTo>
                  <a:pt x="8" y="46"/>
                </a:lnTo>
                <a:lnTo>
                  <a:pt x="10" y="50"/>
                </a:lnTo>
                <a:lnTo>
                  <a:pt x="14" y="54"/>
                </a:lnTo>
                <a:lnTo>
                  <a:pt x="12" y="58"/>
                </a:lnTo>
                <a:lnTo>
                  <a:pt x="10" y="60"/>
                </a:lnTo>
                <a:lnTo>
                  <a:pt x="10" y="66"/>
                </a:lnTo>
                <a:lnTo>
                  <a:pt x="18" y="66"/>
                </a:lnTo>
                <a:lnTo>
                  <a:pt x="18" y="70"/>
                </a:lnTo>
                <a:lnTo>
                  <a:pt x="22" y="76"/>
                </a:lnTo>
                <a:lnTo>
                  <a:pt x="30" y="84"/>
                </a:lnTo>
                <a:lnTo>
                  <a:pt x="30" y="86"/>
                </a:lnTo>
                <a:lnTo>
                  <a:pt x="32" y="90"/>
                </a:lnTo>
                <a:lnTo>
                  <a:pt x="46" y="96"/>
                </a:lnTo>
                <a:lnTo>
                  <a:pt x="60" y="100"/>
                </a:lnTo>
                <a:lnTo>
                  <a:pt x="76" y="104"/>
                </a:lnTo>
                <a:lnTo>
                  <a:pt x="78" y="100"/>
                </a:lnTo>
                <a:lnTo>
                  <a:pt x="78" y="96"/>
                </a:lnTo>
                <a:lnTo>
                  <a:pt x="76" y="94"/>
                </a:lnTo>
                <a:lnTo>
                  <a:pt x="74" y="94"/>
                </a:lnTo>
                <a:lnTo>
                  <a:pt x="78" y="94"/>
                </a:lnTo>
                <a:lnTo>
                  <a:pt x="82" y="92"/>
                </a:lnTo>
                <a:lnTo>
                  <a:pt x="88" y="92"/>
                </a:lnTo>
                <a:lnTo>
                  <a:pt x="90" y="94"/>
                </a:lnTo>
                <a:lnTo>
                  <a:pt x="98" y="98"/>
                </a:lnTo>
                <a:lnTo>
                  <a:pt x="104" y="106"/>
                </a:lnTo>
                <a:lnTo>
                  <a:pt x="108" y="108"/>
                </a:lnTo>
                <a:lnTo>
                  <a:pt x="114" y="108"/>
                </a:lnTo>
                <a:lnTo>
                  <a:pt x="116" y="108"/>
                </a:lnTo>
                <a:lnTo>
                  <a:pt x="120" y="106"/>
                </a:lnTo>
                <a:lnTo>
                  <a:pt x="126" y="98"/>
                </a:lnTo>
                <a:lnTo>
                  <a:pt x="132" y="94"/>
                </a:lnTo>
                <a:lnTo>
                  <a:pt x="134" y="92"/>
                </a:lnTo>
                <a:lnTo>
                  <a:pt x="138" y="92"/>
                </a:lnTo>
                <a:lnTo>
                  <a:pt x="142" y="92"/>
                </a:lnTo>
                <a:lnTo>
                  <a:pt x="142" y="94"/>
                </a:lnTo>
                <a:lnTo>
                  <a:pt x="146" y="94"/>
                </a:lnTo>
                <a:lnTo>
                  <a:pt x="148" y="96"/>
                </a:lnTo>
                <a:lnTo>
                  <a:pt x="152" y="94"/>
                </a:lnTo>
                <a:lnTo>
                  <a:pt x="154" y="94"/>
                </a:lnTo>
                <a:lnTo>
                  <a:pt x="164" y="94"/>
                </a:lnTo>
                <a:lnTo>
                  <a:pt x="162" y="96"/>
                </a:lnTo>
                <a:lnTo>
                  <a:pt x="160" y="98"/>
                </a:lnTo>
                <a:lnTo>
                  <a:pt x="156" y="98"/>
                </a:lnTo>
                <a:lnTo>
                  <a:pt x="158" y="108"/>
                </a:lnTo>
                <a:lnTo>
                  <a:pt x="162" y="116"/>
                </a:lnTo>
                <a:lnTo>
                  <a:pt x="166" y="1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4" name="Freeform 184">
            <a:extLst>
              <a:ext uri="{FF2B5EF4-FFF2-40B4-BE49-F238E27FC236}">
                <a16:creationId xmlns:a16="http://schemas.microsoft.com/office/drawing/2014/main" id="{1CE4EA39-EBD5-4089-A5D3-EB67DA7EAAFE}"/>
              </a:ext>
            </a:extLst>
          </p:cNvPr>
          <p:cNvSpPr>
            <a:spLocks/>
          </p:cNvSpPr>
          <p:nvPr/>
        </p:nvSpPr>
        <p:spPr bwMode="auto">
          <a:xfrm>
            <a:off x="5692200" y="2989038"/>
            <a:ext cx="32495" cy="43833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2" y="10"/>
              </a:cxn>
              <a:cxn ang="0">
                <a:pos x="4" y="8"/>
              </a:cxn>
              <a:cxn ang="0">
                <a:pos x="2" y="0"/>
              </a:cxn>
              <a:cxn ang="0">
                <a:pos x="10" y="0"/>
              </a:cxn>
              <a:cxn ang="0">
                <a:pos x="12" y="6"/>
              </a:cxn>
              <a:cxn ang="0">
                <a:pos x="14" y="10"/>
              </a:cxn>
              <a:cxn ang="0">
                <a:pos x="16" y="12"/>
              </a:cxn>
              <a:cxn ang="0">
                <a:pos x="14" y="16"/>
              </a:cxn>
              <a:cxn ang="0">
                <a:pos x="10" y="20"/>
              </a:cxn>
              <a:cxn ang="0">
                <a:pos x="6" y="24"/>
              </a:cxn>
              <a:cxn ang="0">
                <a:pos x="4" y="20"/>
              </a:cxn>
              <a:cxn ang="0">
                <a:pos x="0" y="12"/>
              </a:cxn>
            </a:cxnLst>
            <a:rect l="0" t="0" r="r" b="b"/>
            <a:pathLst>
              <a:path w="16" h="24">
                <a:moveTo>
                  <a:pt x="0" y="12"/>
                </a:moveTo>
                <a:lnTo>
                  <a:pt x="2" y="10"/>
                </a:lnTo>
                <a:lnTo>
                  <a:pt x="4" y="8"/>
                </a:lnTo>
                <a:lnTo>
                  <a:pt x="2" y="0"/>
                </a:lnTo>
                <a:lnTo>
                  <a:pt x="10" y="0"/>
                </a:lnTo>
                <a:lnTo>
                  <a:pt x="12" y="6"/>
                </a:lnTo>
                <a:lnTo>
                  <a:pt x="14" y="10"/>
                </a:lnTo>
                <a:lnTo>
                  <a:pt x="16" y="12"/>
                </a:lnTo>
                <a:lnTo>
                  <a:pt x="14" y="16"/>
                </a:lnTo>
                <a:lnTo>
                  <a:pt x="10" y="20"/>
                </a:lnTo>
                <a:lnTo>
                  <a:pt x="6" y="24"/>
                </a:lnTo>
                <a:lnTo>
                  <a:pt x="4" y="20"/>
                </a:lnTo>
                <a:lnTo>
                  <a:pt x="0" y="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5" name="Freeform 185">
            <a:extLst>
              <a:ext uri="{FF2B5EF4-FFF2-40B4-BE49-F238E27FC236}">
                <a16:creationId xmlns:a16="http://schemas.microsoft.com/office/drawing/2014/main" id="{A2D722B5-258C-4F26-9CC8-93A66F18AA10}"/>
              </a:ext>
            </a:extLst>
          </p:cNvPr>
          <p:cNvSpPr>
            <a:spLocks/>
          </p:cNvSpPr>
          <p:nvPr/>
        </p:nvSpPr>
        <p:spPr bwMode="auto">
          <a:xfrm>
            <a:off x="5746927" y="3021507"/>
            <a:ext cx="236013" cy="267871"/>
          </a:xfrm>
          <a:custGeom>
            <a:avLst/>
            <a:gdLst/>
            <a:ahLst/>
            <a:cxnLst>
              <a:cxn ang="0">
                <a:pos x="66" y="4"/>
              </a:cxn>
              <a:cxn ang="0">
                <a:pos x="72" y="12"/>
              </a:cxn>
              <a:cxn ang="0">
                <a:pos x="76" y="22"/>
              </a:cxn>
              <a:cxn ang="0">
                <a:pos x="82" y="26"/>
              </a:cxn>
              <a:cxn ang="0">
                <a:pos x="88" y="28"/>
              </a:cxn>
              <a:cxn ang="0">
                <a:pos x="102" y="30"/>
              </a:cxn>
              <a:cxn ang="0">
                <a:pos x="110" y="34"/>
              </a:cxn>
              <a:cxn ang="0">
                <a:pos x="116" y="38"/>
              </a:cxn>
              <a:cxn ang="0">
                <a:pos x="118" y="42"/>
              </a:cxn>
              <a:cxn ang="0">
                <a:pos x="120" y="50"/>
              </a:cxn>
              <a:cxn ang="0">
                <a:pos x="118" y="58"/>
              </a:cxn>
              <a:cxn ang="0">
                <a:pos x="116" y="64"/>
              </a:cxn>
              <a:cxn ang="0">
                <a:pos x="104" y="76"/>
              </a:cxn>
              <a:cxn ang="0">
                <a:pos x="98" y="82"/>
              </a:cxn>
              <a:cxn ang="0">
                <a:pos x="94" y="86"/>
              </a:cxn>
              <a:cxn ang="0">
                <a:pos x="92" y="90"/>
              </a:cxn>
              <a:cxn ang="0">
                <a:pos x="92" y="98"/>
              </a:cxn>
              <a:cxn ang="0">
                <a:pos x="92" y="110"/>
              </a:cxn>
              <a:cxn ang="0">
                <a:pos x="84" y="112"/>
              </a:cxn>
              <a:cxn ang="0">
                <a:pos x="78" y="110"/>
              </a:cxn>
              <a:cxn ang="0">
                <a:pos x="78" y="120"/>
              </a:cxn>
              <a:cxn ang="0">
                <a:pos x="78" y="122"/>
              </a:cxn>
              <a:cxn ang="0">
                <a:pos x="78" y="126"/>
              </a:cxn>
              <a:cxn ang="0">
                <a:pos x="72" y="128"/>
              </a:cxn>
              <a:cxn ang="0">
                <a:pos x="66" y="130"/>
              </a:cxn>
              <a:cxn ang="0">
                <a:pos x="64" y="132"/>
              </a:cxn>
              <a:cxn ang="0">
                <a:pos x="62" y="136"/>
              </a:cxn>
              <a:cxn ang="0">
                <a:pos x="58" y="140"/>
              </a:cxn>
              <a:cxn ang="0">
                <a:pos x="56" y="144"/>
              </a:cxn>
              <a:cxn ang="0">
                <a:pos x="44" y="146"/>
              </a:cxn>
              <a:cxn ang="0">
                <a:pos x="36" y="148"/>
              </a:cxn>
              <a:cxn ang="0">
                <a:pos x="30" y="148"/>
              </a:cxn>
              <a:cxn ang="0">
                <a:pos x="20" y="150"/>
              </a:cxn>
              <a:cxn ang="0">
                <a:pos x="0" y="126"/>
              </a:cxn>
              <a:cxn ang="0">
                <a:pos x="0" y="118"/>
              </a:cxn>
              <a:cxn ang="0">
                <a:pos x="50" y="74"/>
              </a:cxn>
              <a:cxn ang="0">
                <a:pos x="50" y="40"/>
              </a:cxn>
              <a:cxn ang="0">
                <a:pos x="42" y="34"/>
              </a:cxn>
              <a:cxn ang="0">
                <a:pos x="66" y="0"/>
              </a:cxn>
              <a:cxn ang="0">
                <a:pos x="66" y="4"/>
              </a:cxn>
            </a:cxnLst>
            <a:rect l="0" t="0" r="r" b="b"/>
            <a:pathLst>
              <a:path w="120" h="150">
                <a:moveTo>
                  <a:pt x="66" y="4"/>
                </a:moveTo>
                <a:lnTo>
                  <a:pt x="72" y="12"/>
                </a:lnTo>
                <a:lnTo>
                  <a:pt x="76" y="22"/>
                </a:lnTo>
                <a:lnTo>
                  <a:pt x="82" y="26"/>
                </a:lnTo>
                <a:lnTo>
                  <a:pt x="88" y="28"/>
                </a:lnTo>
                <a:lnTo>
                  <a:pt x="102" y="30"/>
                </a:lnTo>
                <a:lnTo>
                  <a:pt x="110" y="34"/>
                </a:lnTo>
                <a:lnTo>
                  <a:pt x="116" y="38"/>
                </a:lnTo>
                <a:lnTo>
                  <a:pt x="118" y="42"/>
                </a:lnTo>
                <a:lnTo>
                  <a:pt x="120" y="50"/>
                </a:lnTo>
                <a:lnTo>
                  <a:pt x="118" y="58"/>
                </a:lnTo>
                <a:lnTo>
                  <a:pt x="116" y="64"/>
                </a:lnTo>
                <a:lnTo>
                  <a:pt x="104" y="76"/>
                </a:lnTo>
                <a:lnTo>
                  <a:pt x="98" y="82"/>
                </a:lnTo>
                <a:lnTo>
                  <a:pt x="94" y="86"/>
                </a:lnTo>
                <a:lnTo>
                  <a:pt x="92" y="90"/>
                </a:lnTo>
                <a:lnTo>
                  <a:pt x="92" y="98"/>
                </a:lnTo>
                <a:lnTo>
                  <a:pt x="92" y="110"/>
                </a:lnTo>
                <a:lnTo>
                  <a:pt x="84" y="112"/>
                </a:lnTo>
                <a:lnTo>
                  <a:pt x="78" y="110"/>
                </a:lnTo>
                <a:lnTo>
                  <a:pt x="78" y="120"/>
                </a:lnTo>
                <a:lnTo>
                  <a:pt x="78" y="122"/>
                </a:lnTo>
                <a:lnTo>
                  <a:pt x="78" y="126"/>
                </a:lnTo>
                <a:lnTo>
                  <a:pt x="72" y="128"/>
                </a:lnTo>
                <a:lnTo>
                  <a:pt x="66" y="130"/>
                </a:lnTo>
                <a:lnTo>
                  <a:pt x="64" y="132"/>
                </a:lnTo>
                <a:lnTo>
                  <a:pt x="62" y="136"/>
                </a:lnTo>
                <a:lnTo>
                  <a:pt x="58" y="140"/>
                </a:lnTo>
                <a:lnTo>
                  <a:pt x="56" y="144"/>
                </a:lnTo>
                <a:lnTo>
                  <a:pt x="44" y="146"/>
                </a:lnTo>
                <a:lnTo>
                  <a:pt x="36" y="148"/>
                </a:lnTo>
                <a:lnTo>
                  <a:pt x="30" y="148"/>
                </a:lnTo>
                <a:lnTo>
                  <a:pt x="20" y="150"/>
                </a:lnTo>
                <a:lnTo>
                  <a:pt x="0" y="126"/>
                </a:lnTo>
                <a:lnTo>
                  <a:pt x="0" y="118"/>
                </a:lnTo>
                <a:lnTo>
                  <a:pt x="50" y="74"/>
                </a:lnTo>
                <a:lnTo>
                  <a:pt x="50" y="40"/>
                </a:lnTo>
                <a:lnTo>
                  <a:pt x="42" y="34"/>
                </a:lnTo>
                <a:lnTo>
                  <a:pt x="66" y="0"/>
                </a:lnTo>
                <a:lnTo>
                  <a:pt x="66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6" name="Freeform 186">
            <a:extLst>
              <a:ext uri="{FF2B5EF4-FFF2-40B4-BE49-F238E27FC236}">
                <a16:creationId xmlns:a16="http://schemas.microsoft.com/office/drawing/2014/main" id="{038E01B5-58E8-4FBB-83CE-179FBA5A0B67}"/>
              </a:ext>
            </a:extLst>
          </p:cNvPr>
          <p:cNvSpPr>
            <a:spLocks/>
          </p:cNvSpPr>
          <p:nvPr/>
        </p:nvSpPr>
        <p:spPr bwMode="auto">
          <a:xfrm>
            <a:off x="5849541" y="2979294"/>
            <a:ext cx="18813" cy="30846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6" y="0"/>
              </a:cxn>
              <a:cxn ang="0">
                <a:pos x="10" y="6"/>
              </a:cxn>
              <a:cxn ang="0">
                <a:pos x="10" y="14"/>
              </a:cxn>
              <a:cxn ang="0">
                <a:pos x="6" y="18"/>
              </a:cxn>
              <a:cxn ang="0">
                <a:pos x="4" y="16"/>
              </a:cxn>
              <a:cxn ang="0">
                <a:pos x="2" y="12"/>
              </a:cxn>
              <a:cxn ang="0">
                <a:pos x="0" y="8"/>
              </a:cxn>
            </a:cxnLst>
            <a:rect l="0" t="0" r="r" b="b"/>
            <a:pathLst>
              <a:path w="10" h="18">
                <a:moveTo>
                  <a:pt x="0" y="8"/>
                </a:moveTo>
                <a:lnTo>
                  <a:pt x="6" y="0"/>
                </a:lnTo>
                <a:lnTo>
                  <a:pt x="10" y="6"/>
                </a:lnTo>
                <a:lnTo>
                  <a:pt x="10" y="14"/>
                </a:lnTo>
                <a:lnTo>
                  <a:pt x="6" y="18"/>
                </a:lnTo>
                <a:lnTo>
                  <a:pt x="4" y="16"/>
                </a:lnTo>
                <a:lnTo>
                  <a:pt x="2" y="12"/>
                </a:lnTo>
                <a:lnTo>
                  <a:pt x="0" y="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7" name="Freeform 187">
            <a:extLst>
              <a:ext uri="{FF2B5EF4-FFF2-40B4-BE49-F238E27FC236}">
                <a16:creationId xmlns:a16="http://schemas.microsoft.com/office/drawing/2014/main" id="{00759599-E40E-49E8-AF26-ACFA6CEC1178}"/>
              </a:ext>
            </a:extLst>
          </p:cNvPr>
          <p:cNvSpPr>
            <a:spLocks/>
          </p:cNvSpPr>
          <p:nvPr/>
        </p:nvSpPr>
        <p:spPr bwMode="auto">
          <a:xfrm>
            <a:off x="5699039" y="2992281"/>
            <a:ext cx="179576" cy="89290"/>
          </a:xfrm>
          <a:custGeom>
            <a:avLst/>
            <a:gdLst/>
            <a:ahLst/>
            <a:cxnLst>
              <a:cxn ang="0">
                <a:pos x="66" y="50"/>
              </a:cxn>
              <a:cxn ang="0">
                <a:pos x="90" y="16"/>
              </a:cxn>
              <a:cxn ang="0">
                <a:pos x="86" y="6"/>
              </a:cxn>
              <a:cxn ang="0">
                <a:pos x="82" y="10"/>
              </a:cxn>
              <a:cxn ang="0">
                <a:pos x="80" y="8"/>
              </a:cxn>
              <a:cxn ang="0">
                <a:pos x="78" y="4"/>
              </a:cxn>
              <a:cxn ang="0">
                <a:pos x="76" y="0"/>
              </a:cxn>
              <a:cxn ang="0">
                <a:pos x="66" y="12"/>
              </a:cxn>
              <a:cxn ang="0">
                <a:pos x="58" y="22"/>
              </a:cxn>
              <a:cxn ang="0">
                <a:pos x="52" y="28"/>
              </a:cxn>
              <a:cxn ang="0">
                <a:pos x="44" y="30"/>
              </a:cxn>
              <a:cxn ang="0">
                <a:pos x="36" y="34"/>
              </a:cxn>
              <a:cxn ang="0">
                <a:pos x="26" y="34"/>
              </a:cxn>
              <a:cxn ang="0">
                <a:pos x="20" y="34"/>
              </a:cxn>
              <a:cxn ang="0">
                <a:pos x="12" y="30"/>
              </a:cxn>
              <a:cxn ang="0">
                <a:pos x="2" y="22"/>
              </a:cxn>
              <a:cxn ang="0">
                <a:pos x="0" y="28"/>
              </a:cxn>
              <a:cxn ang="0">
                <a:pos x="10" y="36"/>
              </a:cxn>
              <a:cxn ang="0">
                <a:pos x="22" y="40"/>
              </a:cxn>
              <a:cxn ang="0">
                <a:pos x="22" y="48"/>
              </a:cxn>
              <a:cxn ang="0">
                <a:pos x="66" y="50"/>
              </a:cxn>
            </a:cxnLst>
            <a:rect l="0" t="0" r="r" b="b"/>
            <a:pathLst>
              <a:path w="90" h="50">
                <a:moveTo>
                  <a:pt x="66" y="50"/>
                </a:moveTo>
                <a:lnTo>
                  <a:pt x="90" y="16"/>
                </a:lnTo>
                <a:lnTo>
                  <a:pt x="86" y="6"/>
                </a:lnTo>
                <a:lnTo>
                  <a:pt x="82" y="10"/>
                </a:lnTo>
                <a:lnTo>
                  <a:pt x="80" y="8"/>
                </a:lnTo>
                <a:lnTo>
                  <a:pt x="78" y="4"/>
                </a:lnTo>
                <a:lnTo>
                  <a:pt x="76" y="0"/>
                </a:lnTo>
                <a:lnTo>
                  <a:pt x="66" y="12"/>
                </a:lnTo>
                <a:lnTo>
                  <a:pt x="58" y="22"/>
                </a:lnTo>
                <a:lnTo>
                  <a:pt x="52" y="28"/>
                </a:lnTo>
                <a:lnTo>
                  <a:pt x="44" y="30"/>
                </a:lnTo>
                <a:lnTo>
                  <a:pt x="36" y="34"/>
                </a:lnTo>
                <a:lnTo>
                  <a:pt x="26" y="34"/>
                </a:lnTo>
                <a:lnTo>
                  <a:pt x="20" y="34"/>
                </a:lnTo>
                <a:lnTo>
                  <a:pt x="12" y="30"/>
                </a:lnTo>
                <a:lnTo>
                  <a:pt x="2" y="22"/>
                </a:lnTo>
                <a:lnTo>
                  <a:pt x="0" y="28"/>
                </a:lnTo>
                <a:lnTo>
                  <a:pt x="10" y="36"/>
                </a:lnTo>
                <a:lnTo>
                  <a:pt x="22" y="40"/>
                </a:lnTo>
                <a:lnTo>
                  <a:pt x="22" y="48"/>
                </a:lnTo>
                <a:lnTo>
                  <a:pt x="66" y="5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8" name="Freeform 188">
            <a:extLst>
              <a:ext uri="{FF2B5EF4-FFF2-40B4-BE49-F238E27FC236}">
                <a16:creationId xmlns:a16="http://schemas.microsoft.com/office/drawing/2014/main" id="{EC1B3E11-13B9-42D8-8F0E-F60095430115}"/>
              </a:ext>
            </a:extLst>
          </p:cNvPr>
          <p:cNvSpPr>
            <a:spLocks/>
          </p:cNvSpPr>
          <p:nvPr/>
        </p:nvSpPr>
        <p:spPr bwMode="auto">
          <a:xfrm>
            <a:off x="5463027" y="3232556"/>
            <a:ext cx="323237" cy="188321"/>
          </a:xfrm>
          <a:custGeom>
            <a:avLst/>
            <a:gdLst/>
            <a:ahLst/>
            <a:cxnLst>
              <a:cxn ang="0">
                <a:pos x="164" y="32"/>
              </a:cxn>
              <a:cxn ang="0">
                <a:pos x="144" y="8"/>
              </a:cxn>
              <a:cxn ang="0">
                <a:pos x="144" y="0"/>
              </a:cxn>
              <a:cxn ang="0">
                <a:pos x="96" y="12"/>
              </a:cxn>
              <a:cxn ang="0">
                <a:pos x="52" y="56"/>
              </a:cxn>
              <a:cxn ang="0">
                <a:pos x="50" y="34"/>
              </a:cxn>
              <a:cxn ang="0">
                <a:pos x="30" y="28"/>
              </a:cxn>
              <a:cxn ang="0">
                <a:pos x="26" y="26"/>
              </a:cxn>
              <a:cxn ang="0">
                <a:pos x="24" y="28"/>
              </a:cxn>
              <a:cxn ang="0">
                <a:pos x="18" y="26"/>
              </a:cxn>
              <a:cxn ang="0">
                <a:pos x="14" y="22"/>
              </a:cxn>
              <a:cxn ang="0">
                <a:pos x="12" y="24"/>
              </a:cxn>
              <a:cxn ang="0">
                <a:pos x="10" y="28"/>
              </a:cxn>
              <a:cxn ang="0">
                <a:pos x="8" y="34"/>
              </a:cxn>
              <a:cxn ang="0">
                <a:pos x="6" y="38"/>
              </a:cxn>
              <a:cxn ang="0">
                <a:pos x="4" y="46"/>
              </a:cxn>
              <a:cxn ang="0">
                <a:pos x="0" y="54"/>
              </a:cxn>
              <a:cxn ang="0">
                <a:pos x="10" y="78"/>
              </a:cxn>
              <a:cxn ang="0">
                <a:pos x="14" y="92"/>
              </a:cxn>
              <a:cxn ang="0">
                <a:pos x="14" y="106"/>
              </a:cxn>
              <a:cxn ang="0">
                <a:pos x="20" y="106"/>
              </a:cxn>
              <a:cxn ang="0">
                <a:pos x="30" y="106"/>
              </a:cxn>
              <a:cxn ang="0">
                <a:pos x="40" y="102"/>
              </a:cxn>
              <a:cxn ang="0">
                <a:pos x="44" y="98"/>
              </a:cxn>
              <a:cxn ang="0">
                <a:pos x="52" y="94"/>
              </a:cxn>
              <a:cxn ang="0">
                <a:pos x="66" y="90"/>
              </a:cxn>
              <a:cxn ang="0">
                <a:pos x="76" y="88"/>
              </a:cxn>
              <a:cxn ang="0">
                <a:pos x="86" y="84"/>
              </a:cxn>
              <a:cxn ang="0">
                <a:pos x="96" y="82"/>
              </a:cxn>
              <a:cxn ang="0">
                <a:pos x="100" y="78"/>
              </a:cxn>
              <a:cxn ang="0">
                <a:pos x="104" y="76"/>
              </a:cxn>
              <a:cxn ang="0">
                <a:pos x="106" y="70"/>
              </a:cxn>
              <a:cxn ang="0">
                <a:pos x="112" y="68"/>
              </a:cxn>
              <a:cxn ang="0">
                <a:pos x="130" y="64"/>
              </a:cxn>
              <a:cxn ang="0">
                <a:pos x="140" y="60"/>
              </a:cxn>
              <a:cxn ang="0">
                <a:pos x="150" y="54"/>
              </a:cxn>
              <a:cxn ang="0">
                <a:pos x="152" y="50"/>
              </a:cxn>
              <a:cxn ang="0">
                <a:pos x="154" y="44"/>
              </a:cxn>
              <a:cxn ang="0">
                <a:pos x="158" y="36"/>
              </a:cxn>
              <a:cxn ang="0">
                <a:pos x="160" y="34"/>
              </a:cxn>
              <a:cxn ang="0">
                <a:pos x="164" y="32"/>
              </a:cxn>
            </a:cxnLst>
            <a:rect l="0" t="0" r="r" b="b"/>
            <a:pathLst>
              <a:path w="164" h="106">
                <a:moveTo>
                  <a:pt x="164" y="32"/>
                </a:moveTo>
                <a:lnTo>
                  <a:pt x="144" y="8"/>
                </a:lnTo>
                <a:lnTo>
                  <a:pt x="144" y="0"/>
                </a:lnTo>
                <a:lnTo>
                  <a:pt x="96" y="12"/>
                </a:lnTo>
                <a:lnTo>
                  <a:pt x="52" y="56"/>
                </a:lnTo>
                <a:lnTo>
                  <a:pt x="50" y="34"/>
                </a:lnTo>
                <a:lnTo>
                  <a:pt x="30" y="28"/>
                </a:lnTo>
                <a:lnTo>
                  <a:pt x="26" y="26"/>
                </a:lnTo>
                <a:lnTo>
                  <a:pt x="24" y="28"/>
                </a:lnTo>
                <a:lnTo>
                  <a:pt x="18" y="26"/>
                </a:lnTo>
                <a:lnTo>
                  <a:pt x="14" y="22"/>
                </a:lnTo>
                <a:lnTo>
                  <a:pt x="12" y="24"/>
                </a:lnTo>
                <a:lnTo>
                  <a:pt x="10" y="28"/>
                </a:lnTo>
                <a:lnTo>
                  <a:pt x="8" y="34"/>
                </a:lnTo>
                <a:lnTo>
                  <a:pt x="6" y="38"/>
                </a:lnTo>
                <a:lnTo>
                  <a:pt x="4" y="46"/>
                </a:lnTo>
                <a:lnTo>
                  <a:pt x="0" y="54"/>
                </a:lnTo>
                <a:lnTo>
                  <a:pt x="10" y="78"/>
                </a:lnTo>
                <a:lnTo>
                  <a:pt x="14" y="92"/>
                </a:lnTo>
                <a:lnTo>
                  <a:pt x="14" y="106"/>
                </a:lnTo>
                <a:lnTo>
                  <a:pt x="20" y="106"/>
                </a:lnTo>
                <a:lnTo>
                  <a:pt x="30" y="106"/>
                </a:lnTo>
                <a:lnTo>
                  <a:pt x="40" y="102"/>
                </a:lnTo>
                <a:lnTo>
                  <a:pt x="44" y="98"/>
                </a:lnTo>
                <a:lnTo>
                  <a:pt x="52" y="94"/>
                </a:lnTo>
                <a:lnTo>
                  <a:pt x="66" y="90"/>
                </a:lnTo>
                <a:lnTo>
                  <a:pt x="76" y="88"/>
                </a:lnTo>
                <a:lnTo>
                  <a:pt x="86" y="84"/>
                </a:lnTo>
                <a:lnTo>
                  <a:pt x="96" y="82"/>
                </a:lnTo>
                <a:lnTo>
                  <a:pt x="100" y="78"/>
                </a:lnTo>
                <a:lnTo>
                  <a:pt x="104" y="76"/>
                </a:lnTo>
                <a:lnTo>
                  <a:pt x="106" y="70"/>
                </a:lnTo>
                <a:lnTo>
                  <a:pt x="112" y="68"/>
                </a:lnTo>
                <a:lnTo>
                  <a:pt x="130" y="64"/>
                </a:lnTo>
                <a:lnTo>
                  <a:pt x="140" y="60"/>
                </a:lnTo>
                <a:lnTo>
                  <a:pt x="150" y="54"/>
                </a:lnTo>
                <a:lnTo>
                  <a:pt x="152" y="50"/>
                </a:lnTo>
                <a:lnTo>
                  <a:pt x="154" y="44"/>
                </a:lnTo>
                <a:lnTo>
                  <a:pt x="158" y="36"/>
                </a:lnTo>
                <a:lnTo>
                  <a:pt x="160" y="34"/>
                </a:lnTo>
                <a:lnTo>
                  <a:pt x="164" y="3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9" name="Freeform 189">
            <a:extLst>
              <a:ext uri="{FF2B5EF4-FFF2-40B4-BE49-F238E27FC236}">
                <a16:creationId xmlns:a16="http://schemas.microsoft.com/office/drawing/2014/main" id="{2699A783-76D0-4438-8091-09EBF54AA7D0}"/>
              </a:ext>
            </a:extLst>
          </p:cNvPr>
          <p:cNvSpPr>
            <a:spLocks/>
          </p:cNvSpPr>
          <p:nvPr/>
        </p:nvSpPr>
        <p:spPr bwMode="auto">
          <a:xfrm>
            <a:off x="5545117" y="2864031"/>
            <a:ext cx="82092" cy="50327"/>
          </a:xfrm>
          <a:custGeom>
            <a:avLst/>
            <a:gdLst/>
            <a:ahLst/>
            <a:cxnLst>
              <a:cxn ang="0">
                <a:pos x="42" y="28"/>
              </a:cxn>
              <a:cxn ang="0">
                <a:pos x="24" y="28"/>
              </a:cxn>
              <a:cxn ang="0">
                <a:pos x="20" y="24"/>
              </a:cxn>
              <a:cxn ang="0">
                <a:pos x="16" y="22"/>
              </a:cxn>
              <a:cxn ang="0">
                <a:pos x="0" y="18"/>
              </a:cxn>
              <a:cxn ang="0">
                <a:pos x="4" y="10"/>
              </a:cxn>
              <a:cxn ang="0">
                <a:pos x="8" y="4"/>
              </a:cxn>
              <a:cxn ang="0">
                <a:pos x="12" y="0"/>
              </a:cxn>
              <a:cxn ang="0">
                <a:pos x="18" y="0"/>
              </a:cxn>
              <a:cxn ang="0">
                <a:pos x="22" y="0"/>
              </a:cxn>
              <a:cxn ang="0">
                <a:pos x="26" y="2"/>
              </a:cxn>
              <a:cxn ang="0">
                <a:pos x="28" y="0"/>
              </a:cxn>
              <a:cxn ang="0">
                <a:pos x="30" y="2"/>
              </a:cxn>
              <a:cxn ang="0">
                <a:pos x="24" y="4"/>
              </a:cxn>
              <a:cxn ang="0">
                <a:pos x="26" y="10"/>
              </a:cxn>
              <a:cxn ang="0">
                <a:pos x="28" y="14"/>
              </a:cxn>
              <a:cxn ang="0">
                <a:pos x="38" y="20"/>
              </a:cxn>
              <a:cxn ang="0">
                <a:pos x="40" y="24"/>
              </a:cxn>
              <a:cxn ang="0">
                <a:pos x="42" y="26"/>
              </a:cxn>
              <a:cxn ang="0">
                <a:pos x="42" y="28"/>
              </a:cxn>
            </a:cxnLst>
            <a:rect l="0" t="0" r="r" b="b"/>
            <a:pathLst>
              <a:path w="42" h="28">
                <a:moveTo>
                  <a:pt x="42" y="28"/>
                </a:moveTo>
                <a:lnTo>
                  <a:pt x="24" y="28"/>
                </a:lnTo>
                <a:lnTo>
                  <a:pt x="20" y="24"/>
                </a:lnTo>
                <a:lnTo>
                  <a:pt x="16" y="22"/>
                </a:lnTo>
                <a:lnTo>
                  <a:pt x="0" y="18"/>
                </a:lnTo>
                <a:lnTo>
                  <a:pt x="4" y="10"/>
                </a:lnTo>
                <a:lnTo>
                  <a:pt x="8" y="4"/>
                </a:lnTo>
                <a:lnTo>
                  <a:pt x="12" y="0"/>
                </a:lnTo>
                <a:lnTo>
                  <a:pt x="18" y="0"/>
                </a:lnTo>
                <a:lnTo>
                  <a:pt x="22" y="0"/>
                </a:lnTo>
                <a:lnTo>
                  <a:pt x="26" y="2"/>
                </a:lnTo>
                <a:lnTo>
                  <a:pt x="28" y="0"/>
                </a:lnTo>
                <a:lnTo>
                  <a:pt x="30" y="2"/>
                </a:lnTo>
                <a:lnTo>
                  <a:pt x="24" y="4"/>
                </a:lnTo>
                <a:lnTo>
                  <a:pt x="26" y="10"/>
                </a:lnTo>
                <a:lnTo>
                  <a:pt x="28" y="14"/>
                </a:lnTo>
                <a:lnTo>
                  <a:pt x="38" y="20"/>
                </a:lnTo>
                <a:lnTo>
                  <a:pt x="40" y="24"/>
                </a:lnTo>
                <a:lnTo>
                  <a:pt x="42" y="26"/>
                </a:lnTo>
                <a:lnTo>
                  <a:pt x="42" y="2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0" name="Freeform 190">
            <a:extLst>
              <a:ext uri="{FF2B5EF4-FFF2-40B4-BE49-F238E27FC236}">
                <a16:creationId xmlns:a16="http://schemas.microsoft.com/office/drawing/2014/main" id="{F0A532E0-B53E-49EE-B166-1271A5D7DCE2}"/>
              </a:ext>
            </a:extLst>
          </p:cNvPr>
          <p:cNvSpPr>
            <a:spLocks/>
          </p:cNvSpPr>
          <p:nvPr/>
        </p:nvSpPr>
        <p:spPr bwMode="auto">
          <a:xfrm>
            <a:off x="5418557" y="2539339"/>
            <a:ext cx="656736" cy="475673"/>
          </a:xfrm>
          <a:custGeom>
            <a:avLst/>
            <a:gdLst/>
            <a:ahLst/>
            <a:cxnLst>
              <a:cxn ang="0">
                <a:pos x="100" y="172"/>
              </a:cxn>
              <a:cxn ang="0">
                <a:pos x="144" y="212"/>
              </a:cxn>
              <a:cxn ang="0">
                <a:pos x="180" y="238"/>
              </a:cxn>
              <a:cxn ang="0">
                <a:pos x="206" y="238"/>
              </a:cxn>
              <a:cxn ang="0">
                <a:pos x="228" y="228"/>
              </a:cxn>
              <a:cxn ang="0">
                <a:pos x="236" y="234"/>
              </a:cxn>
              <a:cxn ang="0">
                <a:pos x="240" y="248"/>
              </a:cxn>
              <a:cxn ang="0">
                <a:pos x="282" y="264"/>
              </a:cxn>
              <a:cxn ang="0">
                <a:pos x="308" y="266"/>
              </a:cxn>
              <a:cxn ang="0">
                <a:pos x="312" y="248"/>
              </a:cxn>
              <a:cxn ang="0">
                <a:pos x="330" y="238"/>
              </a:cxn>
              <a:cxn ang="0">
                <a:pos x="322" y="226"/>
              </a:cxn>
              <a:cxn ang="0">
                <a:pos x="314" y="210"/>
              </a:cxn>
              <a:cxn ang="0">
                <a:pos x="298" y="196"/>
              </a:cxn>
              <a:cxn ang="0">
                <a:pos x="282" y="186"/>
              </a:cxn>
              <a:cxn ang="0">
                <a:pos x="288" y="172"/>
              </a:cxn>
              <a:cxn ang="0">
                <a:pos x="296" y="158"/>
              </a:cxn>
              <a:cxn ang="0">
                <a:pos x="280" y="148"/>
              </a:cxn>
              <a:cxn ang="0">
                <a:pos x="270" y="118"/>
              </a:cxn>
              <a:cxn ang="0">
                <a:pos x="272" y="94"/>
              </a:cxn>
              <a:cxn ang="0">
                <a:pos x="274" y="72"/>
              </a:cxn>
              <a:cxn ang="0">
                <a:pos x="264" y="62"/>
              </a:cxn>
              <a:cxn ang="0">
                <a:pos x="226" y="40"/>
              </a:cxn>
              <a:cxn ang="0">
                <a:pos x="194" y="28"/>
              </a:cxn>
              <a:cxn ang="0">
                <a:pos x="162" y="42"/>
              </a:cxn>
              <a:cxn ang="0">
                <a:pos x="140" y="54"/>
              </a:cxn>
              <a:cxn ang="0">
                <a:pos x="94" y="46"/>
              </a:cxn>
              <a:cxn ang="0">
                <a:pos x="78" y="30"/>
              </a:cxn>
              <a:cxn ang="0">
                <a:pos x="64" y="18"/>
              </a:cxn>
              <a:cxn ang="0">
                <a:pos x="54" y="4"/>
              </a:cxn>
              <a:cxn ang="0">
                <a:pos x="32" y="20"/>
              </a:cxn>
              <a:cxn ang="0">
                <a:pos x="18" y="18"/>
              </a:cxn>
              <a:cxn ang="0">
                <a:pos x="4" y="0"/>
              </a:cxn>
              <a:cxn ang="0">
                <a:pos x="0" y="12"/>
              </a:cxn>
              <a:cxn ang="0">
                <a:pos x="6" y="40"/>
              </a:cxn>
              <a:cxn ang="0">
                <a:pos x="18" y="62"/>
              </a:cxn>
              <a:cxn ang="0">
                <a:pos x="46" y="78"/>
              </a:cxn>
              <a:cxn ang="0">
                <a:pos x="36" y="106"/>
              </a:cxn>
              <a:cxn ang="0">
                <a:pos x="46" y="124"/>
              </a:cxn>
              <a:cxn ang="0">
                <a:pos x="70" y="142"/>
              </a:cxn>
              <a:cxn ang="0">
                <a:pos x="76" y="162"/>
              </a:cxn>
              <a:cxn ang="0">
                <a:pos x="90" y="176"/>
              </a:cxn>
            </a:cxnLst>
            <a:rect l="0" t="0" r="r" b="b"/>
            <a:pathLst>
              <a:path w="332" h="266">
                <a:moveTo>
                  <a:pt x="94" y="184"/>
                </a:moveTo>
                <a:lnTo>
                  <a:pt x="98" y="180"/>
                </a:lnTo>
                <a:lnTo>
                  <a:pt x="100" y="172"/>
                </a:lnTo>
                <a:lnTo>
                  <a:pt x="112" y="180"/>
                </a:lnTo>
                <a:lnTo>
                  <a:pt x="122" y="190"/>
                </a:lnTo>
                <a:lnTo>
                  <a:pt x="144" y="212"/>
                </a:lnTo>
                <a:lnTo>
                  <a:pt x="154" y="222"/>
                </a:lnTo>
                <a:lnTo>
                  <a:pt x="166" y="230"/>
                </a:lnTo>
                <a:lnTo>
                  <a:pt x="180" y="238"/>
                </a:lnTo>
                <a:lnTo>
                  <a:pt x="188" y="238"/>
                </a:lnTo>
                <a:lnTo>
                  <a:pt x="198" y="240"/>
                </a:lnTo>
                <a:lnTo>
                  <a:pt x="206" y="238"/>
                </a:lnTo>
                <a:lnTo>
                  <a:pt x="214" y="234"/>
                </a:lnTo>
                <a:lnTo>
                  <a:pt x="222" y="230"/>
                </a:lnTo>
                <a:lnTo>
                  <a:pt x="228" y="228"/>
                </a:lnTo>
                <a:lnTo>
                  <a:pt x="234" y="228"/>
                </a:lnTo>
                <a:lnTo>
                  <a:pt x="236" y="230"/>
                </a:lnTo>
                <a:lnTo>
                  <a:pt x="236" y="234"/>
                </a:lnTo>
                <a:lnTo>
                  <a:pt x="238" y="240"/>
                </a:lnTo>
                <a:lnTo>
                  <a:pt x="236" y="246"/>
                </a:lnTo>
                <a:lnTo>
                  <a:pt x="240" y="248"/>
                </a:lnTo>
                <a:lnTo>
                  <a:pt x="246" y="252"/>
                </a:lnTo>
                <a:lnTo>
                  <a:pt x="262" y="258"/>
                </a:lnTo>
                <a:lnTo>
                  <a:pt x="282" y="264"/>
                </a:lnTo>
                <a:lnTo>
                  <a:pt x="294" y="266"/>
                </a:lnTo>
                <a:lnTo>
                  <a:pt x="302" y="266"/>
                </a:lnTo>
                <a:lnTo>
                  <a:pt x="308" y="266"/>
                </a:lnTo>
                <a:lnTo>
                  <a:pt x="308" y="258"/>
                </a:lnTo>
                <a:lnTo>
                  <a:pt x="310" y="254"/>
                </a:lnTo>
                <a:lnTo>
                  <a:pt x="312" y="248"/>
                </a:lnTo>
                <a:lnTo>
                  <a:pt x="316" y="246"/>
                </a:lnTo>
                <a:lnTo>
                  <a:pt x="326" y="240"/>
                </a:lnTo>
                <a:lnTo>
                  <a:pt x="330" y="238"/>
                </a:lnTo>
                <a:lnTo>
                  <a:pt x="332" y="234"/>
                </a:lnTo>
                <a:lnTo>
                  <a:pt x="328" y="230"/>
                </a:lnTo>
                <a:lnTo>
                  <a:pt x="322" y="226"/>
                </a:lnTo>
                <a:lnTo>
                  <a:pt x="320" y="218"/>
                </a:lnTo>
                <a:lnTo>
                  <a:pt x="318" y="212"/>
                </a:lnTo>
                <a:lnTo>
                  <a:pt x="314" y="210"/>
                </a:lnTo>
                <a:lnTo>
                  <a:pt x="310" y="210"/>
                </a:lnTo>
                <a:lnTo>
                  <a:pt x="304" y="204"/>
                </a:lnTo>
                <a:lnTo>
                  <a:pt x="298" y="196"/>
                </a:lnTo>
                <a:lnTo>
                  <a:pt x="292" y="192"/>
                </a:lnTo>
                <a:lnTo>
                  <a:pt x="286" y="190"/>
                </a:lnTo>
                <a:lnTo>
                  <a:pt x="282" y="186"/>
                </a:lnTo>
                <a:lnTo>
                  <a:pt x="282" y="182"/>
                </a:lnTo>
                <a:lnTo>
                  <a:pt x="284" y="178"/>
                </a:lnTo>
                <a:lnTo>
                  <a:pt x="288" y="172"/>
                </a:lnTo>
                <a:lnTo>
                  <a:pt x="294" y="164"/>
                </a:lnTo>
                <a:lnTo>
                  <a:pt x="296" y="162"/>
                </a:lnTo>
                <a:lnTo>
                  <a:pt x="296" y="158"/>
                </a:lnTo>
                <a:lnTo>
                  <a:pt x="288" y="156"/>
                </a:lnTo>
                <a:lnTo>
                  <a:pt x="282" y="152"/>
                </a:lnTo>
                <a:lnTo>
                  <a:pt x="280" y="148"/>
                </a:lnTo>
                <a:lnTo>
                  <a:pt x="278" y="142"/>
                </a:lnTo>
                <a:lnTo>
                  <a:pt x="274" y="130"/>
                </a:lnTo>
                <a:lnTo>
                  <a:pt x="270" y="118"/>
                </a:lnTo>
                <a:lnTo>
                  <a:pt x="270" y="110"/>
                </a:lnTo>
                <a:lnTo>
                  <a:pt x="270" y="104"/>
                </a:lnTo>
                <a:lnTo>
                  <a:pt x="272" y="94"/>
                </a:lnTo>
                <a:lnTo>
                  <a:pt x="274" y="84"/>
                </a:lnTo>
                <a:lnTo>
                  <a:pt x="274" y="76"/>
                </a:lnTo>
                <a:lnTo>
                  <a:pt x="274" y="72"/>
                </a:lnTo>
                <a:lnTo>
                  <a:pt x="272" y="68"/>
                </a:lnTo>
                <a:lnTo>
                  <a:pt x="268" y="64"/>
                </a:lnTo>
                <a:lnTo>
                  <a:pt x="264" y="62"/>
                </a:lnTo>
                <a:lnTo>
                  <a:pt x="256" y="60"/>
                </a:lnTo>
                <a:lnTo>
                  <a:pt x="250" y="56"/>
                </a:lnTo>
                <a:lnTo>
                  <a:pt x="226" y="40"/>
                </a:lnTo>
                <a:lnTo>
                  <a:pt x="210" y="32"/>
                </a:lnTo>
                <a:lnTo>
                  <a:pt x="200" y="28"/>
                </a:lnTo>
                <a:lnTo>
                  <a:pt x="194" y="28"/>
                </a:lnTo>
                <a:lnTo>
                  <a:pt x="184" y="30"/>
                </a:lnTo>
                <a:lnTo>
                  <a:pt x="174" y="32"/>
                </a:lnTo>
                <a:lnTo>
                  <a:pt x="162" y="42"/>
                </a:lnTo>
                <a:lnTo>
                  <a:pt x="156" y="46"/>
                </a:lnTo>
                <a:lnTo>
                  <a:pt x="148" y="50"/>
                </a:lnTo>
                <a:lnTo>
                  <a:pt x="140" y="54"/>
                </a:lnTo>
                <a:lnTo>
                  <a:pt x="126" y="54"/>
                </a:lnTo>
                <a:lnTo>
                  <a:pt x="112" y="52"/>
                </a:lnTo>
                <a:lnTo>
                  <a:pt x="94" y="46"/>
                </a:lnTo>
                <a:lnTo>
                  <a:pt x="88" y="40"/>
                </a:lnTo>
                <a:lnTo>
                  <a:pt x="82" y="34"/>
                </a:lnTo>
                <a:lnTo>
                  <a:pt x="78" y="30"/>
                </a:lnTo>
                <a:lnTo>
                  <a:pt x="76" y="26"/>
                </a:lnTo>
                <a:lnTo>
                  <a:pt x="68" y="22"/>
                </a:lnTo>
                <a:lnTo>
                  <a:pt x="64" y="18"/>
                </a:lnTo>
                <a:lnTo>
                  <a:pt x="64" y="12"/>
                </a:lnTo>
                <a:lnTo>
                  <a:pt x="62" y="4"/>
                </a:lnTo>
                <a:lnTo>
                  <a:pt x="54" y="4"/>
                </a:lnTo>
                <a:lnTo>
                  <a:pt x="44" y="14"/>
                </a:lnTo>
                <a:lnTo>
                  <a:pt x="36" y="20"/>
                </a:lnTo>
                <a:lnTo>
                  <a:pt x="32" y="20"/>
                </a:lnTo>
                <a:lnTo>
                  <a:pt x="28" y="22"/>
                </a:lnTo>
                <a:lnTo>
                  <a:pt x="24" y="22"/>
                </a:lnTo>
                <a:lnTo>
                  <a:pt x="18" y="18"/>
                </a:lnTo>
                <a:lnTo>
                  <a:pt x="14" y="12"/>
                </a:lnTo>
                <a:lnTo>
                  <a:pt x="8" y="4"/>
                </a:lnTo>
                <a:lnTo>
                  <a:pt x="4" y="0"/>
                </a:lnTo>
                <a:lnTo>
                  <a:pt x="4" y="4"/>
                </a:lnTo>
                <a:lnTo>
                  <a:pt x="2" y="12"/>
                </a:lnTo>
                <a:lnTo>
                  <a:pt x="0" y="12"/>
                </a:lnTo>
                <a:lnTo>
                  <a:pt x="2" y="22"/>
                </a:lnTo>
                <a:lnTo>
                  <a:pt x="4" y="30"/>
                </a:lnTo>
                <a:lnTo>
                  <a:pt x="6" y="40"/>
                </a:lnTo>
                <a:lnTo>
                  <a:pt x="8" y="52"/>
                </a:lnTo>
                <a:lnTo>
                  <a:pt x="14" y="52"/>
                </a:lnTo>
                <a:lnTo>
                  <a:pt x="18" y="62"/>
                </a:lnTo>
                <a:lnTo>
                  <a:pt x="26" y="70"/>
                </a:lnTo>
                <a:lnTo>
                  <a:pt x="36" y="74"/>
                </a:lnTo>
                <a:lnTo>
                  <a:pt x="46" y="78"/>
                </a:lnTo>
                <a:lnTo>
                  <a:pt x="40" y="90"/>
                </a:lnTo>
                <a:lnTo>
                  <a:pt x="38" y="98"/>
                </a:lnTo>
                <a:lnTo>
                  <a:pt x="36" y="106"/>
                </a:lnTo>
                <a:lnTo>
                  <a:pt x="38" y="112"/>
                </a:lnTo>
                <a:lnTo>
                  <a:pt x="40" y="118"/>
                </a:lnTo>
                <a:lnTo>
                  <a:pt x="46" y="124"/>
                </a:lnTo>
                <a:lnTo>
                  <a:pt x="50" y="128"/>
                </a:lnTo>
                <a:lnTo>
                  <a:pt x="62" y="136"/>
                </a:lnTo>
                <a:lnTo>
                  <a:pt x="70" y="142"/>
                </a:lnTo>
                <a:lnTo>
                  <a:pt x="74" y="146"/>
                </a:lnTo>
                <a:lnTo>
                  <a:pt x="74" y="152"/>
                </a:lnTo>
                <a:lnTo>
                  <a:pt x="76" y="162"/>
                </a:lnTo>
                <a:lnTo>
                  <a:pt x="80" y="166"/>
                </a:lnTo>
                <a:lnTo>
                  <a:pt x="86" y="172"/>
                </a:lnTo>
                <a:lnTo>
                  <a:pt x="90" y="176"/>
                </a:lnTo>
                <a:lnTo>
                  <a:pt x="92" y="182"/>
                </a:lnTo>
                <a:lnTo>
                  <a:pt x="94" y="18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1" name="Freeform 191">
            <a:extLst>
              <a:ext uri="{FF2B5EF4-FFF2-40B4-BE49-F238E27FC236}">
                <a16:creationId xmlns:a16="http://schemas.microsoft.com/office/drawing/2014/main" id="{5CA15793-47EB-4357-A13B-D335AF29027F}"/>
              </a:ext>
            </a:extLst>
          </p:cNvPr>
          <p:cNvSpPr>
            <a:spLocks/>
          </p:cNvSpPr>
          <p:nvPr/>
        </p:nvSpPr>
        <p:spPr bwMode="auto">
          <a:xfrm>
            <a:off x="5189386" y="2760130"/>
            <a:ext cx="123138" cy="139617"/>
          </a:xfrm>
          <a:custGeom>
            <a:avLst/>
            <a:gdLst/>
            <a:ahLst/>
            <a:cxnLst>
              <a:cxn ang="0">
                <a:pos x="0" y="76"/>
              </a:cxn>
              <a:cxn ang="0">
                <a:pos x="16" y="78"/>
              </a:cxn>
              <a:cxn ang="0">
                <a:pos x="20" y="74"/>
              </a:cxn>
              <a:cxn ang="0">
                <a:pos x="24" y="68"/>
              </a:cxn>
              <a:cxn ang="0">
                <a:pos x="30" y="64"/>
              </a:cxn>
              <a:cxn ang="0">
                <a:pos x="34" y="64"/>
              </a:cxn>
              <a:cxn ang="0">
                <a:pos x="38" y="58"/>
              </a:cxn>
              <a:cxn ang="0">
                <a:pos x="44" y="58"/>
              </a:cxn>
              <a:cxn ang="0">
                <a:pos x="32" y="32"/>
              </a:cxn>
              <a:cxn ang="0">
                <a:pos x="62" y="22"/>
              </a:cxn>
              <a:cxn ang="0">
                <a:pos x="54" y="0"/>
              </a:cxn>
              <a:cxn ang="0">
                <a:pos x="24" y="16"/>
              </a:cxn>
              <a:cxn ang="0">
                <a:pos x="22" y="16"/>
              </a:cxn>
              <a:cxn ang="0">
                <a:pos x="18" y="16"/>
              </a:cxn>
              <a:cxn ang="0">
                <a:pos x="14" y="12"/>
              </a:cxn>
              <a:cxn ang="0">
                <a:pos x="4" y="10"/>
              </a:cxn>
              <a:cxn ang="0">
                <a:pos x="4" y="12"/>
              </a:cxn>
              <a:cxn ang="0">
                <a:pos x="4" y="32"/>
              </a:cxn>
              <a:cxn ang="0">
                <a:pos x="6" y="32"/>
              </a:cxn>
              <a:cxn ang="0">
                <a:pos x="0" y="68"/>
              </a:cxn>
              <a:cxn ang="0">
                <a:pos x="0" y="72"/>
              </a:cxn>
              <a:cxn ang="0">
                <a:pos x="0" y="76"/>
              </a:cxn>
            </a:cxnLst>
            <a:rect l="0" t="0" r="r" b="b"/>
            <a:pathLst>
              <a:path w="62" h="78">
                <a:moveTo>
                  <a:pt x="0" y="76"/>
                </a:moveTo>
                <a:lnTo>
                  <a:pt x="16" y="78"/>
                </a:lnTo>
                <a:lnTo>
                  <a:pt x="20" y="74"/>
                </a:lnTo>
                <a:lnTo>
                  <a:pt x="24" y="68"/>
                </a:lnTo>
                <a:lnTo>
                  <a:pt x="30" y="64"/>
                </a:lnTo>
                <a:lnTo>
                  <a:pt x="34" y="64"/>
                </a:lnTo>
                <a:lnTo>
                  <a:pt x="38" y="58"/>
                </a:lnTo>
                <a:lnTo>
                  <a:pt x="44" y="58"/>
                </a:lnTo>
                <a:lnTo>
                  <a:pt x="32" y="32"/>
                </a:lnTo>
                <a:lnTo>
                  <a:pt x="62" y="22"/>
                </a:lnTo>
                <a:lnTo>
                  <a:pt x="54" y="0"/>
                </a:lnTo>
                <a:lnTo>
                  <a:pt x="24" y="16"/>
                </a:lnTo>
                <a:lnTo>
                  <a:pt x="22" y="16"/>
                </a:lnTo>
                <a:lnTo>
                  <a:pt x="18" y="16"/>
                </a:lnTo>
                <a:lnTo>
                  <a:pt x="14" y="12"/>
                </a:lnTo>
                <a:lnTo>
                  <a:pt x="4" y="10"/>
                </a:lnTo>
                <a:lnTo>
                  <a:pt x="4" y="12"/>
                </a:lnTo>
                <a:lnTo>
                  <a:pt x="4" y="32"/>
                </a:lnTo>
                <a:lnTo>
                  <a:pt x="6" y="32"/>
                </a:lnTo>
                <a:lnTo>
                  <a:pt x="0" y="68"/>
                </a:lnTo>
                <a:lnTo>
                  <a:pt x="0" y="72"/>
                </a:lnTo>
                <a:lnTo>
                  <a:pt x="0" y="7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2" name="Freeform 192">
            <a:extLst>
              <a:ext uri="{FF2B5EF4-FFF2-40B4-BE49-F238E27FC236}">
                <a16:creationId xmlns:a16="http://schemas.microsoft.com/office/drawing/2014/main" id="{34B59283-C97B-4A8B-B6AA-074FB65D8410}"/>
              </a:ext>
            </a:extLst>
          </p:cNvPr>
          <p:cNvSpPr>
            <a:spLocks/>
          </p:cNvSpPr>
          <p:nvPr/>
        </p:nvSpPr>
        <p:spPr bwMode="auto">
          <a:xfrm>
            <a:off x="5185963" y="2714670"/>
            <a:ext cx="35915" cy="53574"/>
          </a:xfrm>
          <a:custGeom>
            <a:avLst/>
            <a:gdLst/>
            <a:ahLst/>
            <a:cxnLst>
              <a:cxn ang="0">
                <a:pos x="0" y="30"/>
              </a:cxn>
              <a:cxn ang="0">
                <a:pos x="8" y="0"/>
              </a:cxn>
              <a:cxn ang="0">
                <a:pos x="18" y="4"/>
              </a:cxn>
              <a:cxn ang="0">
                <a:pos x="16" y="12"/>
              </a:cxn>
              <a:cxn ang="0">
                <a:pos x="12" y="14"/>
              </a:cxn>
              <a:cxn ang="0">
                <a:pos x="8" y="14"/>
              </a:cxn>
              <a:cxn ang="0">
                <a:pos x="10" y="18"/>
              </a:cxn>
              <a:cxn ang="0">
                <a:pos x="12" y="20"/>
              </a:cxn>
              <a:cxn ang="0">
                <a:pos x="10" y="26"/>
              </a:cxn>
              <a:cxn ang="0">
                <a:pos x="6" y="30"/>
              </a:cxn>
              <a:cxn ang="0">
                <a:pos x="0" y="30"/>
              </a:cxn>
            </a:cxnLst>
            <a:rect l="0" t="0" r="r" b="b"/>
            <a:pathLst>
              <a:path w="18" h="30">
                <a:moveTo>
                  <a:pt x="0" y="30"/>
                </a:moveTo>
                <a:lnTo>
                  <a:pt x="8" y="0"/>
                </a:lnTo>
                <a:lnTo>
                  <a:pt x="18" y="4"/>
                </a:lnTo>
                <a:lnTo>
                  <a:pt x="16" y="12"/>
                </a:lnTo>
                <a:lnTo>
                  <a:pt x="12" y="14"/>
                </a:lnTo>
                <a:lnTo>
                  <a:pt x="8" y="14"/>
                </a:lnTo>
                <a:lnTo>
                  <a:pt x="10" y="18"/>
                </a:lnTo>
                <a:lnTo>
                  <a:pt x="12" y="20"/>
                </a:lnTo>
                <a:lnTo>
                  <a:pt x="10" y="26"/>
                </a:lnTo>
                <a:lnTo>
                  <a:pt x="6" y="30"/>
                </a:lnTo>
                <a:lnTo>
                  <a:pt x="0" y="3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3" name="Freeform 193">
            <a:extLst>
              <a:ext uri="{FF2B5EF4-FFF2-40B4-BE49-F238E27FC236}">
                <a16:creationId xmlns:a16="http://schemas.microsoft.com/office/drawing/2014/main" id="{97FE0E98-D9C8-4AAB-9BBA-54520FD0F3B6}"/>
              </a:ext>
            </a:extLst>
          </p:cNvPr>
          <p:cNvSpPr>
            <a:spLocks/>
          </p:cNvSpPr>
          <p:nvPr/>
        </p:nvSpPr>
        <p:spPr bwMode="auto">
          <a:xfrm>
            <a:off x="5182543" y="2782855"/>
            <a:ext cx="18813" cy="35716"/>
          </a:xfrm>
          <a:custGeom>
            <a:avLst/>
            <a:gdLst/>
            <a:ahLst/>
            <a:cxnLst>
              <a:cxn ang="0">
                <a:pos x="8" y="20"/>
              </a:cxn>
              <a:cxn ang="0">
                <a:pos x="8" y="0"/>
              </a:cxn>
              <a:cxn ang="0">
                <a:pos x="4" y="0"/>
              </a:cxn>
              <a:cxn ang="0">
                <a:pos x="0" y="20"/>
              </a:cxn>
              <a:cxn ang="0">
                <a:pos x="10" y="20"/>
              </a:cxn>
              <a:cxn ang="0">
                <a:pos x="8" y="20"/>
              </a:cxn>
            </a:cxnLst>
            <a:rect l="0" t="0" r="r" b="b"/>
            <a:pathLst>
              <a:path w="10" h="20">
                <a:moveTo>
                  <a:pt x="8" y="20"/>
                </a:moveTo>
                <a:lnTo>
                  <a:pt x="8" y="0"/>
                </a:lnTo>
                <a:lnTo>
                  <a:pt x="4" y="0"/>
                </a:lnTo>
                <a:lnTo>
                  <a:pt x="0" y="20"/>
                </a:lnTo>
                <a:lnTo>
                  <a:pt x="10" y="20"/>
                </a:lnTo>
                <a:lnTo>
                  <a:pt x="8" y="2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4" name="Freeform 194">
            <a:extLst>
              <a:ext uri="{FF2B5EF4-FFF2-40B4-BE49-F238E27FC236}">
                <a16:creationId xmlns:a16="http://schemas.microsoft.com/office/drawing/2014/main" id="{FC8D7A76-8B97-43FF-A3F2-A88F27645061}"/>
              </a:ext>
            </a:extLst>
          </p:cNvPr>
          <p:cNvSpPr>
            <a:spLocks/>
          </p:cNvSpPr>
          <p:nvPr/>
        </p:nvSpPr>
        <p:spPr bwMode="auto">
          <a:xfrm>
            <a:off x="5232141" y="1628576"/>
            <a:ext cx="53018" cy="29222"/>
          </a:xfrm>
          <a:custGeom>
            <a:avLst/>
            <a:gdLst/>
            <a:ahLst/>
            <a:cxnLst>
              <a:cxn ang="0">
                <a:pos x="26" y="10"/>
              </a:cxn>
              <a:cxn ang="0">
                <a:pos x="20" y="14"/>
              </a:cxn>
              <a:cxn ang="0">
                <a:pos x="14" y="16"/>
              </a:cxn>
              <a:cxn ang="0">
                <a:pos x="8" y="16"/>
              </a:cxn>
              <a:cxn ang="0">
                <a:pos x="4" y="12"/>
              </a:cxn>
              <a:cxn ang="0">
                <a:pos x="2" y="8"/>
              </a:cxn>
              <a:cxn ang="0">
                <a:pos x="0" y="2"/>
              </a:cxn>
              <a:cxn ang="0">
                <a:pos x="8" y="0"/>
              </a:cxn>
              <a:cxn ang="0">
                <a:pos x="12" y="2"/>
              </a:cxn>
              <a:cxn ang="0">
                <a:pos x="16" y="2"/>
              </a:cxn>
              <a:cxn ang="0">
                <a:pos x="20" y="4"/>
              </a:cxn>
              <a:cxn ang="0">
                <a:pos x="26" y="10"/>
              </a:cxn>
            </a:cxnLst>
            <a:rect l="0" t="0" r="r" b="b"/>
            <a:pathLst>
              <a:path w="26" h="16">
                <a:moveTo>
                  <a:pt x="26" y="10"/>
                </a:moveTo>
                <a:lnTo>
                  <a:pt x="20" y="14"/>
                </a:lnTo>
                <a:lnTo>
                  <a:pt x="14" y="16"/>
                </a:lnTo>
                <a:lnTo>
                  <a:pt x="8" y="16"/>
                </a:lnTo>
                <a:lnTo>
                  <a:pt x="4" y="12"/>
                </a:lnTo>
                <a:lnTo>
                  <a:pt x="2" y="8"/>
                </a:lnTo>
                <a:lnTo>
                  <a:pt x="0" y="2"/>
                </a:lnTo>
                <a:lnTo>
                  <a:pt x="8" y="0"/>
                </a:lnTo>
                <a:lnTo>
                  <a:pt x="12" y="2"/>
                </a:lnTo>
                <a:lnTo>
                  <a:pt x="16" y="2"/>
                </a:lnTo>
                <a:lnTo>
                  <a:pt x="20" y="4"/>
                </a:lnTo>
                <a:lnTo>
                  <a:pt x="26" y="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5" name="Freeform 195">
            <a:extLst>
              <a:ext uri="{FF2B5EF4-FFF2-40B4-BE49-F238E27FC236}">
                <a16:creationId xmlns:a16="http://schemas.microsoft.com/office/drawing/2014/main" id="{90E37779-D887-4172-815A-92B3484D9089}"/>
              </a:ext>
            </a:extLst>
          </p:cNvPr>
          <p:cNvSpPr>
            <a:spLocks/>
          </p:cNvSpPr>
          <p:nvPr/>
        </p:nvSpPr>
        <p:spPr bwMode="auto">
          <a:xfrm>
            <a:off x="5273189" y="1435384"/>
            <a:ext cx="289032" cy="168840"/>
          </a:xfrm>
          <a:custGeom>
            <a:avLst/>
            <a:gdLst/>
            <a:ahLst/>
            <a:cxnLst>
              <a:cxn ang="0">
                <a:pos x="38" y="94"/>
              </a:cxn>
              <a:cxn ang="0">
                <a:pos x="34" y="92"/>
              </a:cxn>
              <a:cxn ang="0">
                <a:pos x="30" y="86"/>
              </a:cxn>
              <a:cxn ang="0">
                <a:pos x="24" y="76"/>
              </a:cxn>
              <a:cxn ang="0">
                <a:pos x="16" y="76"/>
              </a:cxn>
              <a:cxn ang="0">
                <a:pos x="8" y="76"/>
              </a:cxn>
              <a:cxn ang="0">
                <a:pos x="4" y="74"/>
              </a:cxn>
              <a:cxn ang="0">
                <a:pos x="0" y="72"/>
              </a:cxn>
              <a:cxn ang="0">
                <a:pos x="0" y="70"/>
              </a:cxn>
              <a:cxn ang="0">
                <a:pos x="4" y="68"/>
              </a:cxn>
              <a:cxn ang="0">
                <a:pos x="6" y="66"/>
              </a:cxn>
              <a:cxn ang="0">
                <a:pos x="10" y="60"/>
              </a:cxn>
              <a:cxn ang="0">
                <a:pos x="12" y="54"/>
              </a:cxn>
              <a:cxn ang="0">
                <a:pos x="16" y="54"/>
              </a:cxn>
              <a:cxn ang="0">
                <a:pos x="22" y="52"/>
              </a:cxn>
              <a:cxn ang="0">
                <a:pos x="24" y="42"/>
              </a:cxn>
              <a:cxn ang="0">
                <a:pos x="26" y="34"/>
              </a:cxn>
              <a:cxn ang="0">
                <a:pos x="30" y="28"/>
              </a:cxn>
              <a:cxn ang="0">
                <a:pos x="36" y="22"/>
              </a:cxn>
              <a:cxn ang="0">
                <a:pos x="52" y="16"/>
              </a:cxn>
              <a:cxn ang="0">
                <a:pos x="68" y="10"/>
              </a:cxn>
              <a:cxn ang="0">
                <a:pos x="100" y="10"/>
              </a:cxn>
              <a:cxn ang="0">
                <a:pos x="114" y="2"/>
              </a:cxn>
              <a:cxn ang="0">
                <a:pos x="122" y="0"/>
              </a:cxn>
              <a:cxn ang="0">
                <a:pos x="132" y="0"/>
              </a:cxn>
              <a:cxn ang="0">
                <a:pos x="140" y="0"/>
              </a:cxn>
              <a:cxn ang="0">
                <a:pos x="146" y="2"/>
              </a:cxn>
              <a:cxn ang="0">
                <a:pos x="146" y="6"/>
              </a:cxn>
              <a:cxn ang="0">
                <a:pos x="144" y="10"/>
              </a:cxn>
              <a:cxn ang="0">
                <a:pos x="138" y="12"/>
              </a:cxn>
              <a:cxn ang="0">
                <a:pos x="124" y="16"/>
              </a:cxn>
              <a:cxn ang="0">
                <a:pos x="86" y="26"/>
              </a:cxn>
              <a:cxn ang="0">
                <a:pos x="70" y="32"/>
              </a:cxn>
              <a:cxn ang="0">
                <a:pos x="56" y="40"/>
              </a:cxn>
              <a:cxn ang="0">
                <a:pos x="52" y="44"/>
              </a:cxn>
              <a:cxn ang="0">
                <a:pos x="46" y="50"/>
              </a:cxn>
              <a:cxn ang="0">
                <a:pos x="42" y="56"/>
              </a:cxn>
              <a:cxn ang="0">
                <a:pos x="40" y="62"/>
              </a:cxn>
              <a:cxn ang="0">
                <a:pos x="42" y="70"/>
              </a:cxn>
              <a:cxn ang="0">
                <a:pos x="46" y="74"/>
              </a:cxn>
              <a:cxn ang="0">
                <a:pos x="50" y="78"/>
              </a:cxn>
              <a:cxn ang="0">
                <a:pos x="56" y="80"/>
              </a:cxn>
              <a:cxn ang="0">
                <a:pos x="68" y="86"/>
              </a:cxn>
              <a:cxn ang="0">
                <a:pos x="74" y="88"/>
              </a:cxn>
              <a:cxn ang="0">
                <a:pos x="78" y="92"/>
              </a:cxn>
              <a:cxn ang="0">
                <a:pos x="68" y="92"/>
              </a:cxn>
              <a:cxn ang="0">
                <a:pos x="58" y="92"/>
              </a:cxn>
              <a:cxn ang="0">
                <a:pos x="38" y="94"/>
              </a:cxn>
            </a:cxnLst>
            <a:rect l="0" t="0" r="r" b="b"/>
            <a:pathLst>
              <a:path w="146" h="94">
                <a:moveTo>
                  <a:pt x="38" y="94"/>
                </a:moveTo>
                <a:lnTo>
                  <a:pt x="34" y="92"/>
                </a:lnTo>
                <a:lnTo>
                  <a:pt x="30" y="86"/>
                </a:lnTo>
                <a:lnTo>
                  <a:pt x="24" y="76"/>
                </a:lnTo>
                <a:lnTo>
                  <a:pt x="16" y="76"/>
                </a:lnTo>
                <a:lnTo>
                  <a:pt x="8" y="76"/>
                </a:lnTo>
                <a:lnTo>
                  <a:pt x="4" y="74"/>
                </a:lnTo>
                <a:lnTo>
                  <a:pt x="0" y="72"/>
                </a:lnTo>
                <a:lnTo>
                  <a:pt x="0" y="70"/>
                </a:lnTo>
                <a:lnTo>
                  <a:pt x="4" y="68"/>
                </a:lnTo>
                <a:lnTo>
                  <a:pt x="6" y="66"/>
                </a:lnTo>
                <a:lnTo>
                  <a:pt x="10" y="60"/>
                </a:lnTo>
                <a:lnTo>
                  <a:pt x="12" y="54"/>
                </a:lnTo>
                <a:lnTo>
                  <a:pt x="16" y="54"/>
                </a:lnTo>
                <a:lnTo>
                  <a:pt x="22" y="52"/>
                </a:lnTo>
                <a:lnTo>
                  <a:pt x="24" y="42"/>
                </a:lnTo>
                <a:lnTo>
                  <a:pt x="26" y="34"/>
                </a:lnTo>
                <a:lnTo>
                  <a:pt x="30" y="28"/>
                </a:lnTo>
                <a:lnTo>
                  <a:pt x="36" y="22"/>
                </a:lnTo>
                <a:lnTo>
                  <a:pt x="52" y="16"/>
                </a:lnTo>
                <a:lnTo>
                  <a:pt x="68" y="10"/>
                </a:lnTo>
                <a:lnTo>
                  <a:pt x="100" y="10"/>
                </a:lnTo>
                <a:lnTo>
                  <a:pt x="114" y="2"/>
                </a:lnTo>
                <a:lnTo>
                  <a:pt x="122" y="0"/>
                </a:lnTo>
                <a:lnTo>
                  <a:pt x="132" y="0"/>
                </a:lnTo>
                <a:lnTo>
                  <a:pt x="140" y="0"/>
                </a:lnTo>
                <a:lnTo>
                  <a:pt x="146" y="2"/>
                </a:lnTo>
                <a:lnTo>
                  <a:pt x="146" y="6"/>
                </a:lnTo>
                <a:lnTo>
                  <a:pt x="144" y="10"/>
                </a:lnTo>
                <a:lnTo>
                  <a:pt x="138" y="12"/>
                </a:lnTo>
                <a:lnTo>
                  <a:pt x="124" y="16"/>
                </a:lnTo>
                <a:lnTo>
                  <a:pt x="86" y="26"/>
                </a:lnTo>
                <a:lnTo>
                  <a:pt x="70" y="32"/>
                </a:lnTo>
                <a:lnTo>
                  <a:pt x="56" y="40"/>
                </a:lnTo>
                <a:lnTo>
                  <a:pt x="52" y="44"/>
                </a:lnTo>
                <a:lnTo>
                  <a:pt x="46" y="50"/>
                </a:lnTo>
                <a:lnTo>
                  <a:pt x="42" y="56"/>
                </a:lnTo>
                <a:lnTo>
                  <a:pt x="40" y="62"/>
                </a:lnTo>
                <a:lnTo>
                  <a:pt x="42" y="70"/>
                </a:lnTo>
                <a:lnTo>
                  <a:pt x="46" y="74"/>
                </a:lnTo>
                <a:lnTo>
                  <a:pt x="50" y="78"/>
                </a:lnTo>
                <a:lnTo>
                  <a:pt x="56" y="80"/>
                </a:lnTo>
                <a:lnTo>
                  <a:pt x="68" y="86"/>
                </a:lnTo>
                <a:lnTo>
                  <a:pt x="74" y="88"/>
                </a:lnTo>
                <a:lnTo>
                  <a:pt x="78" y="92"/>
                </a:lnTo>
                <a:lnTo>
                  <a:pt x="68" y="92"/>
                </a:lnTo>
                <a:lnTo>
                  <a:pt x="58" y="92"/>
                </a:lnTo>
                <a:lnTo>
                  <a:pt x="38" y="9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6" name="Freeform 196">
            <a:extLst>
              <a:ext uri="{FF2B5EF4-FFF2-40B4-BE49-F238E27FC236}">
                <a16:creationId xmlns:a16="http://schemas.microsoft.com/office/drawing/2014/main" id="{5AD47F9A-2251-4EF6-9758-BAB019413AC9}"/>
              </a:ext>
            </a:extLst>
          </p:cNvPr>
          <p:cNvSpPr>
            <a:spLocks/>
          </p:cNvSpPr>
          <p:nvPr/>
        </p:nvSpPr>
        <p:spPr bwMode="auto">
          <a:xfrm>
            <a:off x="5928214" y="1342847"/>
            <a:ext cx="210361" cy="53574"/>
          </a:xfrm>
          <a:custGeom>
            <a:avLst/>
            <a:gdLst/>
            <a:ahLst/>
            <a:cxnLst>
              <a:cxn ang="0">
                <a:pos x="106" y="26"/>
              </a:cxn>
              <a:cxn ang="0">
                <a:pos x="98" y="28"/>
              </a:cxn>
              <a:cxn ang="0">
                <a:pos x="92" y="28"/>
              </a:cxn>
              <a:cxn ang="0">
                <a:pos x="82" y="26"/>
              </a:cxn>
              <a:cxn ang="0">
                <a:pos x="80" y="28"/>
              </a:cxn>
              <a:cxn ang="0">
                <a:pos x="78" y="30"/>
              </a:cxn>
              <a:cxn ang="0">
                <a:pos x="64" y="28"/>
              </a:cxn>
              <a:cxn ang="0">
                <a:pos x="50" y="24"/>
              </a:cxn>
              <a:cxn ang="0">
                <a:pos x="44" y="22"/>
              </a:cxn>
              <a:cxn ang="0">
                <a:pos x="38" y="18"/>
              </a:cxn>
              <a:cxn ang="0">
                <a:pos x="36" y="14"/>
              </a:cxn>
              <a:cxn ang="0">
                <a:pos x="36" y="10"/>
              </a:cxn>
              <a:cxn ang="0">
                <a:pos x="20" y="10"/>
              </a:cxn>
              <a:cxn ang="0">
                <a:pos x="10" y="10"/>
              </a:cxn>
              <a:cxn ang="0">
                <a:pos x="4" y="8"/>
              </a:cxn>
              <a:cxn ang="0">
                <a:pos x="2" y="6"/>
              </a:cxn>
              <a:cxn ang="0">
                <a:pos x="0" y="4"/>
              </a:cxn>
              <a:cxn ang="0">
                <a:pos x="2" y="2"/>
              </a:cxn>
              <a:cxn ang="0">
                <a:pos x="4" y="2"/>
              </a:cxn>
              <a:cxn ang="0">
                <a:pos x="12" y="0"/>
              </a:cxn>
              <a:cxn ang="0">
                <a:pos x="24" y="0"/>
              </a:cxn>
              <a:cxn ang="0">
                <a:pos x="34" y="0"/>
              </a:cxn>
              <a:cxn ang="0">
                <a:pos x="44" y="2"/>
              </a:cxn>
              <a:cxn ang="0">
                <a:pos x="52" y="4"/>
              </a:cxn>
              <a:cxn ang="0">
                <a:pos x="54" y="8"/>
              </a:cxn>
              <a:cxn ang="0">
                <a:pos x="54" y="10"/>
              </a:cxn>
              <a:cxn ang="0">
                <a:pos x="48" y="10"/>
              </a:cxn>
              <a:cxn ang="0">
                <a:pos x="60" y="12"/>
              </a:cxn>
              <a:cxn ang="0">
                <a:pos x="66" y="14"/>
              </a:cxn>
              <a:cxn ang="0">
                <a:pos x="70" y="14"/>
              </a:cxn>
              <a:cxn ang="0">
                <a:pos x="74" y="14"/>
              </a:cxn>
              <a:cxn ang="0">
                <a:pos x="78" y="12"/>
              </a:cxn>
              <a:cxn ang="0">
                <a:pos x="86" y="14"/>
              </a:cxn>
              <a:cxn ang="0">
                <a:pos x="92" y="16"/>
              </a:cxn>
              <a:cxn ang="0">
                <a:pos x="102" y="26"/>
              </a:cxn>
              <a:cxn ang="0">
                <a:pos x="106" y="26"/>
              </a:cxn>
            </a:cxnLst>
            <a:rect l="0" t="0" r="r" b="b"/>
            <a:pathLst>
              <a:path w="106" h="30">
                <a:moveTo>
                  <a:pt x="106" y="26"/>
                </a:moveTo>
                <a:lnTo>
                  <a:pt x="98" y="28"/>
                </a:lnTo>
                <a:lnTo>
                  <a:pt x="92" y="28"/>
                </a:lnTo>
                <a:lnTo>
                  <a:pt x="82" y="26"/>
                </a:lnTo>
                <a:lnTo>
                  <a:pt x="80" y="28"/>
                </a:lnTo>
                <a:lnTo>
                  <a:pt x="78" y="30"/>
                </a:lnTo>
                <a:lnTo>
                  <a:pt x="64" y="28"/>
                </a:lnTo>
                <a:lnTo>
                  <a:pt x="50" y="24"/>
                </a:lnTo>
                <a:lnTo>
                  <a:pt x="44" y="22"/>
                </a:lnTo>
                <a:lnTo>
                  <a:pt x="38" y="18"/>
                </a:lnTo>
                <a:lnTo>
                  <a:pt x="36" y="14"/>
                </a:lnTo>
                <a:lnTo>
                  <a:pt x="36" y="10"/>
                </a:lnTo>
                <a:lnTo>
                  <a:pt x="20" y="10"/>
                </a:lnTo>
                <a:lnTo>
                  <a:pt x="10" y="10"/>
                </a:lnTo>
                <a:lnTo>
                  <a:pt x="4" y="8"/>
                </a:lnTo>
                <a:lnTo>
                  <a:pt x="2" y="6"/>
                </a:lnTo>
                <a:lnTo>
                  <a:pt x="0" y="4"/>
                </a:lnTo>
                <a:lnTo>
                  <a:pt x="2" y="2"/>
                </a:lnTo>
                <a:lnTo>
                  <a:pt x="4" y="2"/>
                </a:lnTo>
                <a:lnTo>
                  <a:pt x="12" y="0"/>
                </a:lnTo>
                <a:lnTo>
                  <a:pt x="24" y="0"/>
                </a:lnTo>
                <a:lnTo>
                  <a:pt x="34" y="0"/>
                </a:lnTo>
                <a:lnTo>
                  <a:pt x="44" y="2"/>
                </a:lnTo>
                <a:lnTo>
                  <a:pt x="52" y="4"/>
                </a:lnTo>
                <a:lnTo>
                  <a:pt x="54" y="8"/>
                </a:lnTo>
                <a:lnTo>
                  <a:pt x="54" y="10"/>
                </a:lnTo>
                <a:lnTo>
                  <a:pt x="48" y="10"/>
                </a:lnTo>
                <a:lnTo>
                  <a:pt x="60" y="12"/>
                </a:lnTo>
                <a:lnTo>
                  <a:pt x="66" y="14"/>
                </a:lnTo>
                <a:lnTo>
                  <a:pt x="70" y="14"/>
                </a:lnTo>
                <a:lnTo>
                  <a:pt x="74" y="14"/>
                </a:lnTo>
                <a:lnTo>
                  <a:pt x="78" y="12"/>
                </a:lnTo>
                <a:lnTo>
                  <a:pt x="86" y="14"/>
                </a:lnTo>
                <a:lnTo>
                  <a:pt x="92" y="16"/>
                </a:lnTo>
                <a:lnTo>
                  <a:pt x="102" y="26"/>
                </a:lnTo>
                <a:lnTo>
                  <a:pt x="106" y="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7" name="Freeform 197">
            <a:extLst>
              <a:ext uri="{FF2B5EF4-FFF2-40B4-BE49-F238E27FC236}">
                <a16:creationId xmlns:a16="http://schemas.microsoft.com/office/drawing/2014/main" id="{8C116CCA-A036-48BE-9A71-1F126A52DF9D}"/>
              </a:ext>
            </a:extLst>
          </p:cNvPr>
          <p:cNvSpPr>
            <a:spLocks/>
          </p:cNvSpPr>
          <p:nvPr/>
        </p:nvSpPr>
        <p:spPr bwMode="auto">
          <a:xfrm>
            <a:off x="6159096" y="1378566"/>
            <a:ext cx="100906" cy="38963"/>
          </a:xfrm>
          <a:custGeom>
            <a:avLst/>
            <a:gdLst/>
            <a:ahLst/>
            <a:cxnLst>
              <a:cxn ang="0">
                <a:pos x="6" y="22"/>
              </a:cxn>
              <a:cxn ang="0">
                <a:pos x="4" y="22"/>
              </a:cxn>
              <a:cxn ang="0">
                <a:pos x="2" y="20"/>
              </a:cxn>
              <a:cxn ang="0">
                <a:pos x="0" y="18"/>
              </a:cxn>
              <a:cxn ang="0">
                <a:pos x="0" y="6"/>
              </a:cxn>
              <a:cxn ang="0">
                <a:pos x="4" y="2"/>
              </a:cxn>
              <a:cxn ang="0">
                <a:pos x="6" y="0"/>
              </a:cxn>
              <a:cxn ang="0">
                <a:pos x="14" y="0"/>
              </a:cxn>
              <a:cxn ang="0">
                <a:pos x="20" y="4"/>
              </a:cxn>
              <a:cxn ang="0">
                <a:pos x="32" y="6"/>
              </a:cxn>
              <a:cxn ang="0">
                <a:pos x="52" y="10"/>
              </a:cxn>
              <a:cxn ang="0">
                <a:pos x="50" y="14"/>
              </a:cxn>
              <a:cxn ang="0">
                <a:pos x="46" y="16"/>
              </a:cxn>
              <a:cxn ang="0">
                <a:pos x="40" y="18"/>
              </a:cxn>
              <a:cxn ang="0">
                <a:pos x="28" y="18"/>
              </a:cxn>
              <a:cxn ang="0">
                <a:pos x="20" y="20"/>
              </a:cxn>
              <a:cxn ang="0">
                <a:pos x="14" y="22"/>
              </a:cxn>
              <a:cxn ang="0">
                <a:pos x="6" y="22"/>
              </a:cxn>
            </a:cxnLst>
            <a:rect l="0" t="0" r="r" b="b"/>
            <a:pathLst>
              <a:path w="52" h="22">
                <a:moveTo>
                  <a:pt x="6" y="22"/>
                </a:moveTo>
                <a:lnTo>
                  <a:pt x="4" y="22"/>
                </a:lnTo>
                <a:lnTo>
                  <a:pt x="2" y="20"/>
                </a:lnTo>
                <a:lnTo>
                  <a:pt x="0" y="18"/>
                </a:lnTo>
                <a:lnTo>
                  <a:pt x="0" y="6"/>
                </a:lnTo>
                <a:lnTo>
                  <a:pt x="4" y="2"/>
                </a:lnTo>
                <a:lnTo>
                  <a:pt x="6" y="0"/>
                </a:lnTo>
                <a:lnTo>
                  <a:pt x="14" y="0"/>
                </a:lnTo>
                <a:lnTo>
                  <a:pt x="20" y="4"/>
                </a:lnTo>
                <a:lnTo>
                  <a:pt x="32" y="6"/>
                </a:lnTo>
                <a:lnTo>
                  <a:pt x="52" y="10"/>
                </a:lnTo>
                <a:lnTo>
                  <a:pt x="50" y="14"/>
                </a:lnTo>
                <a:lnTo>
                  <a:pt x="46" y="16"/>
                </a:lnTo>
                <a:lnTo>
                  <a:pt x="40" y="18"/>
                </a:lnTo>
                <a:lnTo>
                  <a:pt x="28" y="18"/>
                </a:lnTo>
                <a:lnTo>
                  <a:pt x="20" y="20"/>
                </a:lnTo>
                <a:lnTo>
                  <a:pt x="14" y="22"/>
                </a:lnTo>
                <a:lnTo>
                  <a:pt x="6" y="2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8" name="Freeform 198">
            <a:extLst>
              <a:ext uri="{FF2B5EF4-FFF2-40B4-BE49-F238E27FC236}">
                <a16:creationId xmlns:a16="http://schemas.microsoft.com/office/drawing/2014/main" id="{321591A4-B285-4FF3-A423-0F9AE52FBB6E}"/>
              </a:ext>
            </a:extLst>
          </p:cNvPr>
          <p:cNvSpPr>
            <a:spLocks/>
          </p:cNvSpPr>
          <p:nvPr/>
        </p:nvSpPr>
        <p:spPr bwMode="auto">
          <a:xfrm>
            <a:off x="7034744" y="1453245"/>
            <a:ext cx="182997" cy="32469"/>
          </a:xfrm>
          <a:custGeom>
            <a:avLst/>
            <a:gdLst/>
            <a:ahLst/>
            <a:cxnLst>
              <a:cxn ang="0">
                <a:pos x="72" y="12"/>
              </a:cxn>
              <a:cxn ang="0">
                <a:pos x="72" y="18"/>
              </a:cxn>
              <a:cxn ang="0">
                <a:pos x="38" y="18"/>
              </a:cxn>
              <a:cxn ang="0">
                <a:pos x="28" y="18"/>
              </a:cxn>
              <a:cxn ang="0">
                <a:pos x="14" y="18"/>
              </a:cxn>
              <a:cxn ang="0">
                <a:pos x="10" y="16"/>
              </a:cxn>
              <a:cxn ang="0">
                <a:pos x="4" y="12"/>
              </a:cxn>
              <a:cxn ang="0">
                <a:pos x="0" y="10"/>
              </a:cxn>
              <a:cxn ang="0">
                <a:pos x="0" y="6"/>
              </a:cxn>
              <a:cxn ang="0">
                <a:pos x="0" y="4"/>
              </a:cxn>
              <a:cxn ang="0">
                <a:pos x="4" y="2"/>
              </a:cxn>
              <a:cxn ang="0">
                <a:pos x="10" y="0"/>
              </a:cxn>
              <a:cxn ang="0">
                <a:pos x="14" y="0"/>
              </a:cxn>
              <a:cxn ang="0">
                <a:pos x="20" y="4"/>
              </a:cxn>
              <a:cxn ang="0">
                <a:pos x="26" y="6"/>
              </a:cxn>
              <a:cxn ang="0">
                <a:pos x="32" y="6"/>
              </a:cxn>
              <a:cxn ang="0">
                <a:pos x="36" y="6"/>
              </a:cxn>
              <a:cxn ang="0">
                <a:pos x="36" y="4"/>
              </a:cxn>
              <a:cxn ang="0">
                <a:pos x="38" y="2"/>
              </a:cxn>
              <a:cxn ang="0">
                <a:pos x="40" y="2"/>
              </a:cxn>
              <a:cxn ang="0">
                <a:pos x="54" y="2"/>
              </a:cxn>
              <a:cxn ang="0">
                <a:pos x="68" y="4"/>
              </a:cxn>
              <a:cxn ang="0">
                <a:pos x="84" y="6"/>
              </a:cxn>
              <a:cxn ang="0">
                <a:pos x="90" y="8"/>
              </a:cxn>
              <a:cxn ang="0">
                <a:pos x="92" y="12"/>
              </a:cxn>
              <a:cxn ang="0">
                <a:pos x="82" y="16"/>
              </a:cxn>
              <a:cxn ang="0">
                <a:pos x="76" y="16"/>
              </a:cxn>
              <a:cxn ang="0">
                <a:pos x="72" y="12"/>
              </a:cxn>
            </a:cxnLst>
            <a:rect l="0" t="0" r="r" b="b"/>
            <a:pathLst>
              <a:path w="92" h="18">
                <a:moveTo>
                  <a:pt x="72" y="12"/>
                </a:moveTo>
                <a:lnTo>
                  <a:pt x="72" y="18"/>
                </a:lnTo>
                <a:lnTo>
                  <a:pt x="38" y="18"/>
                </a:lnTo>
                <a:lnTo>
                  <a:pt x="28" y="18"/>
                </a:lnTo>
                <a:lnTo>
                  <a:pt x="14" y="18"/>
                </a:lnTo>
                <a:lnTo>
                  <a:pt x="10" y="16"/>
                </a:lnTo>
                <a:lnTo>
                  <a:pt x="4" y="12"/>
                </a:lnTo>
                <a:lnTo>
                  <a:pt x="0" y="10"/>
                </a:lnTo>
                <a:lnTo>
                  <a:pt x="0" y="6"/>
                </a:lnTo>
                <a:lnTo>
                  <a:pt x="0" y="4"/>
                </a:lnTo>
                <a:lnTo>
                  <a:pt x="4" y="2"/>
                </a:lnTo>
                <a:lnTo>
                  <a:pt x="10" y="0"/>
                </a:lnTo>
                <a:lnTo>
                  <a:pt x="14" y="0"/>
                </a:lnTo>
                <a:lnTo>
                  <a:pt x="20" y="4"/>
                </a:lnTo>
                <a:lnTo>
                  <a:pt x="26" y="6"/>
                </a:lnTo>
                <a:lnTo>
                  <a:pt x="32" y="6"/>
                </a:lnTo>
                <a:lnTo>
                  <a:pt x="36" y="6"/>
                </a:lnTo>
                <a:lnTo>
                  <a:pt x="36" y="4"/>
                </a:lnTo>
                <a:lnTo>
                  <a:pt x="38" y="2"/>
                </a:lnTo>
                <a:lnTo>
                  <a:pt x="40" y="2"/>
                </a:lnTo>
                <a:lnTo>
                  <a:pt x="54" y="2"/>
                </a:lnTo>
                <a:lnTo>
                  <a:pt x="68" y="4"/>
                </a:lnTo>
                <a:lnTo>
                  <a:pt x="84" y="6"/>
                </a:lnTo>
                <a:lnTo>
                  <a:pt x="90" y="8"/>
                </a:lnTo>
                <a:lnTo>
                  <a:pt x="92" y="12"/>
                </a:lnTo>
                <a:lnTo>
                  <a:pt x="82" y="16"/>
                </a:lnTo>
                <a:lnTo>
                  <a:pt x="76" y="16"/>
                </a:lnTo>
                <a:lnTo>
                  <a:pt x="72" y="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9" name="Freeform 199">
            <a:extLst>
              <a:ext uri="{FF2B5EF4-FFF2-40B4-BE49-F238E27FC236}">
                <a16:creationId xmlns:a16="http://schemas.microsoft.com/office/drawing/2014/main" id="{8D471B5D-81C1-4D52-92BB-2F685DFEEA41}"/>
              </a:ext>
            </a:extLst>
          </p:cNvPr>
          <p:cNvSpPr>
            <a:spLocks/>
          </p:cNvSpPr>
          <p:nvPr/>
        </p:nvSpPr>
        <p:spPr bwMode="auto">
          <a:xfrm>
            <a:off x="7243394" y="1464610"/>
            <a:ext cx="104325" cy="27599"/>
          </a:xfrm>
          <a:custGeom>
            <a:avLst/>
            <a:gdLst/>
            <a:ahLst/>
            <a:cxnLst>
              <a:cxn ang="0">
                <a:pos x="42" y="16"/>
              </a:cxn>
              <a:cxn ang="0">
                <a:pos x="32" y="16"/>
              </a:cxn>
              <a:cxn ang="0">
                <a:pos x="18" y="12"/>
              </a:cxn>
              <a:cxn ang="0">
                <a:pos x="6" y="8"/>
              </a:cxn>
              <a:cxn ang="0">
                <a:pos x="2" y="4"/>
              </a:cxn>
              <a:cxn ang="0">
                <a:pos x="0" y="0"/>
              </a:cxn>
              <a:cxn ang="0">
                <a:pos x="8" y="0"/>
              </a:cxn>
              <a:cxn ang="0">
                <a:pos x="18" y="4"/>
              </a:cxn>
              <a:cxn ang="0">
                <a:pos x="30" y="4"/>
              </a:cxn>
              <a:cxn ang="0">
                <a:pos x="42" y="6"/>
              </a:cxn>
              <a:cxn ang="0">
                <a:pos x="46" y="6"/>
              </a:cxn>
              <a:cxn ang="0">
                <a:pos x="52" y="8"/>
              </a:cxn>
              <a:cxn ang="0">
                <a:pos x="48" y="14"/>
              </a:cxn>
              <a:cxn ang="0">
                <a:pos x="42" y="16"/>
              </a:cxn>
            </a:cxnLst>
            <a:rect l="0" t="0" r="r" b="b"/>
            <a:pathLst>
              <a:path w="52" h="16">
                <a:moveTo>
                  <a:pt x="42" y="16"/>
                </a:moveTo>
                <a:lnTo>
                  <a:pt x="32" y="16"/>
                </a:lnTo>
                <a:lnTo>
                  <a:pt x="18" y="12"/>
                </a:lnTo>
                <a:lnTo>
                  <a:pt x="6" y="8"/>
                </a:lnTo>
                <a:lnTo>
                  <a:pt x="2" y="4"/>
                </a:lnTo>
                <a:lnTo>
                  <a:pt x="0" y="0"/>
                </a:lnTo>
                <a:lnTo>
                  <a:pt x="8" y="0"/>
                </a:lnTo>
                <a:lnTo>
                  <a:pt x="18" y="4"/>
                </a:lnTo>
                <a:lnTo>
                  <a:pt x="30" y="4"/>
                </a:lnTo>
                <a:lnTo>
                  <a:pt x="42" y="6"/>
                </a:lnTo>
                <a:lnTo>
                  <a:pt x="46" y="6"/>
                </a:lnTo>
                <a:lnTo>
                  <a:pt x="52" y="8"/>
                </a:lnTo>
                <a:lnTo>
                  <a:pt x="48" y="14"/>
                </a:lnTo>
                <a:lnTo>
                  <a:pt x="42" y="1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0" name="Freeform 200">
            <a:extLst>
              <a:ext uri="{FF2B5EF4-FFF2-40B4-BE49-F238E27FC236}">
                <a16:creationId xmlns:a16="http://schemas.microsoft.com/office/drawing/2014/main" id="{1B5F8E42-3620-429E-B42A-7809EB20ADA6}"/>
              </a:ext>
            </a:extLst>
          </p:cNvPr>
          <p:cNvSpPr>
            <a:spLocks/>
          </p:cNvSpPr>
          <p:nvPr/>
        </p:nvSpPr>
        <p:spPr bwMode="auto">
          <a:xfrm>
            <a:off x="8160088" y="1571755"/>
            <a:ext cx="75251" cy="24352"/>
          </a:xfrm>
          <a:custGeom>
            <a:avLst/>
            <a:gdLst/>
            <a:ahLst/>
            <a:cxnLst>
              <a:cxn ang="0">
                <a:pos x="18" y="10"/>
              </a:cxn>
              <a:cxn ang="0">
                <a:pos x="14" y="12"/>
              </a:cxn>
              <a:cxn ang="0">
                <a:pos x="10" y="14"/>
              </a:cxn>
              <a:cxn ang="0">
                <a:pos x="6" y="14"/>
              </a:cxn>
              <a:cxn ang="0">
                <a:pos x="2" y="12"/>
              </a:cxn>
              <a:cxn ang="0">
                <a:pos x="0" y="8"/>
              </a:cxn>
              <a:cxn ang="0">
                <a:pos x="2" y="6"/>
              </a:cxn>
              <a:cxn ang="0">
                <a:pos x="8" y="2"/>
              </a:cxn>
              <a:cxn ang="0">
                <a:pos x="14" y="0"/>
              </a:cxn>
              <a:cxn ang="0">
                <a:pos x="22" y="0"/>
              </a:cxn>
              <a:cxn ang="0">
                <a:pos x="28" y="4"/>
              </a:cxn>
              <a:cxn ang="0">
                <a:pos x="38" y="10"/>
              </a:cxn>
              <a:cxn ang="0">
                <a:pos x="28" y="12"/>
              </a:cxn>
              <a:cxn ang="0">
                <a:pos x="18" y="10"/>
              </a:cxn>
            </a:cxnLst>
            <a:rect l="0" t="0" r="r" b="b"/>
            <a:pathLst>
              <a:path w="38" h="14">
                <a:moveTo>
                  <a:pt x="18" y="10"/>
                </a:moveTo>
                <a:lnTo>
                  <a:pt x="14" y="12"/>
                </a:lnTo>
                <a:lnTo>
                  <a:pt x="10" y="14"/>
                </a:lnTo>
                <a:lnTo>
                  <a:pt x="6" y="14"/>
                </a:lnTo>
                <a:lnTo>
                  <a:pt x="2" y="12"/>
                </a:lnTo>
                <a:lnTo>
                  <a:pt x="0" y="8"/>
                </a:lnTo>
                <a:lnTo>
                  <a:pt x="2" y="6"/>
                </a:lnTo>
                <a:lnTo>
                  <a:pt x="8" y="2"/>
                </a:lnTo>
                <a:lnTo>
                  <a:pt x="14" y="0"/>
                </a:lnTo>
                <a:lnTo>
                  <a:pt x="22" y="0"/>
                </a:lnTo>
                <a:lnTo>
                  <a:pt x="28" y="4"/>
                </a:lnTo>
                <a:lnTo>
                  <a:pt x="38" y="10"/>
                </a:lnTo>
                <a:lnTo>
                  <a:pt x="28" y="12"/>
                </a:lnTo>
                <a:lnTo>
                  <a:pt x="18" y="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1" name="Freeform 201">
            <a:extLst>
              <a:ext uri="{FF2B5EF4-FFF2-40B4-BE49-F238E27FC236}">
                <a16:creationId xmlns:a16="http://schemas.microsoft.com/office/drawing/2014/main" id="{DB91A8B5-28EB-4B5F-9184-DDC326756603}"/>
              </a:ext>
            </a:extLst>
          </p:cNvPr>
          <p:cNvSpPr>
            <a:spLocks/>
          </p:cNvSpPr>
          <p:nvPr/>
        </p:nvSpPr>
        <p:spPr bwMode="auto">
          <a:xfrm>
            <a:off x="7951439" y="2086391"/>
            <a:ext cx="237725" cy="25975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8" y="90"/>
              </a:cxn>
              <a:cxn ang="0">
                <a:pos x="94" y="90"/>
              </a:cxn>
              <a:cxn ang="0">
                <a:pos x="92" y="90"/>
              </a:cxn>
              <a:cxn ang="0">
                <a:pos x="88" y="88"/>
              </a:cxn>
              <a:cxn ang="0">
                <a:pos x="82" y="86"/>
              </a:cxn>
              <a:cxn ang="0">
                <a:pos x="78" y="88"/>
              </a:cxn>
              <a:cxn ang="0">
                <a:pos x="76" y="90"/>
              </a:cxn>
              <a:cxn ang="0">
                <a:pos x="78" y="98"/>
              </a:cxn>
              <a:cxn ang="0">
                <a:pos x="82" y="106"/>
              </a:cxn>
              <a:cxn ang="0">
                <a:pos x="88" y="114"/>
              </a:cxn>
              <a:cxn ang="0">
                <a:pos x="92" y="118"/>
              </a:cxn>
              <a:cxn ang="0">
                <a:pos x="108" y="130"/>
              </a:cxn>
              <a:cxn ang="0">
                <a:pos x="120" y="138"/>
              </a:cxn>
              <a:cxn ang="0">
                <a:pos x="112" y="138"/>
              </a:cxn>
              <a:cxn ang="0">
                <a:pos x="108" y="136"/>
              </a:cxn>
              <a:cxn ang="0">
                <a:pos x="102" y="134"/>
              </a:cxn>
              <a:cxn ang="0">
                <a:pos x="102" y="146"/>
              </a:cxn>
              <a:cxn ang="0">
                <a:pos x="94" y="140"/>
              </a:cxn>
              <a:cxn ang="0">
                <a:pos x="88" y="130"/>
              </a:cxn>
              <a:cxn ang="0">
                <a:pos x="76" y="114"/>
              </a:cxn>
              <a:cxn ang="0">
                <a:pos x="66" y="94"/>
              </a:cxn>
              <a:cxn ang="0">
                <a:pos x="54" y="76"/>
              </a:cxn>
              <a:cxn ang="0">
                <a:pos x="44" y="62"/>
              </a:cxn>
              <a:cxn ang="0">
                <a:pos x="34" y="50"/>
              </a:cxn>
              <a:cxn ang="0">
                <a:pos x="24" y="42"/>
              </a:cxn>
              <a:cxn ang="0">
                <a:pos x="12" y="36"/>
              </a:cxn>
              <a:cxn ang="0">
                <a:pos x="10" y="32"/>
              </a:cxn>
              <a:cxn ang="0">
                <a:pos x="6" y="28"/>
              </a:cxn>
              <a:cxn ang="0">
                <a:pos x="4" y="22"/>
              </a:cxn>
              <a:cxn ang="0">
                <a:pos x="2" y="16"/>
              </a:cxn>
              <a:cxn ang="0">
                <a:pos x="0" y="0"/>
              </a:cxn>
            </a:cxnLst>
            <a:rect l="0" t="0" r="r" b="b"/>
            <a:pathLst>
              <a:path w="120" h="146">
                <a:moveTo>
                  <a:pt x="0" y="0"/>
                </a:moveTo>
                <a:lnTo>
                  <a:pt x="98" y="90"/>
                </a:lnTo>
                <a:lnTo>
                  <a:pt x="94" y="90"/>
                </a:lnTo>
                <a:lnTo>
                  <a:pt x="92" y="90"/>
                </a:lnTo>
                <a:lnTo>
                  <a:pt x="88" y="88"/>
                </a:lnTo>
                <a:lnTo>
                  <a:pt x="82" y="86"/>
                </a:lnTo>
                <a:lnTo>
                  <a:pt x="78" y="88"/>
                </a:lnTo>
                <a:lnTo>
                  <a:pt x="76" y="90"/>
                </a:lnTo>
                <a:lnTo>
                  <a:pt x="78" y="98"/>
                </a:lnTo>
                <a:lnTo>
                  <a:pt x="82" y="106"/>
                </a:lnTo>
                <a:lnTo>
                  <a:pt x="88" y="114"/>
                </a:lnTo>
                <a:lnTo>
                  <a:pt x="92" y="118"/>
                </a:lnTo>
                <a:lnTo>
                  <a:pt x="108" y="130"/>
                </a:lnTo>
                <a:lnTo>
                  <a:pt x="120" y="138"/>
                </a:lnTo>
                <a:lnTo>
                  <a:pt x="112" y="138"/>
                </a:lnTo>
                <a:lnTo>
                  <a:pt x="108" y="136"/>
                </a:lnTo>
                <a:lnTo>
                  <a:pt x="102" y="134"/>
                </a:lnTo>
                <a:lnTo>
                  <a:pt x="102" y="146"/>
                </a:lnTo>
                <a:lnTo>
                  <a:pt x="94" y="140"/>
                </a:lnTo>
                <a:lnTo>
                  <a:pt x="88" y="130"/>
                </a:lnTo>
                <a:lnTo>
                  <a:pt x="76" y="114"/>
                </a:lnTo>
                <a:lnTo>
                  <a:pt x="66" y="94"/>
                </a:lnTo>
                <a:lnTo>
                  <a:pt x="54" y="76"/>
                </a:lnTo>
                <a:lnTo>
                  <a:pt x="44" y="62"/>
                </a:lnTo>
                <a:lnTo>
                  <a:pt x="34" y="50"/>
                </a:lnTo>
                <a:lnTo>
                  <a:pt x="24" y="42"/>
                </a:lnTo>
                <a:lnTo>
                  <a:pt x="12" y="36"/>
                </a:lnTo>
                <a:lnTo>
                  <a:pt x="10" y="32"/>
                </a:lnTo>
                <a:lnTo>
                  <a:pt x="6" y="28"/>
                </a:lnTo>
                <a:lnTo>
                  <a:pt x="4" y="22"/>
                </a:lnTo>
                <a:lnTo>
                  <a:pt x="2" y="16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2" name="Freeform 202">
            <a:extLst>
              <a:ext uri="{FF2B5EF4-FFF2-40B4-BE49-F238E27FC236}">
                <a16:creationId xmlns:a16="http://schemas.microsoft.com/office/drawing/2014/main" id="{F599E7D7-0241-493F-B857-38200CFDC8DE}"/>
              </a:ext>
            </a:extLst>
          </p:cNvPr>
          <p:cNvSpPr>
            <a:spLocks/>
          </p:cNvSpPr>
          <p:nvPr/>
        </p:nvSpPr>
        <p:spPr bwMode="auto">
          <a:xfrm>
            <a:off x="5663125" y="2456543"/>
            <a:ext cx="456637" cy="232155"/>
          </a:xfrm>
          <a:custGeom>
            <a:avLst/>
            <a:gdLst/>
            <a:ahLst/>
            <a:cxnLst>
              <a:cxn ang="0">
                <a:pos x="18" y="6"/>
              </a:cxn>
              <a:cxn ang="0">
                <a:pos x="42" y="22"/>
              </a:cxn>
              <a:cxn ang="0">
                <a:pos x="66" y="24"/>
              </a:cxn>
              <a:cxn ang="0">
                <a:pos x="78" y="4"/>
              </a:cxn>
              <a:cxn ang="0">
                <a:pos x="104" y="6"/>
              </a:cxn>
              <a:cxn ang="0">
                <a:pos x="112" y="18"/>
              </a:cxn>
              <a:cxn ang="0">
                <a:pos x="114" y="26"/>
              </a:cxn>
              <a:cxn ang="0">
                <a:pos x="130" y="28"/>
              </a:cxn>
              <a:cxn ang="0">
                <a:pos x="146" y="38"/>
              </a:cxn>
              <a:cxn ang="0">
                <a:pos x="170" y="60"/>
              </a:cxn>
              <a:cxn ang="0">
                <a:pos x="192" y="70"/>
              </a:cxn>
              <a:cxn ang="0">
                <a:pos x="216" y="84"/>
              </a:cxn>
              <a:cxn ang="0">
                <a:pos x="226" y="86"/>
              </a:cxn>
              <a:cxn ang="0">
                <a:pos x="230" y="96"/>
              </a:cxn>
              <a:cxn ang="0">
                <a:pos x="220" y="100"/>
              </a:cxn>
              <a:cxn ang="0">
                <a:pos x="206" y="92"/>
              </a:cxn>
              <a:cxn ang="0">
                <a:pos x="186" y="122"/>
              </a:cxn>
              <a:cxn ang="0">
                <a:pos x="170" y="130"/>
              </a:cxn>
              <a:cxn ang="0">
                <a:pos x="150" y="128"/>
              </a:cxn>
              <a:cxn ang="0">
                <a:pos x="148" y="112"/>
              </a:cxn>
              <a:cxn ang="0">
                <a:pos x="132" y="106"/>
              </a:cxn>
              <a:cxn ang="0">
                <a:pos x="108" y="92"/>
              </a:cxn>
              <a:cxn ang="0">
                <a:pos x="78" y="74"/>
              </a:cxn>
              <a:cxn ang="0">
                <a:pos x="54" y="76"/>
              </a:cxn>
              <a:cxn ang="0">
                <a:pos x="30" y="92"/>
              </a:cxn>
              <a:cxn ang="0">
                <a:pos x="24" y="68"/>
              </a:cxn>
              <a:cxn ang="0">
                <a:pos x="8" y="52"/>
              </a:cxn>
              <a:cxn ang="0">
                <a:pos x="0" y="36"/>
              </a:cxn>
              <a:cxn ang="0">
                <a:pos x="8" y="30"/>
              </a:cxn>
              <a:cxn ang="0">
                <a:pos x="22" y="36"/>
              </a:cxn>
              <a:cxn ang="0">
                <a:pos x="22" y="22"/>
              </a:cxn>
              <a:cxn ang="0">
                <a:pos x="10" y="10"/>
              </a:cxn>
            </a:cxnLst>
            <a:rect l="0" t="0" r="r" b="b"/>
            <a:pathLst>
              <a:path w="230" h="130">
                <a:moveTo>
                  <a:pt x="6" y="6"/>
                </a:moveTo>
                <a:lnTo>
                  <a:pt x="18" y="6"/>
                </a:lnTo>
                <a:lnTo>
                  <a:pt x="28" y="10"/>
                </a:lnTo>
                <a:lnTo>
                  <a:pt x="42" y="22"/>
                </a:lnTo>
                <a:lnTo>
                  <a:pt x="50" y="22"/>
                </a:lnTo>
                <a:lnTo>
                  <a:pt x="66" y="24"/>
                </a:lnTo>
                <a:lnTo>
                  <a:pt x="66" y="14"/>
                </a:lnTo>
                <a:lnTo>
                  <a:pt x="78" y="4"/>
                </a:lnTo>
                <a:lnTo>
                  <a:pt x="88" y="0"/>
                </a:lnTo>
                <a:lnTo>
                  <a:pt x="104" y="6"/>
                </a:lnTo>
                <a:lnTo>
                  <a:pt x="110" y="12"/>
                </a:lnTo>
                <a:lnTo>
                  <a:pt x="112" y="18"/>
                </a:lnTo>
                <a:lnTo>
                  <a:pt x="114" y="22"/>
                </a:lnTo>
                <a:lnTo>
                  <a:pt x="114" y="26"/>
                </a:lnTo>
                <a:lnTo>
                  <a:pt x="120" y="28"/>
                </a:lnTo>
                <a:lnTo>
                  <a:pt x="130" y="28"/>
                </a:lnTo>
                <a:lnTo>
                  <a:pt x="140" y="28"/>
                </a:lnTo>
                <a:lnTo>
                  <a:pt x="146" y="38"/>
                </a:lnTo>
                <a:lnTo>
                  <a:pt x="158" y="52"/>
                </a:lnTo>
                <a:lnTo>
                  <a:pt x="170" y="60"/>
                </a:lnTo>
                <a:lnTo>
                  <a:pt x="180" y="68"/>
                </a:lnTo>
                <a:lnTo>
                  <a:pt x="192" y="70"/>
                </a:lnTo>
                <a:lnTo>
                  <a:pt x="204" y="80"/>
                </a:lnTo>
                <a:lnTo>
                  <a:pt x="216" y="84"/>
                </a:lnTo>
                <a:lnTo>
                  <a:pt x="222" y="86"/>
                </a:lnTo>
                <a:lnTo>
                  <a:pt x="226" y="86"/>
                </a:lnTo>
                <a:lnTo>
                  <a:pt x="228" y="88"/>
                </a:lnTo>
                <a:lnTo>
                  <a:pt x="230" y="96"/>
                </a:lnTo>
                <a:lnTo>
                  <a:pt x="230" y="100"/>
                </a:lnTo>
                <a:lnTo>
                  <a:pt x="220" y="100"/>
                </a:lnTo>
                <a:lnTo>
                  <a:pt x="212" y="96"/>
                </a:lnTo>
                <a:lnTo>
                  <a:pt x="206" y="92"/>
                </a:lnTo>
                <a:lnTo>
                  <a:pt x="196" y="108"/>
                </a:lnTo>
                <a:lnTo>
                  <a:pt x="186" y="122"/>
                </a:lnTo>
                <a:lnTo>
                  <a:pt x="178" y="128"/>
                </a:lnTo>
                <a:lnTo>
                  <a:pt x="170" y="130"/>
                </a:lnTo>
                <a:lnTo>
                  <a:pt x="160" y="128"/>
                </a:lnTo>
                <a:lnTo>
                  <a:pt x="150" y="128"/>
                </a:lnTo>
                <a:lnTo>
                  <a:pt x="150" y="120"/>
                </a:lnTo>
                <a:lnTo>
                  <a:pt x="148" y="112"/>
                </a:lnTo>
                <a:lnTo>
                  <a:pt x="140" y="108"/>
                </a:lnTo>
                <a:lnTo>
                  <a:pt x="132" y="106"/>
                </a:lnTo>
                <a:lnTo>
                  <a:pt x="122" y="100"/>
                </a:lnTo>
                <a:lnTo>
                  <a:pt x="108" y="92"/>
                </a:lnTo>
                <a:lnTo>
                  <a:pt x="92" y="80"/>
                </a:lnTo>
                <a:lnTo>
                  <a:pt x="78" y="74"/>
                </a:lnTo>
                <a:lnTo>
                  <a:pt x="66" y="76"/>
                </a:lnTo>
                <a:lnTo>
                  <a:pt x="54" y="76"/>
                </a:lnTo>
                <a:lnTo>
                  <a:pt x="46" y="82"/>
                </a:lnTo>
                <a:lnTo>
                  <a:pt x="30" y="92"/>
                </a:lnTo>
                <a:lnTo>
                  <a:pt x="28" y="80"/>
                </a:lnTo>
                <a:lnTo>
                  <a:pt x="24" y="68"/>
                </a:lnTo>
                <a:lnTo>
                  <a:pt x="18" y="62"/>
                </a:lnTo>
                <a:lnTo>
                  <a:pt x="8" y="52"/>
                </a:lnTo>
                <a:lnTo>
                  <a:pt x="0" y="42"/>
                </a:lnTo>
                <a:lnTo>
                  <a:pt x="0" y="36"/>
                </a:lnTo>
                <a:lnTo>
                  <a:pt x="2" y="28"/>
                </a:lnTo>
                <a:lnTo>
                  <a:pt x="8" y="30"/>
                </a:lnTo>
                <a:lnTo>
                  <a:pt x="12" y="36"/>
                </a:lnTo>
                <a:lnTo>
                  <a:pt x="22" y="36"/>
                </a:lnTo>
                <a:lnTo>
                  <a:pt x="24" y="32"/>
                </a:lnTo>
                <a:lnTo>
                  <a:pt x="22" y="22"/>
                </a:lnTo>
                <a:lnTo>
                  <a:pt x="18" y="16"/>
                </a:lnTo>
                <a:lnTo>
                  <a:pt x="10" y="10"/>
                </a:lnTo>
                <a:lnTo>
                  <a:pt x="6" y="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3" name="Freeform 203">
            <a:extLst>
              <a:ext uri="{FF2B5EF4-FFF2-40B4-BE49-F238E27FC236}">
                <a16:creationId xmlns:a16="http://schemas.microsoft.com/office/drawing/2014/main" id="{0E888C9C-204E-4B87-86AA-310EFCE76AF5}"/>
              </a:ext>
            </a:extLst>
          </p:cNvPr>
          <p:cNvSpPr>
            <a:spLocks/>
          </p:cNvSpPr>
          <p:nvPr/>
        </p:nvSpPr>
        <p:spPr bwMode="auto">
          <a:xfrm>
            <a:off x="6195011" y="2438685"/>
            <a:ext cx="247986" cy="129877"/>
          </a:xfrm>
          <a:custGeom>
            <a:avLst/>
            <a:gdLst/>
            <a:ahLst/>
            <a:cxnLst>
              <a:cxn ang="0">
                <a:pos x="12" y="60"/>
              </a:cxn>
              <a:cxn ang="0">
                <a:pos x="20" y="58"/>
              </a:cxn>
              <a:cxn ang="0">
                <a:pos x="28" y="56"/>
              </a:cxn>
              <a:cxn ang="0">
                <a:pos x="36" y="52"/>
              </a:cxn>
              <a:cxn ang="0">
                <a:pos x="42" y="44"/>
              </a:cxn>
              <a:cxn ang="0">
                <a:pos x="32" y="40"/>
              </a:cxn>
              <a:cxn ang="0">
                <a:pos x="20" y="32"/>
              </a:cxn>
              <a:cxn ang="0">
                <a:pos x="16" y="36"/>
              </a:cxn>
              <a:cxn ang="0">
                <a:pos x="6" y="34"/>
              </a:cxn>
              <a:cxn ang="0">
                <a:pos x="0" y="32"/>
              </a:cxn>
              <a:cxn ang="0">
                <a:pos x="2" y="28"/>
              </a:cxn>
              <a:cxn ang="0">
                <a:pos x="6" y="20"/>
              </a:cxn>
              <a:cxn ang="0">
                <a:pos x="6" y="8"/>
              </a:cxn>
              <a:cxn ang="0">
                <a:pos x="18" y="6"/>
              </a:cxn>
              <a:cxn ang="0">
                <a:pos x="24" y="8"/>
              </a:cxn>
              <a:cxn ang="0">
                <a:pos x="30" y="10"/>
              </a:cxn>
              <a:cxn ang="0">
                <a:pos x="38" y="12"/>
              </a:cxn>
              <a:cxn ang="0">
                <a:pos x="38" y="4"/>
              </a:cxn>
              <a:cxn ang="0">
                <a:pos x="48" y="0"/>
              </a:cxn>
              <a:cxn ang="0">
                <a:pos x="56" y="2"/>
              </a:cxn>
              <a:cxn ang="0">
                <a:pos x="62" y="4"/>
              </a:cxn>
              <a:cxn ang="0">
                <a:pos x="68" y="6"/>
              </a:cxn>
              <a:cxn ang="0">
                <a:pos x="86" y="6"/>
              </a:cxn>
              <a:cxn ang="0">
                <a:pos x="100" y="6"/>
              </a:cxn>
              <a:cxn ang="0">
                <a:pos x="112" y="6"/>
              </a:cxn>
              <a:cxn ang="0">
                <a:pos x="126" y="12"/>
              </a:cxn>
              <a:cxn ang="0">
                <a:pos x="122" y="18"/>
              </a:cxn>
              <a:cxn ang="0">
                <a:pos x="118" y="24"/>
              </a:cxn>
              <a:cxn ang="0">
                <a:pos x="114" y="30"/>
              </a:cxn>
              <a:cxn ang="0">
                <a:pos x="106" y="36"/>
              </a:cxn>
              <a:cxn ang="0">
                <a:pos x="100" y="42"/>
              </a:cxn>
              <a:cxn ang="0">
                <a:pos x="88" y="50"/>
              </a:cxn>
              <a:cxn ang="0">
                <a:pos x="76" y="52"/>
              </a:cxn>
              <a:cxn ang="0">
                <a:pos x="68" y="52"/>
              </a:cxn>
              <a:cxn ang="0">
                <a:pos x="60" y="56"/>
              </a:cxn>
              <a:cxn ang="0">
                <a:pos x="56" y="58"/>
              </a:cxn>
              <a:cxn ang="0">
                <a:pos x="50" y="64"/>
              </a:cxn>
              <a:cxn ang="0">
                <a:pos x="50" y="68"/>
              </a:cxn>
              <a:cxn ang="0">
                <a:pos x="44" y="72"/>
              </a:cxn>
              <a:cxn ang="0">
                <a:pos x="38" y="72"/>
              </a:cxn>
              <a:cxn ang="0">
                <a:pos x="30" y="72"/>
              </a:cxn>
              <a:cxn ang="0">
                <a:pos x="24" y="70"/>
              </a:cxn>
              <a:cxn ang="0">
                <a:pos x="18" y="70"/>
              </a:cxn>
              <a:cxn ang="0">
                <a:pos x="10" y="70"/>
              </a:cxn>
              <a:cxn ang="0">
                <a:pos x="12" y="60"/>
              </a:cxn>
            </a:cxnLst>
            <a:rect l="0" t="0" r="r" b="b"/>
            <a:pathLst>
              <a:path w="126" h="72">
                <a:moveTo>
                  <a:pt x="12" y="60"/>
                </a:moveTo>
                <a:lnTo>
                  <a:pt x="20" y="58"/>
                </a:lnTo>
                <a:lnTo>
                  <a:pt x="28" y="56"/>
                </a:lnTo>
                <a:lnTo>
                  <a:pt x="36" y="52"/>
                </a:lnTo>
                <a:lnTo>
                  <a:pt x="42" y="44"/>
                </a:lnTo>
                <a:lnTo>
                  <a:pt x="32" y="40"/>
                </a:lnTo>
                <a:lnTo>
                  <a:pt x="20" y="32"/>
                </a:lnTo>
                <a:lnTo>
                  <a:pt x="16" y="36"/>
                </a:lnTo>
                <a:lnTo>
                  <a:pt x="6" y="34"/>
                </a:lnTo>
                <a:lnTo>
                  <a:pt x="0" y="32"/>
                </a:lnTo>
                <a:lnTo>
                  <a:pt x="2" y="28"/>
                </a:lnTo>
                <a:lnTo>
                  <a:pt x="6" y="20"/>
                </a:lnTo>
                <a:lnTo>
                  <a:pt x="6" y="8"/>
                </a:lnTo>
                <a:lnTo>
                  <a:pt x="18" y="6"/>
                </a:lnTo>
                <a:lnTo>
                  <a:pt x="24" y="8"/>
                </a:lnTo>
                <a:lnTo>
                  <a:pt x="30" y="10"/>
                </a:lnTo>
                <a:lnTo>
                  <a:pt x="38" y="12"/>
                </a:lnTo>
                <a:lnTo>
                  <a:pt x="38" y="4"/>
                </a:lnTo>
                <a:lnTo>
                  <a:pt x="48" y="0"/>
                </a:lnTo>
                <a:lnTo>
                  <a:pt x="56" y="2"/>
                </a:lnTo>
                <a:lnTo>
                  <a:pt x="62" y="4"/>
                </a:lnTo>
                <a:lnTo>
                  <a:pt x="68" y="6"/>
                </a:lnTo>
                <a:lnTo>
                  <a:pt x="86" y="6"/>
                </a:lnTo>
                <a:lnTo>
                  <a:pt x="100" y="6"/>
                </a:lnTo>
                <a:lnTo>
                  <a:pt x="112" y="6"/>
                </a:lnTo>
                <a:lnTo>
                  <a:pt x="126" y="12"/>
                </a:lnTo>
                <a:lnTo>
                  <a:pt x="122" y="18"/>
                </a:lnTo>
                <a:lnTo>
                  <a:pt x="118" y="24"/>
                </a:lnTo>
                <a:lnTo>
                  <a:pt x="114" y="30"/>
                </a:lnTo>
                <a:lnTo>
                  <a:pt x="106" y="36"/>
                </a:lnTo>
                <a:lnTo>
                  <a:pt x="100" y="42"/>
                </a:lnTo>
                <a:lnTo>
                  <a:pt x="88" y="50"/>
                </a:lnTo>
                <a:lnTo>
                  <a:pt x="76" y="52"/>
                </a:lnTo>
                <a:lnTo>
                  <a:pt x="68" y="52"/>
                </a:lnTo>
                <a:lnTo>
                  <a:pt x="60" y="56"/>
                </a:lnTo>
                <a:lnTo>
                  <a:pt x="56" y="58"/>
                </a:lnTo>
                <a:lnTo>
                  <a:pt x="50" y="64"/>
                </a:lnTo>
                <a:lnTo>
                  <a:pt x="50" y="68"/>
                </a:lnTo>
                <a:lnTo>
                  <a:pt x="44" y="72"/>
                </a:lnTo>
                <a:lnTo>
                  <a:pt x="38" y="72"/>
                </a:lnTo>
                <a:lnTo>
                  <a:pt x="30" y="72"/>
                </a:lnTo>
                <a:lnTo>
                  <a:pt x="24" y="70"/>
                </a:lnTo>
                <a:lnTo>
                  <a:pt x="18" y="70"/>
                </a:lnTo>
                <a:lnTo>
                  <a:pt x="10" y="70"/>
                </a:lnTo>
                <a:lnTo>
                  <a:pt x="12" y="6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4" name="Freeform 204">
            <a:extLst>
              <a:ext uri="{FF2B5EF4-FFF2-40B4-BE49-F238E27FC236}">
                <a16:creationId xmlns:a16="http://schemas.microsoft.com/office/drawing/2014/main" id="{C07E45F9-835F-4B64-AEC6-B2A7FF24F72D}"/>
              </a:ext>
            </a:extLst>
          </p:cNvPr>
          <p:cNvSpPr>
            <a:spLocks/>
          </p:cNvSpPr>
          <p:nvPr/>
        </p:nvSpPr>
        <p:spPr bwMode="auto">
          <a:xfrm>
            <a:off x="5743505" y="2360759"/>
            <a:ext cx="533598" cy="274365"/>
          </a:xfrm>
          <a:custGeom>
            <a:avLst/>
            <a:gdLst/>
            <a:ahLst/>
            <a:cxnLst>
              <a:cxn ang="0">
                <a:pos x="0" y="10"/>
              </a:cxn>
              <a:cxn ang="0">
                <a:pos x="74" y="18"/>
              </a:cxn>
              <a:cxn ang="0">
                <a:pos x="110" y="38"/>
              </a:cxn>
              <a:cxn ang="0">
                <a:pos x="136" y="36"/>
              </a:cxn>
              <a:cxn ang="0">
                <a:pos x="152" y="50"/>
              </a:cxn>
              <a:cxn ang="0">
                <a:pos x="160" y="62"/>
              </a:cxn>
              <a:cxn ang="0">
                <a:pos x="170" y="68"/>
              </a:cxn>
              <a:cxn ang="0">
                <a:pos x="194" y="82"/>
              </a:cxn>
              <a:cxn ang="0">
                <a:pos x="202" y="92"/>
              </a:cxn>
              <a:cxn ang="0">
                <a:pos x="214" y="74"/>
              </a:cxn>
              <a:cxn ang="0">
                <a:pos x="228" y="64"/>
              </a:cxn>
              <a:cxn ang="0">
                <a:pos x="230" y="72"/>
              </a:cxn>
              <a:cxn ang="0">
                <a:pos x="232" y="78"/>
              </a:cxn>
              <a:cxn ang="0">
                <a:pos x="244" y="80"/>
              </a:cxn>
              <a:cxn ang="0">
                <a:pos x="260" y="84"/>
              </a:cxn>
              <a:cxn ang="0">
                <a:pos x="264" y="96"/>
              </a:cxn>
              <a:cxn ang="0">
                <a:pos x="240" y="104"/>
              </a:cxn>
              <a:cxn ang="0">
                <a:pos x="226" y="102"/>
              </a:cxn>
              <a:cxn ang="0">
                <a:pos x="238" y="92"/>
              </a:cxn>
              <a:cxn ang="0">
                <a:pos x="226" y="92"/>
              </a:cxn>
              <a:cxn ang="0">
                <a:pos x="216" y="100"/>
              </a:cxn>
              <a:cxn ang="0">
                <a:pos x="208" y="112"/>
              </a:cxn>
              <a:cxn ang="0">
                <a:pos x="194" y="118"/>
              </a:cxn>
              <a:cxn ang="0">
                <a:pos x="200" y="124"/>
              </a:cxn>
              <a:cxn ang="0">
                <a:pos x="210" y="132"/>
              </a:cxn>
              <a:cxn ang="0">
                <a:pos x="206" y="152"/>
              </a:cxn>
              <a:cxn ang="0">
                <a:pos x="190" y="152"/>
              </a:cxn>
              <a:cxn ang="0">
                <a:pos x="182" y="138"/>
              </a:cxn>
              <a:cxn ang="0">
                <a:pos x="164" y="134"/>
              </a:cxn>
              <a:cxn ang="0">
                <a:pos x="140" y="122"/>
              </a:cxn>
              <a:cxn ang="0">
                <a:pos x="118" y="106"/>
              </a:cxn>
              <a:cxn ang="0">
                <a:pos x="104" y="88"/>
              </a:cxn>
              <a:cxn ang="0">
                <a:pos x="80" y="82"/>
              </a:cxn>
              <a:cxn ang="0">
                <a:pos x="72" y="72"/>
              </a:cxn>
              <a:cxn ang="0">
                <a:pos x="64" y="60"/>
              </a:cxn>
              <a:cxn ang="0">
                <a:pos x="38" y="58"/>
              </a:cxn>
              <a:cxn ang="0">
                <a:pos x="26" y="74"/>
              </a:cxn>
              <a:cxn ang="0">
                <a:pos x="10" y="76"/>
              </a:cxn>
            </a:cxnLst>
            <a:rect l="0" t="0" r="r" b="b"/>
            <a:pathLst>
              <a:path w="270" h="154">
                <a:moveTo>
                  <a:pt x="10" y="76"/>
                </a:moveTo>
                <a:lnTo>
                  <a:pt x="0" y="10"/>
                </a:lnTo>
                <a:lnTo>
                  <a:pt x="34" y="0"/>
                </a:lnTo>
                <a:lnTo>
                  <a:pt x="74" y="18"/>
                </a:lnTo>
                <a:lnTo>
                  <a:pt x="92" y="40"/>
                </a:lnTo>
                <a:lnTo>
                  <a:pt x="110" y="38"/>
                </a:lnTo>
                <a:lnTo>
                  <a:pt x="124" y="36"/>
                </a:lnTo>
                <a:lnTo>
                  <a:pt x="136" y="36"/>
                </a:lnTo>
                <a:lnTo>
                  <a:pt x="146" y="44"/>
                </a:lnTo>
                <a:lnTo>
                  <a:pt x="152" y="50"/>
                </a:lnTo>
                <a:lnTo>
                  <a:pt x="158" y="56"/>
                </a:lnTo>
                <a:lnTo>
                  <a:pt x="160" y="62"/>
                </a:lnTo>
                <a:lnTo>
                  <a:pt x="162" y="66"/>
                </a:lnTo>
                <a:lnTo>
                  <a:pt x="170" y="68"/>
                </a:lnTo>
                <a:lnTo>
                  <a:pt x="174" y="82"/>
                </a:lnTo>
                <a:lnTo>
                  <a:pt x="194" y="82"/>
                </a:lnTo>
                <a:lnTo>
                  <a:pt x="196" y="90"/>
                </a:lnTo>
                <a:lnTo>
                  <a:pt x="202" y="92"/>
                </a:lnTo>
                <a:lnTo>
                  <a:pt x="208" y="82"/>
                </a:lnTo>
                <a:lnTo>
                  <a:pt x="214" y="74"/>
                </a:lnTo>
                <a:lnTo>
                  <a:pt x="218" y="72"/>
                </a:lnTo>
                <a:lnTo>
                  <a:pt x="228" y="64"/>
                </a:lnTo>
                <a:lnTo>
                  <a:pt x="234" y="64"/>
                </a:lnTo>
                <a:lnTo>
                  <a:pt x="230" y="72"/>
                </a:lnTo>
                <a:lnTo>
                  <a:pt x="228" y="76"/>
                </a:lnTo>
                <a:lnTo>
                  <a:pt x="232" y="78"/>
                </a:lnTo>
                <a:lnTo>
                  <a:pt x="234" y="78"/>
                </a:lnTo>
                <a:lnTo>
                  <a:pt x="244" y="80"/>
                </a:lnTo>
                <a:lnTo>
                  <a:pt x="248" y="76"/>
                </a:lnTo>
                <a:lnTo>
                  <a:pt x="260" y="84"/>
                </a:lnTo>
                <a:lnTo>
                  <a:pt x="270" y="88"/>
                </a:lnTo>
                <a:lnTo>
                  <a:pt x="264" y="96"/>
                </a:lnTo>
                <a:lnTo>
                  <a:pt x="254" y="100"/>
                </a:lnTo>
                <a:lnTo>
                  <a:pt x="240" y="104"/>
                </a:lnTo>
                <a:lnTo>
                  <a:pt x="234" y="102"/>
                </a:lnTo>
                <a:lnTo>
                  <a:pt x="226" y="102"/>
                </a:lnTo>
                <a:lnTo>
                  <a:pt x="238" y="96"/>
                </a:lnTo>
                <a:lnTo>
                  <a:pt x="238" y="92"/>
                </a:lnTo>
                <a:lnTo>
                  <a:pt x="230" y="86"/>
                </a:lnTo>
                <a:lnTo>
                  <a:pt x="226" y="92"/>
                </a:lnTo>
                <a:lnTo>
                  <a:pt x="216" y="90"/>
                </a:lnTo>
                <a:lnTo>
                  <a:pt x="216" y="100"/>
                </a:lnTo>
                <a:lnTo>
                  <a:pt x="210" y="102"/>
                </a:lnTo>
                <a:lnTo>
                  <a:pt x="208" y="112"/>
                </a:lnTo>
                <a:lnTo>
                  <a:pt x="194" y="112"/>
                </a:lnTo>
                <a:lnTo>
                  <a:pt x="194" y="118"/>
                </a:lnTo>
                <a:lnTo>
                  <a:pt x="196" y="120"/>
                </a:lnTo>
                <a:lnTo>
                  <a:pt x="200" y="124"/>
                </a:lnTo>
                <a:lnTo>
                  <a:pt x="206" y="128"/>
                </a:lnTo>
                <a:lnTo>
                  <a:pt x="210" y="132"/>
                </a:lnTo>
                <a:lnTo>
                  <a:pt x="210" y="142"/>
                </a:lnTo>
                <a:lnTo>
                  <a:pt x="206" y="152"/>
                </a:lnTo>
                <a:lnTo>
                  <a:pt x="200" y="154"/>
                </a:lnTo>
                <a:lnTo>
                  <a:pt x="190" y="152"/>
                </a:lnTo>
                <a:lnTo>
                  <a:pt x="188" y="142"/>
                </a:lnTo>
                <a:lnTo>
                  <a:pt x="182" y="138"/>
                </a:lnTo>
                <a:lnTo>
                  <a:pt x="176" y="138"/>
                </a:lnTo>
                <a:lnTo>
                  <a:pt x="164" y="134"/>
                </a:lnTo>
                <a:lnTo>
                  <a:pt x="152" y="124"/>
                </a:lnTo>
                <a:lnTo>
                  <a:pt x="140" y="122"/>
                </a:lnTo>
                <a:lnTo>
                  <a:pt x="130" y="114"/>
                </a:lnTo>
                <a:lnTo>
                  <a:pt x="118" y="106"/>
                </a:lnTo>
                <a:lnTo>
                  <a:pt x="110" y="96"/>
                </a:lnTo>
                <a:lnTo>
                  <a:pt x="104" y="88"/>
                </a:lnTo>
                <a:lnTo>
                  <a:pt x="100" y="82"/>
                </a:lnTo>
                <a:lnTo>
                  <a:pt x="80" y="82"/>
                </a:lnTo>
                <a:lnTo>
                  <a:pt x="74" y="80"/>
                </a:lnTo>
                <a:lnTo>
                  <a:pt x="72" y="72"/>
                </a:lnTo>
                <a:lnTo>
                  <a:pt x="70" y="66"/>
                </a:lnTo>
                <a:lnTo>
                  <a:pt x="64" y="60"/>
                </a:lnTo>
                <a:lnTo>
                  <a:pt x="48" y="54"/>
                </a:lnTo>
                <a:lnTo>
                  <a:pt x="38" y="58"/>
                </a:lnTo>
                <a:lnTo>
                  <a:pt x="26" y="68"/>
                </a:lnTo>
                <a:lnTo>
                  <a:pt x="26" y="74"/>
                </a:lnTo>
                <a:lnTo>
                  <a:pt x="26" y="78"/>
                </a:lnTo>
                <a:lnTo>
                  <a:pt x="10" y="7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5" name="Freeform 205">
            <a:extLst>
              <a:ext uri="{FF2B5EF4-FFF2-40B4-BE49-F238E27FC236}">
                <a16:creationId xmlns:a16="http://schemas.microsoft.com/office/drawing/2014/main" id="{2A33B0B4-E3CC-4CA9-AA11-F7882A97CCFC}"/>
              </a:ext>
            </a:extLst>
          </p:cNvPr>
          <p:cNvSpPr>
            <a:spLocks/>
          </p:cNvSpPr>
          <p:nvPr/>
        </p:nvSpPr>
        <p:spPr bwMode="auto">
          <a:xfrm>
            <a:off x="5444212" y="2042560"/>
            <a:ext cx="1125344" cy="482167"/>
          </a:xfrm>
          <a:custGeom>
            <a:avLst/>
            <a:gdLst/>
            <a:ahLst/>
            <a:cxnLst>
              <a:cxn ang="0">
                <a:pos x="108" y="248"/>
              </a:cxn>
              <a:cxn ang="0">
                <a:pos x="102" y="236"/>
              </a:cxn>
              <a:cxn ang="0">
                <a:pos x="84" y="222"/>
              </a:cxn>
              <a:cxn ang="0">
                <a:pos x="58" y="194"/>
              </a:cxn>
              <a:cxn ang="0">
                <a:pos x="70" y="184"/>
              </a:cxn>
              <a:cxn ang="0">
                <a:pos x="92" y="168"/>
              </a:cxn>
              <a:cxn ang="0">
                <a:pos x="80" y="152"/>
              </a:cxn>
              <a:cxn ang="0">
                <a:pos x="64" y="152"/>
              </a:cxn>
              <a:cxn ang="0">
                <a:pos x="36" y="152"/>
              </a:cxn>
              <a:cxn ang="0">
                <a:pos x="10" y="126"/>
              </a:cxn>
              <a:cxn ang="0">
                <a:pos x="0" y="126"/>
              </a:cxn>
              <a:cxn ang="0">
                <a:pos x="10" y="88"/>
              </a:cxn>
              <a:cxn ang="0">
                <a:pos x="24" y="82"/>
              </a:cxn>
              <a:cxn ang="0">
                <a:pos x="86" y="72"/>
              </a:cxn>
              <a:cxn ang="0">
                <a:pos x="122" y="86"/>
              </a:cxn>
              <a:cxn ang="0">
                <a:pos x="170" y="86"/>
              </a:cxn>
              <a:cxn ang="0">
                <a:pos x="202" y="84"/>
              </a:cxn>
              <a:cxn ang="0">
                <a:pos x="184" y="56"/>
              </a:cxn>
              <a:cxn ang="0">
                <a:pos x="188" y="36"/>
              </a:cxn>
              <a:cxn ang="0">
                <a:pos x="270" y="10"/>
              </a:cxn>
              <a:cxn ang="0">
                <a:pos x="320" y="22"/>
              </a:cxn>
              <a:cxn ang="0">
                <a:pos x="370" y="32"/>
              </a:cxn>
              <a:cxn ang="0">
                <a:pos x="396" y="28"/>
              </a:cxn>
              <a:cxn ang="0">
                <a:pos x="472" y="84"/>
              </a:cxn>
              <a:cxn ang="0">
                <a:pos x="486" y="84"/>
              </a:cxn>
              <a:cxn ang="0">
                <a:pos x="534" y="94"/>
              </a:cxn>
              <a:cxn ang="0">
                <a:pos x="564" y="112"/>
              </a:cxn>
              <a:cxn ang="0">
                <a:pos x="544" y="130"/>
              </a:cxn>
              <a:cxn ang="0">
                <a:pos x="540" y="154"/>
              </a:cxn>
              <a:cxn ang="0">
                <a:pos x="522" y="160"/>
              </a:cxn>
              <a:cxn ang="0">
                <a:pos x="510" y="186"/>
              </a:cxn>
              <a:cxn ang="0">
                <a:pos x="510" y="210"/>
              </a:cxn>
              <a:cxn ang="0">
                <a:pos x="492" y="228"/>
              </a:cxn>
              <a:cxn ang="0">
                <a:pos x="448" y="228"/>
              </a:cxn>
              <a:cxn ang="0">
                <a:pos x="418" y="234"/>
              </a:cxn>
              <a:cxn ang="0">
                <a:pos x="386" y="242"/>
              </a:cxn>
              <a:cxn ang="0">
                <a:pos x="358" y="264"/>
              </a:cxn>
              <a:cxn ang="0">
                <a:pos x="346" y="260"/>
              </a:cxn>
              <a:cxn ang="0">
                <a:pos x="314" y="244"/>
              </a:cxn>
              <a:cxn ang="0">
                <a:pos x="244" y="218"/>
              </a:cxn>
              <a:cxn ang="0">
                <a:pos x="152" y="188"/>
              </a:cxn>
              <a:cxn ang="0">
                <a:pos x="140" y="242"/>
              </a:cxn>
            </a:cxnLst>
            <a:rect l="0" t="0" r="r" b="b"/>
            <a:pathLst>
              <a:path w="570" h="270">
                <a:moveTo>
                  <a:pt x="118" y="238"/>
                </a:moveTo>
                <a:lnTo>
                  <a:pt x="110" y="240"/>
                </a:lnTo>
                <a:lnTo>
                  <a:pt x="108" y="248"/>
                </a:lnTo>
                <a:lnTo>
                  <a:pt x="108" y="252"/>
                </a:lnTo>
                <a:lnTo>
                  <a:pt x="104" y="248"/>
                </a:lnTo>
                <a:lnTo>
                  <a:pt x="102" y="236"/>
                </a:lnTo>
                <a:lnTo>
                  <a:pt x="102" y="230"/>
                </a:lnTo>
                <a:lnTo>
                  <a:pt x="92" y="224"/>
                </a:lnTo>
                <a:lnTo>
                  <a:pt x="84" y="222"/>
                </a:lnTo>
                <a:lnTo>
                  <a:pt x="72" y="210"/>
                </a:lnTo>
                <a:lnTo>
                  <a:pt x="62" y="200"/>
                </a:lnTo>
                <a:lnTo>
                  <a:pt x="58" y="194"/>
                </a:lnTo>
                <a:lnTo>
                  <a:pt x="64" y="194"/>
                </a:lnTo>
                <a:lnTo>
                  <a:pt x="76" y="196"/>
                </a:lnTo>
                <a:lnTo>
                  <a:pt x="70" y="184"/>
                </a:lnTo>
                <a:lnTo>
                  <a:pt x="82" y="182"/>
                </a:lnTo>
                <a:lnTo>
                  <a:pt x="94" y="182"/>
                </a:lnTo>
                <a:lnTo>
                  <a:pt x="92" y="168"/>
                </a:lnTo>
                <a:lnTo>
                  <a:pt x="92" y="158"/>
                </a:lnTo>
                <a:lnTo>
                  <a:pt x="88" y="152"/>
                </a:lnTo>
                <a:lnTo>
                  <a:pt x="80" y="152"/>
                </a:lnTo>
                <a:lnTo>
                  <a:pt x="74" y="156"/>
                </a:lnTo>
                <a:lnTo>
                  <a:pt x="70" y="154"/>
                </a:lnTo>
                <a:lnTo>
                  <a:pt x="64" y="152"/>
                </a:lnTo>
                <a:lnTo>
                  <a:pt x="52" y="152"/>
                </a:lnTo>
                <a:lnTo>
                  <a:pt x="42" y="162"/>
                </a:lnTo>
                <a:lnTo>
                  <a:pt x="36" y="152"/>
                </a:lnTo>
                <a:lnTo>
                  <a:pt x="24" y="136"/>
                </a:lnTo>
                <a:lnTo>
                  <a:pt x="10" y="136"/>
                </a:lnTo>
                <a:lnTo>
                  <a:pt x="10" y="126"/>
                </a:lnTo>
                <a:lnTo>
                  <a:pt x="4" y="128"/>
                </a:lnTo>
                <a:lnTo>
                  <a:pt x="0" y="128"/>
                </a:lnTo>
                <a:lnTo>
                  <a:pt x="0" y="126"/>
                </a:lnTo>
                <a:lnTo>
                  <a:pt x="0" y="110"/>
                </a:lnTo>
                <a:lnTo>
                  <a:pt x="0" y="96"/>
                </a:lnTo>
                <a:lnTo>
                  <a:pt x="10" y="88"/>
                </a:lnTo>
                <a:lnTo>
                  <a:pt x="18" y="98"/>
                </a:lnTo>
                <a:lnTo>
                  <a:pt x="26" y="94"/>
                </a:lnTo>
                <a:lnTo>
                  <a:pt x="24" y="82"/>
                </a:lnTo>
                <a:lnTo>
                  <a:pt x="48" y="62"/>
                </a:lnTo>
                <a:lnTo>
                  <a:pt x="68" y="66"/>
                </a:lnTo>
                <a:lnTo>
                  <a:pt x="86" y="72"/>
                </a:lnTo>
                <a:lnTo>
                  <a:pt x="102" y="84"/>
                </a:lnTo>
                <a:lnTo>
                  <a:pt x="110" y="82"/>
                </a:lnTo>
                <a:lnTo>
                  <a:pt x="122" y="86"/>
                </a:lnTo>
                <a:lnTo>
                  <a:pt x="128" y="78"/>
                </a:lnTo>
                <a:lnTo>
                  <a:pt x="160" y="78"/>
                </a:lnTo>
                <a:lnTo>
                  <a:pt x="170" y="86"/>
                </a:lnTo>
                <a:lnTo>
                  <a:pt x="176" y="86"/>
                </a:lnTo>
                <a:lnTo>
                  <a:pt x="186" y="84"/>
                </a:lnTo>
                <a:lnTo>
                  <a:pt x="202" y="84"/>
                </a:lnTo>
                <a:lnTo>
                  <a:pt x="204" y="70"/>
                </a:lnTo>
                <a:lnTo>
                  <a:pt x="180" y="62"/>
                </a:lnTo>
                <a:lnTo>
                  <a:pt x="184" y="56"/>
                </a:lnTo>
                <a:lnTo>
                  <a:pt x="186" y="44"/>
                </a:lnTo>
                <a:lnTo>
                  <a:pt x="200" y="42"/>
                </a:lnTo>
                <a:lnTo>
                  <a:pt x="188" y="36"/>
                </a:lnTo>
                <a:lnTo>
                  <a:pt x="182" y="26"/>
                </a:lnTo>
                <a:lnTo>
                  <a:pt x="204" y="24"/>
                </a:lnTo>
                <a:lnTo>
                  <a:pt x="270" y="10"/>
                </a:lnTo>
                <a:lnTo>
                  <a:pt x="280" y="0"/>
                </a:lnTo>
                <a:lnTo>
                  <a:pt x="308" y="4"/>
                </a:lnTo>
                <a:lnTo>
                  <a:pt x="320" y="22"/>
                </a:lnTo>
                <a:lnTo>
                  <a:pt x="354" y="26"/>
                </a:lnTo>
                <a:lnTo>
                  <a:pt x="352" y="32"/>
                </a:lnTo>
                <a:lnTo>
                  <a:pt x="370" y="32"/>
                </a:lnTo>
                <a:lnTo>
                  <a:pt x="388" y="18"/>
                </a:lnTo>
                <a:lnTo>
                  <a:pt x="396" y="18"/>
                </a:lnTo>
                <a:lnTo>
                  <a:pt x="396" y="28"/>
                </a:lnTo>
                <a:lnTo>
                  <a:pt x="412" y="34"/>
                </a:lnTo>
                <a:lnTo>
                  <a:pt x="464" y="82"/>
                </a:lnTo>
                <a:lnTo>
                  <a:pt x="472" y="84"/>
                </a:lnTo>
                <a:lnTo>
                  <a:pt x="472" y="74"/>
                </a:lnTo>
                <a:lnTo>
                  <a:pt x="484" y="76"/>
                </a:lnTo>
                <a:lnTo>
                  <a:pt x="486" y="84"/>
                </a:lnTo>
                <a:lnTo>
                  <a:pt x="506" y="86"/>
                </a:lnTo>
                <a:lnTo>
                  <a:pt x="510" y="78"/>
                </a:lnTo>
                <a:lnTo>
                  <a:pt x="534" y="94"/>
                </a:lnTo>
                <a:lnTo>
                  <a:pt x="550" y="104"/>
                </a:lnTo>
                <a:lnTo>
                  <a:pt x="570" y="108"/>
                </a:lnTo>
                <a:lnTo>
                  <a:pt x="564" y="112"/>
                </a:lnTo>
                <a:lnTo>
                  <a:pt x="562" y="116"/>
                </a:lnTo>
                <a:lnTo>
                  <a:pt x="558" y="120"/>
                </a:lnTo>
                <a:lnTo>
                  <a:pt x="544" y="130"/>
                </a:lnTo>
                <a:lnTo>
                  <a:pt x="556" y="144"/>
                </a:lnTo>
                <a:lnTo>
                  <a:pt x="548" y="152"/>
                </a:lnTo>
                <a:lnTo>
                  <a:pt x="540" y="154"/>
                </a:lnTo>
                <a:lnTo>
                  <a:pt x="532" y="152"/>
                </a:lnTo>
                <a:lnTo>
                  <a:pt x="518" y="148"/>
                </a:lnTo>
                <a:lnTo>
                  <a:pt x="522" y="160"/>
                </a:lnTo>
                <a:lnTo>
                  <a:pt x="522" y="176"/>
                </a:lnTo>
                <a:lnTo>
                  <a:pt x="520" y="184"/>
                </a:lnTo>
                <a:lnTo>
                  <a:pt x="510" y="186"/>
                </a:lnTo>
                <a:lnTo>
                  <a:pt x="498" y="182"/>
                </a:lnTo>
                <a:lnTo>
                  <a:pt x="500" y="190"/>
                </a:lnTo>
                <a:lnTo>
                  <a:pt x="510" y="210"/>
                </a:lnTo>
                <a:lnTo>
                  <a:pt x="512" y="224"/>
                </a:lnTo>
                <a:lnTo>
                  <a:pt x="506" y="234"/>
                </a:lnTo>
                <a:lnTo>
                  <a:pt x="492" y="228"/>
                </a:lnTo>
                <a:lnTo>
                  <a:pt x="480" y="228"/>
                </a:lnTo>
                <a:lnTo>
                  <a:pt x="460" y="228"/>
                </a:lnTo>
                <a:lnTo>
                  <a:pt x="448" y="228"/>
                </a:lnTo>
                <a:lnTo>
                  <a:pt x="428" y="222"/>
                </a:lnTo>
                <a:lnTo>
                  <a:pt x="418" y="226"/>
                </a:lnTo>
                <a:lnTo>
                  <a:pt x="418" y="234"/>
                </a:lnTo>
                <a:lnTo>
                  <a:pt x="398" y="228"/>
                </a:lnTo>
                <a:lnTo>
                  <a:pt x="386" y="230"/>
                </a:lnTo>
                <a:lnTo>
                  <a:pt x="386" y="242"/>
                </a:lnTo>
                <a:lnTo>
                  <a:pt x="380" y="242"/>
                </a:lnTo>
                <a:lnTo>
                  <a:pt x="360" y="260"/>
                </a:lnTo>
                <a:lnTo>
                  <a:pt x="358" y="264"/>
                </a:lnTo>
                <a:lnTo>
                  <a:pt x="354" y="270"/>
                </a:lnTo>
                <a:lnTo>
                  <a:pt x="348" y="268"/>
                </a:lnTo>
                <a:lnTo>
                  <a:pt x="346" y="260"/>
                </a:lnTo>
                <a:lnTo>
                  <a:pt x="326" y="260"/>
                </a:lnTo>
                <a:lnTo>
                  <a:pt x="322" y="246"/>
                </a:lnTo>
                <a:lnTo>
                  <a:pt x="314" y="244"/>
                </a:lnTo>
                <a:lnTo>
                  <a:pt x="310" y="234"/>
                </a:lnTo>
                <a:lnTo>
                  <a:pt x="288" y="214"/>
                </a:lnTo>
                <a:lnTo>
                  <a:pt x="244" y="218"/>
                </a:lnTo>
                <a:lnTo>
                  <a:pt x="226" y="196"/>
                </a:lnTo>
                <a:lnTo>
                  <a:pt x="186" y="178"/>
                </a:lnTo>
                <a:lnTo>
                  <a:pt x="152" y="188"/>
                </a:lnTo>
                <a:lnTo>
                  <a:pt x="162" y="254"/>
                </a:lnTo>
                <a:lnTo>
                  <a:pt x="154" y="254"/>
                </a:lnTo>
                <a:lnTo>
                  <a:pt x="140" y="242"/>
                </a:lnTo>
                <a:lnTo>
                  <a:pt x="130" y="238"/>
                </a:lnTo>
                <a:lnTo>
                  <a:pt x="118" y="2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6" name="Freeform 206">
            <a:extLst>
              <a:ext uri="{FF2B5EF4-FFF2-40B4-BE49-F238E27FC236}">
                <a16:creationId xmlns:a16="http://schemas.microsoft.com/office/drawing/2014/main" id="{00A94174-8FC7-4783-84C3-D79B240A4933}"/>
              </a:ext>
            </a:extLst>
          </p:cNvPr>
          <p:cNvSpPr>
            <a:spLocks/>
          </p:cNvSpPr>
          <p:nvPr/>
        </p:nvSpPr>
        <p:spPr bwMode="auto">
          <a:xfrm>
            <a:off x="5444213" y="2553948"/>
            <a:ext cx="46177" cy="24352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8" y="0"/>
              </a:cxn>
              <a:cxn ang="0">
                <a:pos x="18" y="8"/>
              </a:cxn>
              <a:cxn ang="0">
                <a:pos x="24" y="12"/>
              </a:cxn>
              <a:cxn ang="0">
                <a:pos x="16" y="14"/>
              </a:cxn>
              <a:cxn ang="0">
                <a:pos x="12" y="14"/>
              </a:cxn>
              <a:cxn ang="0">
                <a:pos x="6" y="10"/>
              </a:cxn>
              <a:cxn ang="0">
                <a:pos x="0" y="2"/>
              </a:cxn>
            </a:cxnLst>
            <a:rect l="0" t="0" r="r" b="b"/>
            <a:pathLst>
              <a:path w="24" h="14">
                <a:moveTo>
                  <a:pt x="0" y="2"/>
                </a:moveTo>
                <a:lnTo>
                  <a:pt x="8" y="0"/>
                </a:lnTo>
                <a:lnTo>
                  <a:pt x="18" y="8"/>
                </a:lnTo>
                <a:lnTo>
                  <a:pt x="24" y="12"/>
                </a:lnTo>
                <a:lnTo>
                  <a:pt x="16" y="14"/>
                </a:lnTo>
                <a:lnTo>
                  <a:pt x="12" y="14"/>
                </a:lnTo>
                <a:lnTo>
                  <a:pt x="6" y="10"/>
                </a:lnTo>
                <a:lnTo>
                  <a:pt x="0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7" name="Freeform 207">
            <a:extLst>
              <a:ext uri="{FF2B5EF4-FFF2-40B4-BE49-F238E27FC236}">
                <a16:creationId xmlns:a16="http://schemas.microsoft.com/office/drawing/2014/main" id="{0986FB09-14FB-4FFE-ADC3-B98746F22EF0}"/>
              </a:ext>
            </a:extLst>
          </p:cNvPr>
          <p:cNvSpPr>
            <a:spLocks/>
          </p:cNvSpPr>
          <p:nvPr/>
        </p:nvSpPr>
        <p:spPr bwMode="auto">
          <a:xfrm>
            <a:off x="4787476" y="1417529"/>
            <a:ext cx="3887398" cy="1082847"/>
          </a:xfrm>
          <a:custGeom>
            <a:avLst/>
            <a:gdLst/>
            <a:ahLst/>
            <a:cxnLst>
              <a:cxn ang="0">
                <a:pos x="1020" y="450"/>
              </a:cxn>
              <a:cxn ang="0">
                <a:pos x="1022" y="414"/>
              </a:cxn>
              <a:cxn ang="0">
                <a:pos x="1108" y="438"/>
              </a:cxn>
              <a:cxn ang="0">
                <a:pos x="1252" y="444"/>
              </a:cxn>
              <a:cxn ang="0">
                <a:pos x="1328" y="436"/>
              </a:cxn>
              <a:cxn ang="0">
                <a:pos x="1346" y="386"/>
              </a:cxn>
              <a:cxn ang="0">
                <a:pos x="1506" y="466"/>
              </a:cxn>
              <a:cxn ang="0">
                <a:pos x="1580" y="496"/>
              </a:cxn>
              <a:cxn ang="0">
                <a:pos x="1590" y="576"/>
              </a:cxn>
              <a:cxn ang="0">
                <a:pos x="1642" y="494"/>
              </a:cxn>
              <a:cxn ang="0">
                <a:pos x="1550" y="376"/>
              </a:cxn>
              <a:cxn ang="0">
                <a:pos x="1494" y="354"/>
              </a:cxn>
              <a:cxn ang="0">
                <a:pos x="1534" y="286"/>
              </a:cxn>
              <a:cxn ang="0">
                <a:pos x="1670" y="286"/>
              </a:cxn>
              <a:cxn ang="0">
                <a:pos x="1694" y="250"/>
              </a:cxn>
              <a:cxn ang="0">
                <a:pos x="1750" y="254"/>
              </a:cxn>
              <a:cxn ang="0">
                <a:pos x="1776" y="378"/>
              </a:cxn>
              <a:cxn ang="0">
                <a:pos x="1850" y="390"/>
              </a:cxn>
              <a:cxn ang="0">
                <a:pos x="1846" y="354"/>
              </a:cxn>
              <a:cxn ang="0">
                <a:pos x="1786" y="274"/>
              </a:cxn>
              <a:cxn ang="0">
                <a:pos x="1906" y="218"/>
              </a:cxn>
              <a:cxn ang="0">
                <a:pos x="1868" y="176"/>
              </a:cxn>
              <a:cxn ang="0">
                <a:pos x="1962" y="182"/>
              </a:cxn>
              <a:cxn ang="0">
                <a:pos x="1818" y="134"/>
              </a:cxn>
              <a:cxn ang="0">
                <a:pos x="1660" y="130"/>
              </a:cxn>
              <a:cxn ang="0">
                <a:pos x="1514" y="108"/>
              </a:cxn>
              <a:cxn ang="0">
                <a:pos x="1354" y="68"/>
              </a:cxn>
              <a:cxn ang="0">
                <a:pos x="1260" y="64"/>
              </a:cxn>
              <a:cxn ang="0">
                <a:pos x="1136" y="94"/>
              </a:cxn>
              <a:cxn ang="0">
                <a:pos x="924" y="56"/>
              </a:cxn>
              <a:cxn ang="0">
                <a:pos x="764" y="0"/>
              </a:cxn>
              <a:cxn ang="0">
                <a:pos x="618" y="32"/>
              </a:cxn>
              <a:cxn ang="0">
                <a:pos x="552" y="76"/>
              </a:cxn>
              <a:cxn ang="0">
                <a:pos x="502" y="68"/>
              </a:cxn>
              <a:cxn ang="0">
                <a:pos x="486" y="82"/>
              </a:cxn>
              <a:cxn ang="0">
                <a:pos x="446" y="114"/>
              </a:cxn>
              <a:cxn ang="0">
                <a:pos x="400" y="116"/>
              </a:cxn>
              <a:cxn ang="0">
                <a:pos x="334" y="128"/>
              </a:cxn>
              <a:cxn ang="0">
                <a:pos x="250" y="142"/>
              </a:cxn>
              <a:cxn ang="0">
                <a:pos x="198" y="166"/>
              </a:cxn>
              <a:cxn ang="0">
                <a:pos x="132" y="210"/>
              </a:cxn>
              <a:cxn ang="0">
                <a:pos x="134" y="172"/>
              </a:cxn>
              <a:cxn ang="0">
                <a:pos x="28" y="114"/>
              </a:cxn>
              <a:cxn ang="0">
                <a:pos x="20" y="148"/>
              </a:cxn>
              <a:cxn ang="0">
                <a:pos x="30" y="192"/>
              </a:cxn>
              <a:cxn ang="0">
                <a:pos x="38" y="246"/>
              </a:cxn>
              <a:cxn ang="0">
                <a:pos x="16" y="300"/>
              </a:cxn>
              <a:cxn ang="0">
                <a:pos x="68" y="338"/>
              </a:cxn>
              <a:cxn ang="0">
                <a:pos x="110" y="386"/>
              </a:cxn>
              <a:cxn ang="0">
                <a:pos x="178" y="440"/>
              </a:cxn>
              <a:cxn ang="0">
                <a:pos x="230" y="464"/>
              </a:cxn>
              <a:cxn ang="0">
                <a:pos x="206" y="520"/>
              </a:cxn>
              <a:cxn ang="0">
                <a:pos x="284" y="570"/>
              </a:cxn>
              <a:cxn ang="0">
                <a:pos x="364" y="606"/>
              </a:cxn>
              <a:cxn ang="0">
                <a:pos x="350" y="526"/>
              </a:cxn>
              <a:cxn ang="0">
                <a:pos x="332" y="478"/>
              </a:cxn>
              <a:cxn ang="0">
                <a:pos x="402" y="416"/>
              </a:cxn>
              <a:cxn ang="0">
                <a:pos x="516" y="406"/>
              </a:cxn>
              <a:cxn ang="0">
                <a:pos x="684" y="382"/>
              </a:cxn>
              <a:cxn ang="0">
                <a:pos x="836" y="436"/>
              </a:cxn>
            </a:cxnLst>
            <a:rect l="0" t="0" r="r" b="b"/>
            <a:pathLst>
              <a:path w="1968" h="606">
                <a:moveTo>
                  <a:pt x="902" y="458"/>
                </a:moveTo>
                <a:lnTo>
                  <a:pt x="912" y="448"/>
                </a:lnTo>
                <a:lnTo>
                  <a:pt x="924" y="440"/>
                </a:lnTo>
                <a:lnTo>
                  <a:pt x="936" y="436"/>
                </a:lnTo>
                <a:lnTo>
                  <a:pt x="950" y="434"/>
                </a:lnTo>
                <a:lnTo>
                  <a:pt x="958" y="436"/>
                </a:lnTo>
                <a:lnTo>
                  <a:pt x="964" y="436"/>
                </a:lnTo>
                <a:lnTo>
                  <a:pt x="982" y="442"/>
                </a:lnTo>
                <a:lnTo>
                  <a:pt x="1000" y="448"/>
                </a:lnTo>
                <a:lnTo>
                  <a:pt x="1010" y="450"/>
                </a:lnTo>
                <a:lnTo>
                  <a:pt x="1020" y="450"/>
                </a:lnTo>
                <a:lnTo>
                  <a:pt x="1026" y="450"/>
                </a:lnTo>
                <a:lnTo>
                  <a:pt x="1030" y="448"/>
                </a:lnTo>
                <a:lnTo>
                  <a:pt x="1034" y="446"/>
                </a:lnTo>
                <a:lnTo>
                  <a:pt x="1036" y="442"/>
                </a:lnTo>
                <a:lnTo>
                  <a:pt x="1036" y="438"/>
                </a:lnTo>
                <a:lnTo>
                  <a:pt x="1034" y="436"/>
                </a:lnTo>
                <a:lnTo>
                  <a:pt x="1028" y="430"/>
                </a:lnTo>
                <a:lnTo>
                  <a:pt x="1024" y="424"/>
                </a:lnTo>
                <a:lnTo>
                  <a:pt x="1022" y="420"/>
                </a:lnTo>
                <a:lnTo>
                  <a:pt x="1020" y="416"/>
                </a:lnTo>
                <a:lnTo>
                  <a:pt x="1022" y="414"/>
                </a:lnTo>
                <a:lnTo>
                  <a:pt x="1024" y="414"/>
                </a:lnTo>
                <a:lnTo>
                  <a:pt x="1030" y="412"/>
                </a:lnTo>
                <a:lnTo>
                  <a:pt x="1048" y="412"/>
                </a:lnTo>
                <a:lnTo>
                  <a:pt x="1066" y="416"/>
                </a:lnTo>
                <a:lnTo>
                  <a:pt x="1076" y="420"/>
                </a:lnTo>
                <a:lnTo>
                  <a:pt x="1082" y="426"/>
                </a:lnTo>
                <a:lnTo>
                  <a:pt x="1088" y="434"/>
                </a:lnTo>
                <a:lnTo>
                  <a:pt x="1092" y="436"/>
                </a:lnTo>
                <a:lnTo>
                  <a:pt x="1094" y="438"/>
                </a:lnTo>
                <a:lnTo>
                  <a:pt x="1100" y="440"/>
                </a:lnTo>
                <a:lnTo>
                  <a:pt x="1108" y="438"/>
                </a:lnTo>
                <a:lnTo>
                  <a:pt x="1122" y="436"/>
                </a:lnTo>
                <a:lnTo>
                  <a:pt x="1136" y="438"/>
                </a:lnTo>
                <a:lnTo>
                  <a:pt x="1148" y="440"/>
                </a:lnTo>
                <a:lnTo>
                  <a:pt x="1160" y="446"/>
                </a:lnTo>
                <a:lnTo>
                  <a:pt x="1186" y="458"/>
                </a:lnTo>
                <a:lnTo>
                  <a:pt x="1200" y="460"/>
                </a:lnTo>
                <a:lnTo>
                  <a:pt x="1214" y="462"/>
                </a:lnTo>
                <a:lnTo>
                  <a:pt x="1222" y="462"/>
                </a:lnTo>
                <a:lnTo>
                  <a:pt x="1230" y="460"/>
                </a:lnTo>
                <a:lnTo>
                  <a:pt x="1240" y="452"/>
                </a:lnTo>
                <a:lnTo>
                  <a:pt x="1252" y="444"/>
                </a:lnTo>
                <a:lnTo>
                  <a:pt x="1258" y="442"/>
                </a:lnTo>
                <a:lnTo>
                  <a:pt x="1264" y="442"/>
                </a:lnTo>
                <a:lnTo>
                  <a:pt x="1272" y="442"/>
                </a:lnTo>
                <a:lnTo>
                  <a:pt x="1284" y="446"/>
                </a:lnTo>
                <a:lnTo>
                  <a:pt x="1306" y="454"/>
                </a:lnTo>
                <a:lnTo>
                  <a:pt x="1314" y="454"/>
                </a:lnTo>
                <a:lnTo>
                  <a:pt x="1324" y="452"/>
                </a:lnTo>
                <a:lnTo>
                  <a:pt x="1326" y="450"/>
                </a:lnTo>
                <a:lnTo>
                  <a:pt x="1328" y="446"/>
                </a:lnTo>
                <a:lnTo>
                  <a:pt x="1328" y="442"/>
                </a:lnTo>
                <a:lnTo>
                  <a:pt x="1328" y="436"/>
                </a:lnTo>
                <a:lnTo>
                  <a:pt x="1326" y="426"/>
                </a:lnTo>
                <a:lnTo>
                  <a:pt x="1324" y="416"/>
                </a:lnTo>
                <a:lnTo>
                  <a:pt x="1318" y="410"/>
                </a:lnTo>
                <a:lnTo>
                  <a:pt x="1314" y="406"/>
                </a:lnTo>
                <a:lnTo>
                  <a:pt x="1312" y="404"/>
                </a:lnTo>
                <a:lnTo>
                  <a:pt x="1312" y="398"/>
                </a:lnTo>
                <a:lnTo>
                  <a:pt x="1314" y="394"/>
                </a:lnTo>
                <a:lnTo>
                  <a:pt x="1318" y="390"/>
                </a:lnTo>
                <a:lnTo>
                  <a:pt x="1324" y="388"/>
                </a:lnTo>
                <a:lnTo>
                  <a:pt x="1334" y="386"/>
                </a:lnTo>
                <a:lnTo>
                  <a:pt x="1346" y="386"/>
                </a:lnTo>
                <a:lnTo>
                  <a:pt x="1368" y="388"/>
                </a:lnTo>
                <a:lnTo>
                  <a:pt x="1384" y="394"/>
                </a:lnTo>
                <a:lnTo>
                  <a:pt x="1396" y="402"/>
                </a:lnTo>
                <a:lnTo>
                  <a:pt x="1408" y="410"/>
                </a:lnTo>
                <a:lnTo>
                  <a:pt x="1430" y="432"/>
                </a:lnTo>
                <a:lnTo>
                  <a:pt x="1442" y="440"/>
                </a:lnTo>
                <a:lnTo>
                  <a:pt x="1452" y="448"/>
                </a:lnTo>
                <a:lnTo>
                  <a:pt x="1466" y="454"/>
                </a:lnTo>
                <a:lnTo>
                  <a:pt x="1480" y="458"/>
                </a:lnTo>
                <a:lnTo>
                  <a:pt x="1494" y="462"/>
                </a:lnTo>
                <a:lnTo>
                  <a:pt x="1506" y="466"/>
                </a:lnTo>
                <a:lnTo>
                  <a:pt x="1512" y="474"/>
                </a:lnTo>
                <a:lnTo>
                  <a:pt x="1518" y="482"/>
                </a:lnTo>
                <a:lnTo>
                  <a:pt x="1526" y="488"/>
                </a:lnTo>
                <a:lnTo>
                  <a:pt x="1532" y="490"/>
                </a:lnTo>
                <a:lnTo>
                  <a:pt x="1536" y="490"/>
                </a:lnTo>
                <a:lnTo>
                  <a:pt x="1548" y="488"/>
                </a:lnTo>
                <a:lnTo>
                  <a:pt x="1554" y="484"/>
                </a:lnTo>
                <a:lnTo>
                  <a:pt x="1560" y="478"/>
                </a:lnTo>
                <a:lnTo>
                  <a:pt x="1568" y="472"/>
                </a:lnTo>
                <a:lnTo>
                  <a:pt x="1576" y="486"/>
                </a:lnTo>
                <a:lnTo>
                  <a:pt x="1580" y="496"/>
                </a:lnTo>
                <a:lnTo>
                  <a:pt x="1582" y="510"/>
                </a:lnTo>
                <a:lnTo>
                  <a:pt x="1582" y="522"/>
                </a:lnTo>
                <a:lnTo>
                  <a:pt x="1582" y="528"/>
                </a:lnTo>
                <a:lnTo>
                  <a:pt x="1582" y="538"/>
                </a:lnTo>
                <a:lnTo>
                  <a:pt x="1574" y="532"/>
                </a:lnTo>
                <a:lnTo>
                  <a:pt x="1562" y="528"/>
                </a:lnTo>
                <a:lnTo>
                  <a:pt x="1562" y="544"/>
                </a:lnTo>
                <a:lnTo>
                  <a:pt x="1570" y="550"/>
                </a:lnTo>
                <a:lnTo>
                  <a:pt x="1576" y="558"/>
                </a:lnTo>
                <a:lnTo>
                  <a:pt x="1584" y="580"/>
                </a:lnTo>
                <a:lnTo>
                  <a:pt x="1590" y="576"/>
                </a:lnTo>
                <a:lnTo>
                  <a:pt x="1600" y="574"/>
                </a:lnTo>
                <a:lnTo>
                  <a:pt x="1612" y="576"/>
                </a:lnTo>
                <a:lnTo>
                  <a:pt x="1618" y="576"/>
                </a:lnTo>
                <a:lnTo>
                  <a:pt x="1624" y="574"/>
                </a:lnTo>
                <a:lnTo>
                  <a:pt x="1630" y="574"/>
                </a:lnTo>
                <a:lnTo>
                  <a:pt x="1634" y="570"/>
                </a:lnTo>
                <a:lnTo>
                  <a:pt x="1640" y="558"/>
                </a:lnTo>
                <a:lnTo>
                  <a:pt x="1640" y="546"/>
                </a:lnTo>
                <a:lnTo>
                  <a:pt x="1642" y="532"/>
                </a:lnTo>
                <a:lnTo>
                  <a:pt x="1642" y="518"/>
                </a:lnTo>
                <a:lnTo>
                  <a:pt x="1642" y="494"/>
                </a:lnTo>
                <a:lnTo>
                  <a:pt x="1640" y="476"/>
                </a:lnTo>
                <a:lnTo>
                  <a:pt x="1636" y="458"/>
                </a:lnTo>
                <a:lnTo>
                  <a:pt x="1628" y="436"/>
                </a:lnTo>
                <a:lnTo>
                  <a:pt x="1616" y="418"/>
                </a:lnTo>
                <a:lnTo>
                  <a:pt x="1604" y="402"/>
                </a:lnTo>
                <a:lnTo>
                  <a:pt x="1588" y="386"/>
                </a:lnTo>
                <a:lnTo>
                  <a:pt x="1580" y="382"/>
                </a:lnTo>
                <a:lnTo>
                  <a:pt x="1572" y="380"/>
                </a:lnTo>
                <a:lnTo>
                  <a:pt x="1562" y="376"/>
                </a:lnTo>
                <a:lnTo>
                  <a:pt x="1554" y="376"/>
                </a:lnTo>
                <a:lnTo>
                  <a:pt x="1550" y="376"/>
                </a:lnTo>
                <a:lnTo>
                  <a:pt x="1548" y="376"/>
                </a:lnTo>
                <a:lnTo>
                  <a:pt x="1544" y="382"/>
                </a:lnTo>
                <a:lnTo>
                  <a:pt x="1534" y="378"/>
                </a:lnTo>
                <a:lnTo>
                  <a:pt x="1530" y="370"/>
                </a:lnTo>
                <a:lnTo>
                  <a:pt x="1524" y="362"/>
                </a:lnTo>
                <a:lnTo>
                  <a:pt x="1516" y="354"/>
                </a:lnTo>
                <a:lnTo>
                  <a:pt x="1510" y="358"/>
                </a:lnTo>
                <a:lnTo>
                  <a:pt x="1502" y="362"/>
                </a:lnTo>
                <a:lnTo>
                  <a:pt x="1492" y="366"/>
                </a:lnTo>
                <a:lnTo>
                  <a:pt x="1492" y="354"/>
                </a:lnTo>
                <a:lnTo>
                  <a:pt x="1494" y="354"/>
                </a:lnTo>
                <a:lnTo>
                  <a:pt x="1496" y="350"/>
                </a:lnTo>
                <a:lnTo>
                  <a:pt x="1502" y="344"/>
                </a:lnTo>
                <a:lnTo>
                  <a:pt x="1504" y="340"/>
                </a:lnTo>
                <a:lnTo>
                  <a:pt x="1504" y="334"/>
                </a:lnTo>
                <a:lnTo>
                  <a:pt x="1504" y="324"/>
                </a:lnTo>
                <a:lnTo>
                  <a:pt x="1506" y="312"/>
                </a:lnTo>
                <a:lnTo>
                  <a:pt x="1506" y="308"/>
                </a:lnTo>
                <a:lnTo>
                  <a:pt x="1508" y="302"/>
                </a:lnTo>
                <a:lnTo>
                  <a:pt x="1516" y="296"/>
                </a:lnTo>
                <a:lnTo>
                  <a:pt x="1524" y="290"/>
                </a:lnTo>
                <a:lnTo>
                  <a:pt x="1534" y="286"/>
                </a:lnTo>
                <a:lnTo>
                  <a:pt x="1546" y="284"/>
                </a:lnTo>
                <a:lnTo>
                  <a:pt x="1570" y="286"/>
                </a:lnTo>
                <a:lnTo>
                  <a:pt x="1592" y="286"/>
                </a:lnTo>
                <a:lnTo>
                  <a:pt x="1610" y="288"/>
                </a:lnTo>
                <a:lnTo>
                  <a:pt x="1624" y="292"/>
                </a:lnTo>
                <a:lnTo>
                  <a:pt x="1636" y="296"/>
                </a:lnTo>
                <a:lnTo>
                  <a:pt x="1648" y="298"/>
                </a:lnTo>
                <a:lnTo>
                  <a:pt x="1656" y="296"/>
                </a:lnTo>
                <a:lnTo>
                  <a:pt x="1662" y="294"/>
                </a:lnTo>
                <a:lnTo>
                  <a:pt x="1668" y="290"/>
                </a:lnTo>
                <a:lnTo>
                  <a:pt x="1670" y="286"/>
                </a:lnTo>
                <a:lnTo>
                  <a:pt x="1666" y="284"/>
                </a:lnTo>
                <a:lnTo>
                  <a:pt x="1660" y="278"/>
                </a:lnTo>
                <a:lnTo>
                  <a:pt x="1656" y="272"/>
                </a:lnTo>
                <a:lnTo>
                  <a:pt x="1654" y="262"/>
                </a:lnTo>
                <a:lnTo>
                  <a:pt x="1654" y="254"/>
                </a:lnTo>
                <a:lnTo>
                  <a:pt x="1656" y="252"/>
                </a:lnTo>
                <a:lnTo>
                  <a:pt x="1658" y="248"/>
                </a:lnTo>
                <a:lnTo>
                  <a:pt x="1662" y="246"/>
                </a:lnTo>
                <a:lnTo>
                  <a:pt x="1668" y="246"/>
                </a:lnTo>
                <a:lnTo>
                  <a:pt x="1682" y="246"/>
                </a:lnTo>
                <a:lnTo>
                  <a:pt x="1694" y="250"/>
                </a:lnTo>
                <a:lnTo>
                  <a:pt x="1704" y="256"/>
                </a:lnTo>
                <a:lnTo>
                  <a:pt x="1714" y="262"/>
                </a:lnTo>
                <a:lnTo>
                  <a:pt x="1722" y="264"/>
                </a:lnTo>
                <a:lnTo>
                  <a:pt x="1722" y="256"/>
                </a:lnTo>
                <a:lnTo>
                  <a:pt x="1722" y="250"/>
                </a:lnTo>
                <a:lnTo>
                  <a:pt x="1724" y="244"/>
                </a:lnTo>
                <a:lnTo>
                  <a:pt x="1722" y="230"/>
                </a:lnTo>
                <a:lnTo>
                  <a:pt x="1738" y="230"/>
                </a:lnTo>
                <a:lnTo>
                  <a:pt x="1740" y="240"/>
                </a:lnTo>
                <a:lnTo>
                  <a:pt x="1744" y="246"/>
                </a:lnTo>
                <a:lnTo>
                  <a:pt x="1750" y="254"/>
                </a:lnTo>
                <a:lnTo>
                  <a:pt x="1754" y="260"/>
                </a:lnTo>
                <a:lnTo>
                  <a:pt x="1748" y="270"/>
                </a:lnTo>
                <a:lnTo>
                  <a:pt x="1740" y="284"/>
                </a:lnTo>
                <a:lnTo>
                  <a:pt x="1734" y="300"/>
                </a:lnTo>
                <a:lnTo>
                  <a:pt x="1732" y="314"/>
                </a:lnTo>
                <a:lnTo>
                  <a:pt x="1732" y="322"/>
                </a:lnTo>
                <a:lnTo>
                  <a:pt x="1736" y="330"/>
                </a:lnTo>
                <a:lnTo>
                  <a:pt x="1740" y="338"/>
                </a:lnTo>
                <a:lnTo>
                  <a:pt x="1746" y="346"/>
                </a:lnTo>
                <a:lnTo>
                  <a:pt x="1760" y="362"/>
                </a:lnTo>
                <a:lnTo>
                  <a:pt x="1776" y="378"/>
                </a:lnTo>
                <a:lnTo>
                  <a:pt x="1814" y="406"/>
                </a:lnTo>
                <a:lnTo>
                  <a:pt x="1830" y="420"/>
                </a:lnTo>
                <a:lnTo>
                  <a:pt x="1840" y="434"/>
                </a:lnTo>
                <a:lnTo>
                  <a:pt x="1846" y="424"/>
                </a:lnTo>
                <a:lnTo>
                  <a:pt x="1848" y="416"/>
                </a:lnTo>
                <a:lnTo>
                  <a:pt x="1846" y="410"/>
                </a:lnTo>
                <a:lnTo>
                  <a:pt x="1840" y="404"/>
                </a:lnTo>
                <a:lnTo>
                  <a:pt x="1838" y="400"/>
                </a:lnTo>
                <a:lnTo>
                  <a:pt x="1840" y="398"/>
                </a:lnTo>
                <a:lnTo>
                  <a:pt x="1844" y="394"/>
                </a:lnTo>
                <a:lnTo>
                  <a:pt x="1850" y="390"/>
                </a:lnTo>
                <a:lnTo>
                  <a:pt x="1842" y="384"/>
                </a:lnTo>
                <a:lnTo>
                  <a:pt x="1838" y="382"/>
                </a:lnTo>
                <a:lnTo>
                  <a:pt x="1838" y="376"/>
                </a:lnTo>
                <a:lnTo>
                  <a:pt x="1838" y="372"/>
                </a:lnTo>
                <a:lnTo>
                  <a:pt x="1840" y="368"/>
                </a:lnTo>
                <a:lnTo>
                  <a:pt x="1850" y="366"/>
                </a:lnTo>
                <a:lnTo>
                  <a:pt x="1850" y="364"/>
                </a:lnTo>
                <a:lnTo>
                  <a:pt x="1852" y="362"/>
                </a:lnTo>
                <a:lnTo>
                  <a:pt x="1852" y="358"/>
                </a:lnTo>
                <a:lnTo>
                  <a:pt x="1850" y="356"/>
                </a:lnTo>
                <a:lnTo>
                  <a:pt x="1846" y="354"/>
                </a:lnTo>
                <a:lnTo>
                  <a:pt x="1838" y="354"/>
                </a:lnTo>
                <a:lnTo>
                  <a:pt x="1828" y="354"/>
                </a:lnTo>
                <a:lnTo>
                  <a:pt x="1840" y="338"/>
                </a:lnTo>
                <a:lnTo>
                  <a:pt x="1828" y="328"/>
                </a:lnTo>
                <a:lnTo>
                  <a:pt x="1806" y="316"/>
                </a:lnTo>
                <a:lnTo>
                  <a:pt x="1798" y="308"/>
                </a:lnTo>
                <a:lnTo>
                  <a:pt x="1790" y="302"/>
                </a:lnTo>
                <a:lnTo>
                  <a:pt x="1784" y="296"/>
                </a:lnTo>
                <a:lnTo>
                  <a:pt x="1782" y="290"/>
                </a:lnTo>
                <a:lnTo>
                  <a:pt x="1784" y="282"/>
                </a:lnTo>
                <a:lnTo>
                  <a:pt x="1786" y="274"/>
                </a:lnTo>
                <a:lnTo>
                  <a:pt x="1792" y="270"/>
                </a:lnTo>
                <a:lnTo>
                  <a:pt x="1796" y="268"/>
                </a:lnTo>
                <a:lnTo>
                  <a:pt x="1828" y="268"/>
                </a:lnTo>
                <a:lnTo>
                  <a:pt x="1838" y="266"/>
                </a:lnTo>
                <a:lnTo>
                  <a:pt x="1850" y="262"/>
                </a:lnTo>
                <a:lnTo>
                  <a:pt x="1858" y="258"/>
                </a:lnTo>
                <a:lnTo>
                  <a:pt x="1868" y="252"/>
                </a:lnTo>
                <a:lnTo>
                  <a:pt x="1888" y="240"/>
                </a:lnTo>
                <a:lnTo>
                  <a:pt x="1898" y="234"/>
                </a:lnTo>
                <a:lnTo>
                  <a:pt x="1912" y="228"/>
                </a:lnTo>
                <a:lnTo>
                  <a:pt x="1906" y="218"/>
                </a:lnTo>
                <a:lnTo>
                  <a:pt x="1900" y="214"/>
                </a:lnTo>
                <a:lnTo>
                  <a:pt x="1892" y="210"/>
                </a:lnTo>
                <a:lnTo>
                  <a:pt x="1884" y="208"/>
                </a:lnTo>
                <a:lnTo>
                  <a:pt x="1864" y="206"/>
                </a:lnTo>
                <a:lnTo>
                  <a:pt x="1856" y="204"/>
                </a:lnTo>
                <a:lnTo>
                  <a:pt x="1846" y="198"/>
                </a:lnTo>
                <a:lnTo>
                  <a:pt x="1858" y="194"/>
                </a:lnTo>
                <a:lnTo>
                  <a:pt x="1868" y="190"/>
                </a:lnTo>
                <a:lnTo>
                  <a:pt x="1862" y="184"/>
                </a:lnTo>
                <a:lnTo>
                  <a:pt x="1858" y="178"/>
                </a:lnTo>
                <a:lnTo>
                  <a:pt x="1868" y="176"/>
                </a:lnTo>
                <a:lnTo>
                  <a:pt x="1882" y="180"/>
                </a:lnTo>
                <a:lnTo>
                  <a:pt x="1912" y="188"/>
                </a:lnTo>
                <a:lnTo>
                  <a:pt x="1940" y="194"/>
                </a:lnTo>
                <a:lnTo>
                  <a:pt x="1950" y="198"/>
                </a:lnTo>
                <a:lnTo>
                  <a:pt x="1962" y="198"/>
                </a:lnTo>
                <a:lnTo>
                  <a:pt x="1966" y="198"/>
                </a:lnTo>
                <a:lnTo>
                  <a:pt x="1968" y="196"/>
                </a:lnTo>
                <a:lnTo>
                  <a:pt x="1968" y="194"/>
                </a:lnTo>
                <a:lnTo>
                  <a:pt x="1968" y="190"/>
                </a:lnTo>
                <a:lnTo>
                  <a:pt x="1968" y="188"/>
                </a:lnTo>
                <a:lnTo>
                  <a:pt x="1962" y="182"/>
                </a:lnTo>
                <a:lnTo>
                  <a:pt x="1960" y="178"/>
                </a:lnTo>
                <a:lnTo>
                  <a:pt x="1956" y="174"/>
                </a:lnTo>
                <a:lnTo>
                  <a:pt x="1940" y="166"/>
                </a:lnTo>
                <a:lnTo>
                  <a:pt x="1924" y="164"/>
                </a:lnTo>
                <a:lnTo>
                  <a:pt x="1906" y="162"/>
                </a:lnTo>
                <a:lnTo>
                  <a:pt x="1896" y="162"/>
                </a:lnTo>
                <a:lnTo>
                  <a:pt x="1892" y="162"/>
                </a:lnTo>
                <a:lnTo>
                  <a:pt x="1888" y="164"/>
                </a:lnTo>
                <a:lnTo>
                  <a:pt x="1868" y="152"/>
                </a:lnTo>
                <a:lnTo>
                  <a:pt x="1844" y="142"/>
                </a:lnTo>
                <a:lnTo>
                  <a:pt x="1818" y="134"/>
                </a:lnTo>
                <a:lnTo>
                  <a:pt x="1788" y="126"/>
                </a:lnTo>
                <a:lnTo>
                  <a:pt x="1760" y="122"/>
                </a:lnTo>
                <a:lnTo>
                  <a:pt x="1730" y="118"/>
                </a:lnTo>
                <a:lnTo>
                  <a:pt x="1700" y="114"/>
                </a:lnTo>
                <a:lnTo>
                  <a:pt x="1674" y="114"/>
                </a:lnTo>
                <a:lnTo>
                  <a:pt x="1668" y="112"/>
                </a:lnTo>
                <a:lnTo>
                  <a:pt x="1656" y="110"/>
                </a:lnTo>
                <a:lnTo>
                  <a:pt x="1652" y="110"/>
                </a:lnTo>
                <a:lnTo>
                  <a:pt x="1650" y="114"/>
                </a:lnTo>
                <a:lnTo>
                  <a:pt x="1652" y="120"/>
                </a:lnTo>
                <a:lnTo>
                  <a:pt x="1660" y="130"/>
                </a:lnTo>
                <a:lnTo>
                  <a:pt x="1644" y="130"/>
                </a:lnTo>
                <a:lnTo>
                  <a:pt x="1636" y="124"/>
                </a:lnTo>
                <a:lnTo>
                  <a:pt x="1622" y="120"/>
                </a:lnTo>
                <a:lnTo>
                  <a:pt x="1610" y="118"/>
                </a:lnTo>
                <a:lnTo>
                  <a:pt x="1594" y="118"/>
                </a:lnTo>
                <a:lnTo>
                  <a:pt x="1562" y="120"/>
                </a:lnTo>
                <a:lnTo>
                  <a:pt x="1548" y="120"/>
                </a:lnTo>
                <a:lnTo>
                  <a:pt x="1534" y="118"/>
                </a:lnTo>
                <a:lnTo>
                  <a:pt x="1526" y="116"/>
                </a:lnTo>
                <a:lnTo>
                  <a:pt x="1520" y="112"/>
                </a:lnTo>
                <a:lnTo>
                  <a:pt x="1514" y="108"/>
                </a:lnTo>
                <a:lnTo>
                  <a:pt x="1508" y="102"/>
                </a:lnTo>
                <a:lnTo>
                  <a:pt x="1500" y="98"/>
                </a:lnTo>
                <a:lnTo>
                  <a:pt x="1480" y="96"/>
                </a:lnTo>
                <a:lnTo>
                  <a:pt x="1454" y="96"/>
                </a:lnTo>
                <a:lnTo>
                  <a:pt x="1418" y="100"/>
                </a:lnTo>
                <a:lnTo>
                  <a:pt x="1406" y="100"/>
                </a:lnTo>
                <a:lnTo>
                  <a:pt x="1394" y="96"/>
                </a:lnTo>
                <a:lnTo>
                  <a:pt x="1388" y="90"/>
                </a:lnTo>
                <a:lnTo>
                  <a:pt x="1378" y="84"/>
                </a:lnTo>
                <a:lnTo>
                  <a:pt x="1364" y="72"/>
                </a:lnTo>
                <a:lnTo>
                  <a:pt x="1354" y="68"/>
                </a:lnTo>
                <a:lnTo>
                  <a:pt x="1344" y="66"/>
                </a:lnTo>
                <a:lnTo>
                  <a:pt x="1340" y="68"/>
                </a:lnTo>
                <a:lnTo>
                  <a:pt x="1336" y="70"/>
                </a:lnTo>
                <a:lnTo>
                  <a:pt x="1334" y="78"/>
                </a:lnTo>
                <a:lnTo>
                  <a:pt x="1328" y="78"/>
                </a:lnTo>
                <a:lnTo>
                  <a:pt x="1312" y="80"/>
                </a:lnTo>
                <a:lnTo>
                  <a:pt x="1304" y="78"/>
                </a:lnTo>
                <a:lnTo>
                  <a:pt x="1292" y="76"/>
                </a:lnTo>
                <a:lnTo>
                  <a:pt x="1280" y="72"/>
                </a:lnTo>
                <a:lnTo>
                  <a:pt x="1266" y="66"/>
                </a:lnTo>
                <a:lnTo>
                  <a:pt x="1260" y="64"/>
                </a:lnTo>
                <a:lnTo>
                  <a:pt x="1256" y="64"/>
                </a:lnTo>
                <a:lnTo>
                  <a:pt x="1250" y="68"/>
                </a:lnTo>
                <a:lnTo>
                  <a:pt x="1246" y="74"/>
                </a:lnTo>
                <a:lnTo>
                  <a:pt x="1240" y="82"/>
                </a:lnTo>
                <a:lnTo>
                  <a:pt x="1236" y="88"/>
                </a:lnTo>
                <a:lnTo>
                  <a:pt x="1232" y="90"/>
                </a:lnTo>
                <a:lnTo>
                  <a:pt x="1224" y="94"/>
                </a:lnTo>
                <a:lnTo>
                  <a:pt x="1212" y="96"/>
                </a:lnTo>
                <a:lnTo>
                  <a:pt x="1190" y="98"/>
                </a:lnTo>
                <a:lnTo>
                  <a:pt x="1148" y="96"/>
                </a:lnTo>
                <a:lnTo>
                  <a:pt x="1136" y="94"/>
                </a:lnTo>
                <a:lnTo>
                  <a:pt x="1124" y="90"/>
                </a:lnTo>
                <a:lnTo>
                  <a:pt x="1114" y="84"/>
                </a:lnTo>
                <a:lnTo>
                  <a:pt x="1104" y="80"/>
                </a:lnTo>
                <a:lnTo>
                  <a:pt x="1094" y="72"/>
                </a:lnTo>
                <a:lnTo>
                  <a:pt x="1082" y="66"/>
                </a:lnTo>
                <a:lnTo>
                  <a:pt x="1066" y="62"/>
                </a:lnTo>
                <a:lnTo>
                  <a:pt x="1048" y="60"/>
                </a:lnTo>
                <a:lnTo>
                  <a:pt x="1038" y="58"/>
                </a:lnTo>
                <a:lnTo>
                  <a:pt x="1018" y="56"/>
                </a:lnTo>
                <a:lnTo>
                  <a:pt x="980" y="54"/>
                </a:lnTo>
                <a:lnTo>
                  <a:pt x="924" y="56"/>
                </a:lnTo>
                <a:lnTo>
                  <a:pt x="898" y="54"/>
                </a:lnTo>
                <a:lnTo>
                  <a:pt x="868" y="54"/>
                </a:lnTo>
                <a:lnTo>
                  <a:pt x="880" y="46"/>
                </a:lnTo>
                <a:lnTo>
                  <a:pt x="886" y="40"/>
                </a:lnTo>
                <a:lnTo>
                  <a:pt x="890" y="34"/>
                </a:lnTo>
                <a:lnTo>
                  <a:pt x="876" y="26"/>
                </a:lnTo>
                <a:lnTo>
                  <a:pt x="852" y="20"/>
                </a:lnTo>
                <a:lnTo>
                  <a:pt x="828" y="12"/>
                </a:lnTo>
                <a:lnTo>
                  <a:pt x="800" y="4"/>
                </a:lnTo>
                <a:lnTo>
                  <a:pt x="774" y="2"/>
                </a:lnTo>
                <a:lnTo>
                  <a:pt x="764" y="0"/>
                </a:lnTo>
                <a:lnTo>
                  <a:pt x="752" y="2"/>
                </a:lnTo>
                <a:lnTo>
                  <a:pt x="742" y="4"/>
                </a:lnTo>
                <a:lnTo>
                  <a:pt x="736" y="8"/>
                </a:lnTo>
                <a:lnTo>
                  <a:pt x="732" y="14"/>
                </a:lnTo>
                <a:lnTo>
                  <a:pt x="728" y="22"/>
                </a:lnTo>
                <a:lnTo>
                  <a:pt x="712" y="20"/>
                </a:lnTo>
                <a:lnTo>
                  <a:pt x="692" y="18"/>
                </a:lnTo>
                <a:lnTo>
                  <a:pt x="668" y="20"/>
                </a:lnTo>
                <a:lnTo>
                  <a:pt x="642" y="26"/>
                </a:lnTo>
                <a:lnTo>
                  <a:pt x="630" y="28"/>
                </a:lnTo>
                <a:lnTo>
                  <a:pt x="618" y="32"/>
                </a:lnTo>
                <a:lnTo>
                  <a:pt x="608" y="38"/>
                </a:lnTo>
                <a:lnTo>
                  <a:pt x="602" y="46"/>
                </a:lnTo>
                <a:lnTo>
                  <a:pt x="608" y="46"/>
                </a:lnTo>
                <a:lnTo>
                  <a:pt x="618" y="52"/>
                </a:lnTo>
                <a:lnTo>
                  <a:pt x="606" y="54"/>
                </a:lnTo>
                <a:lnTo>
                  <a:pt x="596" y="54"/>
                </a:lnTo>
                <a:lnTo>
                  <a:pt x="578" y="54"/>
                </a:lnTo>
                <a:lnTo>
                  <a:pt x="564" y="56"/>
                </a:lnTo>
                <a:lnTo>
                  <a:pt x="574" y="74"/>
                </a:lnTo>
                <a:lnTo>
                  <a:pt x="562" y="74"/>
                </a:lnTo>
                <a:lnTo>
                  <a:pt x="552" y="76"/>
                </a:lnTo>
                <a:lnTo>
                  <a:pt x="548" y="80"/>
                </a:lnTo>
                <a:lnTo>
                  <a:pt x="548" y="82"/>
                </a:lnTo>
                <a:lnTo>
                  <a:pt x="546" y="86"/>
                </a:lnTo>
                <a:lnTo>
                  <a:pt x="548" y="90"/>
                </a:lnTo>
                <a:lnTo>
                  <a:pt x="548" y="96"/>
                </a:lnTo>
                <a:lnTo>
                  <a:pt x="542" y="94"/>
                </a:lnTo>
                <a:lnTo>
                  <a:pt x="536" y="90"/>
                </a:lnTo>
                <a:lnTo>
                  <a:pt x="524" y="82"/>
                </a:lnTo>
                <a:lnTo>
                  <a:pt x="516" y="74"/>
                </a:lnTo>
                <a:lnTo>
                  <a:pt x="510" y="72"/>
                </a:lnTo>
                <a:lnTo>
                  <a:pt x="502" y="68"/>
                </a:lnTo>
                <a:lnTo>
                  <a:pt x="502" y="72"/>
                </a:lnTo>
                <a:lnTo>
                  <a:pt x="500" y="80"/>
                </a:lnTo>
                <a:lnTo>
                  <a:pt x="502" y="84"/>
                </a:lnTo>
                <a:lnTo>
                  <a:pt x="506" y="90"/>
                </a:lnTo>
                <a:lnTo>
                  <a:pt x="514" y="96"/>
                </a:lnTo>
                <a:lnTo>
                  <a:pt x="522" y="102"/>
                </a:lnTo>
                <a:lnTo>
                  <a:pt x="522" y="124"/>
                </a:lnTo>
                <a:lnTo>
                  <a:pt x="512" y="116"/>
                </a:lnTo>
                <a:lnTo>
                  <a:pt x="504" y="108"/>
                </a:lnTo>
                <a:lnTo>
                  <a:pt x="492" y="88"/>
                </a:lnTo>
                <a:lnTo>
                  <a:pt x="486" y="82"/>
                </a:lnTo>
                <a:lnTo>
                  <a:pt x="478" y="74"/>
                </a:lnTo>
                <a:lnTo>
                  <a:pt x="466" y="68"/>
                </a:lnTo>
                <a:lnTo>
                  <a:pt x="450" y="66"/>
                </a:lnTo>
                <a:lnTo>
                  <a:pt x="442" y="68"/>
                </a:lnTo>
                <a:lnTo>
                  <a:pt x="438" y="72"/>
                </a:lnTo>
                <a:lnTo>
                  <a:pt x="434" y="80"/>
                </a:lnTo>
                <a:lnTo>
                  <a:pt x="434" y="88"/>
                </a:lnTo>
                <a:lnTo>
                  <a:pt x="434" y="94"/>
                </a:lnTo>
                <a:lnTo>
                  <a:pt x="438" y="102"/>
                </a:lnTo>
                <a:lnTo>
                  <a:pt x="440" y="108"/>
                </a:lnTo>
                <a:lnTo>
                  <a:pt x="446" y="114"/>
                </a:lnTo>
                <a:lnTo>
                  <a:pt x="454" y="120"/>
                </a:lnTo>
                <a:lnTo>
                  <a:pt x="462" y="126"/>
                </a:lnTo>
                <a:lnTo>
                  <a:pt x="468" y="128"/>
                </a:lnTo>
                <a:lnTo>
                  <a:pt x="478" y="130"/>
                </a:lnTo>
                <a:lnTo>
                  <a:pt x="468" y="136"/>
                </a:lnTo>
                <a:lnTo>
                  <a:pt x="460" y="136"/>
                </a:lnTo>
                <a:lnTo>
                  <a:pt x="450" y="134"/>
                </a:lnTo>
                <a:lnTo>
                  <a:pt x="440" y="132"/>
                </a:lnTo>
                <a:lnTo>
                  <a:pt x="420" y="122"/>
                </a:lnTo>
                <a:lnTo>
                  <a:pt x="410" y="118"/>
                </a:lnTo>
                <a:lnTo>
                  <a:pt x="400" y="116"/>
                </a:lnTo>
                <a:lnTo>
                  <a:pt x="366" y="116"/>
                </a:lnTo>
                <a:lnTo>
                  <a:pt x="368" y="120"/>
                </a:lnTo>
                <a:lnTo>
                  <a:pt x="370" y="130"/>
                </a:lnTo>
                <a:lnTo>
                  <a:pt x="370" y="134"/>
                </a:lnTo>
                <a:lnTo>
                  <a:pt x="368" y="134"/>
                </a:lnTo>
                <a:lnTo>
                  <a:pt x="362" y="132"/>
                </a:lnTo>
                <a:lnTo>
                  <a:pt x="356" y="124"/>
                </a:lnTo>
                <a:lnTo>
                  <a:pt x="350" y="122"/>
                </a:lnTo>
                <a:lnTo>
                  <a:pt x="346" y="122"/>
                </a:lnTo>
                <a:lnTo>
                  <a:pt x="340" y="124"/>
                </a:lnTo>
                <a:lnTo>
                  <a:pt x="334" y="128"/>
                </a:lnTo>
                <a:lnTo>
                  <a:pt x="322" y="136"/>
                </a:lnTo>
                <a:lnTo>
                  <a:pt x="314" y="136"/>
                </a:lnTo>
                <a:lnTo>
                  <a:pt x="306" y="138"/>
                </a:lnTo>
                <a:lnTo>
                  <a:pt x="302" y="136"/>
                </a:lnTo>
                <a:lnTo>
                  <a:pt x="302" y="134"/>
                </a:lnTo>
                <a:lnTo>
                  <a:pt x="298" y="132"/>
                </a:lnTo>
                <a:lnTo>
                  <a:pt x="290" y="130"/>
                </a:lnTo>
                <a:lnTo>
                  <a:pt x="280" y="132"/>
                </a:lnTo>
                <a:lnTo>
                  <a:pt x="270" y="134"/>
                </a:lnTo>
                <a:lnTo>
                  <a:pt x="260" y="136"/>
                </a:lnTo>
                <a:lnTo>
                  <a:pt x="250" y="142"/>
                </a:lnTo>
                <a:lnTo>
                  <a:pt x="236" y="152"/>
                </a:lnTo>
                <a:lnTo>
                  <a:pt x="222" y="164"/>
                </a:lnTo>
                <a:lnTo>
                  <a:pt x="218" y="158"/>
                </a:lnTo>
                <a:lnTo>
                  <a:pt x="216" y="152"/>
                </a:lnTo>
                <a:lnTo>
                  <a:pt x="214" y="144"/>
                </a:lnTo>
                <a:lnTo>
                  <a:pt x="214" y="136"/>
                </a:lnTo>
                <a:lnTo>
                  <a:pt x="192" y="136"/>
                </a:lnTo>
                <a:lnTo>
                  <a:pt x="192" y="144"/>
                </a:lnTo>
                <a:lnTo>
                  <a:pt x="194" y="150"/>
                </a:lnTo>
                <a:lnTo>
                  <a:pt x="196" y="158"/>
                </a:lnTo>
                <a:lnTo>
                  <a:pt x="198" y="166"/>
                </a:lnTo>
                <a:lnTo>
                  <a:pt x="190" y="166"/>
                </a:lnTo>
                <a:lnTo>
                  <a:pt x="180" y="168"/>
                </a:lnTo>
                <a:lnTo>
                  <a:pt x="172" y="172"/>
                </a:lnTo>
                <a:lnTo>
                  <a:pt x="166" y="176"/>
                </a:lnTo>
                <a:lnTo>
                  <a:pt x="158" y="186"/>
                </a:lnTo>
                <a:lnTo>
                  <a:pt x="148" y="196"/>
                </a:lnTo>
                <a:lnTo>
                  <a:pt x="132" y="190"/>
                </a:lnTo>
                <a:lnTo>
                  <a:pt x="118" y="190"/>
                </a:lnTo>
                <a:lnTo>
                  <a:pt x="126" y="198"/>
                </a:lnTo>
                <a:lnTo>
                  <a:pt x="130" y="206"/>
                </a:lnTo>
                <a:lnTo>
                  <a:pt x="132" y="210"/>
                </a:lnTo>
                <a:lnTo>
                  <a:pt x="118" y="210"/>
                </a:lnTo>
                <a:lnTo>
                  <a:pt x="110" y="208"/>
                </a:lnTo>
                <a:lnTo>
                  <a:pt x="102" y="202"/>
                </a:lnTo>
                <a:lnTo>
                  <a:pt x="94" y="196"/>
                </a:lnTo>
                <a:lnTo>
                  <a:pt x="84" y="180"/>
                </a:lnTo>
                <a:lnTo>
                  <a:pt x="76" y="166"/>
                </a:lnTo>
                <a:lnTo>
                  <a:pt x="84" y="166"/>
                </a:lnTo>
                <a:lnTo>
                  <a:pt x="96" y="170"/>
                </a:lnTo>
                <a:lnTo>
                  <a:pt x="110" y="172"/>
                </a:lnTo>
                <a:lnTo>
                  <a:pt x="124" y="174"/>
                </a:lnTo>
                <a:lnTo>
                  <a:pt x="134" y="172"/>
                </a:lnTo>
                <a:lnTo>
                  <a:pt x="142" y="170"/>
                </a:lnTo>
                <a:lnTo>
                  <a:pt x="158" y="164"/>
                </a:lnTo>
                <a:lnTo>
                  <a:pt x="156" y="158"/>
                </a:lnTo>
                <a:lnTo>
                  <a:pt x="150" y="152"/>
                </a:lnTo>
                <a:lnTo>
                  <a:pt x="144" y="146"/>
                </a:lnTo>
                <a:lnTo>
                  <a:pt x="138" y="142"/>
                </a:lnTo>
                <a:lnTo>
                  <a:pt x="120" y="136"/>
                </a:lnTo>
                <a:lnTo>
                  <a:pt x="100" y="132"/>
                </a:lnTo>
                <a:lnTo>
                  <a:pt x="56" y="124"/>
                </a:lnTo>
                <a:lnTo>
                  <a:pt x="36" y="118"/>
                </a:lnTo>
                <a:lnTo>
                  <a:pt x="28" y="114"/>
                </a:lnTo>
                <a:lnTo>
                  <a:pt x="24" y="110"/>
                </a:lnTo>
                <a:lnTo>
                  <a:pt x="24" y="122"/>
                </a:lnTo>
                <a:lnTo>
                  <a:pt x="8" y="126"/>
                </a:lnTo>
                <a:lnTo>
                  <a:pt x="2" y="130"/>
                </a:lnTo>
                <a:lnTo>
                  <a:pt x="0" y="134"/>
                </a:lnTo>
                <a:lnTo>
                  <a:pt x="0" y="136"/>
                </a:lnTo>
                <a:lnTo>
                  <a:pt x="0" y="140"/>
                </a:lnTo>
                <a:lnTo>
                  <a:pt x="2" y="142"/>
                </a:lnTo>
                <a:lnTo>
                  <a:pt x="10" y="144"/>
                </a:lnTo>
                <a:lnTo>
                  <a:pt x="18" y="146"/>
                </a:lnTo>
                <a:lnTo>
                  <a:pt x="20" y="148"/>
                </a:lnTo>
                <a:lnTo>
                  <a:pt x="20" y="150"/>
                </a:lnTo>
                <a:lnTo>
                  <a:pt x="20" y="154"/>
                </a:lnTo>
                <a:lnTo>
                  <a:pt x="18" y="158"/>
                </a:lnTo>
                <a:lnTo>
                  <a:pt x="14" y="160"/>
                </a:lnTo>
                <a:lnTo>
                  <a:pt x="14" y="164"/>
                </a:lnTo>
                <a:lnTo>
                  <a:pt x="16" y="166"/>
                </a:lnTo>
                <a:lnTo>
                  <a:pt x="18" y="164"/>
                </a:lnTo>
                <a:lnTo>
                  <a:pt x="24" y="164"/>
                </a:lnTo>
                <a:lnTo>
                  <a:pt x="24" y="174"/>
                </a:lnTo>
                <a:lnTo>
                  <a:pt x="28" y="186"/>
                </a:lnTo>
                <a:lnTo>
                  <a:pt x="30" y="192"/>
                </a:lnTo>
                <a:lnTo>
                  <a:pt x="32" y="196"/>
                </a:lnTo>
                <a:lnTo>
                  <a:pt x="36" y="198"/>
                </a:lnTo>
                <a:lnTo>
                  <a:pt x="36" y="202"/>
                </a:lnTo>
                <a:lnTo>
                  <a:pt x="38" y="208"/>
                </a:lnTo>
                <a:lnTo>
                  <a:pt x="40" y="212"/>
                </a:lnTo>
                <a:lnTo>
                  <a:pt x="40" y="218"/>
                </a:lnTo>
                <a:lnTo>
                  <a:pt x="50" y="222"/>
                </a:lnTo>
                <a:lnTo>
                  <a:pt x="56" y="228"/>
                </a:lnTo>
                <a:lnTo>
                  <a:pt x="56" y="240"/>
                </a:lnTo>
                <a:lnTo>
                  <a:pt x="46" y="242"/>
                </a:lnTo>
                <a:lnTo>
                  <a:pt x="38" y="246"/>
                </a:lnTo>
                <a:lnTo>
                  <a:pt x="28" y="260"/>
                </a:lnTo>
                <a:lnTo>
                  <a:pt x="32" y="266"/>
                </a:lnTo>
                <a:lnTo>
                  <a:pt x="36" y="268"/>
                </a:lnTo>
                <a:lnTo>
                  <a:pt x="40" y="270"/>
                </a:lnTo>
                <a:lnTo>
                  <a:pt x="34" y="276"/>
                </a:lnTo>
                <a:lnTo>
                  <a:pt x="26" y="282"/>
                </a:lnTo>
                <a:lnTo>
                  <a:pt x="20" y="284"/>
                </a:lnTo>
                <a:lnTo>
                  <a:pt x="20" y="294"/>
                </a:lnTo>
                <a:lnTo>
                  <a:pt x="18" y="296"/>
                </a:lnTo>
                <a:lnTo>
                  <a:pt x="14" y="296"/>
                </a:lnTo>
                <a:lnTo>
                  <a:pt x="16" y="300"/>
                </a:lnTo>
                <a:lnTo>
                  <a:pt x="24" y="314"/>
                </a:lnTo>
                <a:lnTo>
                  <a:pt x="26" y="320"/>
                </a:lnTo>
                <a:lnTo>
                  <a:pt x="28" y="330"/>
                </a:lnTo>
                <a:lnTo>
                  <a:pt x="30" y="338"/>
                </a:lnTo>
                <a:lnTo>
                  <a:pt x="30" y="340"/>
                </a:lnTo>
                <a:lnTo>
                  <a:pt x="32" y="340"/>
                </a:lnTo>
                <a:lnTo>
                  <a:pt x="34" y="340"/>
                </a:lnTo>
                <a:lnTo>
                  <a:pt x="42" y="338"/>
                </a:lnTo>
                <a:lnTo>
                  <a:pt x="50" y="334"/>
                </a:lnTo>
                <a:lnTo>
                  <a:pt x="58" y="338"/>
                </a:lnTo>
                <a:lnTo>
                  <a:pt x="68" y="338"/>
                </a:lnTo>
                <a:lnTo>
                  <a:pt x="80" y="338"/>
                </a:lnTo>
                <a:lnTo>
                  <a:pt x="88" y="350"/>
                </a:lnTo>
                <a:lnTo>
                  <a:pt x="88" y="358"/>
                </a:lnTo>
                <a:lnTo>
                  <a:pt x="94" y="362"/>
                </a:lnTo>
                <a:lnTo>
                  <a:pt x="100" y="372"/>
                </a:lnTo>
                <a:lnTo>
                  <a:pt x="104" y="376"/>
                </a:lnTo>
                <a:lnTo>
                  <a:pt x="108" y="376"/>
                </a:lnTo>
                <a:lnTo>
                  <a:pt x="112" y="378"/>
                </a:lnTo>
                <a:lnTo>
                  <a:pt x="112" y="376"/>
                </a:lnTo>
                <a:lnTo>
                  <a:pt x="114" y="384"/>
                </a:lnTo>
                <a:lnTo>
                  <a:pt x="110" y="386"/>
                </a:lnTo>
                <a:lnTo>
                  <a:pt x="96" y="390"/>
                </a:lnTo>
                <a:lnTo>
                  <a:pt x="104" y="406"/>
                </a:lnTo>
                <a:lnTo>
                  <a:pt x="112" y="406"/>
                </a:lnTo>
                <a:lnTo>
                  <a:pt x="132" y="400"/>
                </a:lnTo>
                <a:lnTo>
                  <a:pt x="142" y="408"/>
                </a:lnTo>
                <a:lnTo>
                  <a:pt x="142" y="414"/>
                </a:lnTo>
                <a:lnTo>
                  <a:pt x="144" y="422"/>
                </a:lnTo>
                <a:lnTo>
                  <a:pt x="160" y="424"/>
                </a:lnTo>
                <a:lnTo>
                  <a:pt x="164" y="436"/>
                </a:lnTo>
                <a:lnTo>
                  <a:pt x="174" y="436"/>
                </a:lnTo>
                <a:lnTo>
                  <a:pt x="178" y="440"/>
                </a:lnTo>
                <a:lnTo>
                  <a:pt x="192" y="436"/>
                </a:lnTo>
                <a:lnTo>
                  <a:pt x="198" y="444"/>
                </a:lnTo>
                <a:lnTo>
                  <a:pt x="210" y="448"/>
                </a:lnTo>
                <a:lnTo>
                  <a:pt x="214" y="448"/>
                </a:lnTo>
                <a:lnTo>
                  <a:pt x="222" y="450"/>
                </a:lnTo>
                <a:lnTo>
                  <a:pt x="228" y="452"/>
                </a:lnTo>
                <a:lnTo>
                  <a:pt x="234" y="454"/>
                </a:lnTo>
                <a:lnTo>
                  <a:pt x="236" y="456"/>
                </a:lnTo>
                <a:lnTo>
                  <a:pt x="236" y="458"/>
                </a:lnTo>
                <a:lnTo>
                  <a:pt x="234" y="460"/>
                </a:lnTo>
                <a:lnTo>
                  <a:pt x="230" y="464"/>
                </a:lnTo>
                <a:lnTo>
                  <a:pt x="234" y="472"/>
                </a:lnTo>
                <a:lnTo>
                  <a:pt x="236" y="480"/>
                </a:lnTo>
                <a:lnTo>
                  <a:pt x="236" y="484"/>
                </a:lnTo>
                <a:lnTo>
                  <a:pt x="220" y="484"/>
                </a:lnTo>
                <a:lnTo>
                  <a:pt x="212" y="492"/>
                </a:lnTo>
                <a:lnTo>
                  <a:pt x="212" y="500"/>
                </a:lnTo>
                <a:lnTo>
                  <a:pt x="216" y="500"/>
                </a:lnTo>
                <a:lnTo>
                  <a:pt x="224" y="500"/>
                </a:lnTo>
                <a:lnTo>
                  <a:pt x="206" y="510"/>
                </a:lnTo>
                <a:lnTo>
                  <a:pt x="214" y="518"/>
                </a:lnTo>
                <a:lnTo>
                  <a:pt x="206" y="520"/>
                </a:lnTo>
                <a:lnTo>
                  <a:pt x="206" y="532"/>
                </a:lnTo>
                <a:lnTo>
                  <a:pt x="192" y="534"/>
                </a:lnTo>
                <a:lnTo>
                  <a:pt x="198" y="536"/>
                </a:lnTo>
                <a:lnTo>
                  <a:pt x="202" y="540"/>
                </a:lnTo>
                <a:lnTo>
                  <a:pt x="208" y="544"/>
                </a:lnTo>
                <a:lnTo>
                  <a:pt x="216" y="548"/>
                </a:lnTo>
                <a:lnTo>
                  <a:pt x="242" y="562"/>
                </a:lnTo>
                <a:lnTo>
                  <a:pt x="250" y="564"/>
                </a:lnTo>
                <a:lnTo>
                  <a:pt x="260" y="564"/>
                </a:lnTo>
                <a:lnTo>
                  <a:pt x="272" y="568"/>
                </a:lnTo>
                <a:lnTo>
                  <a:pt x="284" y="570"/>
                </a:lnTo>
                <a:lnTo>
                  <a:pt x="294" y="572"/>
                </a:lnTo>
                <a:lnTo>
                  <a:pt x="304" y="578"/>
                </a:lnTo>
                <a:lnTo>
                  <a:pt x="318" y="578"/>
                </a:lnTo>
                <a:lnTo>
                  <a:pt x="334" y="584"/>
                </a:lnTo>
                <a:lnTo>
                  <a:pt x="340" y="592"/>
                </a:lnTo>
                <a:lnTo>
                  <a:pt x="350" y="594"/>
                </a:lnTo>
                <a:lnTo>
                  <a:pt x="354" y="598"/>
                </a:lnTo>
                <a:lnTo>
                  <a:pt x="356" y="600"/>
                </a:lnTo>
                <a:lnTo>
                  <a:pt x="358" y="602"/>
                </a:lnTo>
                <a:lnTo>
                  <a:pt x="362" y="604"/>
                </a:lnTo>
                <a:lnTo>
                  <a:pt x="364" y="606"/>
                </a:lnTo>
                <a:lnTo>
                  <a:pt x="370" y="606"/>
                </a:lnTo>
                <a:lnTo>
                  <a:pt x="376" y="600"/>
                </a:lnTo>
                <a:lnTo>
                  <a:pt x="380" y="596"/>
                </a:lnTo>
                <a:lnTo>
                  <a:pt x="372" y="582"/>
                </a:lnTo>
                <a:lnTo>
                  <a:pt x="362" y="568"/>
                </a:lnTo>
                <a:lnTo>
                  <a:pt x="352" y="558"/>
                </a:lnTo>
                <a:lnTo>
                  <a:pt x="350" y="556"/>
                </a:lnTo>
                <a:lnTo>
                  <a:pt x="342" y="544"/>
                </a:lnTo>
                <a:lnTo>
                  <a:pt x="344" y="542"/>
                </a:lnTo>
                <a:lnTo>
                  <a:pt x="348" y="530"/>
                </a:lnTo>
                <a:lnTo>
                  <a:pt x="350" y="526"/>
                </a:lnTo>
                <a:lnTo>
                  <a:pt x="354" y="526"/>
                </a:lnTo>
                <a:lnTo>
                  <a:pt x="358" y="524"/>
                </a:lnTo>
                <a:lnTo>
                  <a:pt x="366" y="518"/>
                </a:lnTo>
                <a:lnTo>
                  <a:pt x="374" y="512"/>
                </a:lnTo>
                <a:lnTo>
                  <a:pt x="370" y="506"/>
                </a:lnTo>
                <a:lnTo>
                  <a:pt x="366" y="498"/>
                </a:lnTo>
                <a:lnTo>
                  <a:pt x="358" y="486"/>
                </a:lnTo>
                <a:lnTo>
                  <a:pt x="342" y="486"/>
                </a:lnTo>
                <a:lnTo>
                  <a:pt x="342" y="476"/>
                </a:lnTo>
                <a:lnTo>
                  <a:pt x="336" y="478"/>
                </a:lnTo>
                <a:lnTo>
                  <a:pt x="332" y="478"/>
                </a:lnTo>
                <a:lnTo>
                  <a:pt x="332" y="476"/>
                </a:lnTo>
                <a:lnTo>
                  <a:pt x="332" y="474"/>
                </a:lnTo>
                <a:lnTo>
                  <a:pt x="332" y="464"/>
                </a:lnTo>
                <a:lnTo>
                  <a:pt x="332" y="462"/>
                </a:lnTo>
                <a:lnTo>
                  <a:pt x="332" y="446"/>
                </a:lnTo>
                <a:lnTo>
                  <a:pt x="342" y="436"/>
                </a:lnTo>
                <a:lnTo>
                  <a:pt x="350" y="448"/>
                </a:lnTo>
                <a:lnTo>
                  <a:pt x="358" y="444"/>
                </a:lnTo>
                <a:lnTo>
                  <a:pt x="356" y="432"/>
                </a:lnTo>
                <a:lnTo>
                  <a:pt x="380" y="412"/>
                </a:lnTo>
                <a:lnTo>
                  <a:pt x="402" y="416"/>
                </a:lnTo>
                <a:lnTo>
                  <a:pt x="418" y="422"/>
                </a:lnTo>
                <a:lnTo>
                  <a:pt x="434" y="434"/>
                </a:lnTo>
                <a:lnTo>
                  <a:pt x="442" y="432"/>
                </a:lnTo>
                <a:lnTo>
                  <a:pt x="454" y="436"/>
                </a:lnTo>
                <a:lnTo>
                  <a:pt x="460" y="428"/>
                </a:lnTo>
                <a:lnTo>
                  <a:pt x="492" y="428"/>
                </a:lnTo>
                <a:lnTo>
                  <a:pt x="502" y="436"/>
                </a:lnTo>
                <a:lnTo>
                  <a:pt x="534" y="434"/>
                </a:lnTo>
                <a:lnTo>
                  <a:pt x="536" y="420"/>
                </a:lnTo>
                <a:lnTo>
                  <a:pt x="512" y="412"/>
                </a:lnTo>
                <a:lnTo>
                  <a:pt x="516" y="406"/>
                </a:lnTo>
                <a:lnTo>
                  <a:pt x="518" y="394"/>
                </a:lnTo>
                <a:lnTo>
                  <a:pt x="532" y="392"/>
                </a:lnTo>
                <a:lnTo>
                  <a:pt x="520" y="386"/>
                </a:lnTo>
                <a:lnTo>
                  <a:pt x="514" y="376"/>
                </a:lnTo>
                <a:lnTo>
                  <a:pt x="534" y="376"/>
                </a:lnTo>
                <a:lnTo>
                  <a:pt x="602" y="360"/>
                </a:lnTo>
                <a:lnTo>
                  <a:pt x="612" y="350"/>
                </a:lnTo>
                <a:lnTo>
                  <a:pt x="640" y="354"/>
                </a:lnTo>
                <a:lnTo>
                  <a:pt x="652" y="372"/>
                </a:lnTo>
                <a:lnTo>
                  <a:pt x="684" y="376"/>
                </a:lnTo>
                <a:lnTo>
                  <a:pt x="684" y="382"/>
                </a:lnTo>
                <a:lnTo>
                  <a:pt x="702" y="382"/>
                </a:lnTo>
                <a:lnTo>
                  <a:pt x="720" y="368"/>
                </a:lnTo>
                <a:lnTo>
                  <a:pt x="728" y="368"/>
                </a:lnTo>
                <a:lnTo>
                  <a:pt x="728" y="378"/>
                </a:lnTo>
                <a:lnTo>
                  <a:pt x="744" y="384"/>
                </a:lnTo>
                <a:lnTo>
                  <a:pt x="796" y="432"/>
                </a:lnTo>
                <a:lnTo>
                  <a:pt x="804" y="434"/>
                </a:lnTo>
                <a:lnTo>
                  <a:pt x="804" y="424"/>
                </a:lnTo>
                <a:lnTo>
                  <a:pt x="816" y="426"/>
                </a:lnTo>
                <a:lnTo>
                  <a:pt x="818" y="434"/>
                </a:lnTo>
                <a:lnTo>
                  <a:pt x="836" y="436"/>
                </a:lnTo>
                <a:lnTo>
                  <a:pt x="842" y="428"/>
                </a:lnTo>
                <a:lnTo>
                  <a:pt x="866" y="446"/>
                </a:lnTo>
                <a:lnTo>
                  <a:pt x="884" y="454"/>
                </a:lnTo>
                <a:lnTo>
                  <a:pt x="902" y="45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8" name="Freeform 208">
            <a:extLst>
              <a:ext uri="{FF2B5EF4-FFF2-40B4-BE49-F238E27FC236}">
                <a16:creationId xmlns:a16="http://schemas.microsoft.com/office/drawing/2014/main" id="{FA81B96E-6B87-4E30-B229-2137993AE867}"/>
              </a:ext>
            </a:extLst>
          </p:cNvPr>
          <p:cNvSpPr>
            <a:spLocks/>
          </p:cNvSpPr>
          <p:nvPr/>
        </p:nvSpPr>
        <p:spPr bwMode="auto">
          <a:xfrm>
            <a:off x="6126602" y="2514985"/>
            <a:ext cx="220622" cy="120136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4" y="26"/>
              </a:cxn>
              <a:cxn ang="0">
                <a:pos x="16" y="16"/>
              </a:cxn>
              <a:cxn ang="0">
                <a:pos x="22" y="14"/>
              </a:cxn>
              <a:cxn ang="0">
                <a:pos x="22" y="4"/>
              </a:cxn>
              <a:cxn ang="0">
                <a:pos x="32" y="6"/>
              </a:cxn>
              <a:cxn ang="0">
                <a:pos x="36" y="0"/>
              </a:cxn>
              <a:cxn ang="0">
                <a:pos x="44" y="6"/>
              </a:cxn>
              <a:cxn ang="0">
                <a:pos x="44" y="10"/>
              </a:cxn>
              <a:cxn ang="0">
                <a:pos x="36" y="14"/>
              </a:cxn>
              <a:cxn ang="0">
                <a:pos x="32" y="16"/>
              </a:cxn>
              <a:cxn ang="0">
                <a:pos x="40" y="16"/>
              </a:cxn>
              <a:cxn ang="0">
                <a:pos x="46" y="18"/>
              </a:cxn>
              <a:cxn ang="0">
                <a:pos x="44" y="28"/>
              </a:cxn>
              <a:cxn ang="0">
                <a:pos x="58" y="28"/>
              </a:cxn>
              <a:cxn ang="0">
                <a:pos x="64" y="30"/>
              </a:cxn>
              <a:cxn ang="0">
                <a:pos x="78" y="30"/>
              </a:cxn>
              <a:cxn ang="0">
                <a:pos x="84" y="26"/>
              </a:cxn>
              <a:cxn ang="0">
                <a:pos x="84" y="30"/>
              </a:cxn>
              <a:cxn ang="0">
                <a:pos x="88" y="32"/>
              </a:cxn>
              <a:cxn ang="0">
                <a:pos x="98" y="38"/>
              </a:cxn>
              <a:cxn ang="0">
                <a:pos x="102" y="44"/>
              </a:cxn>
              <a:cxn ang="0">
                <a:pos x="108" y="48"/>
              </a:cxn>
              <a:cxn ang="0">
                <a:pos x="112" y="58"/>
              </a:cxn>
              <a:cxn ang="0">
                <a:pos x="106" y="60"/>
              </a:cxn>
              <a:cxn ang="0">
                <a:pos x="98" y="62"/>
              </a:cxn>
              <a:cxn ang="0">
                <a:pos x="90" y="64"/>
              </a:cxn>
              <a:cxn ang="0">
                <a:pos x="82" y="66"/>
              </a:cxn>
              <a:cxn ang="0">
                <a:pos x="76" y="68"/>
              </a:cxn>
              <a:cxn ang="0">
                <a:pos x="74" y="68"/>
              </a:cxn>
              <a:cxn ang="0">
                <a:pos x="70" y="68"/>
              </a:cxn>
              <a:cxn ang="0">
                <a:pos x="66" y="64"/>
              </a:cxn>
              <a:cxn ang="0">
                <a:pos x="60" y="58"/>
              </a:cxn>
              <a:cxn ang="0">
                <a:pos x="58" y="50"/>
              </a:cxn>
              <a:cxn ang="0">
                <a:pos x="54" y="40"/>
              </a:cxn>
              <a:cxn ang="0">
                <a:pos x="48" y="40"/>
              </a:cxn>
              <a:cxn ang="0">
                <a:pos x="44" y="46"/>
              </a:cxn>
              <a:cxn ang="0">
                <a:pos x="40" y="50"/>
              </a:cxn>
              <a:cxn ang="0">
                <a:pos x="34" y="56"/>
              </a:cxn>
              <a:cxn ang="0">
                <a:pos x="30" y="60"/>
              </a:cxn>
              <a:cxn ang="0">
                <a:pos x="20" y="66"/>
              </a:cxn>
              <a:cxn ang="0">
                <a:pos x="12" y="66"/>
              </a:cxn>
              <a:cxn ang="0">
                <a:pos x="16" y="56"/>
              </a:cxn>
              <a:cxn ang="0">
                <a:pos x="16" y="46"/>
              </a:cxn>
              <a:cxn ang="0">
                <a:pos x="12" y="42"/>
              </a:cxn>
              <a:cxn ang="0">
                <a:pos x="6" y="38"/>
              </a:cxn>
              <a:cxn ang="0">
                <a:pos x="0" y="32"/>
              </a:cxn>
              <a:cxn ang="0">
                <a:pos x="0" y="26"/>
              </a:cxn>
            </a:cxnLst>
            <a:rect l="0" t="0" r="r" b="b"/>
            <a:pathLst>
              <a:path w="112" h="68">
                <a:moveTo>
                  <a:pt x="0" y="26"/>
                </a:moveTo>
                <a:lnTo>
                  <a:pt x="14" y="26"/>
                </a:lnTo>
                <a:lnTo>
                  <a:pt x="16" y="16"/>
                </a:lnTo>
                <a:lnTo>
                  <a:pt x="22" y="14"/>
                </a:lnTo>
                <a:lnTo>
                  <a:pt x="22" y="4"/>
                </a:lnTo>
                <a:lnTo>
                  <a:pt x="32" y="6"/>
                </a:lnTo>
                <a:lnTo>
                  <a:pt x="36" y="0"/>
                </a:lnTo>
                <a:lnTo>
                  <a:pt x="44" y="6"/>
                </a:lnTo>
                <a:lnTo>
                  <a:pt x="44" y="10"/>
                </a:lnTo>
                <a:lnTo>
                  <a:pt x="36" y="14"/>
                </a:lnTo>
                <a:lnTo>
                  <a:pt x="32" y="16"/>
                </a:lnTo>
                <a:lnTo>
                  <a:pt x="40" y="16"/>
                </a:lnTo>
                <a:lnTo>
                  <a:pt x="46" y="18"/>
                </a:lnTo>
                <a:lnTo>
                  <a:pt x="44" y="28"/>
                </a:lnTo>
                <a:lnTo>
                  <a:pt x="58" y="28"/>
                </a:lnTo>
                <a:lnTo>
                  <a:pt x="64" y="30"/>
                </a:lnTo>
                <a:lnTo>
                  <a:pt x="78" y="30"/>
                </a:lnTo>
                <a:lnTo>
                  <a:pt x="84" y="26"/>
                </a:lnTo>
                <a:lnTo>
                  <a:pt x="84" y="30"/>
                </a:lnTo>
                <a:lnTo>
                  <a:pt x="88" y="32"/>
                </a:lnTo>
                <a:lnTo>
                  <a:pt x="98" y="38"/>
                </a:lnTo>
                <a:lnTo>
                  <a:pt x="102" y="44"/>
                </a:lnTo>
                <a:lnTo>
                  <a:pt x="108" y="48"/>
                </a:lnTo>
                <a:lnTo>
                  <a:pt x="112" y="58"/>
                </a:lnTo>
                <a:lnTo>
                  <a:pt x="106" y="60"/>
                </a:lnTo>
                <a:lnTo>
                  <a:pt x="98" y="62"/>
                </a:lnTo>
                <a:lnTo>
                  <a:pt x="90" y="64"/>
                </a:lnTo>
                <a:lnTo>
                  <a:pt x="82" y="66"/>
                </a:lnTo>
                <a:lnTo>
                  <a:pt x="76" y="68"/>
                </a:lnTo>
                <a:lnTo>
                  <a:pt x="74" y="68"/>
                </a:lnTo>
                <a:lnTo>
                  <a:pt x="70" y="68"/>
                </a:lnTo>
                <a:lnTo>
                  <a:pt x="66" y="64"/>
                </a:lnTo>
                <a:lnTo>
                  <a:pt x="60" y="58"/>
                </a:lnTo>
                <a:lnTo>
                  <a:pt x="58" y="50"/>
                </a:lnTo>
                <a:lnTo>
                  <a:pt x="54" y="40"/>
                </a:lnTo>
                <a:lnTo>
                  <a:pt x="48" y="40"/>
                </a:lnTo>
                <a:lnTo>
                  <a:pt x="44" y="46"/>
                </a:lnTo>
                <a:lnTo>
                  <a:pt x="40" y="50"/>
                </a:lnTo>
                <a:lnTo>
                  <a:pt x="34" y="56"/>
                </a:lnTo>
                <a:lnTo>
                  <a:pt x="30" y="60"/>
                </a:lnTo>
                <a:lnTo>
                  <a:pt x="20" y="66"/>
                </a:lnTo>
                <a:lnTo>
                  <a:pt x="12" y="66"/>
                </a:lnTo>
                <a:lnTo>
                  <a:pt x="16" y="56"/>
                </a:lnTo>
                <a:lnTo>
                  <a:pt x="16" y="46"/>
                </a:lnTo>
                <a:lnTo>
                  <a:pt x="12" y="42"/>
                </a:lnTo>
                <a:lnTo>
                  <a:pt x="6" y="38"/>
                </a:lnTo>
                <a:lnTo>
                  <a:pt x="0" y="32"/>
                </a:lnTo>
                <a:lnTo>
                  <a:pt x="0" y="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9" name="Freeform 209">
            <a:extLst>
              <a:ext uri="{FF2B5EF4-FFF2-40B4-BE49-F238E27FC236}">
                <a16:creationId xmlns:a16="http://schemas.microsoft.com/office/drawing/2014/main" id="{FFE5F190-7C84-4A59-A932-322D9ED28878}"/>
              </a:ext>
            </a:extLst>
          </p:cNvPr>
          <p:cNvSpPr>
            <a:spLocks/>
          </p:cNvSpPr>
          <p:nvPr/>
        </p:nvSpPr>
        <p:spPr bwMode="auto">
          <a:xfrm>
            <a:off x="5264637" y="2420824"/>
            <a:ext cx="218912" cy="82796"/>
          </a:xfrm>
          <a:custGeom>
            <a:avLst/>
            <a:gdLst/>
            <a:ahLst/>
            <a:cxnLst>
              <a:cxn ang="0">
                <a:pos x="36" y="36"/>
              </a:cxn>
              <a:cxn ang="0">
                <a:pos x="44" y="34"/>
              </a:cxn>
              <a:cxn ang="0">
                <a:pos x="50" y="34"/>
              </a:cxn>
              <a:cxn ang="0">
                <a:pos x="60" y="36"/>
              </a:cxn>
              <a:cxn ang="0">
                <a:pos x="64" y="40"/>
              </a:cxn>
              <a:cxn ang="0">
                <a:pos x="66" y="42"/>
              </a:cxn>
              <a:cxn ang="0">
                <a:pos x="66" y="44"/>
              </a:cxn>
              <a:cxn ang="0">
                <a:pos x="78" y="44"/>
              </a:cxn>
              <a:cxn ang="0">
                <a:pos x="86" y="44"/>
              </a:cxn>
              <a:cxn ang="0">
                <a:pos x="88" y="38"/>
              </a:cxn>
              <a:cxn ang="0">
                <a:pos x="96" y="42"/>
              </a:cxn>
              <a:cxn ang="0">
                <a:pos x="100" y="46"/>
              </a:cxn>
              <a:cxn ang="0">
                <a:pos x="110" y="46"/>
              </a:cxn>
              <a:cxn ang="0">
                <a:pos x="106" y="40"/>
              </a:cxn>
              <a:cxn ang="0">
                <a:pos x="104" y="36"/>
              </a:cxn>
              <a:cxn ang="0">
                <a:pos x="108" y="32"/>
              </a:cxn>
              <a:cxn ang="0">
                <a:pos x="98" y="30"/>
              </a:cxn>
              <a:cxn ang="0">
                <a:pos x="92" y="22"/>
              </a:cxn>
              <a:cxn ang="0">
                <a:pos x="76" y="16"/>
              </a:cxn>
              <a:cxn ang="0">
                <a:pos x="62" y="16"/>
              </a:cxn>
              <a:cxn ang="0">
                <a:pos x="52" y="10"/>
              </a:cxn>
              <a:cxn ang="0">
                <a:pos x="40" y="8"/>
              </a:cxn>
              <a:cxn ang="0">
                <a:pos x="30" y="6"/>
              </a:cxn>
              <a:cxn ang="0">
                <a:pos x="18" y="2"/>
              </a:cxn>
              <a:cxn ang="0">
                <a:pos x="0" y="0"/>
              </a:cxn>
              <a:cxn ang="0">
                <a:pos x="6" y="4"/>
              </a:cxn>
              <a:cxn ang="0">
                <a:pos x="12" y="8"/>
              </a:cxn>
              <a:cxn ang="0">
                <a:pos x="20" y="12"/>
              </a:cxn>
              <a:cxn ang="0">
                <a:pos x="24" y="14"/>
              </a:cxn>
              <a:cxn ang="0">
                <a:pos x="30" y="16"/>
              </a:cxn>
              <a:cxn ang="0">
                <a:pos x="32" y="20"/>
              </a:cxn>
              <a:cxn ang="0">
                <a:pos x="34" y="24"/>
              </a:cxn>
              <a:cxn ang="0">
                <a:pos x="34" y="26"/>
              </a:cxn>
              <a:cxn ang="0">
                <a:pos x="36" y="30"/>
              </a:cxn>
              <a:cxn ang="0">
                <a:pos x="36" y="32"/>
              </a:cxn>
              <a:cxn ang="0">
                <a:pos x="36" y="36"/>
              </a:cxn>
            </a:cxnLst>
            <a:rect l="0" t="0" r="r" b="b"/>
            <a:pathLst>
              <a:path w="110" h="46">
                <a:moveTo>
                  <a:pt x="36" y="36"/>
                </a:moveTo>
                <a:lnTo>
                  <a:pt x="44" y="34"/>
                </a:lnTo>
                <a:lnTo>
                  <a:pt x="50" y="34"/>
                </a:lnTo>
                <a:lnTo>
                  <a:pt x="60" y="36"/>
                </a:lnTo>
                <a:lnTo>
                  <a:pt x="64" y="40"/>
                </a:lnTo>
                <a:lnTo>
                  <a:pt x="66" y="42"/>
                </a:lnTo>
                <a:lnTo>
                  <a:pt x="66" y="44"/>
                </a:lnTo>
                <a:lnTo>
                  <a:pt x="78" y="44"/>
                </a:lnTo>
                <a:lnTo>
                  <a:pt x="86" y="44"/>
                </a:lnTo>
                <a:lnTo>
                  <a:pt x="88" y="38"/>
                </a:lnTo>
                <a:lnTo>
                  <a:pt x="96" y="42"/>
                </a:lnTo>
                <a:lnTo>
                  <a:pt x="100" y="46"/>
                </a:lnTo>
                <a:lnTo>
                  <a:pt x="110" y="46"/>
                </a:lnTo>
                <a:lnTo>
                  <a:pt x="106" y="40"/>
                </a:lnTo>
                <a:lnTo>
                  <a:pt x="104" y="36"/>
                </a:lnTo>
                <a:lnTo>
                  <a:pt x="108" y="32"/>
                </a:lnTo>
                <a:lnTo>
                  <a:pt x="98" y="30"/>
                </a:lnTo>
                <a:lnTo>
                  <a:pt x="92" y="22"/>
                </a:lnTo>
                <a:lnTo>
                  <a:pt x="76" y="16"/>
                </a:lnTo>
                <a:lnTo>
                  <a:pt x="62" y="16"/>
                </a:lnTo>
                <a:lnTo>
                  <a:pt x="52" y="10"/>
                </a:lnTo>
                <a:lnTo>
                  <a:pt x="40" y="8"/>
                </a:lnTo>
                <a:lnTo>
                  <a:pt x="30" y="6"/>
                </a:lnTo>
                <a:lnTo>
                  <a:pt x="18" y="2"/>
                </a:lnTo>
                <a:lnTo>
                  <a:pt x="0" y="0"/>
                </a:lnTo>
                <a:lnTo>
                  <a:pt x="6" y="4"/>
                </a:lnTo>
                <a:lnTo>
                  <a:pt x="12" y="8"/>
                </a:lnTo>
                <a:lnTo>
                  <a:pt x="20" y="12"/>
                </a:lnTo>
                <a:lnTo>
                  <a:pt x="24" y="14"/>
                </a:lnTo>
                <a:lnTo>
                  <a:pt x="30" y="16"/>
                </a:lnTo>
                <a:lnTo>
                  <a:pt x="32" y="20"/>
                </a:lnTo>
                <a:lnTo>
                  <a:pt x="34" y="24"/>
                </a:lnTo>
                <a:lnTo>
                  <a:pt x="34" y="26"/>
                </a:lnTo>
                <a:lnTo>
                  <a:pt x="36" y="30"/>
                </a:lnTo>
                <a:lnTo>
                  <a:pt x="36" y="32"/>
                </a:lnTo>
                <a:lnTo>
                  <a:pt x="36" y="3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0" name="Freeform 210">
            <a:extLst>
              <a:ext uri="{FF2B5EF4-FFF2-40B4-BE49-F238E27FC236}">
                <a16:creationId xmlns:a16="http://schemas.microsoft.com/office/drawing/2014/main" id="{56E8DEB5-8367-4550-92F9-8BDF85E193EA}"/>
              </a:ext>
            </a:extLst>
          </p:cNvPr>
          <p:cNvSpPr>
            <a:spLocks/>
          </p:cNvSpPr>
          <p:nvPr/>
        </p:nvSpPr>
        <p:spPr bwMode="auto">
          <a:xfrm>
            <a:off x="5394616" y="2500376"/>
            <a:ext cx="104325" cy="7467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0" y="0"/>
              </a:cxn>
              <a:cxn ang="0">
                <a:pos x="26" y="6"/>
              </a:cxn>
              <a:cxn ang="0">
                <a:pos x="28" y="6"/>
              </a:cxn>
              <a:cxn ang="0">
                <a:pos x="30" y="10"/>
              </a:cxn>
              <a:cxn ang="0">
                <a:pos x="32" y="16"/>
              </a:cxn>
              <a:cxn ang="0">
                <a:pos x="38" y="22"/>
              </a:cxn>
              <a:cxn ang="0">
                <a:pos x="40" y="22"/>
              </a:cxn>
              <a:cxn ang="0">
                <a:pos x="48" y="26"/>
              </a:cxn>
              <a:cxn ang="0">
                <a:pos x="52" y="38"/>
              </a:cxn>
              <a:cxn ang="0">
                <a:pos x="48" y="42"/>
              </a:cxn>
              <a:cxn ang="0">
                <a:pos x="42" y="38"/>
              </a:cxn>
              <a:cxn ang="0">
                <a:pos x="38" y="34"/>
              </a:cxn>
              <a:cxn ang="0">
                <a:pos x="32" y="30"/>
              </a:cxn>
              <a:cxn ang="0">
                <a:pos x="24" y="32"/>
              </a:cxn>
              <a:cxn ang="0">
                <a:pos x="20" y="26"/>
              </a:cxn>
              <a:cxn ang="0">
                <a:pos x="16" y="22"/>
              </a:cxn>
              <a:cxn ang="0">
                <a:pos x="12" y="20"/>
              </a:cxn>
              <a:cxn ang="0">
                <a:pos x="2" y="18"/>
              </a:cxn>
              <a:cxn ang="0">
                <a:pos x="2" y="10"/>
              </a:cxn>
              <a:cxn ang="0">
                <a:pos x="0" y="0"/>
              </a:cxn>
            </a:cxnLst>
            <a:rect l="0" t="0" r="r" b="b"/>
            <a:pathLst>
              <a:path w="52" h="42">
                <a:moveTo>
                  <a:pt x="0" y="0"/>
                </a:moveTo>
                <a:lnTo>
                  <a:pt x="20" y="0"/>
                </a:lnTo>
                <a:lnTo>
                  <a:pt x="26" y="6"/>
                </a:lnTo>
                <a:lnTo>
                  <a:pt x="28" y="6"/>
                </a:lnTo>
                <a:lnTo>
                  <a:pt x="30" y="10"/>
                </a:lnTo>
                <a:lnTo>
                  <a:pt x="32" y="16"/>
                </a:lnTo>
                <a:lnTo>
                  <a:pt x="38" y="22"/>
                </a:lnTo>
                <a:lnTo>
                  <a:pt x="40" y="22"/>
                </a:lnTo>
                <a:lnTo>
                  <a:pt x="48" y="26"/>
                </a:lnTo>
                <a:lnTo>
                  <a:pt x="52" y="38"/>
                </a:lnTo>
                <a:lnTo>
                  <a:pt x="48" y="42"/>
                </a:lnTo>
                <a:lnTo>
                  <a:pt x="42" y="38"/>
                </a:lnTo>
                <a:lnTo>
                  <a:pt x="38" y="34"/>
                </a:lnTo>
                <a:lnTo>
                  <a:pt x="32" y="30"/>
                </a:lnTo>
                <a:lnTo>
                  <a:pt x="24" y="32"/>
                </a:lnTo>
                <a:lnTo>
                  <a:pt x="20" y="26"/>
                </a:lnTo>
                <a:lnTo>
                  <a:pt x="16" y="22"/>
                </a:lnTo>
                <a:lnTo>
                  <a:pt x="12" y="20"/>
                </a:lnTo>
                <a:lnTo>
                  <a:pt x="2" y="18"/>
                </a:lnTo>
                <a:lnTo>
                  <a:pt x="2" y="1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1" name="Freeform 211">
            <a:extLst>
              <a:ext uri="{FF2B5EF4-FFF2-40B4-BE49-F238E27FC236}">
                <a16:creationId xmlns:a16="http://schemas.microsoft.com/office/drawing/2014/main" id="{23E61AE0-A2CA-4E36-977E-C4A30A8A3ACB}"/>
              </a:ext>
            </a:extLst>
          </p:cNvPr>
          <p:cNvSpPr>
            <a:spLocks/>
          </p:cNvSpPr>
          <p:nvPr/>
        </p:nvSpPr>
        <p:spPr bwMode="auto">
          <a:xfrm>
            <a:off x="5433950" y="2479268"/>
            <a:ext cx="153922" cy="107148"/>
          </a:xfrm>
          <a:custGeom>
            <a:avLst/>
            <a:gdLst/>
            <a:ahLst/>
            <a:cxnLst>
              <a:cxn ang="0">
                <a:pos x="52" y="2"/>
              </a:cxn>
              <a:cxn ang="0">
                <a:pos x="48" y="6"/>
              </a:cxn>
              <a:cxn ang="0">
                <a:pos x="42" y="12"/>
              </a:cxn>
              <a:cxn ang="0">
                <a:pos x="36" y="12"/>
              </a:cxn>
              <a:cxn ang="0">
                <a:pos x="32" y="8"/>
              </a:cxn>
              <a:cxn ang="0">
                <a:pos x="28" y="6"/>
              </a:cxn>
              <a:cxn ang="0">
                <a:pos x="22" y="0"/>
              </a:cxn>
              <a:cxn ang="0">
                <a:pos x="18" y="4"/>
              </a:cxn>
              <a:cxn ang="0">
                <a:pos x="20" y="8"/>
              </a:cxn>
              <a:cxn ang="0">
                <a:pos x="24" y="14"/>
              </a:cxn>
              <a:cxn ang="0">
                <a:pos x="20" y="14"/>
              </a:cxn>
              <a:cxn ang="0">
                <a:pos x="14" y="14"/>
              </a:cxn>
              <a:cxn ang="0">
                <a:pos x="10" y="10"/>
              </a:cxn>
              <a:cxn ang="0">
                <a:pos x="2" y="6"/>
              </a:cxn>
              <a:cxn ang="0">
                <a:pos x="0" y="12"/>
              </a:cxn>
              <a:cxn ang="0">
                <a:pos x="6" y="18"/>
              </a:cxn>
              <a:cxn ang="0">
                <a:pos x="8" y="18"/>
              </a:cxn>
              <a:cxn ang="0">
                <a:pos x="10" y="24"/>
              </a:cxn>
              <a:cxn ang="0">
                <a:pos x="12" y="28"/>
              </a:cxn>
              <a:cxn ang="0">
                <a:pos x="14" y="30"/>
              </a:cxn>
              <a:cxn ang="0">
                <a:pos x="20" y="34"/>
              </a:cxn>
              <a:cxn ang="0">
                <a:pos x="28" y="38"/>
              </a:cxn>
              <a:cxn ang="0">
                <a:pos x="32" y="50"/>
              </a:cxn>
              <a:cxn ang="0">
                <a:pos x="36" y="46"/>
              </a:cxn>
              <a:cxn ang="0">
                <a:pos x="42" y="42"/>
              </a:cxn>
              <a:cxn ang="0">
                <a:pos x="46" y="38"/>
              </a:cxn>
              <a:cxn ang="0">
                <a:pos x="54" y="38"/>
              </a:cxn>
              <a:cxn ang="0">
                <a:pos x="54" y="44"/>
              </a:cxn>
              <a:cxn ang="0">
                <a:pos x="56" y="46"/>
              </a:cxn>
              <a:cxn ang="0">
                <a:pos x="56" y="52"/>
              </a:cxn>
              <a:cxn ang="0">
                <a:pos x="58" y="54"/>
              </a:cxn>
              <a:cxn ang="0">
                <a:pos x="60" y="56"/>
              </a:cxn>
              <a:cxn ang="0">
                <a:pos x="64" y="56"/>
              </a:cxn>
              <a:cxn ang="0">
                <a:pos x="68" y="60"/>
              </a:cxn>
              <a:cxn ang="0">
                <a:pos x="72" y="28"/>
              </a:cxn>
              <a:cxn ang="0">
                <a:pos x="78" y="28"/>
              </a:cxn>
              <a:cxn ang="0">
                <a:pos x="64" y="18"/>
              </a:cxn>
              <a:cxn ang="0">
                <a:pos x="62" y="14"/>
              </a:cxn>
              <a:cxn ang="0">
                <a:pos x="56" y="8"/>
              </a:cxn>
              <a:cxn ang="0">
                <a:pos x="56" y="6"/>
              </a:cxn>
              <a:cxn ang="0">
                <a:pos x="52" y="2"/>
              </a:cxn>
            </a:cxnLst>
            <a:rect l="0" t="0" r="r" b="b"/>
            <a:pathLst>
              <a:path w="78" h="60">
                <a:moveTo>
                  <a:pt x="52" y="2"/>
                </a:moveTo>
                <a:lnTo>
                  <a:pt x="48" y="6"/>
                </a:lnTo>
                <a:lnTo>
                  <a:pt x="42" y="12"/>
                </a:lnTo>
                <a:lnTo>
                  <a:pt x="36" y="12"/>
                </a:lnTo>
                <a:lnTo>
                  <a:pt x="32" y="8"/>
                </a:lnTo>
                <a:lnTo>
                  <a:pt x="28" y="6"/>
                </a:lnTo>
                <a:lnTo>
                  <a:pt x="22" y="0"/>
                </a:lnTo>
                <a:lnTo>
                  <a:pt x="18" y="4"/>
                </a:lnTo>
                <a:lnTo>
                  <a:pt x="20" y="8"/>
                </a:lnTo>
                <a:lnTo>
                  <a:pt x="24" y="14"/>
                </a:lnTo>
                <a:lnTo>
                  <a:pt x="20" y="14"/>
                </a:lnTo>
                <a:lnTo>
                  <a:pt x="14" y="14"/>
                </a:lnTo>
                <a:lnTo>
                  <a:pt x="10" y="10"/>
                </a:lnTo>
                <a:lnTo>
                  <a:pt x="2" y="6"/>
                </a:lnTo>
                <a:lnTo>
                  <a:pt x="0" y="12"/>
                </a:lnTo>
                <a:lnTo>
                  <a:pt x="6" y="18"/>
                </a:lnTo>
                <a:lnTo>
                  <a:pt x="8" y="18"/>
                </a:lnTo>
                <a:lnTo>
                  <a:pt x="10" y="24"/>
                </a:lnTo>
                <a:lnTo>
                  <a:pt x="12" y="28"/>
                </a:lnTo>
                <a:lnTo>
                  <a:pt x="14" y="30"/>
                </a:lnTo>
                <a:lnTo>
                  <a:pt x="20" y="34"/>
                </a:lnTo>
                <a:lnTo>
                  <a:pt x="28" y="38"/>
                </a:lnTo>
                <a:lnTo>
                  <a:pt x="32" y="50"/>
                </a:lnTo>
                <a:lnTo>
                  <a:pt x="36" y="46"/>
                </a:lnTo>
                <a:lnTo>
                  <a:pt x="42" y="42"/>
                </a:lnTo>
                <a:lnTo>
                  <a:pt x="46" y="38"/>
                </a:lnTo>
                <a:lnTo>
                  <a:pt x="54" y="38"/>
                </a:lnTo>
                <a:lnTo>
                  <a:pt x="54" y="44"/>
                </a:lnTo>
                <a:lnTo>
                  <a:pt x="56" y="46"/>
                </a:lnTo>
                <a:lnTo>
                  <a:pt x="56" y="52"/>
                </a:lnTo>
                <a:lnTo>
                  <a:pt x="58" y="54"/>
                </a:lnTo>
                <a:lnTo>
                  <a:pt x="60" y="56"/>
                </a:lnTo>
                <a:lnTo>
                  <a:pt x="64" y="56"/>
                </a:lnTo>
                <a:lnTo>
                  <a:pt x="68" y="60"/>
                </a:lnTo>
                <a:lnTo>
                  <a:pt x="72" y="28"/>
                </a:lnTo>
                <a:lnTo>
                  <a:pt x="78" y="28"/>
                </a:lnTo>
                <a:lnTo>
                  <a:pt x="64" y="18"/>
                </a:lnTo>
                <a:lnTo>
                  <a:pt x="62" y="14"/>
                </a:lnTo>
                <a:lnTo>
                  <a:pt x="56" y="8"/>
                </a:lnTo>
                <a:lnTo>
                  <a:pt x="56" y="6"/>
                </a:lnTo>
                <a:lnTo>
                  <a:pt x="52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2" name="Freeform 212">
            <a:extLst>
              <a:ext uri="{FF2B5EF4-FFF2-40B4-BE49-F238E27FC236}">
                <a16:creationId xmlns:a16="http://schemas.microsoft.com/office/drawing/2014/main" id="{09CA9305-64CA-491A-8391-D5418E33D63A}"/>
              </a:ext>
            </a:extLst>
          </p:cNvPr>
          <p:cNvSpPr>
            <a:spLocks/>
          </p:cNvSpPr>
          <p:nvPr/>
        </p:nvSpPr>
        <p:spPr bwMode="auto">
          <a:xfrm>
            <a:off x="8591071" y="3925773"/>
            <a:ext cx="301004" cy="274365"/>
          </a:xfrm>
          <a:custGeom>
            <a:avLst/>
            <a:gdLst/>
            <a:ahLst/>
            <a:cxnLst>
              <a:cxn ang="0">
                <a:pos x="4" y="76"/>
              </a:cxn>
              <a:cxn ang="0">
                <a:pos x="0" y="84"/>
              </a:cxn>
              <a:cxn ang="0">
                <a:pos x="4" y="126"/>
              </a:cxn>
              <a:cxn ang="0">
                <a:pos x="24" y="130"/>
              </a:cxn>
              <a:cxn ang="0">
                <a:pos x="32" y="126"/>
              </a:cxn>
              <a:cxn ang="0">
                <a:pos x="38" y="118"/>
              </a:cxn>
              <a:cxn ang="0">
                <a:pos x="42" y="118"/>
              </a:cxn>
              <a:cxn ang="0">
                <a:pos x="42" y="104"/>
              </a:cxn>
              <a:cxn ang="0">
                <a:pos x="52" y="98"/>
              </a:cxn>
              <a:cxn ang="0">
                <a:pos x="82" y="106"/>
              </a:cxn>
              <a:cxn ang="0">
                <a:pos x="88" y="114"/>
              </a:cxn>
              <a:cxn ang="0">
                <a:pos x="92" y="126"/>
              </a:cxn>
              <a:cxn ang="0">
                <a:pos x="92" y="130"/>
              </a:cxn>
              <a:cxn ang="0">
                <a:pos x="98" y="138"/>
              </a:cxn>
              <a:cxn ang="0">
                <a:pos x="120" y="146"/>
              </a:cxn>
              <a:cxn ang="0">
                <a:pos x="136" y="152"/>
              </a:cxn>
              <a:cxn ang="0">
                <a:pos x="142" y="154"/>
              </a:cxn>
              <a:cxn ang="0">
                <a:pos x="150" y="152"/>
              </a:cxn>
              <a:cxn ang="0">
                <a:pos x="150" y="146"/>
              </a:cxn>
              <a:cxn ang="0">
                <a:pos x="144" y="138"/>
              </a:cxn>
              <a:cxn ang="0">
                <a:pos x="136" y="132"/>
              </a:cxn>
              <a:cxn ang="0">
                <a:pos x="130" y="122"/>
              </a:cxn>
              <a:cxn ang="0">
                <a:pos x="124" y="118"/>
              </a:cxn>
              <a:cxn ang="0">
                <a:pos x="118" y="116"/>
              </a:cxn>
              <a:cxn ang="0">
                <a:pos x="112" y="104"/>
              </a:cxn>
              <a:cxn ang="0">
                <a:pos x="108" y="98"/>
              </a:cxn>
              <a:cxn ang="0">
                <a:pos x="96" y="84"/>
              </a:cxn>
              <a:cxn ang="0">
                <a:pos x="112" y="84"/>
              </a:cxn>
              <a:cxn ang="0">
                <a:pos x="122" y="82"/>
              </a:cxn>
              <a:cxn ang="0">
                <a:pos x="126" y="76"/>
              </a:cxn>
              <a:cxn ang="0">
                <a:pos x="116" y="72"/>
              </a:cxn>
              <a:cxn ang="0">
                <a:pos x="96" y="62"/>
              </a:cxn>
              <a:cxn ang="0">
                <a:pos x="90" y="58"/>
              </a:cxn>
              <a:cxn ang="0">
                <a:pos x="82" y="58"/>
              </a:cxn>
              <a:cxn ang="0">
                <a:pos x="80" y="52"/>
              </a:cxn>
              <a:cxn ang="0">
                <a:pos x="80" y="44"/>
              </a:cxn>
              <a:cxn ang="0">
                <a:pos x="56" y="22"/>
              </a:cxn>
              <a:cxn ang="0">
                <a:pos x="4" y="0"/>
              </a:cxn>
            </a:cxnLst>
            <a:rect l="0" t="0" r="r" b="b"/>
            <a:pathLst>
              <a:path w="152" h="154">
                <a:moveTo>
                  <a:pt x="4" y="0"/>
                </a:moveTo>
                <a:lnTo>
                  <a:pt x="4" y="76"/>
                </a:lnTo>
                <a:lnTo>
                  <a:pt x="0" y="80"/>
                </a:lnTo>
                <a:lnTo>
                  <a:pt x="0" y="84"/>
                </a:lnTo>
                <a:lnTo>
                  <a:pt x="4" y="88"/>
                </a:lnTo>
                <a:lnTo>
                  <a:pt x="4" y="126"/>
                </a:lnTo>
                <a:lnTo>
                  <a:pt x="14" y="130"/>
                </a:lnTo>
                <a:lnTo>
                  <a:pt x="24" y="130"/>
                </a:lnTo>
                <a:lnTo>
                  <a:pt x="28" y="130"/>
                </a:lnTo>
                <a:lnTo>
                  <a:pt x="32" y="126"/>
                </a:lnTo>
                <a:lnTo>
                  <a:pt x="36" y="122"/>
                </a:lnTo>
                <a:lnTo>
                  <a:pt x="38" y="118"/>
                </a:lnTo>
                <a:lnTo>
                  <a:pt x="32" y="118"/>
                </a:lnTo>
                <a:lnTo>
                  <a:pt x="42" y="118"/>
                </a:lnTo>
                <a:lnTo>
                  <a:pt x="42" y="110"/>
                </a:lnTo>
                <a:lnTo>
                  <a:pt x="42" y="104"/>
                </a:lnTo>
                <a:lnTo>
                  <a:pt x="46" y="98"/>
                </a:lnTo>
                <a:lnTo>
                  <a:pt x="52" y="98"/>
                </a:lnTo>
                <a:lnTo>
                  <a:pt x="68" y="98"/>
                </a:lnTo>
                <a:lnTo>
                  <a:pt x="82" y="106"/>
                </a:lnTo>
                <a:lnTo>
                  <a:pt x="86" y="110"/>
                </a:lnTo>
                <a:lnTo>
                  <a:pt x="88" y="114"/>
                </a:lnTo>
                <a:lnTo>
                  <a:pt x="90" y="120"/>
                </a:lnTo>
                <a:lnTo>
                  <a:pt x="92" y="126"/>
                </a:lnTo>
                <a:lnTo>
                  <a:pt x="90" y="124"/>
                </a:lnTo>
                <a:lnTo>
                  <a:pt x="92" y="130"/>
                </a:lnTo>
                <a:lnTo>
                  <a:pt x="96" y="134"/>
                </a:lnTo>
                <a:lnTo>
                  <a:pt x="98" y="138"/>
                </a:lnTo>
                <a:lnTo>
                  <a:pt x="104" y="142"/>
                </a:lnTo>
                <a:lnTo>
                  <a:pt x="120" y="146"/>
                </a:lnTo>
                <a:lnTo>
                  <a:pt x="132" y="150"/>
                </a:lnTo>
                <a:lnTo>
                  <a:pt x="136" y="152"/>
                </a:lnTo>
                <a:lnTo>
                  <a:pt x="138" y="154"/>
                </a:lnTo>
                <a:lnTo>
                  <a:pt x="142" y="154"/>
                </a:lnTo>
                <a:lnTo>
                  <a:pt x="148" y="154"/>
                </a:lnTo>
                <a:lnTo>
                  <a:pt x="150" y="152"/>
                </a:lnTo>
                <a:lnTo>
                  <a:pt x="152" y="150"/>
                </a:lnTo>
                <a:lnTo>
                  <a:pt x="150" y="146"/>
                </a:lnTo>
                <a:lnTo>
                  <a:pt x="148" y="142"/>
                </a:lnTo>
                <a:lnTo>
                  <a:pt x="144" y="138"/>
                </a:lnTo>
                <a:lnTo>
                  <a:pt x="142" y="134"/>
                </a:lnTo>
                <a:lnTo>
                  <a:pt x="136" y="132"/>
                </a:lnTo>
                <a:lnTo>
                  <a:pt x="132" y="130"/>
                </a:lnTo>
                <a:lnTo>
                  <a:pt x="130" y="122"/>
                </a:lnTo>
                <a:lnTo>
                  <a:pt x="128" y="120"/>
                </a:lnTo>
                <a:lnTo>
                  <a:pt x="124" y="118"/>
                </a:lnTo>
                <a:lnTo>
                  <a:pt x="122" y="118"/>
                </a:lnTo>
                <a:lnTo>
                  <a:pt x="118" y="116"/>
                </a:lnTo>
                <a:lnTo>
                  <a:pt x="114" y="108"/>
                </a:lnTo>
                <a:lnTo>
                  <a:pt x="112" y="104"/>
                </a:lnTo>
                <a:lnTo>
                  <a:pt x="112" y="98"/>
                </a:lnTo>
                <a:lnTo>
                  <a:pt x="108" y="98"/>
                </a:lnTo>
                <a:lnTo>
                  <a:pt x="102" y="94"/>
                </a:lnTo>
                <a:lnTo>
                  <a:pt x="96" y="84"/>
                </a:lnTo>
                <a:lnTo>
                  <a:pt x="102" y="84"/>
                </a:lnTo>
                <a:lnTo>
                  <a:pt x="112" y="84"/>
                </a:lnTo>
                <a:lnTo>
                  <a:pt x="118" y="84"/>
                </a:lnTo>
                <a:lnTo>
                  <a:pt x="122" y="82"/>
                </a:lnTo>
                <a:lnTo>
                  <a:pt x="124" y="80"/>
                </a:lnTo>
                <a:lnTo>
                  <a:pt x="126" y="76"/>
                </a:lnTo>
                <a:lnTo>
                  <a:pt x="122" y="74"/>
                </a:lnTo>
                <a:lnTo>
                  <a:pt x="116" y="72"/>
                </a:lnTo>
                <a:lnTo>
                  <a:pt x="104" y="66"/>
                </a:lnTo>
                <a:lnTo>
                  <a:pt x="96" y="62"/>
                </a:lnTo>
                <a:lnTo>
                  <a:pt x="94" y="60"/>
                </a:lnTo>
                <a:lnTo>
                  <a:pt x="90" y="58"/>
                </a:lnTo>
                <a:lnTo>
                  <a:pt x="86" y="58"/>
                </a:lnTo>
                <a:lnTo>
                  <a:pt x="82" y="58"/>
                </a:lnTo>
                <a:lnTo>
                  <a:pt x="82" y="56"/>
                </a:lnTo>
                <a:lnTo>
                  <a:pt x="80" y="52"/>
                </a:lnTo>
                <a:lnTo>
                  <a:pt x="80" y="46"/>
                </a:lnTo>
                <a:lnTo>
                  <a:pt x="80" y="44"/>
                </a:lnTo>
                <a:lnTo>
                  <a:pt x="78" y="38"/>
                </a:lnTo>
                <a:lnTo>
                  <a:pt x="56" y="22"/>
                </a:lnTo>
                <a:lnTo>
                  <a:pt x="32" y="12"/>
                </a:lnTo>
                <a:lnTo>
                  <a:pt x="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3" name="Freeform 213">
            <a:extLst>
              <a:ext uri="{FF2B5EF4-FFF2-40B4-BE49-F238E27FC236}">
                <a16:creationId xmlns:a16="http://schemas.microsoft.com/office/drawing/2014/main" id="{7FEC8DB9-8B69-4DC6-BFFC-3405515E96C9}"/>
              </a:ext>
            </a:extLst>
          </p:cNvPr>
          <p:cNvSpPr>
            <a:spLocks/>
          </p:cNvSpPr>
          <p:nvPr/>
        </p:nvSpPr>
        <p:spPr bwMode="auto">
          <a:xfrm>
            <a:off x="7145911" y="3661150"/>
            <a:ext cx="348891" cy="368525"/>
          </a:xfrm>
          <a:custGeom>
            <a:avLst/>
            <a:gdLst/>
            <a:ahLst/>
            <a:cxnLst>
              <a:cxn ang="0">
                <a:pos x="36" y="46"/>
              </a:cxn>
              <a:cxn ang="0">
                <a:pos x="22" y="28"/>
              </a:cxn>
              <a:cxn ang="0">
                <a:pos x="6" y="14"/>
              </a:cxn>
              <a:cxn ang="0">
                <a:pos x="0" y="4"/>
              </a:cxn>
              <a:cxn ang="0">
                <a:pos x="4" y="0"/>
              </a:cxn>
              <a:cxn ang="0">
                <a:pos x="10" y="0"/>
              </a:cxn>
              <a:cxn ang="0">
                <a:pos x="18" y="6"/>
              </a:cxn>
              <a:cxn ang="0">
                <a:pos x="36" y="6"/>
              </a:cxn>
              <a:cxn ang="0">
                <a:pos x="44" y="14"/>
              </a:cxn>
              <a:cxn ang="0">
                <a:pos x="52" y="28"/>
              </a:cxn>
              <a:cxn ang="0">
                <a:pos x="62" y="34"/>
              </a:cxn>
              <a:cxn ang="0">
                <a:pos x="70" y="38"/>
              </a:cxn>
              <a:cxn ang="0">
                <a:pos x="82" y="52"/>
              </a:cxn>
              <a:cxn ang="0">
                <a:pos x="90" y="62"/>
              </a:cxn>
              <a:cxn ang="0">
                <a:pos x="98" y="62"/>
              </a:cxn>
              <a:cxn ang="0">
                <a:pos x="108" y="72"/>
              </a:cxn>
              <a:cxn ang="0">
                <a:pos x="120" y="82"/>
              </a:cxn>
              <a:cxn ang="0">
                <a:pos x="124" y="84"/>
              </a:cxn>
              <a:cxn ang="0">
                <a:pos x="128" y="86"/>
              </a:cxn>
              <a:cxn ang="0">
                <a:pos x="124" y="94"/>
              </a:cxn>
              <a:cxn ang="0">
                <a:pos x="140" y="102"/>
              </a:cxn>
              <a:cxn ang="0">
                <a:pos x="138" y="118"/>
              </a:cxn>
              <a:cxn ang="0">
                <a:pos x="146" y="122"/>
              </a:cxn>
              <a:cxn ang="0">
                <a:pos x="152" y="134"/>
              </a:cxn>
              <a:cxn ang="0">
                <a:pos x="152" y="138"/>
              </a:cxn>
              <a:cxn ang="0">
                <a:pos x="158" y="138"/>
              </a:cxn>
              <a:cxn ang="0">
                <a:pos x="162" y="144"/>
              </a:cxn>
              <a:cxn ang="0">
                <a:pos x="174" y="152"/>
              </a:cxn>
              <a:cxn ang="0">
                <a:pos x="174" y="192"/>
              </a:cxn>
              <a:cxn ang="0">
                <a:pos x="170" y="206"/>
              </a:cxn>
              <a:cxn ang="0">
                <a:pos x="160" y="204"/>
              </a:cxn>
              <a:cxn ang="0">
                <a:pos x="152" y="206"/>
              </a:cxn>
              <a:cxn ang="0">
                <a:pos x="146" y="204"/>
              </a:cxn>
              <a:cxn ang="0">
                <a:pos x="140" y="192"/>
              </a:cxn>
              <a:cxn ang="0">
                <a:pos x="124" y="180"/>
              </a:cxn>
              <a:cxn ang="0">
                <a:pos x="112" y="168"/>
              </a:cxn>
              <a:cxn ang="0">
                <a:pos x="98" y="150"/>
              </a:cxn>
              <a:cxn ang="0">
                <a:pos x="94" y="138"/>
              </a:cxn>
              <a:cxn ang="0">
                <a:pos x="82" y="114"/>
              </a:cxn>
              <a:cxn ang="0">
                <a:pos x="66" y="94"/>
              </a:cxn>
              <a:cxn ang="0">
                <a:pos x="64" y="82"/>
              </a:cxn>
              <a:cxn ang="0">
                <a:pos x="60" y="70"/>
              </a:cxn>
              <a:cxn ang="0">
                <a:pos x="48" y="62"/>
              </a:cxn>
              <a:cxn ang="0">
                <a:pos x="40" y="54"/>
              </a:cxn>
            </a:cxnLst>
            <a:rect l="0" t="0" r="r" b="b"/>
            <a:pathLst>
              <a:path w="176" h="206">
                <a:moveTo>
                  <a:pt x="42" y="54"/>
                </a:moveTo>
                <a:lnTo>
                  <a:pt x="36" y="46"/>
                </a:lnTo>
                <a:lnTo>
                  <a:pt x="32" y="38"/>
                </a:lnTo>
                <a:lnTo>
                  <a:pt x="22" y="28"/>
                </a:lnTo>
                <a:lnTo>
                  <a:pt x="16" y="24"/>
                </a:lnTo>
                <a:lnTo>
                  <a:pt x="6" y="14"/>
                </a:lnTo>
                <a:lnTo>
                  <a:pt x="2" y="10"/>
                </a:lnTo>
                <a:lnTo>
                  <a:pt x="0" y="4"/>
                </a:lnTo>
                <a:lnTo>
                  <a:pt x="0" y="2"/>
                </a:lnTo>
                <a:lnTo>
                  <a:pt x="4" y="0"/>
                </a:lnTo>
                <a:lnTo>
                  <a:pt x="8" y="0"/>
                </a:lnTo>
                <a:lnTo>
                  <a:pt x="10" y="0"/>
                </a:lnTo>
                <a:lnTo>
                  <a:pt x="10" y="4"/>
                </a:lnTo>
                <a:lnTo>
                  <a:pt x="18" y="6"/>
                </a:lnTo>
                <a:lnTo>
                  <a:pt x="34" y="6"/>
                </a:lnTo>
                <a:lnTo>
                  <a:pt x="36" y="6"/>
                </a:lnTo>
                <a:lnTo>
                  <a:pt x="40" y="8"/>
                </a:lnTo>
                <a:lnTo>
                  <a:pt x="44" y="14"/>
                </a:lnTo>
                <a:lnTo>
                  <a:pt x="48" y="20"/>
                </a:lnTo>
                <a:lnTo>
                  <a:pt x="52" y="28"/>
                </a:lnTo>
                <a:lnTo>
                  <a:pt x="60" y="32"/>
                </a:lnTo>
                <a:lnTo>
                  <a:pt x="62" y="34"/>
                </a:lnTo>
                <a:lnTo>
                  <a:pt x="64" y="36"/>
                </a:lnTo>
                <a:lnTo>
                  <a:pt x="70" y="38"/>
                </a:lnTo>
                <a:lnTo>
                  <a:pt x="74" y="42"/>
                </a:lnTo>
                <a:lnTo>
                  <a:pt x="82" y="52"/>
                </a:lnTo>
                <a:lnTo>
                  <a:pt x="88" y="58"/>
                </a:lnTo>
                <a:lnTo>
                  <a:pt x="90" y="62"/>
                </a:lnTo>
                <a:lnTo>
                  <a:pt x="92" y="64"/>
                </a:lnTo>
                <a:lnTo>
                  <a:pt x="98" y="62"/>
                </a:lnTo>
                <a:lnTo>
                  <a:pt x="100" y="66"/>
                </a:lnTo>
                <a:lnTo>
                  <a:pt x="108" y="72"/>
                </a:lnTo>
                <a:lnTo>
                  <a:pt x="118" y="80"/>
                </a:lnTo>
                <a:lnTo>
                  <a:pt x="120" y="82"/>
                </a:lnTo>
                <a:lnTo>
                  <a:pt x="122" y="86"/>
                </a:lnTo>
                <a:lnTo>
                  <a:pt x="124" y="84"/>
                </a:lnTo>
                <a:lnTo>
                  <a:pt x="128" y="82"/>
                </a:lnTo>
                <a:lnTo>
                  <a:pt x="128" y="86"/>
                </a:lnTo>
                <a:lnTo>
                  <a:pt x="126" y="90"/>
                </a:lnTo>
                <a:lnTo>
                  <a:pt x="124" y="94"/>
                </a:lnTo>
                <a:lnTo>
                  <a:pt x="140" y="94"/>
                </a:lnTo>
                <a:lnTo>
                  <a:pt x="140" y="102"/>
                </a:lnTo>
                <a:lnTo>
                  <a:pt x="136" y="114"/>
                </a:lnTo>
                <a:lnTo>
                  <a:pt x="138" y="118"/>
                </a:lnTo>
                <a:lnTo>
                  <a:pt x="142" y="120"/>
                </a:lnTo>
                <a:lnTo>
                  <a:pt x="146" y="122"/>
                </a:lnTo>
                <a:lnTo>
                  <a:pt x="152" y="122"/>
                </a:lnTo>
                <a:lnTo>
                  <a:pt x="152" y="134"/>
                </a:lnTo>
                <a:lnTo>
                  <a:pt x="152" y="136"/>
                </a:lnTo>
                <a:lnTo>
                  <a:pt x="152" y="138"/>
                </a:lnTo>
                <a:lnTo>
                  <a:pt x="156" y="138"/>
                </a:lnTo>
                <a:lnTo>
                  <a:pt x="158" y="138"/>
                </a:lnTo>
                <a:lnTo>
                  <a:pt x="160" y="140"/>
                </a:lnTo>
                <a:lnTo>
                  <a:pt x="162" y="144"/>
                </a:lnTo>
                <a:lnTo>
                  <a:pt x="172" y="150"/>
                </a:lnTo>
                <a:lnTo>
                  <a:pt x="174" y="152"/>
                </a:lnTo>
                <a:lnTo>
                  <a:pt x="176" y="158"/>
                </a:lnTo>
                <a:lnTo>
                  <a:pt x="174" y="192"/>
                </a:lnTo>
                <a:lnTo>
                  <a:pt x="174" y="204"/>
                </a:lnTo>
                <a:lnTo>
                  <a:pt x="170" y="206"/>
                </a:lnTo>
                <a:lnTo>
                  <a:pt x="164" y="206"/>
                </a:lnTo>
                <a:lnTo>
                  <a:pt x="160" y="204"/>
                </a:lnTo>
                <a:lnTo>
                  <a:pt x="154" y="206"/>
                </a:lnTo>
                <a:lnTo>
                  <a:pt x="152" y="206"/>
                </a:lnTo>
                <a:lnTo>
                  <a:pt x="148" y="206"/>
                </a:lnTo>
                <a:lnTo>
                  <a:pt x="146" y="204"/>
                </a:lnTo>
                <a:lnTo>
                  <a:pt x="144" y="198"/>
                </a:lnTo>
                <a:lnTo>
                  <a:pt x="140" y="192"/>
                </a:lnTo>
                <a:lnTo>
                  <a:pt x="132" y="186"/>
                </a:lnTo>
                <a:lnTo>
                  <a:pt x="124" y="180"/>
                </a:lnTo>
                <a:lnTo>
                  <a:pt x="118" y="176"/>
                </a:lnTo>
                <a:lnTo>
                  <a:pt x="112" y="168"/>
                </a:lnTo>
                <a:lnTo>
                  <a:pt x="104" y="160"/>
                </a:lnTo>
                <a:lnTo>
                  <a:pt x="98" y="150"/>
                </a:lnTo>
                <a:lnTo>
                  <a:pt x="96" y="144"/>
                </a:lnTo>
                <a:lnTo>
                  <a:pt x="94" y="138"/>
                </a:lnTo>
                <a:lnTo>
                  <a:pt x="88" y="126"/>
                </a:lnTo>
                <a:lnTo>
                  <a:pt x="82" y="114"/>
                </a:lnTo>
                <a:lnTo>
                  <a:pt x="76" y="104"/>
                </a:lnTo>
                <a:lnTo>
                  <a:pt x="66" y="94"/>
                </a:lnTo>
                <a:lnTo>
                  <a:pt x="64" y="88"/>
                </a:lnTo>
                <a:lnTo>
                  <a:pt x="64" y="82"/>
                </a:lnTo>
                <a:lnTo>
                  <a:pt x="62" y="76"/>
                </a:lnTo>
                <a:lnTo>
                  <a:pt x="60" y="70"/>
                </a:lnTo>
                <a:lnTo>
                  <a:pt x="54" y="66"/>
                </a:lnTo>
                <a:lnTo>
                  <a:pt x="48" y="62"/>
                </a:lnTo>
                <a:lnTo>
                  <a:pt x="42" y="58"/>
                </a:lnTo>
                <a:lnTo>
                  <a:pt x="40" y="54"/>
                </a:lnTo>
                <a:lnTo>
                  <a:pt x="42" y="5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4" name="Freeform 214">
            <a:extLst>
              <a:ext uri="{FF2B5EF4-FFF2-40B4-BE49-F238E27FC236}">
                <a16:creationId xmlns:a16="http://schemas.microsoft.com/office/drawing/2014/main" id="{EA093EC7-F7A4-44D7-9D88-8CA283CB8F3C}"/>
              </a:ext>
            </a:extLst>
          </p:cNvPr>
          <p:cNvSpPr>
            <a:spLocks/>
          </p:cNvSpPr>
          <p:nvPr/>
        </p:nvSpPr>
        <p:spPr bwMode="auto">
          <a:xfrm>
            <a:off x="7592285" y="3714724"/>
            <a:ext cx="316396" cy="261377"/>
          </a:xfrm>
          <a:custGeom>
            <a:avLst/>
            <a:gdLst/>
            <a:ahLst/>
            <a:cxnLst>
              <a:cxn ang="0">
                <a:pos x="126" y="2"/>
              </a:cxn>
              <a:cxn ang="0">
                <a:pos x="114" y="0"/>
              </a:cxn>
              <a:cxn ang="0">
                <a:pos x="102" y="4"/>
              </a:cxn>
              <a:cxn ang="0">
                <a:pos x="92" y="14"/>
              </a:cxn>
              <a:cxn ang="0">
                <a:pos x="84" y="40"/>
              </a:cxn>
              <a:cxn ang="0">
                <a:pos x="82" y="52"/>
              </a:cxn>
              <a:cxn ang="0">
                <a:pos x="74" y="50"/>
              </a:cxn>
              <a:cxn ang="0">
                <a:pos x="66" y="44"/>
              </a:cxn>
              <a:cxn ang="0">
                <a:pos x="58" y="42"/>
              </a:cxn>
              <a:cxn ang="0">
                <a:pos x="50" y="50"/>
              </a:cxn>
              <a:cxn ang="0">
                <a:pos x="40" y="54"/>
              </a:cxn>
              <a:cxn ang="0">
                <a:pos x="28" y="54"/>
              </a:cxn>
              <a:cxn ang="0">
                <a:pos x="16" y="50"/>
              </a:cxn>
              <a:cxn ang="0">
                <a:pos x="14" y="46"/>
              </a:cxn>
              <a:cxn ang="0">
                <a:pos x="14" y="34"/>
              </a:cxn>
              <a:cxn ang="0">
                <a:pos x="4" y="44"/>
              </a:cxn>
              <a:cxn ang="0">
                <a:pos x="0" y="60"/>
              </a:cxn>
              <a:cxn ang="0">
                <a:pos x="4" y="72"/>
              </a:cxn>
              <a:cxn ang="0">
                <a:pos x="2" y="78"/>
              </a:cxn>
              <a:cxn ang="0">
                <a:pos x="8" y="86"/>
              </a:cxn>
              <a:cxn ang="0">
                <a:pos x="10" y="92"/>
              </a:cxn>
              <a:cxn ang="0">
                <a:pos x="18" y="96"/>
              </a:cxn>
              <a:cxn ang="0">
                <a:pos x="18" y="102"/>
              </a:cxn>
              <a:cxn ang="0">
                <a:pos x="16" y="108"/>
              </a:cxn>
              <a:cxn ang="0">
                <a:pos x="18" y="110"/>
              </a:cxn>
              <a:cxn ang="0">
                <a:pos x="20" y="120"/>
              </a:cxn>
              <a:cxn ang="0">
                <a:pos x="28" y="126"/>
              </a:cxn>
              <a:cxn ang="0">
                <a:pos x="42" y="128"/>
              </a:cxn>
              <a:cxn ang="0">
                <a:pos x="44" y="134"/>
              </a:cxn>
              <a:cxn ang="0">
                <a:pos x="54" y="134"/>
              </a:cxn>
              <a:cxn ang="0">
                <a:pos x="62" y="130"/>
              </a:cxn>
              <a:cxn ang="0">
                <a:pos x="72" y="130"/>
              </a:cxn>
              <a:cxn ang="0">
                <a:pos x="82" y="134"/>
              </a:cxn>
              <a:cxn ang="0">
                <a:pos x="88" y="140"/>
              </a:cxn>
              <a:cxn ang="0">
                <a:pos x="88" y="146"/>
              </a:cxn>
              <a:cxn ang="0">
                <a:pos x="98" y="144"/>
              </a:cxn>
              <a:cxn ang="0">
                <a:pos x="112" y="138"/>
              </a:cxn>
              <a:cxn ang="0">
                <a:pos x="120" y="134"/>
              </a:cxn>
              <a:cxn ang="0">
                <a:pos x="116" y="130"/>
              </a:cxn>
              <a:cxn ang="0">
                <a:pos x="118" y="124"/>
              </a:cxn>
              <a:cxn ang="0">
                <a:pos x="122" y="114"/>
              </a:cxn>
              <a:cxn ang="0">
                <a:pos x="120" y="106"/>
              </a:cxn>
              <a:cxn ang="0">
                <a:pos x="126" y="94"/>
              </a:cxn>
              <a:cxn ang="0">
                <a:pos x="136" y="82"/>
              </a:cxn>
              <a:cxn ang="0">
                <a:pos x="142" y="60"/>
              </a:cxn>
              <a:cxn ang="0">
                <a:pos x="148" y="56"/>
              </a:cxn>
              <a:cxn ang="0">
                <a:pos x="160" y="56"/>
              </a:cxn>
              <a:cxn ang="0">
                <a:pos x="150" y="46"/>
              </a:cxn>
              <a:cxn ang="0">
                <a:pos x="144" y="34"/>
              </a:cxn>
              <a:cxn ang="0">
                <a:pos x="148" y="28"/>
              </a:cxn>
              <a:cxn ang="0">
                <a:pos x="138" y="22"/>
              </a:cxn>
              <a:cxn ang="0">
                <a:pos x="136" y="8"/>
              </a:cxn>
            </a:cxnLst>
            <a:rect l="0" t="0" r="r" b="b"/>
            <a:pathLst>
              <a:path w="160" h="146">
                <a:moveTo>
                  <a:pt x="136" y="4"/>
                </a:moveTo>
                <a:lnTo>
                  <a:pt x="126" y="2"/>
                </a:lnTo>
                <a:lnTo>
                  <a:pt x="120" y="0"/>
                </a:lnTo>
                <a:lnTo>
                  <a:pt x="114" y="0"/>
                </a:lnTo>
                <a:lnTo>
                  <a:pt x="108" y="0"/>
                </a:lnTo>
                <a:lnTo>
                  <a:pt x="102" y="4"/>
                </a:lnTo>
                <a:lnTo>
                  <a:pt x="96" y="8"/>
                </a:lnTo>
                <a:lnTo>
                  <a:pt x="92" y="14"/>
                </a:lnTo>
                <a:lnTo>
                  <a:pt x="88" y="26"/>
                </a:lnTo>
                <a:lnTo>
                  <a:pt x="84" y="40"/>
                </a:lnTo>
                <a:lnTo>
                  <a:pt x="84" y="48"/>
                </a:lnTo>
                <a:lnTo>
                  <a:pt x="82" y="52"/>
                </a:lnTo>
                <a:lnTo>
                  <a:pt x="78" y="52"/>
                </a:lnTo>
                <a:lnTo>
                  <a:pt x="74" y="50"/>
                </a:lnTo>
                <a:lnTo>
                  <a:pt x="70" y="48"/>
                </a:lnTo>
                <a:lnTo>
                  <a:pt x="66" y="44"/>
                </a:lnTo>
                <a:lnTo>
                  <a:pt x="62" y="42"/>
                </a:lnTo>
                <a:lnTo>
                  <a:pt x="58" y="42"/>
                </a:lnTo>
                <a:lnTo>
                  <a:pt x="56" y="44"/>
                </a:lnTo>
                <a:lnTo>
                  <a:pt x="50" y="50"/>
                </a:lnTo>
                <a:lnTo>
                  <a:pt x="42" y="52"/>
                </a:lnTo>
                <a:lnTo>
                  <a:pt x="40" y="54"/>
                </a:lnTo>
                <a:lnTo>
                  <a:pt x="34" y="56"/>
                </a:lnTo>
                <a:lnTo>
                  <a:pt x="28" y="54"/>
                </a:lnTo>
                <a:lnTo>
                  <a:pt x="22" y="52"/>
                </a:lnTo>
                <a:lnTo>
                  <a:pt x="16" y="50"/>
                </a:lnTo>
                <a:lnTo>
                  <a:pt x="14" y="48"/>
                </a:lnTo>
                <a:lnTo>
                  <a:pt x="14" y="46"/>
                </a:lnTo>
                <a:lnTo>
                  <a:pt x="14" y="36"/>
                </a:lnTo>
                <a:lnTo>
                  <a:pt x="14" y="34"/>
                </a:lnTo>
                <a:lnTo>
                  <a:pt x="8" y="38"/>
                </a:lnTo>
                <a:lnTo>
                  <a:pt x="4" y="44"/>
                </a:lnTo>
                <a:lnTo>
                  <a:pt x="2" y="52"/>
                </a:lnTo>
                <a:lnTo>
                  <a:pt x="0" y="60"/>
                </a:lnTo>
                <a:lnTo>
                  <a:pt x="2" y="66"/>
                </a:lnTo>
                <a:lnTo>
                  <a:pt x="4" y="72"/>
                </a:lnTo>
                <a:lnTo>
                  <a:pt x="4" y="74"/>
                </a:lnTo>
                <a:lnTo>
                  <a:pt x="2" y="78"/>
                </a:lnTo>
                <a:lnTo>
                  <a:pt x="4" y="82"/>
                </a:lnTo>
                <a:lnTo>
                  <a:pt x="8" y="86"/>
                </a:lnTo>
                <a:lnTo>
                  <a:pt x="10" y="86"/>
                </a:lnTo>
                <a:lnTo>
                  <a:pt x="10" y="92"/>
                </a:lnTo>
                <a:lnTo>
                  <a:pt x="16" y="94"/>
                </a:lnTo>
                <a:lnTo>
                  <a:pt x="18" y="96"/>
                </a:lnTo>
                <a:lnTo>
                  <a:pt x="18" y="98"/>
                </a:lnTo>
                <a:lnTo>
                  <a:pt x="18" y="102"/>
                </a:lnTo>
                <a:lnTo>
                  <a:pt x="16" y="106"/>
                </a:lnTo>
                <a:lnTo>
                  <a:pt x="16" y="108"/>
                </a:lnTo>
                <a:lnTo>
                  <a:pt x="18" y="112"/>
                </a:lnTo>
                <a:lnTo>
                  <a:pt x="18" y="110"/>
                </a:lnTo>
                <a:lnTo>
                  <a:pt x="18" y="116"/>
                </a:lnTo>
                <a:lnTo>
                  <a:pt x="20" y="120"/>
                </a:lnTo>
                <a:lnTo>
                  <a:pt x="24" y="124"/>
                </a:lnTo>
                <a:lnTo>
                  <a:pt x="28" y="126"/>
                </a:lnTo>
                <a:lnTo>
                  <a:pt x="34" y="126"/>
                </a:lnTo>
                <a:lnTo>
                  <a:pt x="42" y="128"/>
                </a:lnTo>
                <a:lnTo>
                  <a:pt x="46" y="130"/>
                </a:lnTo>
                <a:lnTo>
                  <a:pt x="44" y="134"/>
                </a:lnTo>
                <a:lnTo>
                  <a:pt x="48" y="134"/>
                </a:lnTo>
                <a:lnTo>
                  <a:pt x="54" y="134"/>
                </a:lnTo>
                <a:lnTo>
                  <a:pt x="56" y="132"/>
                </a:lnTo>
                <a:lnTo>
                  <a:pt x="62" y="130"/>
                </a:lnTo>
                <a:lnTo>
                  <a:pt x="66" y="130"/>
                </a:lnTo>
                <a:lnTo>
                  <a:pt x="72" y="130"/>
                </a:lnTo>
                <a:lnTo>
                  <a:pt x="78" y="132"/>
                </a:lnTo>
                <a:lnTo>
                  <a:pt x="82" y="134"/>
                </a:lnTo>
                <a:lnTo>
                  <a:pt x="88" y="134"/>
                </a:lnTo>
                <a:lnTo>
                  <a:pt x="88" y="140"/>
                </a:lnTo>
                <a:lnTo>
                  <a:pt x="88" y="144"/>
                </a:lnTo>
                <a:lnTo>
                  <a:pt x="88" y="146"/>
                </a:lnTo>
                <a:lnTo>
                  <a:pt x="90" y="146"/>
                </a:lnTo>
                <a:lnTo>
                  <a:pt x="98" y="144"/>
                </a:lnTo>
                <a:lnTo>
                  <a:pt x="106" y="142"/>
                </a:lnTo>
                <a:lnTo>
                  <a:pt x="112" y="138"/>
                </a:lnTo>
                <a:lnTo>
                  <a:pt x="120" y="138"/>
                </a:lnTo>
                <a:lnTo>
                  <a:pt x="120" y="134"/>
                </a:lnTo>
                <a:lnTo>
                  <a:pt x="118" y="134"/>
                </a:lnTo>
                <a:lnTo>
                  <a:pt x="116" y="130"/>
                </a:lnTo>
                <a:lnTo>
                  <a:pt x="116" y="126"/>
                </a:lnTo>
                <a:lnTo>
                  <a:pt x="118" y="124"/>
                </a:lnTo>
                <a:lnTo>
                  <a:pt x="122" y="120"/>
                </a:lnTo>
                <a:lnTo>
                  <a:pt x="122" y="114"/>
                </a:lnTo>
                <a:lnTo>
                  <a:pt x="122" y="108"/>
                </a:lnTo>
                <a:lnTo>
                  <a:pt x="120" y="106"/>
                </a:lnTo>
                <a:lnTo>
                  <a:pt x="122" y="100"/>
                </a:lnTo>
                <a:lnTo>
                  <a:pt x="126" y="94"/>
                </a:lnTo>
                <a:lnTo>
                  <a:pt x="132" y="92"/>
                </a:lnTo>
                <a:lnTo>
                  <a:pt x="136" y="82"/>
                </a:lnTo>
                <a:lnTo>
                  <a:pt x="138" y="72"/>
                </a:lnTo>
                <a:lnTo>
                  <a:pt x="142" y="60"/>
                </a:lnTo>
                <a:lnTo>
                  <a:pt x="144" y="58"/>
                </a:lnTo>
                <a:lnTo>
                  <a:pt x="148" y="56"/>
                </a:lnTo>
                <a:lnTo>
                  <a:pt x="154" y="56"/>
                </a:lnTo>
                <a:lnTo>
                  <a:pt x="160" y="56"/>
                </a:lnTo>
                <a:lnTo>
                  <a:pt x="160" y="52"/>
                </a:lnTo>
                <a:lnTo>
                  <a:pt x="150" y="46"/>
                </a:lnTo>
                <a:lnTo>
                  <a:pt x="146" y="40"/>
                </a:lnTo>
                <a:lnTo>
                  <a:pt x="144" y="34"/>
                </a:lnTo>
                <a:lnTo>
                  <a:pt x="146" y="32"/>
                </a:lnTo>
                <a:lnTo>
                  <a:pt x="148" y="28"/>
                </a:lnTo>
                <a:lnTo>
                  <a:pt x="142" y="26"/>
                </a:lnTo>
                <a:lnTo>
                  <a:pt x="138" y="22"/>
                </a:lnTo>
                <a:lnTo>
                  <a:pt x="138" y="14"/>
                </a:lnTo>
                <a:lnTo>
                  <a:pt x="136" y="8"/>
                </a:lnTo>
                <a:lnTo>
                  <a:pt x="136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5" name="Freeform 215">
            <a:extLst>
              <a:ext uri="{FF2B5EF4-FFF2-40B4-BE49-F238E27FC236}">
                <a16:creationId xmlns:a16="http://schemas.microsoft.com/office/drawing/2014/main" id="{83EE070D-DD61-4274-8F64-FBA70657CBE7}"/>
              </a:ext>
            </a:extLst>
          </p:cNvPr>
          <p:cNvSpPr>
            <a:spLocks/>
          </p:cNvSpPr>
          <p:nvPr/>
        </p:nvSpPr>
        <p:spPr bwMode="auto">
          <a:xfrm>
            <a:off x="7588866" y="4200138"/>
            <a:ext cx="1257033" cy="922125"/>
          </a:xfrm>
          <a:custGeom>
            <a:avLst/>
            <a:gdLst/>
            <a:ahLst/>
            <a:cxnLst>
              <a:cxn ang="0">
                <a:pos x="194" y="112"/>
              </a:cxn>
              <a:cxn ang="0">
                <a:pos x="212" y="114"/>
              </a:cxn>
              <a:cxn ang="0">
                <a:pos x="226" y="100"/>
              </a:cxn>
              <a:cxn ang="0">
                <a:pos x="242" y="72"/>
              </a:cxn>
              <a:cxn ang="0">
                <a:pos x="284" y="62"/>
              </a:cxn>
              <a:cxn ang="0">
                <a:pos x="294" y="72"/>
              </a:cxn>
              <a:cxn ang="0">
                <a:pos x="310" y="56"/>
              </a:cxn>
              <a:cxn ang="0">
                <a:pos x="324" y="38"/>
              </a:cxn>
              <a:cxn ang="0">
                <a:pos x="360" y="24"/>
              </a:cxn>
              <a:cxn ang="0">
                <a:pos x="358" y="2"/>
              </a:cxn>
              <a:cxn ang="0">
                <a:pos x="372" y="12"/>
              </a:cxn>
              <a:cxn ang="0">
                <a:pos x="414" y="22"/>
              </a:cxn>
              <a:cxn ang="0">
                <a:pos x="428" y="20"/>
              </a:cxn>
              <a:cxn ang="0">
                <a:pos x="416" y="42"/>
              </a:cxn>
              <a:cxn ang="0">
                <a:pos x="424" y="52"/>
              </a:cxn>
              <a:cxn ang="0">
                <a:pos x="418" y="56"/>
              </a:cxn>
              <a:cxn ang="0">
                <a:pos x="408" y="80"/>
              </a:cxn>
              <a:cxn ang="0">
                <a:pos x="442" y="104"/>
              </a:cxn>
              <a:cxn ang="0">
                <a:pos x="468" y="122"/>
              </a:cxn>
              <a:cxn ang="0">
                <a:pos x="490" y="92"/>
              </a:cxn>
              <a:cxn ang="0">
                <a:pos x="510" y="32"/>
              </a:cxn>
              <a:cxn ang="0">
                <a:pos x="532" y="0"/>
              </a:cxn>
              <a:cxn ang="0">
                <a:pos x="538" y="56"/>
              </a:cxn>
              <a:cxn ang="0">
                <a:pos x="558" y="76"/>
              </a:cxn>
              <a:cxn ang="0">
                <a:pos x="560" y="118"/>
              </a:cxn>
              <a:cxn ang="0">
                <a:pos x="568" y="152"/>
              </a:cxn>
              <a:cxn ang="0">
                <a:pos x="596" y="182"/>
              </a:cxn>
              <a:cxn ang="0">
                <a:pos x="604" y="208"/>
              </a:cxn>
              <a:cxn ang="0">
                <a:pos x="618" y="234"/>
              </a:cxn>
              <a:cxn ang="0">
                <a:pos x="634" y="270"/>
              </a:cxn>
              <a:cxn ang="0">
                <a:pos x="626" y="322"/>
              </a:cxn>
              <a:cxn ang="0">
                <a:pos x="594" y="378"/>
              </a:cxn>
              <a:cxn ang="0">
                <a:pos x="558" y="408"/>
              </a:cxn>
              <a:cxn ang="0">
                <a:pos x="500" y="480"/>
              </a:cxn>
              <a:cxn ang="0">
                <a:pos x="476" y="490"/>
              </a:cxn>
              <a:cxn ang="0">
                <a:pos x="438" y="506"/>
              </a:cxn>
              <a:cxn ang="0">
                <a:pos x="416" y="494"/>
              </a:cxn>
              <a:cxn ang="0">
                <a:pos x="378" y="504"/>
              </a:cxn>
              <a:cxn ang="0">
                <a:pos x="346" y="482"/>
              </a:cxn>
              <a:cxn ang="0">
                <a:pos x="348" y="454"/>
              </a:cxn>
              <a:cxn ang="0">
                <a:pos x="346" y="428"/>
              </a:cxn>
              <a:cxn ang="0">
                <a:pos x="326" y="444"/>
              </a:cxn>
              <a:cxn ang="0">
                <a:pos x="346" y="420"/>
              </a:cxn>
              <a:cxn ang="0">
                <a:pos x="338" y="416"/>
              </a:cxn>
              <a:cxn ang="0">
                <a:pos x="304" y="438"/>
              </a:cxn>
              <a:cxn ang="0">
                <a:pos x="304" y="406"/>
              </a:cxn>
              <a:cxn ang="0">
                <a:pos x="268" y="380"/>
              </a:cxn>
              <a:cxn ang="0">
                <a:pos x="150" y="406"/>
              </a:cxn>
              <a:cxn ang="0">
                <a:pos x="74" y="426"/>
              </a:cxn>
              <a:cxn ang="0">
                <a:pos x="14" y="436"/>
              </a:cxn>
              <a:cxn ang="0">
                <a:pos x="0" y="420"/>
              </a:cxn>
              <a:cxn ang="0">
                <a:pos x="30" y="380"/>
              </a:cxn>
              <a:cxn ang="0">
                <a:pos x="26" y="304"/>
              </a:cxn>
              <a:cxn ang="0">
                <a:pos x="20" y="284"/>
              </a:cxn>
              <a:cxn ang="0">
                <a:pos x="30" y="278"/>
              </a:cxn>
              <a:cxn ang="0">
                <a:pos x="40" y="214"/>
              </a:cxn>
              <a:cxn ang="0">
                <a:pos x="52" y="208"/>
              </a:cxn>
              <a:cxn ang="0">
                <a:pos x="76" y="190"/>
              </a:cxn>
              <a:cxn ang="0">
                <a:pos x="110" y="174"/>
              </a:cxn>
              <a:cxn ang="0">
                <a:pos x="162" y="162"/>
              </a:cxn>
            </a:cxnLst>
            <a:rect l="0" t="0" r="r" b="b"/>
            <a:pathLst>
              <a:path w="636" h="516">
                <a:moveTo>
                  <a:pt x="180" y="138"/>
                </a:moveTo>
                <a:lnTo>
                  <a:pt x="186" y="132"/>
                </a:lnTo>
                <a:lnTo>
                  <a:pt x="188" y="130"/>
                </a:lnTo>
                <a:lnTo>
                  <a:pt x="188" y="124"/>
                </a:lnTo>
                <a:lnTo>
                  <a:pt x="190" y="118"/>
                </a:lnTo>
                <a:lnTo>
                  <a:pt x="194" y="112"/>
                </a:lnTo>
                <a:lnTo>
                  <a:pt x="198" y="108"/>
                </a:lnTo>
                <a:lnTo>
                  <a:pt x="202" y="106"/>
                </a:lnTo>
                <a:lnTo>
                  <a:pt x="204" y="112"/>
                </a:lnTo>
                <a:lnTo>
                  <a:pt x="206" y="114"/>
                </a:lnTo>
                <a:lnTo>
                  <a:pt x="210" y="116"/>
                </a:lnTo>
                <a:lnTo>
                  <a:pt x="212" y="114"/>
                </a:lnTo>
                <a:lnTo>
                  <a:pt x="212" y="112"/>
                </a:lnTo>
                <a:lnTo>
                  <a:pt x="214" y="110"/>
                </a:lnTo>
                <a:lnTo>
                  <a:pt x="212" y="106"/>
                </a:lnTo>
                <a:lnTo>
                  <a:pt x="212" y="100"/>
                </a:lnTo>
                <a:lnTo>
                  <a:pt x="220" y="100"/>
                </a:lnTo>
                <a:lnTo>
                  <a:pt x="226" y="100"/>
                </a:lnTo>
                <a:lnTo>
                  <a:pt x="226" y="92"/>
                </a:lnTo>
                <a:lnTo>
                  <a:pt x="230" y="86"/>
                </a:lnTo>
                <a:lnTo>
                  <a:pt x="232" y="82"/>
                </a:lnTo>
                <a:lnTo>
                  <a:pt x="236" y="80"/>
                </a:lnTo>
                <a:lnTo>
                  <a:pt x="240" y="78"/>
                </a:lnTo>
                <a:lnTo>
                  <a:pt x="242" y="72"/>
                </a:lnTo>
                <a:lnTo>
                  <a:pt x="244" y="68"/>
                </a:lnTo>
                <a:lnTo>
                  <a:pt x="248" y="64"/>
                </a:lnTo>
                <a:lnTo>
                  <a:pt x="262" y="58"/>
                </a:lnTo>
                <a:lnTo>
                  <a:pt x="270" y="56"/>
                </a:lnTo>
                <a:lnTo>
                  <a:pt x="276" y="54"/>
                </a:lnTo>
                <a:lnTo>
                  <a:pt x="284" y="62"/>
                </a:lnTo>
                <a:lnTo>
                  <a:pt x="288" y="66"/>
                </a:lnTo>
                <a:lnTo>
                  <a:pt x="288" y="72"/>
                </a:lnTo>
                <a:lnTo>
                  <a:pt x="288" y="74"/>
                </a:lnTo>
                <a:lnTo>
                  <a:pt x="286" y="76"/>
                </a:lnTo>
                <a:lnTo>
                  <a:pt x="290" y="74"/>
                </a:lnTo>
                <a:lnTo>
                  <a:pt x="294" y="72"/>
                </a:lnTo>
                <a:lnTo>
                  <a:pt x="298" y="74"/>
                </a:lnTo>
                <a:lnTo>
                  <a:pt x="302" y="74"/>
                </a:lnTo>
                <a:lnTo>
                  <a:pt x="306" y="72"/>
                </a:lnTo>
                <a:lnTo>
                  <a:pt x="310" y="70"/>
                </a:lnTo>
                <a:lnTo>
                  <a:pt x="308" y="62"/>
                </a:lnTo>
                <a:lnTo>
                  <a:pt x="310" y="56"/>
                </a:lnTo>
                <a:lnTo>
                  <a:pt x="314" y="54"/>
                </a:lnTo>
                <a:lnTo>
                  <a:pt x="320" y="50"/>
                </a:lnTo>
                <a:lnTo>
                  <a:pt x="326" y="48"/>
                </a:lnTo>
                <a:lnTo>
                  <a:pt x="324" y="44"/>
                </a:lnTo>
                <a:lnTo>
                  <a:pt x="322" y="42"/>
                </a:lnTo>
                <a:lnTo>
                  <a:pt x="324" y="38"/>
                </a:lnTo>
                <a:lnTo>
                  <a:pt x="326" y="34"/>
                </a:lnTo>
                <a:lnTo>
                  <a:pt x="334" y="28"/>
                </a:lnTo>
                <a:lnTo>
                  <a:pt x="344" y="26"/>
                </a:lnTo>
                <a:lnTo>
                  <a:pt x="354" y="26"/>
                </a:lnTo>
                <a:lnTo>
                  <a:pt x="358" y="24"/>
                </a:lnTo>
                <a:lnTo>
                  <a:pt x="360" y="24"/>
                </a:lnTo>
                <a:lnTo>
                  <a:pt x="362" y="20"/>
                </a:lnTo>
                <a:lnTo>
                  <a:pt x="364" y="16"/>
                </a:lnTo>
                <a:lnTo>
                  <a:pt x="364" y="12"/>
                </a:lnTo>
                <a:lnTo>
                  <a:pt x="358" y="10"/>
                </a:lnTo>
                <a:lnTo>
                  <a:pt x="358" y="8"/>
                </a:lnTo>
                <a:lnTo>
                  <a:pt x="358" y="2"/>
                </a:lnTo>
                <a:lnTo>
                  <a:pt x="362" y="2"/>
                </a:lnTo>
                <a:lnTo>
                  <a:pt x="364" y="4"/>
                </a:lnTo>
                <a:lnTo>
                  <a:pt x="368" y="6"/>
                </a:lnTo>
                <a:lnTo>
                  <a:pt x="366" y="10"/>
                </a:lnTo>
                <a:lnTo>
                  <a:pt x="368" y="10"/>
                </a:lnTo>
                <a:lnTo>
                  <a:pt x="372" y="12"/>
                </a:lnTo>
                <a:lnTo>
                  <a:pt x="374" y="12"/>
                </a:lnTo>
                <a:lnTo>
                  <a:pt x="384" y="14"/>
                </a:lnTo>
                <a:lnTo>
                  <a:pt x="390" y="18"/>
                </a:lnTo>
                <a:lnTo>
                  <a:pt x="398" y="22"/>
                </a:lnTo>
                <a:lnTo>
                  <a:pt x="408" y="22"/>
                </a:lnTo>
                <a:lnTo>
                  <a:pt x="414" y="22"/>
                </a:lnTo>
                <a:lnTo>
                  <a:pt x="416" y="18"/>
                </a:lnTo>
                <a:lnTo>
                  <a:pt x="418" y="24"/>
                </a:lnTo>
                <a:lnTo>
                  <a:pt x="422" y="26"/>
                </a:lnTo>
                <a:lnTo>
                  <a:pt x="424" y="22"/>
                </a:lnTo>
                <a:lnTo>
                  <a:pt x="424" y="20"/>
                </a:lnTo>
                <a:lnTo>
                  <a:pt x="428" y="20"/>
                </a:lnTo>
                <a:lnTo>
                  <a:pt x="432" y="22"/>
                </a:lnTo>
                <a:lnTo>
                  <a:pt x="434" y="26"/>
                </a:lnTo>
                <a:lnTo>
                  <a:pt x="432" y="30"/>
                </a:lnTo>
                <a:lnTo>
                  <a:pt x="428" y="36"/>
                </a:lnTo>
                <a:lnTo>
                  <a:pt x="422" y="40"/>
                </a:lnTo>
                <a:lnTo>
                  <a:pt x="416" y="42"/>
                </a:lnTo>
                <a:lnTo>
                  <a:pt x="416" y="48"/>
                </a:lnTo>
                <a:lnTo>
                  <a:pt x="416" y="50"/>
                </a:lnTo>
                <a:lnTo>
                  <a:pt x="418" y="52"/>
                </a:lnTo>
                <a:lnTo>
                  <a:pt x="420" y="54"/>
                </a:lnTo>
                <a:lnTo>
                  <a:pt x="422" y="54"/>
                </a:lnTo>
                <a:lnTo>
                  <a:pt x="424" y="52"/>
                </a:lnTo>
                <a:lnTo>
                  <a:pt x="426" y="54"/>
                </a:lnTo>
                <a:lnTo>
                  <a:pt x="428" y="54"/>
                </a:lnTo>
                <a:lnTo>
                  <a:pt x="426" y="58"/>
                </a:lnTo>
                <a:lnTo>
                  <a:pt x="422" y="60"/>
                </a:lnTo>
                <a:lnTo>
                  <a:pt x="420" y="60"/>
                </a:lnTo>
                <a:lnTo>
                  <a:pt x="418" y="56"/>
                </a:lnTo>
                <a:lnTo>
                  <a:pt x="418" y="54"/>
                </a:lnTo>
                <a:lnTo>
                  <a:pt x="410" y="60"/>
                </a:lnTo>
                <a:lnTo>
                  <a:pt x="406" y="64"/>
                </a:lnTo>
                <a:lnTo>
                  <a:pt x="404" y="70"/>
                </a:lnTo>
                <a:lnTo>
                  <a:pt x="404" y="76"/>
                </a:lnTo>
                <a:lnTo>
                  <a:pt x="408" y="80"/>
                </a:lnTo>
                <a:lnTo>
                  <a:pt x="410" y="84"/>
                </a:lnTo>
                <a:lnTo>
                  <a:pt x="414" y="86"/>
                </a:lnTo>
                <a:lnTo>
                  <a:pt x="424" y="90"/>
                </a:lnTo>
                <a:lnTo>
                  <a:pt x="430" y="92"/>
                </a:lnTo>
                <a:lnTo>
                  <a:pt x="434" y="96"/>
                </a:lnTo>
                <a:lnTo>
                  <a:pt x="442" y="104"/>
                </a:lnTo>
                <a:lnTo>
                  <a:pt x="456" y="108"/>
                </a:lnTo>
                <a:lnTo>
                  <a:pt x="458" y="110"/>
                </a:lnTo>
                <a:lnTo>
                  <a:pt x="462" y="116"/>
                </a:lnTo>
                <a:lnTo>
                  <a:pt x="464" y="120"/>
                </a:lnTo>
                <a:lnTo>
                  <a:pt x="466" y="122"/>
                </a:lnTo>
                <a:lnTo>
                  <a:pt x="468" y="122"/>
                </a:lnTo>
                <a:lnTo>
                  <a:pt x="472" y="122"/>
                </a:lnTo>
                <a:lnTo>
                  <a:pt x="476" y="120"/>
                </a:lnTo>
                <a:lnTo>
                  <a:pt x="480" y="116"/>
                </a:lnTo>
                <a:lnTo>
                  <a:pt x="484" y="110"/>
                </a:lnTo>
                <a:lnTo>
                  <a:pt x="486" y="104"/>
                </a:lnTo>
                <a:lnTo>
                  <a:pt x="490" y="92"/>
                </a:lnTo>
                <a:lnTo>
                  <a:pt x="494" y="84"/>
                </a:lnTo>
                <a:lnTo>
                  <a:pt x="498" y="76"/>
                </a:lnTo>
                <a:lnTo>
                  <a:pt x="500" y="64"/>
                </a:lnTo>
                <a:lnTo>
                  <a:pt x="502" y="52"/>
                </a:lnTo>
                <a:lnTo>
                  <a:pt x="504" y="42"/>
                </a:lnTo>
                <a:lnTo>
                  <a:pt x="510" y="32"/>
                </a:lnTo>
                <a:lnTo>
                  <a:pt x="514" y="24"/>
                </a:lnTo>
                <a:lnTo>
                  <a:pt x="520" y="6"/>
                </a:lnTo>
                <a:lnTo>
                  <a:pt x="522" y="0"/>
                </a:lnTo>
                <a:lnTo>
                  <a:pt x="524" y="0"/>
                </a:lnTo>
                <a:lnTo>
                  <a:pt x="528" y="0"/>
                </a:lnTo>
                <a:lnTo>
                  <a:pt x="532" y="0"/>
                </a:lnTo>
                <a:lnTo>
                  <a:pt x="534" y="4"/>
                </a:lnTo>
                <a:lnTo>
                  <a:pt x="532" y="12"/>
                </a:lnTo>
                <a:lnTo>
                  <a:pt x="532" y="20"/>
                </a:lnTo>
                <a:lnTo>
                  <a:pt x="532" y="26"/>
                </a:lnTo>
                <a:lnTo>
                  <a:pt x="536" y="44"/>
                </a:lnTo>
                <a:lnTo>
                  <a:pt x="538" y="56"/>
                </a:lnTo>
                <a:lnTo>
                  <a:pt x="540" y="60"/>
                </a:lnTo>
                <a:lnTo>
                  <a:pt x="542" y="62"/>
                </a:lnTo>
                <a:lnTo>
                  <a:pt x="546" y="62"/>
                </a:lnTo>
                <a:lnTo>
                  <a:pt x="548" y="60"/>
                </a:lnTo>
                <a:lnTo>
                  <a:pt x="552" y="68"/>
                </a:lnTo>
                <a:lnTo>
                  <a:pt x="558" y="76"/>
                </a:lnTo>
                <a:lnTo>
                  <a:pt x="554" y="82"/>
                </a:lnTo>
                <a:lnTo>
                  <a:pt x="556" y="90"/>
                </a:lnTo>
                <a:lnTo>
                  <a:pt x="554" y="100"/>
                </a:lnTo>
                <a:lnTo>
                  <a:pt x="556" y="106"/>
                </a:lnTo>
                <a:lnTo>
                  <a:pt x="558" y="110"/>
                </a:lnTo>
                <a:lnTo>
                  <a:pt x="560" y="118"/>
                </a:lnTo>
                <a:lnTo>
                  <a:pt x="560" y="124"/>
                </a:lnTo>
                <a:lnTo>
                  <a:pt x="562" y="132"/>
                </a:lnTo>
                <a:lnTo>
                  <a:pt x="564" y="136"/>
                </a:lnTo>
                <a:lnTo>
                  <a:pt x="564" y="144"/>
                </a:lnTo>
                <a:lnTo>
                  <a:pt x="564" y="148"/>
                </a:lnTo>
                <a:lnTo>
                  <a:pt x="568" y="152"/>
                </a:lnTo>
                <a:lnTo>
                  <a:pt x="576" y="158"/>
                </a:lnTo>
                <a:lnTo>
                  <a:pt x="584" y="162"/>
                </a:lnTo>
                <a:lnTo>
                  <a:pt x="592" y="168"/>
                </a:lnTo>
                <a:lnTo>
                  <a:pt x="594" y="174"/>
                </a:lnTo>
                <a:lnTo>
                  <a:pt x="594" y="178"/>
                </a:lnTo>
                <a:lnTo>
                  <a:pt x="596" y="182"/>
                </a:lnTo>
                <a:lnTo>
                  <a:pt x="598" y="186"/>
                </a:lnTo>
                <a:lnTo>
                  <a:pt x="598" y="200"/>
                </a:lnTo>
                <a:lnTo>
                  <a:pt x="598" y="206"/>
                </a:lnTo>
                <a:lnTo>
                  <a:pt x="600" y="208"/>
                </a:lnTo>
                <a:lnTo>
                  <a:pt x="602" y="208"/>
                </a:lnTo>
                <a:lnTo>
                  <a:pt x="604" y="208"/>
                </a:lnTo>
                <a:lnTo>
                  <a:pt x="604" y="206"/>
                </a:lnTo>
                <a:lnTo>
                  <a:pt x="612" y="216"/>
                </a:lnTo>
                <a:lnTo>
                  <a:pt x="614" y="220"/>
                </a:lnTo>
                <a:lnTo>
                  <a:pt x="614" y="228"/>
                </a:lnTo>
                <a:lnTo>
                  <a:pt x="616" y="232"/>
                </a:lnTo>
                <a:lnTo>
                  <a:pt x="618" y="234"/>
                </a:lnTo>
                <a:lnTo>
                  <a:pt x="620" y="236"/>
                </a:lnTo>
                <a:lnTo>
                  <a:pt x="622" y="238"/>
                </a:lnTo>
                <a:lnTo>
                  <a:pt x="632" y="250"/>
                </a:lnTo>
                <a:lnTo>
                  <a:pt x="634" y="258"/>
                </a:lnTo>
                <a:lnTo>
                  <a:pt x="636" y="264"/>
                </a:lnTo>
                <a:lnTo>
                  <a:pt x="634" y="270"/>
                </a:lnTo>
                <a:lnTo>
                  <a:pt x="632" y="276"/>
                </a:lnTo>
                <a:lnTo>
                  <a:pt x="630" y="280"/>
                </a:lnTo>
                <a:lnTo>
                  <a:pt x="630" y="288"/>
                </a:lnTo>
                <a:lnTo>
                  <a:pt x="630" y="300"/>
                </a:lnTo>
                <a:lnTo>
                  <a:pt x="630" y="312"/>
                </a:lnTo>
                <a:lnTo>
                  <a:pt x="626" y="322"/>
                </a:lnTo>
                <a:lnTo>
                  <a:pt x="624" y="328"/>
                </a:lnTo>
                <a:lnTo>
                  <a:pt x="620" y="336"/>
                </a:lnTo>
                <a:lnTo>
                  <a:pt x="608" y="352"/>
                </a:lnTo>
                <a:lnTo>
                  <a:pt x="600" y="370"/>
                </a:lnTo>
                <a:lnTo>
                  <a:pt x="598" y="376"/>
                </a:lnTo>
                <a:lnTo>
                  <a:pt x="594" y="378"/>
                </a:lnTo>
                <a:lnTo>
                  <a:pt x="590" y="382"/>
                </a:lnTo>
                <a:lnTo>
                  <a:pt x="586" y="384"/>
                </a:lnTo>
                <a:lnTo>
                  <a:pt x="582" y="390"/>
                </a:lnTo>
                <a:lnTo>
                  <a:pt x="578" y="394"/>
                </a:lnTo>
                <a:lnTo>
                  <a:pt x="566" y="402"/>
                </a:lnTo>
                <a:lnTo>
                  <a:pt x="558" y="408"/>
                </a:lnTo>
                <a:lnTo>
                  <a:pt x="552" y="416"/>
                </a:lnTo>
                <a:lnTo>
                  <a:pt x="548" y="424"/>
                </a:lnTo>
                <a:lnTo>
                  <a:pt x="542" y="432"/>
                </a:lnTo>
                <a:lnTo>
                  <a:pt x="522" y="454"/>
                </a:lnTo>
                <a:lnTo>
                  <a:pt x="510" y="466"/>
                </a:lnTo>
                <a:lnTo>
                  <a:pt x="500" y="480"/>
                </a:lnTo>
                <a:lnTo>
                  <a:pt x="498" y="482"/>
                </a:lnTo>
                <a:lnTo>
                  <a:pt x="496" y="486"/>
                </a:lnTo>
                <a:lnTo>
                  <a:pt x="496" y="488"/>
                </a:lnTo>
                <a:lnTo>
                  <a:pt x="494" y="490"/>
                </a:lnTo>
                <a:lnTo>
                  <a:pt x="484" y="490"/>
                </a:lnTo>
                <a:lnTo>
                  <a:pt x="476" y="490"/>
                </a:lnTo>
                <a:lnTo>
                  <a:pt x="468" y="492"/>
                </a:lnTo>
                <a:lnTo>
                  <a:pt x="462" y="492"/>
                </a:lnTo>
                <a:lnTo>
                  <a:pt x="454" y="496"/>
                </a:lnTo>
                <a:lnTo>
                  <a:pt x="448" y="500"/>
                </a:lnTo>
                <a:lnTo>
                  <a:pt x="442" y="504"/>
                </a:lnTo>
                <a:lnTo>
                  <a:pt x="438" y="506"/>
                </a:lnTo>
                <a:lnTo>
                  <a:pt x="434" y="508"/>
                </a:lnTo>
                <a:lnTo>
                  <a:pt x="432" y="512"/>
                </a:lnTo>
                <a:lnTo>
                  <a:pt x="428" y="514"/>
                </a:lnTo>
                <a:lnTo>
                  <a:pt x="426" y="516"/>
                </a:lnTo>
                <a:lnTo>
                  <a:pt x="420" y="506"/>
                </a:lnTo>
                <a:lnTo>
                  <a:pt x="416" y="494"/>
                </a:lnTo>
                <a:lnTo>
                  <a:pt x="412" y="494"/>
                </a:lnTo>
                <a:lnTo>
                  <a:pt x="410" y="496"/>
                </a:lnTo>
                <a:lnTo>
                  <a:pt x="408" y="500"/>
                </a:lnTo>
                <a:lnTo>
                  <a:pt x="386" y="514"/>
                </a:lnTo>
                <a:lnTo>
                  <a:pt x="380" y="510"/>
                </a:lnTo>
                <a:lnTo>
                  <a:pt x="378" y="504"/>
                </a:lnTo>
                <a:lnTo>
                  <a:pt x="370" y="504"/>
                </a:lnTo>
                <a:lnTo>
                  <a:pt x="364" y="504"/>
                </a:lnTo>
                <a:lnTo>
                  <a:pt x="358" y="500"/>
                </a:lnTo>
                <a:lnTo>
                  <a:pt x="354" y="494"/>
                </a:lnTo>
                <a:lnTo>
                  <a:pt x="348" y="488"/>
                </a:lnTo>
                <a:lnTo>
                  <a:pt x="346" y="482"/>
                </a:lnTo>
                <a:lnTo>
                  <a:pt x="346" y="478"/>
                </a:lnTo>
                <a:lnTo>
                  <a:pt x="350" y="474"/>
                </a:lnTo>
                <a:lnTo>
                  <a:pt x="352" y="470"/>
                </a:lnTo>
                <a:lnTo>
                  <a:pt x="354" y="464"/>
                </a:lnTo>
                <a:lnTo>
                  <a:pt x="352" y="458"/>
                </a:lnTo>
                <a:lnTo>
                  <a:pt x="348" y="454"/>
                </a:lnTo>
                <a:lnTo>
                  <a:pt x="344" y="452"/>
                </a:lnTo>
                <a:lnTo>
                  <a:pt x="340" y="448"/>
                </a:lnTo>
                <a:lnTo>
                  <a:pt x="346" y="440"/>
                </a:lnTo>
                <a:lnTo>
                  <a:pt x="346" y="436"/>
                </a:lnTo>
                <a:lnTo>
                  <a:pt x="348" y="432"/>
                </a:lnTo>
                <a:lnTo>
                  <a:pt x="346" y="428"/>
                </a:lnTo>
                <a:lnTo>
                  <a:pt x="342" y="428"/>
                </a:lnTo>
                <a:lnTo>
                  <a:pt x="340" y="430"/>
                </a:lnTo>
                <a:lnTo>
                  <a:pt x="336" y="436"/>
                </a:lnTo>
                <a:lnTo>
                  <a:pt x="332" y="442"/>
                </a:lnTo>
                <a:lnTo>
                  <a:pt x="330" y="444"/>
                </a:lnTo>
                <a:lnTo>
                  <a:pt x="326" y="444"/>
                </a:lnTo>
                <a:lnTo>
                  <a:pt x="324" y="444"/>
                </a:lnTo>
                <a:lnTo>
                  <a:pt x="322" y="442"/>
                </a:lnTo>
                <a:lnTo>
                  <a:pt x="324" y="438"/>
                </a:lnTo>
                <a:lnTo>
                  <a:pt x="328" y="438"/>
                </a:lnTo>
                <a:lnTo>
                  <a:pt x="332" y="436"/>
                </a:lnTo>
                <a:lnTo>
                  <a:pt x="346" y="420"/>
                </a:lnTo>
                <a:lnTo>
                  <a:pt x="352" y="412"/>
                </a:lnTo>
                <a:lnTo>
                  <a:pt x="356" y="404"/>
                </a:lnTo>
                <a:lnTo>
                  <a:pt x="350" y="404"/>
                </a:lnTo>
                <a:lnTo>
                  <a:pt x="342" y="404"/>
                </a:lnTo>
                <a:lnTo>
                  <a:pt x="340" y="410"/>
                </a:lnTo>
                <a:lnTo>
                  <a:pt x="338" y="416"/>
                </a:lnTo>
                <a:lnTo>
                  <a:pt x="332" y="416"/>
                </a:lnTo>
                <a:lnTo>
                  <a:pt x="326" y="418"/>
                </a:lnTo>
                <a:lnTo>
                  <a:pt x="318" y="424"/>
                </a:lnTo>
                <a:lnTo>
                  <a:pt x="312" y="432"/>
                </a:lnTo>
                <a:lnTo>
                  <a:pt x="310" y="438"/>
                </a:lnTo>
                <a:lnTo>
                  <a:pt x="304" y="438"/>
                </a:lnTo>
                <a:lnTo>
                  <a:pt x="304" y="436"/>
                </a:lnTo>
                <a:lnTo>
                  <a:pt x="304" y="434"/>
                </a:lnTo>
                <a:lnTo>
                  <a:pt x="304" y="426"/>
                </a:lnTo>
                <a:lnTo>
                  <a:pt x="306" y="418"/>
                </a:lnTo>
                <a:lnTo>
                  <a:pt x="304" y="410"/>
                </a:lnTo>
                <a:lnTo>
                  <a:pt x="304" y="406"/>
                </a:lnTo>
                <a:lnTo>
                  <a:pt x="302" y="400"/>
                </a:lnTo>
                <a:lnTo>
                  <a:pt x="300" y="392"/>
                </a:lnTo>
                <a:lnTo>
                  <a:pt x="286" y="388"/>
                </a:lnTo>
                <a:lnTo>
                  <a:pt x="276" y="384"/>
                </a:lnTo>
                <a:lnTo>
                  <a:pt x="270" y="382"/>
                </a:lnTo>
                <a:lnTo>
                  <a:pt x="268" y="380"/>
                </a:lnTo>
                <a:lnTo>
                  <a:pt x="264" y="378"/>
                </a:lnTo>
                <a:lnTo>
                  <a:pt x="232" y="378"/>
                </a:lnTo>
                <a:lnTo>
                  <a:pt x="208" y="392"/>
                </a:lnTo>
                <a:lnTo>
                  <a:pt x="176" y="392"/>
                </a:lnTo>
                <a:lnTo>
                  <a:pt x="164" y="398"/>
                </a:lnTo>
                <a:lnTo>
                  <a:pt x="150" y="406"/>
                </a:lnTo>
                <a:lnTo>
                  <a:pt x="134" y="416"/>
                </a:lnTo>
                <a:lnTo>
                  <a:pt x="122" y="420"/>
                </a:lnTo>
                <a:lnTo>
                  <a:pt x="108" y="422"/>
                </a:lnTo>
                <a:lnTo>
                  <a:pt x="92" y="422"/>
                </a:lnTo>
                <a:lnTo>
                  <a:pt x="84" y="424"/>
                </a:lnTo>
                <a:lnTo>
                  <a:pt x="74" y="426"/>
                </a:lnTo>
                <a:lnTo>
                  <a:pt x="58" y="432"/>
                </a:lnTo>
                <a:lnTo>
                  <a:pt x="42" y="438"/>
                </a:lnTo>
                <a:lnTo>
                  <a:pt x="32" y="440"/>
                </a:lnTo>
                <a:lnTo>
                  <a:pt x="24" y="440"/>
                </a:lnTo>
                <a:lnTo>
                  <a:pt x="18" y="440"/>
                </a:lnTo>
                <a:lnTo>
                  <a:pt x="14" y="436"/>
                </a:lnTo>
                <a:lnTo>
                  <a:pt x="6" y="430"/>
                </a:lnTo>
                <a:lnTo>
                  <a:pt x="4" y="428"/>
                </a:lnTo>
                <a:lnTo>
                  <a:pt x="2" y="428"/>
                </a:lnTo>
                <a:lnTo>
                  <a:pt x="0" y="426"/>
                </a:lnTo>
                <a:lnTo>
                  <a:pt x="0" y="422"/>
                </a:lnTo>
                <a:lnTo>
                  <a:pt x="0" y="420"/>
                </a:lnTo>
                <a:lnTo>
                  <a:pt x="2" y="416"/>
                </a:lnTo>
                <a:lnTo>
                  <a:pt x="4" y="414"/>
                </a:lnTo>
                <a:lnTo>
                  <a:pt x="10" y="412"/>
                </a:lnTo>
                <a:lnTo>
                  <a:pt x="16" y="408"/>
                </a:lnTo>
                <a:lnTo>
                  <a:pt x="24" y="394"/>
                </a:lnTo>
                <a:lnTo>
                  <a:pt x="30" y="380"/>
                </a:lnTo>
                <a:lnTo>
                  <a:pt x="28" y="376"/>
                </a:lnTo>
                <a:lnTo>
                  <a:pt x="26" y="372"/>
                </a:lnTo>
                <a:lnTo>
                  <a:pt x="26" y="362"/>
                </a:lnTo>
                <a:lnTo>
                  <a:pt x="26" y="328"/>
                </a:lnTo>
                <a:lnTo>
                  <a:pt x="26" y="316"/>
                </a:lnTo>
                <a:lnTo>
                  <a:pt x="26" y="304"/>
                </a:lnTo>
                <a:lnTo>
                  <a:pt x="24" y="296"/>
                </a:lnTo>
                <a:lnTo>
                  <a:pt x="20" y="288"/>
                </a:lnTo>
                <a:lnTo>
                  <a:pt x="16" y="280"/>
                </a:lnTo>
                <a:lnTo>
                  <a:pt x="16" y="276"/>
                </a:lnTo>
                <a:lnTo>
                  <a:pt x="20" y="280"/>
                </a:lnTo>
                <a:lnTo>
                  <a:pt x="20" y="284"/>
                </a:lnTo>
                <a:lnTo>
                  <a:pt x="26" y="284"/>
                </a:lnTo>
                <a:lnTo>
                  <a:pt x="24" y="278"/>
                </a:lnTo>
                <a:lnTo>
                  <a:pt x="24" y="272"/>
                </a:lnTo>
                <a:lnTo>
                  <a:pt x="28" y="276"/>
                </a:lnTo>
                <a:lnTo>
                  <a:pt x="28" y="280"/>
                </a:lnTo>
                <a:lnTo>
                  <a:pt x="30" y="278"/>
                </a:lnTo>
                <a:lnTo>
                  <a:pt x="30" y="276"/>
                </a:lnTo>
                <a:lnTo>
                  <a:pt x="32" y="272"/>
                </a:lnTo>
                <a:lnTo>
                  <a:pt x="28" y="256"/>
                </a:lnTo>
                <a:lnTo>
                  <a:pt x="36" y="236"/>
                </a:lnTo>
                <a:lnTo>
                  <a:pt x="38" y="226"/>
                </a:lnTo>
                <a:lnTo>
                  <a:pt x="40" y="214"/>
                </a:lnTo>
                <a:lnTo>
                  <a:pt x="40" y="208"/>
                </a:lnTo>
                <a:lnTo>
                  <a:pt x="44" y="202"/>
                </a:lnTo>
                <a:lnTo>
                  <a:pt x="46" y="206"/>
                </a:lnTo>
                <a:lnTo>
                  <a:pt x="48" y="208"/>
                </a:lnTo>
                <a:lnTo>
                  <a:pt x="48" y="210"/>
                </a:lnTo>
                <a:lnTo>
                  <a:pt x="52" y="208"/>
                </a:lnTo>
                <a:lnTo>
                  <a:pt x="54" y="206"/>
                </a:lnTo>
                <a:lnTo>
                  <a:pt x="56" y="202"/>
                </a:lnTo>
                <a:lnTo>
                  <a:pt x="58" y="198"/>
                </a:lnTo>
                <a:lnTo>
                  <a:pt x="62" y="196"/>
                </a:lnTo>
                <a:lnTo>
                  <a:pt x="70" y="194"/>
                </a:lnTo>
                <a:lnTo>
                  <a:pt x="76" y="190"/>
                </a:lnTo>
                <a:lnTo>
                  <a:pt x="78" y="188"/>
                </a:lnTo>
                <a:lnTo>
                  <a:pt x="82" y="186"/>
                </a:lnTo>
                <a:lnTo>
                  <a:pt x="86" y="182"/>
                </a:lnTo>
                <a:lnTo>
                  <a:pt x="94" y="178"/>
                </a:lnTo>
                <a:lnTo>
                  <a:pt x="102" y="176"/>
                </a:lnTo>
                <a:lnTo>
                  <a:pt x="110" y="174"/>
                </a:lnTo>
                <a:lnTo>
                  <a:pt x="118" y="172"/>
                </a:lnTo>
                <a:lnTo>
                  <a:pt x="128" y="168"/>
                </a:lnTo>
                <a:lnTo>
                  <a:pt x="138" y="166"/>
                </a:lnTo>
                <a:lnTo>
                  <a:pt x="146" y="166"/>
                </a:lnTo>
                <a:lnTo>
                  <a:pt x="156" y="164"/>
                </a:lnTo>
                <a:lnTo>
                  <a:pt x="162" y="162"/>
                </a:lnTo>
                <a:lnTo>
                  <a:pt x="168" y="152"/>
                </a:lnTo>
                <a:lnTo>
                  <a:pt x="180" y="1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6" name="Freeform 216">
            <a:extLst>
              <a:ext uri="{FF2B5EF4-FFF2-40B4-BE49-F238E27FC236}">
                <a16:creationId xmlns:a16="http://schemas.microsoft.com/office/drawing/2014/main" id="{9D6AE19B-3DDC-44B3-8851-E1380C6058A7}"/>
              </a:ext>
            </a:extLst>
          </p:cNvPr>
          <p:cNvSpPr>
            <a:spLocks/>
          </p:cNvSpPr>
          <p:nvPr/>
        </p:nvSpPr>
        <p:spPr bwMode="auto">
          <a:xfrm>
            <a:off x="8026689" y="4118962"/>
            <a:ext cx="126558" cy="66562"/>
          </a:xfrm>
          <a:custGeom>
            <a:avLst/>
            <a:gdLst/>
            <a:ahLst/>
            <a:cxnLst>
              <a:cxn ang="0">
                <a:pos x="64" y="0"/>
              </a:cxn>
              <a:cxn ang="0">
                <a:pos x="52" y="10"/>
              </a:cxn>
              <a:cxn ang="0">
                <a:pos x="36" y="16"/>
              </a:cxn>
              <a:cxn ang="0">
                <a:pos x="32" y="18"/>
              </a:cxn>
              <a:cxn ang="0">
                <a:pos x="28" y="20"/>
              </a:cxn>
              <a:cxn ang="0">
                <a:pos x="22" y="28"/>
              </a:cxn>
              <a:cxn ang="0">
                <a:pos x="14" y="36"/>
              </a:cxn>
              <a:cxn ang="0">
                <a:pos x="8" y="38"/>
              </a:cxn>
              <a:cxn ang="0">
                <a:pos x="2" y="38"/>
              </a:cxn>
              <a:cxn ang="0">
                <a:pos x="0" y="38"/>
              </a:cxn>
              <a:cxn ang="0">
                <a:pos x="0" y="34"/>
              </a:cxn>
              <a:cxn ang="0">
                <a:pos x="0" y="30"/>
              </a:cxn>
              <a:cxn ang="0">
                <a:pos x="2" y="26"/>
              </a:cxn>
              <a:cxn ang="0">
                <a:pos x="10" y="20"/>
              </a:cxn>
              <a:cxn ang="0">
                <a:pos x="26" y="14"/>
              </a:cxn>
              <a:cxn ang="0">
                <a:pos x="28" y="12"/>
              </a:cxn>
              <a:cxn ang="0">
                <a:pos x="30" y="8"/>
              </a:cxn>
              <a:cxn ang="0">
                <a:pos x="32" y="6"/>
              </a:cxn>
              <a:cxn ang="0">
                <a:pos x="36" y="4"/>
              </a:cxn>
              <a:cxn ang="0">
                <a:pos x="46" y="2"/>
              </a:cxn>
              <a:cxn ang="0">
                <a:pos x="54" y="0"/>
              </a:cxn>
              <a:cxn ang="0">
                <a:pos x="64" y="0"/>
              </a:cxn>
              <a:cxn ang="0">
                <a:pos x="64" y="2"/>
              </a:cxn>
              <a:cxn ang="0">
                <a:pos x="64" y="0"/>
              </a:cxn>
            </a:cxnLst>
            <a:rect l="0" t="0" r="r" b="b"/>
            <a:pathLst>
              <a:path w="64" h="38">
                <a:moveTo>
                  <a:pt x="64" y="0"/>
                </a:moveTo>
                <a:lnTo>
                  <a:pt x="52" y="10"/>
                </a:lnTo>
                <a:lnTo>
                  <a:pt x="36" y="16"/>
                </a:lnTo>
                <a:lnTo>
                  <a:pt x="32" y="18"/>
                </a:lnTo>
                <a:lnTo>
                  <a:pt x="28" y="20"/>
                </a:lnTo>
                <a:lnTo>
                  <a:pt x="22" y="28"/>
                </a:lnTo>
                <a:lnTo>
                  <a:pt x="14" y="36"/>
                </a:lnTo>
                <a:lnTo>
                  <a:pt x="8" y="38"/>
                </a:lnTo>
                <a:lnTo>
                  <a:pt x="2" y="38"/>
                </a:lnTo>
                <a:lnTo>
                  <a:pt x="0" y="38"/>
                </a:lnTo>
                <a:lnTo>
                  <a:pt x="0" y="34"/>
                </a:lnTo>
                <a:lnTo>
                  <a:pt x="0" y="30"/>
                </a:lnTo>
                <a:lnTo>
                  <a:pt x="2" y="26"/>
                </a:lnTo>
                <a:lnTo>
                  <a:pt x="10" y="20"/>
                </a:lnTo>
                <a:lnTo>
                  <a:pt x="26" y="14"/>
                </a:lnTo>
                <a:lnTo>
                  <a:pt x="28" y="12"/>
                </a:lnTo>
                <a:lnTo>
                  <a:pt x="30" y="8"/>
                </a:lnTo>
                <a:lnTo>
                  <a:pt x="32" y="6"/>
                </a:lnTo>
                <a:lnTo>
                  <a:pt x="36" y="4"/>
                </a:lnTo>
                <a:lnTo>
                  <a:pt x="46" y="2"/>
                </a:lnTo>
                <a:lnTo>
                  <a:pt x="54" y="0"/>
                </a:lnTo>
                <a:lnTo>
                  <a:pt x="64" y="0"/>
                </a:lnTo>
                <a:lnTo>
                  <a:pt x="64" y="2"/>
                </a:lnTo>
                <a:lnTo>
                  <a:pt x="6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7" name="Freeform 217">
            <a:extLst>
              <a:ext uri="{FF2B5EF4-FFF2-40B4-BE49-F238E27FC236}">
                <a16:creationId xmlns:a16="http://schemas.microsoft.com/office/drawing/2014/main" id="{0CA5397D-E7C8-4E1C-ABD4-5869C9B12FEA}"/>
              </a:ext>
            </a:extLst>
          </p:cNvPr>
          <p:cNvSpPr>
            <a:spLocks/>
          </p:cNvSpPr>
          <p:nvPr/>
        </p:nvSpPr>
        <p:spPr bwMode="auto">
          <a:xfrm>
            <a:off x="7918943" y="4110845"/>
            <a:ext cx="100906" cy="17858"/>
          </a:xfrm>
          <a:custGeom>
            <a:avLst/>
            <a:gdLst/>
            <a:ahLst/>
            <a:cxnLst>
              <a:cxn ang="0">
                <a:pos x="40" y="8"/>
              </a:cxn>
              <a:cxn ang="0">
                <a:pos x="34" y="10"/>
              </a:cxn>
              <a:cxn ang="0">
                <a:pos x="28" y="10"/>
              </a:cxn>
              <a:cxn ang="0">
                <a:pos x="22" y="8"/>
              </a:cxn>
              <a:cxn ang="0">
                <a:pos x="10" y="10"/>
              </a:cxn>
              <a:cxn ang="0">
                <a:pos x="4" y="10"/>
              </a:cxn>
              <a:cxn ang="0">
                <a:pos x="2" y="8"/>
              </a:cxn>
              <a:cxn ang="0">
                <a:pos x="0" y="4"/>
              </a:cxn>
              <a:cxn ang="0">
                <a:pos x="6" y="2"/>
              </a:cxn>
              <a:cxn ang="0">
                <a:pos x="12" y="0"/>
              </a:cxn>
              <a:cxn ang="0">
                <a:pos x="18" y="2"/>
              </a:cxn>
              <a:cxn ang="0">
                <a:pos x="24" y="4"/>
              </a:cxn>
              <a:cxn ang="0">
                <a:pos x="28" y="6"/>
              </a:cxn>
              <a:cxn ang="0">
                <a:pos x="34" y="8"/>
              </a:cxn>
              <a:cxn ang="0">
                <a:pos x="42" y="6"/>
              </a:cxn>
              <a:cxn ang="0">
                <a:pos x="50" y="4"/>
              </a:cxn>
              <a:cxn ang="0">
                <a:pos x="46" y="8"/>
              </a:cxn>
              <a:cxn ang="0">
                <a:pos x="44" y="10"/>
              </a:cxn>
              <a:cxn ang="0">
                <a:pos x="38" y="10"/>
              </a:cxn>
              <a:cxn ang="0">
                <a:pos x="40" y="8"/>
              </a:cxn>
            </a:cxnLst>
            <a:rect l="0" t="0" r="r" b="b"/>
            <a:pathLst>
              <a:path w="50" h="10">
                <a:moveTo>
                  <a:pt x="40" y="8"/>
                </a:moveTo>
                <a:lnTo>
                  <a:pt x="34" y="10"/>
                </a:lnTo>
                <a:lnTo>
                  <a:pt x="28" y="10"/>
                </a:lnTo>
                <a:lnTo>
                  <a:pt x="22" y="8"/>
                </a:lnTo>
                <a:lnTo>
                  <a:pt x="10" y="10"/>
                </a:lnTo>
                <a:lnTo>
                  <a:pt x="4" y="10"/>
                </a:lnTo>
                <a:lnTo>
                  <a:pt x="2" y="8"/>
                </a:lnTo>
                <a:lnTo>
                  <a:pt x="0" y="4"/>
                </a:lnTo>
                <a:lnTo>
                  <a:pt x="6" y="2"/>
                </a:lnTo>
                <a:lnTo>
                  <a:pt x="12" y="0"/>
                </a:lnTo>
                <a:lnTo>
                  <a:pt x="18" y="2"/>
                </a:lnTo>
                <a:lnTo>
                  <a:pt x="24" y="4"/>
                </a:lnTo>
                <a:lnTo>
                  <a:pt x="28" y="6"/>
                </a:lnTo>
                <a:lnTo>
                  <a:pt x="34" y="8"/>
                </a:lnTo>
                <a:lnTo>
                  <a:pt x="42" y="6"/>
                </a:lnTo>
                <a:lnTo>
                  <a:pt x="50" y="4"/>
                </a:lnTo>
                <a:lnTo>
                  <a:pt x="46" y="8"/>
                </a:lnTo>
                <a:lnTo>
                  <a:pt x="44" y="10"/>
                </a:lnTo>
                <a:lnTo>
                  <a:pt x="38" y="10"/>
                </a:lnTo>
                <a:lnTo>
                  <a:pt x="40" y="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8" name="Freeform 218">
            <a:extLst>
              <a:ext uri="{FF2B5EF4-FFF2-40B4-BE49-F238E27FC236}">
                <a16:creationId xmlns:a16="http://schemas.microsoft.com/office/drawing/2014/main" id="{0F67EEB5-7545-4FD1-AF7B-CB16E9A24093}"/>
              </a:ext>
            </a:extLst>
          </p:cNvPr>
          <p:cNvSpPr>
            <a:spLocks/>
          </p:cNvSpPr>
          <p:nvPr/>
        </p:nvSpPr>
        <p:spPr bwMode="auto">
          <a:xfrm>
            <a:off x="7470859" y="4039412"/>
            <a:ext cx="319817" cy="89290"/>
          </a:xfrm>
          <a:custGeom>
            <a:avLst/>
            <a:gdLst/>
            <a:ahLst/>
            <a:cxnLst>
              <a:cxn ang="0">
                <a:pos x="8" y="16"/>
              </a:cxn>
              <a:cxn ang="0">
                <a:pos x="0" y="12"/>
              </a:cxn>
              <a:cxn ang="0">
                <a:pos x="8" y="10"/>
              </a:cxn>
              <a:cxn ang="0">
                <a:pos x="10" y="6"/>
              </a:cxn>
              <a:cxn ang="0">
                <a:pos x="10" y="2"/>
              </a:cxn>
              <a:cxn ang="0">
                <a:pos x="16" y="0"/>
              </a:cxn>
              <a:cxn ang="0">
                <a:pos x="36" y="2"/>
              </a:cxn>
              <a:cxn ang="0">
                <a:pos x="50" y="6"/>
              </a:cxn>
              <a:cxn ang="0">
                <a:pos x="54" y="12"/>
              </a:cxn>
              <a:cxn ang="0">
                <a:pos x="62" y="16"/>
              </a:cxn>
              <a:cxn ang="0">
                <a:pos x="78" y="14"/>
              </a:cxn>
              <a:cxn ang="0">
                <a:pos x="88" y="10"/>
              </a:cxn>
              <a:cxn ang="0">
                <a:pos x="92" y="10"/>
              </a:cxn>
              <a:cxn ang="0">
                <a:pos x="100" y="12"/>
              </a:cxn>
              <a:cxn ang="0">
                <a:pos x="106" y="16"/>
              </a:cxn>
              <a:cxn ang="0">
                <a:pos x="118" y="20"/>
              </a:cxn>
              <a:cxn ang="0">
                <a:pos x="118" y="30"/>
              </a:cxn>
              <a:cxn ang="0">
                <a:pos x="132" y="32"/>
              </a:cxn>
              <a:cxn ang="0">
                <a:pos x="150" y="36"/>
              </a:cxn>
              <a:cxn ang="0">
                <a:pos x="162" y="42"/>
              </a:cxn>
              <a:cxn ang="0">
                <a:pos x="156" y="48"/>
              </a:cxn>
              <a:cxn ang="0">
                <a:pos x="150" y="46"/>
              </a:cxn>
              <a:cxn ang="0">
                <a:pos x="144" y="46"/>
              </a:cxn>
              <a:cxn ang="0">
                <a:pos x="142" y="50"/>
              </a:cxn>
              <a:cxn ang="0">
                <a:pos x="130" y="46"/>
              </a:cxn>
              <a:cxn ang="0">
                <a:pos x="118" y="42"/>
              </a:cxn>
              <a:cxn ang="0">
                <a:pos x="90" y="40"/>
              </a:cxn>
              <a:cxn ang="0">
                <a:pos x="82" y="38"/>
              </a:cxn>
              <a:cxn ang="0">
                <a:pos x="74" y="34"/>
              </a:cxn>
              <a:cxn ang="0">
                <a:pos x="56" y="32"/>
              </a:cxn>
              <a:cxn ang="0">
                <a:pos x="40" y="32"/>
              </a:cxn>
              <a:cxn ang="0">
                <a:pos x="36" y="30"/>
              </a:cxn>
              <a:cxn ang="0">
                <a:pos x="24" y="26"/>
              </a:cxn>
              <a:cxn ang="0">
                <a:pos x="18" y="22"/>
              </a:cxn>
            </a:cxnLst>
            <a:rect l="0" t="0" r="r" b="b"/>
            <a:pathLst>
              <a:path w="162" h="50">
                <a:moveTo>
                  <a:pt x="16" y="16"/>
                </a:moveTo>
                <a:lnTo>
                  <a:pt x="8" y="16"/>
                </a:lnTo>
                <a:lnTo>
                  <a:pt x="4" y="14"/>
                </a:lnTo>
                <a:lnTo>
                  <a:pt x="0" y="12"/>
                </a:lnTo>
                <a:lnTo>
                  <a:pt x="4" y="10"/>
                </a:lnTo>
                <a:lnTo>
                  <a:pt x="8" y="10"/>
                </a:lnTo>
                <a:lnTo>
                  <a:pt x="10" y="8"/>
                </a:lnTo>
                <a:lnTo>
                  <a:pt x="10" y="6"/>
                </a:lnTo>
                <a:lnTo>
                  <a:pt x="10" y="4"/>
                </a:lnTo>
                <a:lnTo>
                  <a:pt x="10" y="2"/>
                </a:lnTo>
                <a:lnTo>
                  <a:pt x="12" y="0"/>
                </a:lnTo>
                <a:lnTo>
                  <a:pt x="16" y="0"/>
                </a:lnTo>
                <a:lnTo>
                  <a:pt x="22" y="2"/>
                </a:lnTo>
                <a:lnTo>
                  <a:pt x="36" y="2"/>
                </a:lnTo>
                <a:lnTo>
                  <a:pt x="48" y="4"/>
                </a:lnTo>
                <a:lnTo>
                  <a:pt x="50" y="6"/>
                </a:lnTo>
                <a:lnTo>
                  <a:pt x="52" y="8"/>
                </a:lnTo>
                <a:lnTo>
                  <a:pt x="54" y="12"/>
                </a:lnTo>
                <a:lnTo>
                  <a:pt x="56" y="14"/>
                </a:lnTo>
                <a:lnTo>
                  <a:pt x="62" y="16"/>
                </a:lnTo>
                <a:lnTo>
                  <a:pt x="70" y="16"/>
                </a:lnTo>
                <a:lnTo>
                  <a:pt x="78" y="14"/>
                </a:lnTo>
                <a:lnTo>
                  <a:pt x="84" y="12"/>
                </a:lnTo>
                <a:lnTo>
                  <a:pt x="88" y="10"/>
                </a:lnTo>
                <a:lnTo>
                  <a:pt x="90" y="8"/>
                </a:lnTo>
                <a:lnTo>
                  <a:pt x="92" y="10"/>
                </a:lnTo>
                <a:lnTo>
                  <a:pt x="94" y="10"/>
                </a:lnTo>
                <a:lnTo>
                  <a:pt x="100" y="12"/>
                </a:lnTo>
                <a:lnTo>
                  <a:pt x="102" y="16"/>
                </a:lnTo>
                <a:lnTo>
                  <a:pt x="106" y="16"/>
                </a:lnTo>
                <a:lnTo>
                  <a:pt x="114" y="18"/>
                </a:lnTo>
                <a:lnTo>
                  <a:pt x="118" y="20"/>
                </a:lnTo>
                <a:lnTo>
                  <a:pt x="118" y="22"/>
                </a:lnTo>
                <a:lnTo>
                  <a:pt x="118" y="30"/>
                </a:lnTo>
                <a:lnTo>
                  <a:pt x="124" y="32"/>
                </a:lnTo>
                <a:lnTo>
                  <a:pt x="132" y="32"/>
                </a:lnTo>
                <a:lnTo>
                  <a:pt x="146" y="34"/>
                </a:lnTo>
                <a:lnTo>
                  <a:pt x="150" y="36"/>
                </a:lnTo>
                <a:lnTo>
                  <a:pt x="162" y="40"/>
                </a:lnTo>
                <a:lnTo>
                  <a:pt x="162" y="42"/>
                </a:lnTo>
                <a:lnTo>
                  <a:pt x="160" y="46"/>
                </a:lnTo>
                <a:lnTo>
                  <a:pt x="156" y="48"/>
                </a:lnTo>
                <a:lnTo>
                  <a:pt x="152" y="48"/>
                </a:lnTo>
                <a:lnTo>
                  <a:pt x="150" y="46"/>
                </a:lnTo>
                <a:lnTo>
                  <a:pt x="146" y="40"/>
                </a:lnTo>
                <a:lnTo>
                  <a:pt x="144" y="46"/>
                </a:lnTo>
                <a:lnTo>
                  <a:pt x="144" y="48"/>
                </a:lnTo>
                <a:lnTo>
                  <a:pt x="142" y="50"/>
                </a:lnTo>
                <a:lnTo>
                  <a:pt x="136" y="48"/>
                </a:lnTo>
                <a:lnTo>
                  <a:pt x="130" y="46"/>
                </a:lnTo>
                <a:lnTo>
                  <a:pt x="126" y="44"/>
                </a:lnTo>
                <a:lnTo>
                  <a:pt x="118" y="42"/>
                </a:lnTo>
                <a:lnTo>
                  <a:pt x="92" y="42"/>
                </a:lnTo>
                <a:lnTo>
                  <a:pt x="90" y="40"/>
                </a:lnTo>
                <a:lnTo>
                  <a:pt x="84" y="40"/>
                </a:lnTo>
                <a:lnTo>
                  <a:pt x="82" y="38"/>
                </a:lnTo>
                <a:lnTo>
                  <a:pt x="80" y="36"/>
                </a:lnTo>
                <a:lnTo>
                  <a:pt x="74" y="34"/>
                </a:lnTo>
                <a:lnTo>
                  <a:pt x="64" y="32"/>
                </a:lnTo>
                <a:lnTo>
                  <a:pt x="56" y="32"/>
                </a:lnTo>
                <a:lnTo>
                  <a:pt x="48" y="32"/>
                </a:lnTo>
                <a:lnTo>
                  <a:pt x="40" y="32"/>
                </a:lnTo>
                <a:lnTo>
                  <a:pt x="36" y="32"/>
                </a:lnTo>
                <a:lnTo>
                  <a:pt x="36" y="30"/>
                </a:lnTo>
                <a:lnTo>
                  <a:pt x="32" y="26"/>
                </a:lnTo>
                <a:lnTo>
                  <a:pt x="24" y="26"/>
                </a:lnTo>
                <a:lnTo>
                  <a:pt x="20" y="26"/>
                </a:lnTo>
                <a:lnTo>
                  <a:pt x="18" y="22"/>
                </a:lnTo>
                <a:lnTo>
                  <a:pt x="16" y="1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9" name="Freeform 219">
            <a:extLst>
              <a:ext uri="{FF2B5EF4-FFF2-40B4-BE49-F238E27FC236}">
                <a16:creationId xmlns:a16="http://schemas.microsoft.com/office/drawing/2014/main" id="{C1EA88B6-AD09-458F-A85B-06B2C29DABE2}"/>
              </a:ext>
            </a:extLst>
          </p:cNvPr>
          <p:cNvSpPr>
            <a:spLocks/>
          </p:cNvSpPr>
          <p:nvPr/>
        </p:nvSpPr>
        <p:spPr bwMode="auto">
          <a:xfrm>
            <a:off x="7470859" y="3896548"/>
            <a:ext cx="46177" cy="47080"/>
          </a:xfrm>
          <a:custGeom>
            <a:avLst/>
            <a:gdLst/>
            <a:ahLst/>
            <a:cxnLst>
              <a:cxn ang="0">
                <a:pos x="0" y="6"/>
              </a:cxn>
              <a:cxn ang="0">
                <a:pos x="4" y="4"/>
              </a:cxn>
              <a:cxn ang="0">
                <a:pos x="6" y="2"/>
              </a:cxn>
              <a:cxn ang="0">
                <a:pos x="10" y="0"/>
              </a:cxn>
              <a:cxn ang="0">
                <a:pos x="12" y="0"/>
              </a:cxn>
              <a:cxn ang="0">
                <a:pos x="14" y="2"/>
              </a:cxn>
              <a:cxn ang="0">
                <a:pos x="14" y="6"/>
              </a:cxn>
              <a:cxn ang="0">
                <a:pos x="18" y="12"/>
              </a:cxn>
              <a:cxn ang="0">
                <a:pos x="24" y="18"/>
              </a:cxn>
              <a:cxn ang="0">
                <a:pos x="24" y="24"/>
              </a:cxn>
              <a:cxn ang="0">
                <a:pos x="22" y="26"/>
              </a:cxn>
              <a:cxn ang="0">
                <a:pos x="14" y="22"/>
              </a:cxn>
              <a:cxn ang="0">
                <a:pos x="12" y="18"/>
              </a:cxn>
              <a:cxn ang="0">
                <a:pos x="10" y="16"/>
              </a:cxn>
              <a:cxn ang="0">
                <a:pos x="12" y="12"/>
              </a:cxn>
              <a:cxn ang="0">
                <a:pos x="12" y="10"/>
              </a:cxn>
              <a:cxn ang="0">
                <a:pos x="6" y="8"/>
              </a:cxn>
              <a:cxn ang="0">
                <a:pos x="2" y="6"/>
              </a:cxn>
              <a:cxn ang="0">
                <a:pos x="0" y="6"/>
              </a:cxn>
            </a:cxnLst>
            <a:rect l="0" t="0" r="r" b="b"/>
            <a:pathLst>
              <a:path w="24" h="26">
                <a:moveTo>
                  <a:pt x="0" y="6"/>
                </a:moveTo>
                <a:lnTo>
                  <a:pt x="4" y="4"/>
                </a:lnTo>
                <a:lnTo>
                  <a:pt x="6" y="2"/>
                </a:lnTo>
                <a:lnTo>
                  <a:pt x="10" y="0"/>
                </a:lnTo>
                <a:lnTo>
                  <a:pt x="12" y="0"/>
                </a:lnTo>
                <a:lnTo>
                  <a:pt x="14" y="2"/>
                </a:lnTo>
                <a:lnTo>
                  <a:pt x="14" y="6"/>
                </a:lnTo>
                <a:lnTo>
                  <a:pt x="18" y="12"/>
                </a:lnTo>
                <a:lnTo>
                  <a:pt x="24" y="18"/>
                </a:lnTo>
                <a:lnTo>
                  <a:pt x="24" y="24"/>
                </a:lnTo>
                <a:lnTo>
                  <a:pt x="22" y="26"/>
                </a:lnTo>
                <a:lnTo>
                  <a:pt x="14" y="22"/>
                </a:lnTo>
                <a:lnTo>
                  <a:pt x="12" y="18"/>
                </a:lnTo>
                <a:lnTo>
                  <a:pt x="10" y="16"/>
                </a:lnTo>
                <a:lnTo>
                  <a:pt x="12" y="12"/>
                </a:lnTo>
                <a:lnTo>
                  <a:pt x="12" y="10"/>
                </a:lnTo>
                <a:lnTo>
                  <a:pt x="6" y="8"/>
                </a:lnTo>
                <a:lnTo>
                  <a:pt x="2" y="6"/>
                </a:lnTo>
                <a:lnTo>
                  <a:pt x="0" y="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0" name="Freeform 220">
            <a:extLst>
              <a:ext uri="{FF2B5EF4-FFF2-40B4-BE49-F238E27FC236}">
                <a16:creationId xmlns:a16="http://schemas.microsoft.com/office/drawing/2014/main" id="{1AE047C7-D825-4A8C-BA0B-A47DA3ED031A}"/>
              </a:ext>
            </a:extLst>
          </p:cNvPr>
          <p:cNvSpPr>
            <a:spLocks/>
          </p:cNvSpPr>
          <p:nvPr/>
        </p:nvSpPr>
        <p:spPr bwMode="auto">
          <a:xfrm>
            <a:off x="7546111" y="3929017"/>
            <a:ext cx="22233" cy="17858"/>
          </a:xfrm>
          <a:custGeom>
            <a:avLst/>
            <a:gdLst/>
            <a:ahLst/>
            <a:cxnLst>
              <a:cxn ang="0">
                <a:pos x="12" y="2"/>
              </a:cxn>
              <a:cxn ang="0">
                <a:pos x="10" y="6"/>
              </a:cxn>
              <a:cxn ang="0">
                <a:pos x="10" y="10"/>
              </a:cxn>
              <a:cxn ang="0">
                <a:pos x="4" y="10"/>
              </a:cxn>
              <a:cxn ang="0">
                <a:pos x="2" y="8"/>
              </a:cxn>
              <a:cxn ang="0">
                <a:pos x="0" y="4"/>
              </a:cxn>
              <a:cxn ang="0">
                <a:pos x="2" y="2"/>
              </a:cxn>
              <a:cxn ang="0">
                <a:pos x="4" y="0"/>
              </a:cxn>
              <a:cxn ang="0">
                <a:pos x="12" y="2"/>
              </a:cxn>
            </a:cxnLst>
            <a:rect l="0" t="0" r="r" b="b"/>
            <a:pathLst>
              <a:path w="12" h="10">
                <a:moveTo>
                  <a:pt x="12" y="2"/>
                </a:moveTo>
                <a:lnTo>
                  <a:pt x="10" y="6"/>
                </a:lnTo>
                <a:lnTo>
                  <a:pt x="10" y="10"/>
                </a:lnTo>
                <a:lnTo>
                  <a:pt x="4" y="10"/>
                </a:lnTo>
                <a:lnTo>
                  <a:pt x="2" y="8"/>
                </a:lnTo>
                <a:lnTo>
                  <a:pt x="0" y="4"/>
                </a:lnTo>
                <a:lnTo>
                  <a:pt x="2" y="2"/>
                </a:lnTo>
                <a:lnTo>
                  <a:pt x="4" y="0"/>
                </a:lnTo>
                <a:lnTo>
                  <a:pt x="12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1" name="Freeform 221">
            <a:extLst>
              <a:ext uri="{FF2B5EF4-FFF2-40B4-BE49-F238E27FC236}">
                <a16:creationId xmlns:a16="http://schemas.microsoft.com/office/drawing/2014/main" id="{25B7A5D4-455F-4AC1-B666-D9D49AFF5C96}"/>
              </a:ext>
            </a:extLst>
          </p:cNvPr>
          <p:cNvSpPr>
            <a:spLocks/>
          </p:cNvSpPr>
          <p:nvPr/>
        </p:nvSpPr>
        <p:spPr bwMode="auto">
          <a:xfrm>
            <a:off x="7260498" y="3875443"/>
            <a:ext cx="18813" cy="21105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6" y="6"/>
              </a:cxn>
              <a:cxn ang="0">
                <a:pos x="10" y="8"/>
              </a:cxn>
              <a:cxn ang="0">
                <a:pos x="10" y="12"/>
              </a:cxn>
              <a:cxn ang="0">
                <a:pos x="6" y="12"/>
              </a:cxn>
              <a:cxn ang="0">
                <a:pos x="4" y="10"/>
              </a:cxn>
              <a:cxn ang="0">
                <a:pos x="2" y="8"/>
              </a:cxn>
              <a:cxn ang="0">
                <a:pos x="0" y="4"/>
              </a:cxn>
              <a:cxn ang="0">
                <a:pos x="2" y="0"/>
              </a:cxn>
              <a:cxn ang="0">
                <a:pos x="4" y="0"/>
              </a:cxn>
              <a:cxn ang="0">
                <a:pos x="6" y="0"/>
              </a:cxn>
            </a:cxnLst>
            <a:rect l="0" t="0" r="r" b="b"/>
            <a:pathLst>
              <a:path w="10" h="12">
                <a:moveTo>
                  <a:pt x="6" y="0"/>
                </a:moveTo>
                <a:lnTo>
                  <a:pt x="6" y="6"/>
                </a:lnTo>
                <a:lnTo>
                  <a:pt x="10" y="8"/>
                </a:lnTo>
                <a:lnTo>
                  <a:pt x="10" y="12"/>
                </a:lnTo>
                <a:lnTo>
                  <a:pt x="6" y="12"/>
                </a:lnTo>
                <a:lnTo>
                  <a:pt x="4" y="10"/>
                </a:lnTo>
                <a:lnTo>
                  <a:pt x="2" y="8"/>
                </a:lnTo>
                <a:lnTo>
                  <a:pt x="0" y="4"/>
                </a:lnTo>
                <a:lnTo>
                  <a:pt x="2" y="0"/>
                </a:lnTo>
                <a:lnTo>
                  <a:pt x="4" y="0"/>
                </a:lnTo>
                <a:lnTo>
                  <a:pt x="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2" name="Freeform 222">
            <a:extLst>
              <a:ext uri="{FF2B5EF4-FFF2-40B4-BE49-F238E27FC236}">
                <a16:creationId xmlns:a16="http://schemas.microsoft.com/office/drawing/2014/main" id="{9FEFE0AD-06E8-47AA-AF06-FED66D70191E}"/>
              </a:ext>
            </a:extLst>
          </p:cNvPr>
          <p:cNvSpPr>
            <a:spLocks/>
          </p:cNvSpPr>
          <p:nvPr/>
        </p:nvSpPr>
        <p:spPr bwMode="auto">
          <a:xfrm>
            <a:off x="7217743" y="3797517"/>
            <a:ext cx="22233" cy="24352"/>
          </a:xfrm>
          <a:custGeom>
            <a:avLst/>
            <a:gdLst/>
            <a:ahLst/>
            <a:cxnLst>
              <a:cxn ang="0">
                <a:pos x="12" y="8"/>
              </a:cxn>
              <a:cxn ang="0">
                <a:pos x="10" y="12"/>
              </a:cxn>
              <a:cxn ang="0">
                <a:pos x="8" y="14"/>
              </a:cxn>
              <a:cxn ang="0">
                <a:pos x="4" y="12"/>
              </a:cxn>
              <a:cxn ang="0">
                <a:pos x="0" y="8"/>
              </a:cxn>
              <a:cxn ang="0">
                <a:pos x="0" y="6"/>
              </a:cxn>
              <a:cxn ang="0">
                <a:pos x="0" y="0"/>
              </a:cxn>
              <a:cxn ang="0">
                <a:pos x="6" y="4"/>
              </a:cxn>
              <a:cxn ang="0">
                <a:pos x="10" y="6"/>
              </a:cxn>
              <a:cxn ang="0">
                <a:pos x="12" y="8"/>
              </a:cxn>
            </a:cxnLst>
            <a:rect l="0" t="0" r="r" b="b"/>
            <a:pathLst>
              <a:path w="12" h="14">
                <a:moveTo>
                  <a:pt x="12" y="8"/>
                </a:moveTo>
                <a:lnTo>
                  <a:pt x="10" y="12"/>
                </a:lnTo>
                <a:lnTo>
                  <a:pt x="8" y="14"/>
                </a:lnTo>
                <a:lnTo>
                  <a:pt x="4" y="12"/>
                </a:lnTo>
                <a:lnTo>
                  <a:pt x="0" y="8"/>
                </a:lnTo>
                <a:lnTo>
                  <a:pt x="0" y="6"/>
                </a:lnTo>
                <a:lnTo>
                  <a:pt x="0" y="0"/>
                </a:lnTo>
                <a:lnTo>
                  <a:pt x="6" y="4"/>
                </a:lnTo>
                <a:lnTo>
                  <a:pt x="10" y="6"/>
                </a:lnTo>
                <a:lnTo>
                  <a:pt x="12" y="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3" name="Freeform 223">
            <a:extLst>
              <a:ext uri="{FF2B5EF4-FFF2-40B4-BE49-F238E27FC236}">
                <a16:creationId xmlns:a16="http://schemas.microsoft.com/office/drawing/2014/main" id="{84AE45A5-E80B-4ACD-A8D7-48F229068BB4}"/>
              </a:ext>
            </a:extLst>
          </p:cNvPr>
          <p:cNvSpPr>
            <a:spLocks/>
          </p:cNvSpPr>
          <p:nvPr/>
        </p:nvSpPr>
        <p:spPr bwMode="auto">
          <a:xfrm>
            <a:off x="8238761" y="4211499"/>
            <a:ext cx="41046" cy="1785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8"/>
              </a:cxn>
              <a:cxn ang="0">
                <a:pos x="4" y="10"/>
              </a:cxn>
              <a:cxn ang="0">
                <a:pos x="10" y="10"/>
              </a:cxn>
              <a:cxn ang="0">
                <a:pos x="14" y="10"/>
              </a:cxn>
              <a:cxn ang="0">
                <a:pos x="16" y="6"/>
              </a:cxn>
              <a:cxn ang="0">
                <a:pos x="20" y="2"/>
              </a:cxn>
              <a:cxn ang="0">
                <a:pos x="16" y="0"/>
              </a:cxn>
              <a:cxn ang="0">
                <a:pos x="10" y="0"/>
              </a:cxn>
              <a:cxn ang="0">
                <a:pos x="0" y="0"/>
              </a:cxn>
            </a:cxnLst>
            <a:rect l="0" t="0" r="r" b="b"/>
            <a:pathLst>
              <a:path w="20" h="10">
                <a:moveTo>
                  <a:pt x="0" y="0"/>
                </a:moveTo>
                <a:lnTo>
                  <a:pt x="0" y="8"/>
                </a:lnTo>
                <a:lnTo>
                  <a:pt x="4" y="10"/>
                </a:lnTo>
                <a:lnTo>
                  <a:pt x="10" y="10"/>
                </a:lnTo>
                <a:lnTo>
                  <a:pt x="14" y="10"/>
                </a:lnTo>
                <a:lnTo>
                  <a:pt x="16" y="6"/>
                </a:lnTo>
                <a:lnTo>
                  <a:pt x="20" y="2"/>
                </a:lnTo>
                <a:lnTo>
                  <a:pt x="16" y="0"/>
                </a:lnTo>
                <a:lnTo>
                  <a:pt x="1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4" name="Freeform 224">
            <a:extLst>
              <a:ext uri="{FF2B5EF4-FFF2-40B4-BE49-F238E27FC236}">
                <a16:creationId xmlns:a16="http://schemas.microsoft.com/office/drawing/2014/main" id="{8A8F661C-EE87-47A8-9B6D-D5C855F57837}"/>
              </a:ext>
            </a:extLst>
          </p:cNvPr>
          <p:cNvSpPr>
            <a:spLocks/>
          </p:cNvSpPr>
          <p:nvPr/>
        </p:nvSpPr>
        <p:spPr bwMode="auto">
          <a:xfrm>
            <a:off x="8314011" y="5164473"/>
            <a:ext cx="131689" cy="103901"/>
          </a:xfrm>
          <a:custGeom>
            <a:avLst/>
            <a:gdLst/>
            <a:ahLst/>
            <a:cxnLst>
              <a:cxn ang="0">
                <a:pos x="18" y="2"/>
              </a:cxn>
              <a:cxn ang="0">
                <a:pos x="24" y="8"/>
              </a:cxn>
              <a:cxn ang="0">
                <a:pos x="28" y="10"/>
              </a:cxn>
              <a:cxn ang="0">
                <a:pos x="32" y="12"/>
              </a:cxn>
              <a:cxn ang="0">
                <a:pos x="40" y="12"/>
              </a:cxn>
              <a:cxn ang="0">
                <a:pos x="46" y="10"/>
              </a:cxn>
              <a:cxn ang="0">
                <a:pos x="58" y="6"/>
              </a:cxn>
              <a:cxn ang="0">
                <a:pos x="66" y="6"/>
              </a:cxn>
              <a:cxn ang="0">
                <a:pos x="66" y="8"/>
              </a:cxn>
              <a:cxn ang="0">
                <a:pos x="64" y="12"/>
              </a:cxn>
              <a:cxn ang="0">
                <a:pos x="60" y="16"/>
              </a:cxn>
              <a:cxn ang="0">
                <a:pos x="56" y="24"/>
              </a:cxn>
              <a:cxn ang="0">
                <a:pos x="54" y="32"/>
              </a:cxn>
              <a:cxn ang="0">
                <a:pos x="50" y="34"/>
              </a:cxn>
              <a:cxn ang="0">
                <a:pos x="46" y="36"/>
              </a:cxn>
              <a:cxn ang="0">
                <a:pos x="42" y="42"/>
              </a:cxn>
              <a:cxn ang="0">
                <a:pos x="38" y="48"/>
              </a:cxn>
              <a:cxn ang="0">
                <a:pos x="34" y="50"/>
              </a:cxn>
              <a:cxn ang="0">
                <a:pos x="32" y="52"/>
              </a:cxn>
              <a:cxn ang="0">
                <a:pos x="30" y="50"/>
              </a:cxn>
              <a:cxn ang="0">
                <a:pos x="28" y="46"/>
              </a:cxn>
              <a:cxn ang="0">
                <a:pos x="18" y="54"/>
              </a:cxn>
              <a:cxn ang="0">
                <a:pos x="16" y="56"/>
              </a:cxn>
              <a:cxn ang="0">
                <a:pos x="10" y="58"/>
              </a:cxn>
              <a:cxn ang="0">
                <a:pos x="4" y="56"/>
              </a:cxn>
              <a:cxn ang="0">
                <a:pos x="0" y="52"/>
              </a:cxn>
              <a:cxn ang="0">
                <a:pos x="0" y="48"/>
              </a:cxn>
              <a:cxn ang="0">
                <a:pos x="0" y="42"/>
              </a:cxn>
              <a:cxn ang="0">
                <a:pos x="0" y="38"/>
              </a:cxn>
              <a:cxn ang="0">
                <a:pos x="2" y="36"/>
              </a:cxn>
              <a:cxn ang="0">
                <a:pos x="6" y="32"/>
              </a:cxn>
              <a:cxn ang="0">
                <a:pos x="8" y="32"/>
              </a:cxn>
              <a:cxn ang="0">
                <a:pos x="8" y="28"/>
              </a:cxn>
              <a:cxn ang="0">
                <a:pos x="6" y="20"/>
              </a:cxn>
              <a:cxn ang="0">
                <a:pos x="8" y="16"/>
              </a:cxn>
              <a:cxn ang="0">
                <a:pos x="12" y="8"/>
              </a:cxn>
              <a:cxn ang="0">
                <a:pos x="18" y="0"/>
              </a:cxn>
              <a:cxn ang="0">
                <a:pos x="18" y="4"/>
              </a:cxn>
              <a:cxn ang="0">
                <a:pos x="18" y="2"/>
              </a:cxn>
            </a:cxnLst>
            <a:rect l="0" t="0" r="r" b="b"/>
            <a:pathLst>
              <a:path w="66" h="58">
                <a:moveTo>
                  <a:pt x="18" y="2"/>
                </a:moveTo>
                <a:lnTo>
                  <a:pt x="24" y="8"/>
                </a:lnTo>
                <a:lnTo>
                  <a:pt x="28" y="10"/>
                </a:lnTo>
                <a:lnTo>
                  <a:pt x="32" y="12"/>
                </a:lnTo>
                <a:lnTo>
                  <a:pt x="40" y="12"/>
                </a:lnTo>
                <a:lnTo>
                  <a:pt x="46" y="10"/>
                </a:lnTo>
                <a:lnTo>
                  <a:pt x="58" y="6"/>
                </a:lnTo>
                <a:lnTo>
                  <a:pt x="66" y="6"/>
                </a:lnTo>
                <a:lnTo>
                  <a:pt x="66" y="8"/>
                </a:lnTo>
                <a:lnTo>
                  <a:pt x="64" y="12"/>
                </a:lnTo>
                <a:lnTo>
                  <a:pt x="60" y="16"/>
                </a:lnTo>
                <a:lnTo>
                  <a:pt x="56" y="24"/>
                </a:lnTo>
                <a:lnTo>
                  <a:pt x="54" y="32"/>
                </a:lnTo>
                <a:lnTo>
                  <a:pt x="50" y="34"/>
                </a:lnTo>
                <a:lnTo>
                  <a:pt x="46" y="36"/>
                </a:lnTo>
                <a:lnTo>
                  <a:pt x="42" y="42"/>
                </a:lnTo>
                <a:lnTo>
                  <a:pt x="38" y="48"/>
                </a:lnTo>
                <a:lnTo>
                  <a:pt x="34" y="50"/>
                </a:lnTo>
                <a:lnTo>
                  <a:pt x="32" y="52"/>
                </a:lnTo>
                <a:lnTo>
                  <a:pt x="30" y="50"/>
                </a:lnTo>
                <a:lnTo>
                  <a:pt x="28" y="46"/>
                </a:lnTo>
                <a:lnTo>
                  <a:pt x="18" y="54"/>
                </a:lnTo>
                <a:lnTo>
                  <a:pt x="16" y="56"/>
                </a:lnTo>
                <a:lnTo>
                  <a:pt x="10" y="58"/>
                </a:lnTo>
                <a:lnTo>
                  <a:pt x="4" y="56"/>
                </a:lnTo>
                <a:lnTo>
                  <a:pt x="0" y="52"/>
                </a:lnTo>
                <a:lnTo>
                  <a:pt x="0" y="48"/>
                </a:lnTo>
                <a:lnTo>
                  <a:pt x="0" y="42"/>
                </a:lnTo>
                <a:lnTo>
                  <a:pt x="0" y="38"/>
                </a:lnTo>
                <a:lnTo>
                  <a:pt x="2" y="36"/>
                </a:lnTo>
                <a:lnTo>
                  <a:pt x="6" y="32"/>
                </a:lnTo>
                <a:lnTo>
                  <a:pt x="8" y="32"/>
                </a:lnTo>
                <a:lnTo>
                  <a:pt x="8" y="28"/>
                </a:lnTo>
                <a:lnTo>
                  <a:pt x="6" y="20"/>
                </a:lnTo>
                <a:lnTo>
                  <a:pt x="8" y="16"/>
                </a:lnTo>
                <a:lnTo>
                  <a:pt x="12" y="8"/>
                </a:lnTo>
                <a:lnTo>
                  <a:pt x="18" y="0"/>
                </a:lnTo>
                <a:lnTo>
                  <a:pt x="18" y="4"/>
                </a:lnTo>
                <a:lnTo>
                  <a:pt x="18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5" name="Freeform 225">
            <a:extLst>
              <a:ext uri="{FF2B5EF4-FFF2-40B4-BE49-F238E27FC236}">
                <a16:creationId xmlns:a16="http://schemas.microsoft.com/office/drawing/2014/main" id="{0F21D3E3-9ECF-4F6A-893A-061B5A9916B6}"/>
              </a:ext>
            </a:extLst>
          </p:cNvPr>
          <p:cNvSpPr>
            <a:spLocks/>
          </p:cNvSpPr>
          <p:nvPr/>
        </p:nvSpPr>
        <p:spPr bwMode="auto">
          <a:xfrm>
            <a:off x="8837348" y="3985838"/>
            <a:ext cx="126558" cy="68185"/>
          </a:xfrm>
          <a:custGeom>
            <a:avLst/>
            <a:gdLst/>
            <a:ahLst/>
            <a:cxnLst>
              <a:cxn ang="0">
                <a:pos x="36" y="38"/>
              </a:cxn>
              <a:cxn ang="0">
                <a:pos x="34" y="38"/>
              </a:cxn>
              <a:cxn ang="0">
                <a:pos x="30" y="38"/>
              </a:cxn>
              <a:cxn ang="0">
                <a:pos x="22" y="38"/>
              </a:cxn>
              <a:cxn ang="0">
                <a:pos x="10" y="36"/>
              </a:cxn>
              <a:cxn ang="0">
                <a:pos x="2" y="32"/>
              </a:cxn>
              <a:cxn ang="0">
                <a:pos x="0" y="28"/>
              </a:cxn>
              <a:cxn ang="0">
                <a:pos x="0" y="26"/>
              </a:cxn>
              <a:cxn ang="0">
                <a:pos x="0" y="24"/>
              </a:cxn>
              <a:cxn ang="0">
                <a:pos x="2" y="22"/>
              </a:cxn>
              <a:cxn ang="0">
                <a:pos x="24" y="22"/>
              </a:cxn>
              <a:cxn ang="0">
                <a:pos x="28" y="24"/>
              </a:cxn>
              <a:cxn ang="0">
                <a:pos x="30" y="24"/>
              </a:cxn>
              <a:cxn ang="0">
                <a:pos x="38" y="22"/>
              </a:cxn>
              <a:cxn ang="0">
                <a:pos x="42" y="18"/>
              </a:cxn>
              <a:cxn ang="0">
                <a:pos x="46" y="14"/>
              </a:cxn>
              <a:cxn ang="0">
                <a:pos x="52" y="10"/>
              </a:cxn>
              <a:cxn ang="0">
                <a:pos x="52" y="4"/>
              </a:cxn>
              <a:cxn ang="0">
                <a:pos x="52" y="0"/>
              </a:cxn>
              <a:cxn ang="0">
                <a:pos x="54" y="0"/>
              </a:cxn>
              <a:cxn ang="0">
                <a:pos x="56" y="2"/>
              </a:cxn>
              <a:cxn ang="0">
                <a:pos x="60" y="4"/>
              </a:cxn>
              <a:cxn ang="0">
                <a:pos x="62" y="8"/>
              </a:cxn>
              <a:cxn ang="0">
                <a:pos x="64" y="10"/>
              </a:cxn>
              <a:cxn ang="0">
                <a:pos x="62" y="12"/>
              </a:cxn>
              <a:cxn ang="0">
                <a:pos x="60" y="16"/>
              </a:cxn>
              <a:cxn ang="0">
                <a:pos x="58" y="18"/>
              </a:cxn>
              <a:cxn ang="0">
                <a:pos x="58" y="20"/>
              </a:cxn>
              <a:cxn ang="0">
                <a:pos x="54" y="26"/>
              </a:cxn>
              <a:cxn ang="0">
                <a:pos x="46" y="32"/>
              </a:cxn>
              <a:cxn ang="0">
                <a:pos x="40" y="36"/>
              </a:cxn>
              <a:cxn ang="0">
                <a:pos x="34" y="38"/>
              </a:cxn>
              <a:cxn ang="0">
                <a:pos x="36" y="38"/>
              </a:cxn>
            </a:cxnLst>
            <a:rect l="0" t="0" r="r" b="b"/>
            <a:pathLst>
              <a:path w="64" h="38">
                <a:moveTo>
                  <a:pt x="36" y="38"/>
                </a:moveTo>
                <a:lnTo>
                  <a:pt x="34" y="38"/>
                </a:lnTo>
                <a:lnTo>
                  <a:pt x="30" y="38"/>
                </a:lnTo>
                <a:lnTo>
                  <a:pt x="22" y="38"/>
                </a:lnTo>
                <a:lnTo>
                  <a:pt x="10" y="36"/>
                </a:lnTo>
                <a:lnTo>
                  <a:pt x="2" y="32"/>
                </a:lnTo>
                <a:lnTo>
                  <a:pt x="0" y="28"/>
                </a:lnTo>
                <a:lnTo>
                  <a:pt x="0" y="26"/>
                </a:lnTo>
                <a:lnTo>
                  <a:pt x="0" y="24"/>
                </a:lnTo>
                <a:lnTo>
                  <a:pt x="2" y="22"/>
                </a:lnTo>
                <a:lnTo>
                  <a:pt x="24" y="22"/>
                </a:lnTo>
                <a:lnTo>
                  <a:pt x="28" y="24"/>
                </a:lnTo>
                <a:lnTo>
                  <a:pt x="30" y="24"/>
                </a:lnTo>
                <a:lnTo>
                  <a:pt x="38" y="22"/>
                </a:lnTo>
                <a:lnTo>
                  <a:pt x="42" y="18"/>
                </a:lnTo>
                <a:lnTo>
                  <a:pt x="46" y="14"/>
                </a:lnTo>
                <a:lnTo>
                  <a:pt x="52" y="10"/>
                </a:lnTo>
                <a:lnTo>
                  <a:pt x="52" y="4"/>
                </a:lnTo>
                <a:lnTo>
                  <a:pt x="52" y="0"/>
                </a:lnTo>
                <a:lnTo>
                  <a:pt x="54" y="0"/>
                </a:lnTo>
                <a:lnTo>
                  <a:pt x="56" y="2"/>
                </a:lnTo>
                <a:lnTo>
                  <a:pt x="60" y="4"/>
                </a:lnTo>
                <a:lnTo>
                  <a:pt x="62" y="8"/>
                </a:lnTo>
                <a:lnTo>
                  <a:pt x="64" y="10"/>
                </a:lnTo>
                <a:lnTo>
                  <a:pt x="62" y="12"/>
                </a:lnTo>
                <a:lnTo>
                  <a:pt x="60" y="16"/>
                </a:lnTo>
                <a:lnTo>
                  <a:pt x="58" y="18"/>
                </a:lnTo>
                <a:lnTo>
                  <a:pt x="58" y="20"/>
                </a:lnTo>
                <a:lnTo>
                  <a:pt x="54" y="26"/>
                </a:lnTo>
                <a:lnTo>
                  <a:pt x="46" y="32"/>
                </a:lnTo>
                <a:lnTo>
                  <a:pt x="40" y="36"/>
                </a:lnTo>
                <a:lnTo>
                  <a:pt x="34" y="38"/>
                </a:lnTo>
                <a:lnTo>
                  <a:pt x="36" y="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6" name="Freeform 226">
            <a:extLst>
              <a:ext uri="{FF2B5EF4-FFF2-40B4-BE49-F238E27FC236}">
                <a16:creationId xmlns:a16="http://schemas.microsoft.com/office/drawing/2014/main" id="{3CAFA951-D121-42C4-8A94-CB2E12CDCD6B}"/>
              </a:ext>
            </a:extLst>
          </p:cNvPr>
          <p:cNvSpPr>
            <a:spLocks/>
          </p:cNvSpPr>
          <p:nvPr/>
        </p:nvSpPr>
        <p:spPr bwMode="auto">
          <a:xfrm>
            <a:off x="8382421" y="4024801"/>
            <a:ext cx="23943" cy="29222"/>
          </a:xfrm>
          <a:custGeom>
            <a:avLst/>
            <a:gdLst/>
            <a:ahLst/>
            <a:cxnLst>
              <a:cxn ang="0">
                <a:pos x="12" y="10"/>
              </a:cxn>
              <a:cxn ang="0">
                <a:pos x="12" y="14"/>
              </a:cxn>
              <a:cxn ang="0">
                <a:pos x="12" y="16"/>
              </a:cxn>
              <a:cxn ang="0">
                <a:pos x="6" y="16"/>
              </a:cxn>
              <a:cxn ang="0">
                <a:pos x="2" y="14"/>
              </a:cxn>
              <a:cxn ang="0">
                <a:pos x="0" y="10"/>
              </a:cxn>
              <a:cxn ang="0">
                <a:pos x="2" y="4"/>
              </a:cxn>
              <a:cxn ang="0">
                <a:pos x="8" y="0"/>
              </a:cxn>
              <a:cxn ang="0">
                <a:pos x="10" y="6"/>
              </a:cxn>
              <a:cxn ang="0">
                <a:pos x="10" y="8"/>
              </a:cxn>
              <a:cxn ang="0">
                <a:pos x="12" y="10"/>
              </a:cxn>
            </a:cxnLst>
            <a:rect l="0" t="0" r="r" b="b"/>
            <a:pathLst>
              <a:path w="12" h="16">
                <a:moveTo>
                  <a:pt x="12" y="10"/>
                </a:moveTo>
                <a:lnTo>
                  <a:pt x="12" y="14"/>
                </a:lnTo>
                <a:lnTo>
                  <a:pt x="12" y="16"/>
                </a:lnTo>
                <a:lnTo>
                  <a:pt x="6" y="16"/>
                </a:lnTo>
                <a:lnTo>
                  <a:pt x="2" y="14"/>
                </a:lnTo>
                <a:lnTo>
                  <a:pt x="0" y="10"/>
                </a:lnTo>
                <a:lnTo>
                  <a:pt x="2" y="4"/>
                </a:lnTo>
                <a:lnTo>
                  <a:pt x="8" y="0"/>
                </a:lnTo>
                <a:lnTo>
                  <a:pt x="10" y="6"/>
                </a:lnTo>
                <a:lnTo>
                  <a:pt x="10" y="8"/>
                </a:lnTo>
                <a:lnTo>
                  <a:pt x="12" y="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7" name="Freeform 227">
            <a:extLst>
              <a:ext uri="{FF2B5EF4-FFF2-40B4-BE49-F238E27FC236}">
                <a16:creationId xmlns:a16="http://schemas.microsoft.com/office/drawing/2014/main" id="{648DD69D-E608-4D7C-A338-6771AE0F30C1}"/>
              </a:ext>
            </a:extLst>
          </p:cNvPr>
          <p:cNvSpPr>
            <a:spLocks/>
          </p:cNvSpPr>
          <p:nvPr/>
        </p:nvSpPr>
        <p:spPr bwMode="auto">
          <a:xfrm>
            <a:off x="8279807" y="4078376"/>
            <a:ext cx="23943" cy="35716"/>
          </a:xfrm>
          <a:custGeom>
            <a:avLst/>
            <a:gdLst/>
            <a:ahLst/>
            <a:cxnLst>
              <a:cxn ang="0">
                <a:pos x="6" y="2"/>
              </a:cxn>
              <a:cxn ang="0">
                <a:pos x="8" y="2"/>
              </a:cxn>
              <a:cxn ang="0">
                <a:pos x="8" y="0"/>
              </a:cxn>
              <a:cxn ang="0">
                <a:pos x="10" y="2"/>
              </a:cxn>
              <a:cxn ang="0">
                <a:pos x="12" y="4"/>
              </a:cxn>
              <a:cxn ang="0">
                <a:pos x="10" y="6"/>
              </a:cxn>
              <a:cxn ang="0">
                <a:pos x="8" y="12"/>
              </a:cxn>
              <a:cxn ang="0">
                <a:pos x="0" y="20"/>
              </a:cxn>
              <a:cxn ang="0">
                <a:pos x="0" y="10"/>
              </a:cxn>
              <a:cxn ang="0">
                <a:pos x="2" y="6"/>
              </a:cxn>
              <a:cxn ang="0">
                <a:pos x="4" y="4"/>
              </a:cxn>
              <a:cxn ang="0">
                <a:pos x="6" y="2"/>
              </a:cxn>
            </a:cxnLst>
            <a:rect l="0" t="0" r="r" b="b"/>
            <a:pathLst>
              <a:path w="12" h="20">
                <a:moveTo>
                  <a:pt x="6" y="2"/>
                </a:moveTo>
                <a:lnTo>
                  <a:pt x="8" y="2"/>
                </a:lnTo>
                <a:lnTo>
                  <a:pt x="8" y="0"/>
                </a:lnTo>
                <a:lnTo>
                  <a:pt x="10" y="2"/>
                </a:lnTo>
                <a:lnTo>
                  <a:pt x="12" y="4"/>
                </a:lnTo>
                <a:lnTo>
                  <a:pt x="10" y="6"/>
                </a:lnTo>
                <a:lnTo>
                  <a:pt x="8" y="12"/>
                </a:lnTo>
                <a:lnTo>
                  <a:pt x="0" y="20"/>
                </a:lnTo>
                <a:lnTo>
                  <a:pt x="0" y="10"/>
                </a:lnTo>
                <a:lnTo>
                  <a:pt x="2" y="6"/>
                </a:lnTo>
                <a:lnTo>
                  <a:pt x="4" y="4"/>
                </a:lnTo>
                <a:lnTo>
                  <a:pt x="6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8" name="Freeform 228">
            <a:extLst>
              <a:ext uri="{FF2B5EF4-FFF2-40B4-BE49-F238E27FC236}">
                <a16:creationId xmlns:a16="http://schemas.microsoft.com/office/drawing/2014/main" id="{C7249FCD-B531-459E-A1F3-3619EA10AB24}"/>
              </a:ext>
            </a:extLst>
          </p:cNvPr>
          <p:cNvSpPr>
            <a:spLocks/>
          </p:cNvSpPr>
          <p:nvPr/>
        </p:nvSpPr>
        <p:spPr bwMode="auto">
          <a:xfrm>
            <a:off x="8189162" y="3935511"/>
            <a:ext cx="99194" cy="40586"/>
          </a:xfrm>
          <a:custGeom>
            <a:avLst/>
            <a:gdLst/>
            <a:ahLst/>
            <a:cxnLst>
              <a:cxn ang="0">
                <a:pos x="42" y="22"/>
              </a:cxn>
              <a:cxn ang="0">
                <a:pos x="40" y="20"/>
              </a:cxn>
              <a:cxn ang="0">
                <a:pos x="38" y="16"/>
              </a:cxn>
              <a:cxn ang="0">
                <a:pos x="34" y="14"/>
              </a:cxn>
              <a:cxn ang="0">
                <a:pos x="30" y="14"/>
              </a:cxn>
              <a:cxn ang="0">
                <a:pos x="24" y="12"/>
              </a:cxn>
              <a:cxn ang="0">
                <a:pos x="16" y="12"/>
              </a:cxn>
              <a:cxn ang="0">
                <a:pos x="10" y="12"/>
              </a:cxn>
              <a:cxn ang="0">
                <a:pos x="2" y="12"/>
              </a:cxn>
              <a:cxn ang="0">
                <a:pos x="0" y="10"/>
              </a:cxn>
              <a:cxn ang="0">
                <a:pos x="8" y="4"/>
              </a:cxn>
              <a:cxn ang="0">
                <a:pos x="14" y="4"/>
              </a:cxn>
              <a:cxn ang="0">
                <a:pos x="18" y="2"/>
              </a:cxn>
              <a:cxn ang="0">
                <a:pos x="24" y="2"/>
              </a:cxn>
              <a:cxn ang="0">
                <a:pos x="28" y="0"/>
              </a:cxn>
              <a:cxn ang="0">
                <a:pos x="28" y="2"/>
              </a:cxn>
              <a:cxn ang="0">
                <a:pos x="30" y="2"/>
              </a:cxn>
              <a:cxn ang="0">
                <a:pos x="34" y="0"/>
              </a:cxn>
              <a:cxn ang="0">
                <a:pos x="38" y="2"/>
              </a:cxn>
              <a:cxn ang="0">
                <a:pos x="44" y="6"/>
              </a:cxn>
              <a:cxn ang="0">
                <a:pos x="48" y="10"/>
              </a:cxn>
              <a:cxn ang="0">
                <a:pos x="50" y="16"/>
              </a:cxn>
              <a:cxn ang="0">
                <a:pos x="48" y="18"/>
              </a:cxn>
              <a:cxn ang="0">
                <a:pos x="46" y="20"/>
              </a:cxn>
              <a:cxn ang="0">
                <a:pos x="42" y="22"/>
              </a:cxn>
            </a:cxnLst>
            <a:rect l="0" t="0" r="r" b="b"/>
            <a:pathLst>
              <a:path w="50" h="22">
                <a:moveTo>
                  <a:pt x="42" y="22"/>
                </a:moveTo>
                <a:lnTo>
                  <a:pt x="40" y="20"/>
                </a:lnTo>
                <a:lnTo>
                  <a:pt x="38" y="16"/>
                </a:lnTo>
                <a:lnTo>
                  <a:pt x="34" y="14"/>
                </a:lnTo>
                <a:lnTo>
                  <a:pt x="30" y="14"/>
                </a:lnTo>
                <a:lnTo>
                  <a:pt x="24" y="12"/>
                </a:lnTo>
                <a:lnTo>
                  <a:pt x="16" y="12"/>
                </a:lnTo>
                <a:lnTo>
                  <a:pt x="10" y="12"/>
                </a:lnTo>
                <a:lnTo>
                  <a:pt x="2" y="12"/>
                </a:lnTo>
                <a:lnTo>
                  <a:pt x="0" y="10"/>
                </a:lnTo>
                <a:lnTo>
                  <a:pt x="8" y="4"/>
                </a:lnTo>
                <a:lnTo>
                  <a:pt x="14" y="4"/>
                </a:lnTo>
                <a:lnTo>
                  <a:pt x="18" y="2"/>
                </a:lnTo>
                <a:lnTo>
                  <a:pt x="24" y="2"/>
                </a:lnTo>
                <a:lnTo>
                  <a:pt x="28" y="0"/>
                </a:lnTo>
                <a:lnTo>
                  <a:pt x="28" y="2"/>
                </a:lnTo>
                <a:lnTo>
                  <a:pt x="30" y="2"/>
                </a:lnTo>
                <a:lnTo>
                  <a:pt x="34" y="0"/>
                </a:lnTo>
                <a:lnTo>
                  <a:pt x="38" y="2"/>
                </a:lnTo>
                <a:lnTo>
                  <a:pt x="44" y="6"/>
                </a:lnTo>
                <a:lnTo>
                  <a:pt x="48" y="10"/>
                </a:lnTo>
                <a:lnTo>
                  <a:pt x="50" y="16"/>
                </a:lnTo>
                <a:lnTo>
                  <a:pt x="48" y="18"/>
                </a:lnTo>
                <a:lnTo>
                  <a:pt x="46" y="20"/>
                </a:lnTo>
                <a:lnTo>
                  <a:pt x="42" y="2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9" name="Freeform 229">
            <a:extLst>
              <a:ext uri="{FF2B5EF4-FFF2-40B4-BE49-F238E27FC236}">
                <a16:creationId xmlns:a16="http://schemas.microsoft.com/office/drawing/2014/main" id="{C9DB3DD7-F93B-4942-9E01-95C8F91C04CB}"/>
              </a:ext>
            </a:extLst>
          </p:cNvPr>
          <p:cNvSpPr>
            <a:spLocks/>
          </p:cNvSpPr>
          <p:nvPr/>
        </p:nvSpPr>
        <p:spPr bwMode="auto">
          <a:xfrm>
            <a:off x="8185742" y="3782909"/>
            <a:ext cx="39336" cy="74679"/>
          </a:xfrm>
          <a:custGeom>
            <a:avLst/>
            <a:gdLst/>
            <a:ahLst/>
            <a:cxnLst>
              <a:cxn ang="0">
                <a:pos x="2" y="22"/>
              </a:cxn>
              <a:cxn ang="0">
                <a:pos x="2" y="18"/>
              </a:cxn>
              <a:cxn ang="0">
                <a:pos x="2" y="14"/>
              </a:cxn>
              <a:cxn ang="0">
                <a:pos x="0" y="10"/>
              </a:cxn>
              <a:cxn ang="0">
                <a:pos x="2" y="4"/>
              </a:cxn>
              <a:cxn ang="0">
                <a:pos x="0" y="0"/>
              </a:cxn>
              <a:cxn ang="0">
                <a:pos x="4" y="0"/>
              </a:cxn>
              <a:cxn ang="0">
                <a:pos x="6" y="8"/>
              </a:cxn>
              <a:cxn ang="0">
                <a:pos x="4" y="16"/>
              </a:cxn>
              <a:cxn ang="0">
                <a:pos x="8" y="16"/>
              </a:cxn>
              <a:cxn ang="0">
                <a:pos x="8" y="8"/>
              </a:cxn>
              <a:cxn ang="0">
                <a:pos x="16" y="8"/>
              </a:cxn>
              <a:cxn ang="0">
                <a:pos x="16" y="12"/>
              </a:cxn>
              <a:cxn ang="0">
                <a:pos x="16" y="14"/>
              </a:cxn>
              <a:cxn ang="0">
                <a:pos x="14" y="16"/>
              </a:cxn>
              <a:cxn ang="0">
                <a:pos x="12" y="18"/>
              </a:cxn>
              <a:cxn ang="0">
                <a:pos x="12" y="22"/>
              </a:cxn>
              <a:cxn ang="0">
                <a:pos x="20" y="32"/>
              </a:cxn>
              <a:cxn ang="0">
                <a:pos x="16" y="32"/>
              </a:cxn>
              <a:cxn ang="0">
                <a:pos x="14" y="30"/>
              </a:cxn>
              <a:cxn ang="0">
                <a:pos x="12" y="28"/>
              </a:cxn>
              <a:cxn ang="0">
                <a:pos x="8" y="28"/>
              </a:cxn>
              <a:cxn ang="0">
                <a:pos x="6" y="28"/>
              </a:cxn>
              <a:cxn ang="0">
                <a:pos x="4" y="30"/>
              </a:cxn>
              <a:cxn ang="0">
                <a:pos x="4" y="34"/>
              </a:cxn>
              <a:cxn ang="0">
                <a:pos x="4" y="38"/>
              </a:cxn>
              <a:cxn ang="0">
                <a:pos x="6" y="42"/>
              </a:cxn>
              <a:cxn ang="0">
                <a:pos x="2" y="40"/>
              </a:cxn>
              <a:cxn ang="0">
                <a:pos x="2" y="34"/>
              </a:cxn>
              <a:cxn ang="0">
                <a:pos x="2" y="22"/>
              </a:cxn>
            </a:cxnLst>
            <a:rect l="0" t="0" r="r" b="b"/>
            <a:pathLst>
              <a:path w="20" h="42">
                <a:moveTo>
                  <a:pt x="2" y="22"/>
                </a:moveTo>
                <a:lnTo>
                  <a:pt x="2" y="18"/>
                </a:lnTo>
                <a:lnTo>
                  <a:pt x="2" y="14"/>
                </a:lnTo>
                <a:lnTo>
                  <a:pt x="0" y="10"/>
                </a:lnTo>
                <a:lnTo>
                  <a:pt x="2" y="4"/>
                </a:lnTo>
                <a:lnTo>
                  <a:pt x="0" y="0"/>
                </a:lnTo>
                <a:lnTo>
                  <a:pt x="4" y="0"/>
                </a:lnTo>
                <a:lnTo>
                  <a:pt x="6" y="8"/>
                </a:lnTo>
                <a:lnTo>
                  <a:pt x="4" y="16"/>
                </a:lnTo>
                <a:lnTo>
                  <a:pt x="8" y="16"/>
                </a:lnTo>
                <a:lnTo>
                  <a:pt x="8" y="8"/>
                </a:lnTo>
                <a:lnTo>
                  <a:pt x="16" y="8"/>
                </a:lnTo>
                <a:lnTo>
                  <a:pt x="16" y="12"/>
                </a:lnTo>
                <a:lnTo>
                  <a:pt x="16" y="14"/>
                </a:lnTo>
                <a:lnTo>
                  <a:pt x="14" y="16"/>
                </a:lnTo>
                <a:lnTo>
                  <a:pt x="12" y="18"/>
                </a:lnTo>
                <a:lnTo>
                  <a:pt x="12" y="22"/>
                </a:lnTo>
                <a:lnTo>
                  <a:pt x="20" y="32"/>
                </a:lnTo>
                <a:lnTo>
                  <a:pt x="16" y="32"/>
                </a:lnTo>
                <a:lnTo>
                  <a:pt x="14" y="30"/>
                </a:lnTo>
                <a:lnTo>
                  <a:pt x="12" y="28"/>
                </a:lnTo>
                <a:lnTo>
                  <a:pt x="8" y="28"/>
                </a:lnTo>
                <a:lnTo>
                  <a:pt x="6" y="28"/>
                </a:lnTo>
                <a:lnTo>
                  <a:pt x="4" y="30"/>
                </a:lnTo>
                <a:lnTo>
                  <a:pt x="4" y="34"/>
                </a:lnTo>
                <a:lnTo>
                  <a:pt x="4" y="38"/>
                </a:lnTo>
                <a:lnTo>
                  <a:pt x="6" y="42"/>
                </a:lnTo>
                <a:lnTo>
                  <a:pt x="2" y="40"/>
                </a:lnTo>
                <a:lnTo>
                  <a:pt x="2" y="34"/>
                </a:lnTo>
                <a:lnTo>
                  <a:pt x="2" y="2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0" name="Freeform 230">
            <a:extLst>
              <a:ext uri="{FF2B5EF4-FFF2-40B4-BE49-F238E27FC236}">
                <a16:creationId xmlns:a16="http://schemas.microsoft.com/office/drawing/2014/main" id="{3E2BD8F4-9339-421A-A4E6-43D51DD6E06E}"/>
              </a:ext>
            </a:extLst>
          </p:cNvPr>
          <p:cNvSpPr>
            <a:spLocks/>
          </p:cNvSpPr>
          <p:nvPr/>
        </p:nvSpPr>
        <p:spPr bwMode="auto">
          <a:xfrm>
            <a:off x="8134434" y="3946875"/>
            <a:ext cx="35915" cy="29222"/>
          </a:xfrm>
          <a:custGeom>
            <a:avLst/>
            <a:gdLst/>
            <a:ahLst/>
            <a:cxnLst>
              <a:cxn ang="0">
                <a:pos x="16" y="4"/>
              </a:cxn>
              <a:cxn ang="0">
                <a:pos x="18" y="6"/>
              </a:cxn>
              <a:cxn ang="0">
                <a:pos x="18" y="10"/>
              </a:cxn>
              <a:cxn ang="0">
                <a:pos x="18" y="12"/>
              </a:cxn>
              <a:cxn ang="0">
                <a:pos x="16" y="14"/>
              </a:cxn>
              <a:cxn ang="0">
                <a:pos x="10" y="16"/>
              </a:cxn>
              <a:cxn ang="0">
                <a:pos x="2" y="12"/>
              </a:cxn>
              <a:cxn ang="0">
                <a:pos x="0" y="8"/>
              </a:cxn>
              <a:cxn ang="0">
                <a:pos x="0" y="4"/>
              </a:cxn>
              <a:cxn ang="0">
                <a:pos x="10" y="0"/>
              </a:cxn>
              <a:cxn ang="0">
                <a:pos x="18" y="4"/>
              </a:cxn>
              <a:cxn ang="0">
                <a:pos x="16" y="4"/>
              </a:cxn>
            </a:cxnLst>
            <a:rect l="0" t="0" r="r" b="b"/>
            <a:pathLst>
              <a:path w="18" h="16">
                <a:moveTo>
                  <a:pt x="16" y="4"/>
                </a:moveTo>
                <a:lnTo>
                  <a:pt x="18" y="6"/>
                </a:lnTo>
                <a:lnTo>
                  <a:pt x="18" y="10"/>
                </a:lnTo>
                <a:lnTo>
                  <a:pt x="18" y="12"/>
                </a:lnTo>
                <a:lnTo>
                  <a:pt x="16" y="14"/>
                </a:lnTo>
                <a:lnTo>
                  <a:pt x="10" y="16"/>
                </a:lnTo>
                <a:lnTo>
                  <a:pt x="2" y="12"/>
                </a:lnTo>
                <a:lnTo>
                  <a:pt x="0" y="8"/>
                </a:lnTo>
                <a:lnTo>
                  <a:pt x="0" y="4"/>
                </a:lnTo>
                <a:lnTo>
                  <a:pt x="10" y="0"/>
                </a:lnTo>
                <a:lnTo>
                  <a:pt x="18" y="4"/>
                </a:lnTo>
                <a:lnTo>
                  <a:pt x="16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1" name="Freeform 231">
            <a:extLst>
              <a:ext uri="{FF2B5EF4-FFF2-40B4-BE49-F238E27FC236}">
                <a16:creationId xmlns:a16="http://schemas.microsoft.com/office/drawing/2014/main" id="{E8AB8E03-D830-4996-8F3C-D9A17B43D1EE}"/>
              </a:ext>
            </a:extLst>
          </p:cNvPr>
          <p:cNvSpPr>
            <a:spLocks/>
          </p:cNvSpPr>
          <p:nvPr/>
        </p:nvSpPr>
        <p:spPr bwMode="auto">
          <a:xfrm>
            <a:off x="7800935" y="4107598"/>
            <a:ext cx="99194" cy="29222"/>
          </a:xfrm>
          <a:custGeom>
            <a:avLst/>
            <a:gdLst/>
            <a:ahLst/>
            <a:cxnLst>
              <a:cxn ang="0">
                <a:pos x="50" y="12"/>
              </a:cxn>
              <a:cxn ang="0">
                <a:pos x="48" y="12"/>
              </a:cxn>
              <a:cxn ang="0">
                <a:pos x="42" y="12"/>
              </a:cxn>
              <a:cxn ang="0">
                <a:pos x="38" y="10"/>
              </a:cxn>
              <a:cxn ang="0">
                <a:pos x="34" y="14"/>
              </a:cxn>
              <a:cxn ang="0">
                <a:pos x="30" y="16"/>
              </a:cxn>
              <a:cxn ang="0">
                <a:pos x="20" y="16"/>
              </a:cxn>
              <a:cxn ang="0">
                <a:pos x="16" y="16"/>
              </a:cxn>
              <a:cxn ang="0">
                <a:pos x="14" y="14"/>
              </a:cxn>
              <a:cxn ang="0">
                <a:pos x="12" y="10"/>
              </a:cxn>
              <a:cxn ang="0">
                <a:pos x="8" y="12"/>
              </a:cxn>
              <a:cxn ang="0">
                <a:pos x="6" y="14"/>
              </a:cxn>
              <a:cxn ang="0">
                <a:pos x="2" y="12"/>
              </a:cxn>
              <a:cxn ang="0">
                <a:pos x="0" y="10"/>
              </a:cxn>
              <a:cxn ang="0">
                <a:pos x="2" y="6"/>
              </a:cxn>
              <a:cxn ang="0">
                <a:pos x="6" y="4"/>
              </a:cxn>
              <a:cxn ang="0">
                <a:pos x="10" y="2"/>
              </a:cxn>
              <a:cxn ang="0">
                <a:pos x="14" y="2"/>
              </a:cxn>
              <a:cxn ang="0">
                <a:pos x="14" y="6"/>
              </a:cxn>
              <a:cxn ang="0">
                <a:pos x="32" y="10"/>
              </a:cxn>
              <a:cxn ang="0">
                <a:pos x="38" y="10"/>
              </a:cxn>
              <a:cxn ang="0">
                <a:pos x="34" y="6"/>
              </a:cxn>
              <a:cxn ang="0">
                <a:pos x="32" y="4"/>
              </a:cxn>
              <a:cxn ang="0">
                <a:pos x="34" y="2"/>
              </a:cxn>
              <a:cxn ang="0">
                <a:pos x="38" y="0"/>
              </a:cxn>
              <a:cxn ang="0">
                <a:pos x="42" y="4"/>
              </a:cxn>
              <a:cxn ang="0">
                <a:pos x="50" y="8"/>
              </a:cxn>
              <a:cxn ang="0">
                <a:pos x="50" y="12"/>
              </a:cxn>
            </a:cxnLst>
            <a:rect l="0" t="0" r="r" b="b"/>
            <a:pathLst>
              <a:path w="50" h="16">
                <a:moveTo>
                  <a:pt x="50" y="12"/>
                </a:moveTo>
                <a:lnTo>
                  <a:pt x="48" y="12"/>
                </a:lnTo>
                <a:lnTo>
                  <a:pt x="42" y="12"/>
                </a:lnTo>
                <a:lnTo>
                  <a:pt x="38" y="10"/>
                </a:lnTo>
                <a:lnTo>
                  <a:pt x="34" y="14"/>
                </a:lnTo>
                <a:lnTo>
                  <a:pt x="30" y="16"/>
                </a:lnTo>
                <a:lnTo>
                  <a:pt x="20" y="16"/>
                </a:lnTo>
                <a:lnTo>
                  <a:pt x="16" y="16"/>
                </a:lnTo>
                <a:lnTo>
                  <a:pt x="14" y="14"/>
                </a:lnTo>
                <a:lnTo>
                  <a:pt x="12" y="10"/>
                </a:lnTo>
                <a:lnTo>
                  <a:pt x="8" y="12"/>
                </a:lnTo>
                <a:lnTo>
                  <a:pt x="6" y="14"/>
                </a:lnTo>
                <a:lnTo>
                  <a:pt x="2" y="12"/>
                </a:lnTo>
                <a:lnTo>
                  <a:pt x="0" y="10"/>
                </a:lnTo>
                <a:lnTo>
                  <a:pt x="2" y="6"/>
                </a:lnTo>
                <a:lnTo>
                  <a:pt x="6" y="4"/>
                </a:lnTo>
                <a:lnTo>
                  <a:pt x="10" y="2"/>
                </a:lnTo>
                <a:lnTo>
                  <a:pt x="14" y="2"/>
                </a:lnTo>
                <a:lnTo>
                  <a:pt x="14" y="6"/>
                </a:lnTo>
                <a:lnTo>
                  <a:pt x="32" y="10"/>
                </a:lnTo>
                <a:lnTo>
                  <a:pt x="38" y="10"/>
                </a:lnTo>
                <a:lnTo>
                  <a:pt x="34" y="6"/>
                </a:lnTo>
                <a:lnTo>
                  <a:pt x="32" y="4"/>
                </a:lnTo>
                <a:lnTo>
                  <a:pt x="34" y="2"/>
                </a:lnTo>
                <a:lnTo>
                  <a:pt x="38" y="0"/>
                </a:lnTo>
                <a:lnTo>
                  <a:pt x="42" y="4"/>
                </a:lnTo>
                <a:lnTo>
                  <a:pt x="50" y="8"/>
                </a:lnTo>
                <a:lnTo>
                  <a:pt x="50" y="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2" name="Freeform 232">
            <a:extLst>
              <a:ext uri="{FF2B5EF4-FFF2-40B4-BE49-F238E27FC236}">
                <a16:creationId xmlns:a16="http://schemas.microsoft.com/office/drawing/2014/main" id="{F010C72D-DB74-4E4F-ACBC-1545DA9936D3}"/>
              </a:ext>
            </a:extLst>
          </p:cNvPr>
          <p:cNvSpPr>
            <a:spLocks/>
          </p:cNvSpPr>
          <p:nvPr/>
        </p:nvSpPr>
        <p:spPr bwMode="auto">
          <a:xfrm>
            <a:off x="7994194" y="3521532"/>
            <a:ext cx="150502" cy="139617"/>
          </a:xfrm>
          <a:custGeom>
            <a:avLst/>
            <a:gdLst/>
            <a:ahLst/>
            <a:cxnLst>
              <a:cxn ang="0">
                <a:pos x="60" y="52"/>
              </a:cxn>
              <a:cxn ang="0">
                <a:pos x="54" y="58"/>
              </a:cxn>
              <a:cxn ang="0">
                <a:pos x="58" y="64"/>
              </a:cxn>
              <a:cxn ang="0">
                <a:pos x="62" y="72"/>
              </a:cxn>
              <a:cxn ang="0">
                <a:pos x="58" y="78"/>
              </a:cxn>
              <a:cxn ang="0">
                <a:pos x="52" y="78"/>
              </a:cxn>
              <a:cxn ang="0">
                <a:pos x="48" y="76"/>
              </a:cxn>
              <a:cxn ang="0">
                <a:pos x="42" y="74"/>
              </a:cxn>
              <a:cxn ang="0">
                <a:pos x="34" y="62"/>
              </a:cxn>
              <a:cxn ang="0">
                <a:pos x="34" y="52"/>
              </a:cxn>
              <a:cxn ang="0">
                <a:pos x="32" y="44"/>
              </a:cxn>
              <a:cxn ang="0">
                <a:pos x="24" y="48"/>
              </a:cxn>
              <a:cxn ang="0">
                <a:pos x="18" y="46"/>
              </a:cxn>
              <a:cxn ang="0">
                <a:pos x="12" y="44"/>
              </a:cxn>
              <a:cxn ang="0">
                <a:pos x="8" y="56"/>
              </a:cxn>
              <a:cxn ang="0">
                <a:pos x="4" y="66"/>
              </a:cxn>
              <a:cxn ang="0">
                <a:pos x="0" y="66"/>
              </a:cxn>
              <a:cxn ang="0">
                <a:pos x="2" y="54"/>
              </a:cxn>
              <a:cxn ang="0">
                <a:pos x="0" y="42"/>
              </a:cxn>
              <a:cxn ang="0">
                <a:pos x="6" y="34"/>
              </a:cxn>
              <a:cxn ang="0">
                <a:pos x="14" y="28"/>
              </a:cxn>
              <a:cxn ang="0">
                <a:pos x="18" y="24"/>
              </a:cxn>
              <a:cxn ang="0">
                <a:pos x="26" y="24"/>
              </a:cxn>
              <a:cxn ang="0">
                <a:pos x="30" y="28"/>
              </a:cxn>
              <a:cxn ang="0">
                <a:pos x="36" y="30"/>
              </a:cxn>
              <a:cxn ang="0">
                <a:pos x="40" y="24"/>
              </a:cxn>
              <a:cxn ang="0">
                <a:pos x="44" y="18"/>
              </a:cxn>
              <a:cxn ang="0">
                <a:pos x="52" y="14"/>
              </a:cxn>
              <a:cxn ang="0">
                <a:pos x="54" y="0"/>
              </a:cxn>
              <a:cxn ang="0">
                <a:pos x="62" y="6"/>
              </a:cxn>
              <a:cxn ang="0">
                <a:pos x="70" y="26"/>
              </a:cxn>
              <a:cxn ang="0">
                <a:pos x="74" y="52"/>
              </a:cxn>
              <a:cxn ang="0">
                <a:pos x="70" y="62"/>
              </a:cxn>
              <a:cxn ang="0">
                <a:pos x="68" y="66"/>
              </a:cxn>
              <a:cxn ang="0">
                <a:pos x="62" y="52"/>
              </a:cxn>
            </a:cxnLst>
            <a:rect l="0" t="0" r="r" b="b"/>
            <a:pathLst>
              <a:path w="76" h="78">
                <a:moveTo>
                  <a:pt x="64" y="56"/>
                </a:moveTo>
                <a:lnTo>
                  <a:pt x="60" y="52"/>
                </a:lnTo>
                <a:lnTo>
                  <a:pt x="56" y="54"/>
                </a:lnTo>
                <a:lnTo>
                  <a:pt x="54" y="58"/>
                </a:lnTo>
                <a:lnTo>
                  <a:pt x="56" y="62"/>
                </a:lnTo>
                <a:lnTo>
                  <a:pt x="58" y="64"/>
                </a:lnTo>
                <a:lnTo>
                  <a:pt x="60" y="68"/>
                </a:lnTo>
                <a:lnTo>
                  <a:pt x="62" y="72"/>
                </a:lnTo>
                <a:lnTo>
                  <a:pt x="60" y="78"/>
                </a:lnTo>
                <a:lnTo>
                  <a:pt x="58" y="78"/>
                </a:lnTo>
                <a:lnTo>
                  <a:pt x="54" y="78"/>
                </a:lnTo>
                <a:lnTo>
                  <a:pt x="52" y="78"/>
                </a:lnTo>
                <a:lnTo>
                  <a:pt x="52" y="74"/>
                </a:lnTo>
                <a:lnTo>
                  <a:pt x="48" y="76"/>
                </a:lnTo>
                <a:lnTo>
                  <a:pt x="46" y="76"/>
                </a:lnTo>
                <a:lnTo>
                  <a:pt x="42" y="74"/>
                </a:lnTo>
                <a:lnTo>
                  <a:pt x="36" y="70"/>
                </a:lnTo>
                <a:lnTo>
                  <a:pt x="34" y="62"/>
                </a:lnTo>
                <a:lnTo>
                  <a:pt x="32" y="54"/>
                </a:lnTo>
                <a:lnTo>
                  <a:pt x="34" y="52"/>
                </a:lnTo>
                <a:lnTo>
                  <a:pt x="36" y="50"/>
                </a:lnTo>
                <a:lnTo>
                  <a:pt x="32" y="44"/>
                </a:lnTo>
                <a:lnTo>
                  <a:pt x="24" y="44"/>
                </a:lnTo>
                <a:lnTo>
                  <a:pt x="24" y="48"/>
                </a:lnTo>
                <a:lnTo>
                  <a:pt x="20" y="48"/>
                </a:lnTo>
                <a:lnTo>
                  <a:pt x="18" y="46"/>
                </a:lnTo>
                <a:lnTo>
                  <a:pt x="16" y="48"/>
                </a:lnTo>
                <a:lnTo>
                  <a:pt x="12" y="44"/>
                </a:lnTo>
                <a:lnTo>
                  <a:pt x="10" y="50"/>
                </a:lnTo>
                <a:lnTo>
                  <a:pt x="8" y="56"/>
                </a:lnTo>
                <a:lnTo>
                  <a:pt x="6" y="64"/>
                </a:lnTo>
                <a:lnTo>
                  <a:pt x="4" y="66"/>
                </a:lnTo>
                <a:lnTo>
                  <a:pt x="2" y="68"/>
                </a:lnTo>
                <a:lnTo>
                  <a:pt x="0" y="66"/>
                </a:lnTo>
                <a:lnTo>
                  <a:pt x="0" y="62"/>
                </a:lnTo>
                <a:lnTo>
                  <a:pt x="2" y="54"/>
                </a:lnTo>
                <a:lnTo>
                  <a:pt x="0" y="50"/>
                </a:lnTo>
                <a:lnTo>
                  <a:pt x="0" y="42"/>
                </a:lnTo>
                <a:lnTo>
                  <a:pt x="2" y="34"/>
                </a:lnTo>
                <a:lnTo>
                  <a:pt x="6" y="34"/>
                </a:lnTo>
                <a:lnTo>
                  <a:pt x="10" y="32"/>
                </a:lnTo>
                <a:lnTo>
                  <a:pt x="14" y="28"/>
                </a:lnTo>
                <a:lnTo>
                  <a:pt x="16" y="24"/>
                </a:lnTo>
                <a:lnTo>
                  <a:pt x="18" y="24"/>
                </a:lnTo>
                <a:lnTo>
                  <a:pt x="20" y="22"/>
                </a:lnTo>
                <a:lnTo>
                  <a:pt x="26" y="24"/>
                </a:lnTo>
                <a:lnTo>
                  <a:pt x="28" y="26"/>
                </a:lnTo>
                <a:lnTo>
                  <a:pt x="30" y="28"/>
                </a:lnTo>
                <a:lnTo>
                  <a:pt x="32" y="30"/>
                </a:lnTo>
                <a:lnTo>
                  <a:pt x="36" y="30"/>
                </a:lnTo>
                <a:lnTo>
                  <a:pt x="36" y="26"/>
                </a:lnTo>
                <a:lnTo>
                  <a:pt x="40" y="24"/>
                </a:lnTo>
                <a:lnTo>
                  <a:pt x="42" y="20"/>
                </a:lnTo>
                <a:lnTo>
                  <a:pt x="44" y="18"/>
                </a:lnTo>
                <a:lnTo>
                  <a:pt x="48" y="16"/>
                </a:lnTo>
                <a:lnTo>
                  <a:pt x="52" y="14"/>
                </a:lnTo>
                <a:lnTo>
                  <a:pt x="52" y="6"/>
                </a:lnTo>
                <a:lnTo>
                  <a:pt x="54" y="0"/>
                </a:lnTo>
                <a:lnTo>
                  <a:pt x="58" y="2"/>
                </a:lnTo>
                <a:lnTo>
                  <a:pt x="62" y="6"/>
                </a:lnTo>
                <a:lnTo>
                  <a:pt x="68" y="14"/>
                </a:lnTo>
                <a:lnTo>
                  <a:pt x="70" y="26"/>
                </a:lnTo>
                <a:lnTo>
                  <a:pt x="76" y="50"/>
                </a:lnTo>
                <a:lnTo>
                  <a:pt x="74" y="52"/>
                </a:lnTo>
                <a:lnTo>
                  <a:pt x="72" y="56"/>
                </a:lnTo>
                <a:lnTo>
                  <a:pt x="70" y="62"/>
                </a:lnTo>
                <a:lnTo>
                  <a:pt x="70" y="68"/>
                </a:lnTo>
                <a:lnTo>
                  <a:pt x="68" y="66"/>
                </a:lnTo>
                <a:lnTo>
                  <a:pt x="66" y="60"/>
                </a:lnTo>
                <a:lnTo>
                  <a:pt x="62" y="52"/>
                </a:lnTo>
                <a:lnTo>
                  <a:pt x="64" y="5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3" name="Freeform 233">
            <a:extLst>
              <a:ext uri="{FF2B5EF4-FFF2-40B4-BE49-F238E27FC236}">
                <a16:creationId xmlns:a16="http://schemas.microsoft.com/office/drawing/2014/main" id="{F67032DF-359C-454D-A1B8-A9702E671E21}"/>
              </a:ext>
            </a:extLst>
          </p:cNvPr>
          <p:cNvSpPr>
            <a:spLocks/>
          </p:cNvSpPr>
          <p:nvPr/>
        </p:nvSpPr>
        <p:spPr bwMode="auto">
          <a:xfrm>
            <a:off x="7843693" y="3489060"/>
            <a:ext cx="75251" cy="76303"/>
          </a:xfrm>
          <a:custGeom>
            <a:avLst/>
            <a:gdLst/>
            <a:ahLst/>
            <a:cxnLst>
              <a:cxn ang="0">
                <a:pos x="4" y="42"/>
              </a:cxn>
              <a:cxn ang="0">
                <a:pos x="0" y="42"/>
              </a:cxn>
              <a:cxn ang="0">
                <a:pos x="2" y="38"/>
              </a:cxn>
              <a:cxn ang="0">
                <a:pos x="6" y="34"/>
              </a:cxn>
              <a:cxn ang="0">
                <a:pos x="14" y="24"/>
              </a:cxn>
              <a:cxn ang="0">
                <a:pos x="24" y="16"/>
              </a:cxn>
              <a:cxn ang="0">
                <a:pos x="30" y="8"/>
              </a:cxn>
              <a:cxn ang="0">
                <a:pos x="32" y="4"/>
              </a:cxn>
              <a:cxn ang="0">
                <a:pos x="34" y="0"/>
              </a:cxn>
              <a:cxn ang="0">
                <a:pos x="34" y="4"/>
              </a:cxn>
              <a:cxn ang="0">
                <a:pos x="36" y="6"/>
              </a:cxn>
              <a:cxn ang="0">
                <a:pos x="38" y="10"/>
              </a:cxn>
              <a:cxn ang="0">
                <a:pos x="36" y="12"/>
              </a:cxn>
              <a:cxn ang="0">
                <a:pos x="32" y="14"/>
              </a:cxn>
              <a:cxn ang="0">
                <a:pos x="32" y="16"/>
              </a:cxn>
              <a:cxn ang="0">
                <a:pos x="30" y="18"/>
              </a:cxn>
              <a:cxn ang="0">
                <a:pos x="22" y="18"/>
              </a:cxn>
              <a:cxn ang="0">
                <a:pos x="20" y="28"/>
              </a:cxn>
              <a:cxn ang="0">
                <a:pos x="14" y="36"/>
              </a:cxn>
              <a:cxn ang="0">
                <a:pos x="10" y="40"/>
              </a:cxn>
              <a:cxn ang="0">
                <a:pos x="4" y="42"/>
              </a:cxn>
            </a:cxnLst>
            <a:rect l="0" t="0" r="r" b="b"/>
            <a:pathLst>
              <a:path w="38" h="42">
                <a:moveTo>
                  <a:pt x="4" y="42"/>
                </a:moveTo>
                <a:lnTo>
                  <a:pt x="0" y="42"/>
                </a:lnTo>
                <a:lnTo>
                  <a:pt x="2" y="38"/>
                </a:lnTo>
                <a:lnTo>
                  <a:pt x="6" y="34"/>
                </a:lnTo>
                <a:lnTo>
                  <a:pt x="14" y="24"/>
                </a:lnTo>
                <a:lnTo>
                  <a:pt x="24" y="16"/>
                </a:lnTo>
                <a:lnTo>
                  <a:pt x="30" y="8"/>
                </a:lnTo>
                <a:lnTo>
                  <a:pt x="32" y="4"/>
                </a:lnTo>
                <a:lnTo>
                  <a:pt x="34" y="0"/>
                </a:lnTo>
                <a:lnTo>
                  <a:pt x="34" y="4"/>
                </a:lnTo>
                <a:lnTo>
                  <a:pt x="36" y="6"/>
                </a:lnTo>
                <a:lnTo>
                  <a:pt x="38" y="10"/>
                </a:lnTo>
                <a:lnTo>
                  <a:pt x="36" y="12"/>
                </a:lnTo>
                <a:lnTo>
                  <a:pt x="32" y="14"/>
                </a:lnTo>
                <a:lnTo>
                  <a:pt x="32" y="16"/>
                </a:lnTo>
                <a:lnTo>
                  <a:pt x="30" y="18"/>
                </a:lnTo>
                <a:lnTo>
                  <a:pt x="22" y="18"/>
                </a:lnTo>
                <a:lnTo>
                  <a:pt x="20" y="28"/>
                </a:lnTo>
                <a:lnTo>
                  <a:pt x="14" y="36"/>
                </a:lnTo>
                <a:lnTo>
                  <a:pt x="10" y="40"/>
                </a:lnTo>
                <a:lnTo>
                  <a:pt x="4" y="4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4" name="Freeform 234">
            <a:extLst>
              <a:ext uri="{FF2B5EF4-FFF2-40B4-BE49-F238E27FC236}">
                <a16:creationId xmlns:a16="http://schemas.microsoft.com/office/drawing/2014/main" id="{4D763C29-BA57-4CAA-AAC4-5AC8729799F3}"/>
              </a:ext>
            </a:extLst>
          </p:cNvPr>
          <p:cNvSpPr>
            <a:spLocks/>
          </p:cNvSpPr>
          <p:nvPr/>
        </p:nvSpPr>
        <p:spPr bwMode="auto">
          <a:xfrm>
            <a:off x="7900130" y="3239050"/>
            <a:ext cx="147081" cy="196439"/>
          </a:xfrm>
          <a:custGeom>
            <a:avLst/>
            <a:gdLst/>
            <a:ahLst/>
            <a:cxnLst>
              <a:cxn ang="0">
                <a:pos x="8" y="38"/>
              </a:cxn>
              <a:cxn ang="0">
                <a:pos x="6" y="20"/>
              </a:cxn>
              <a:cxn ang="0">
                <a:pos x="6" y="4"/>
              </a:cxn>
              <a:cxn ang="0">
                <a:pos x="10" y="0"/>
              </a:cxn>
              <a:cxn ang="0">
                <a:pos x="14" y="6"/>
              </a:cxn>
              <a:cxn ang="0">
                <a:pos x="20" y="10"/>
              </a:cxn>
              <a:cxn ang="0">
                <a:pos x="24" y="8"/>
              </a:cxn>
              <a:cxn ang="0">
                <a:pos x="28" y="8"/>
              </a:cxn>
              <a:cxn ang="0">
                <a:pos x="32" y="18"/>
              </a:cxn>
              <a:cxn ang="0">
                <a:pos x="36" y="30"/>
              </a:cxn>
              <a:cxn ang="0">
                <a:pos x="36" y="44"/>
              </a:cxn>
              <a:cxn ang="0">
                <a:pos x="28" y="54"/>
              </a:cxn>
              <a:cxn ang="0">
                <a:pos x="28" y="70"/>
              </a:cxn>
              <a:cxn ang="0">
                <a:pos x="36" y="82"/>
              </a:cxn>
              <a:cxn ang="0">
                <a:pos x="40" y="84"/>
              </a:cxn>
              <a:cxn ang="0">
                <a:pos x="46" y="80"/>
              </a:cxn>
              <a:cxn ang="0">
                <a:pos x="54" y="86"/>
              </a:cxn>
              <a:cxn ang="0">
                <a:pos x="60" y="92"/>
              </a:cxn>
              <a:cxn ang="0">
                <a:pos x="64" y="88"/>
              </a:cxn>
              <a:cxn ang="0">
                <a:pos x="64" y="94"/>
              </a:cxn>
              <a:cxn ang="0">
                <a:pos x="64" y="98"/>
              </a:cxn>
              <a:cxn ang="0">
                <a:pos x="68" y="100"/>
              </a:cxn>
              <a:cxn ang="0">
                <a:pos x="74" y="106"/>
              </a:cxn>
              <a:cxn ang="0">
                <a:pos x="72" y="110"/>
              </a:cxn>
              <a:cxn ang="0">
                <a:pos x="68" y="106"/>
              </a:cxn>
              <a:cxn ang="0">
                <a:pos x="60" y="98"/>
              </a:cxn>
              <a:cxn ang="0">
                <a:pos x="50" y="90"/>
              </a:cxn>
              <a:cxn ang="0">
                <a:pos x="48" y="96"/>
              </a:cxn>
              <a:cxn ang="0">
                <a:pos x="44" y="100"/>
              </a:cxn>
              <a:cxn ang="0">
                <a:pos x="38" y="90"/>
              </a:cxn>
              <a:cxn ang="0">
                <a:pos x="30" y="90"/>
              </a:cxn>
              <a:cxn ang="0">
                <a:pos x="22" y="90"/>
              </a:cxn>
              <a:cxn ang="0">
                <a:pos x="16" y="84"/>
              </a:cxn>
              <a:cxn ang="0">
                <a:pos x="20" y="76"/>
              </a:cxn>
              <a:cxn ang="0">
                <a:pos x="16" y="72"/>
              </a:cxn>
              <a:cxn ang="0">
                <a:pos x="12" y="74"/>
              </a:cxn>
              <a:cxn ang="0">
                <a:pos x="2" y="70"/>
              </a:cxn>
              <a:cxn ang="0">
                <a:pos x="0" y="52"/>
              </a:cxn>
              <a:cxn ang="0">
                <a:pos x="4" y="46"/>
              </a:cxn>
            </a:cxnLst>
            <a:rect l="0" t="0" r="r" b="b"/>
            <a:pathLst>
              <a:path w="74" h="110">
                <a:moveTo>
                  <a:pt x="4" y="46"/>
                </a:moveTo>
                <a:lnTo>
                  <a:pt x="8" y="38"/>
                </a:lnTo>
                <a:lnTo>
                  <a:pt x="8" y="30"/>
                </a:lnTo>
                <a:lnTo>
                  <a:pt x="6" y="20"/>
                </a:lnTo>
                <a:lnTo>
                  <a:pt x="4" y="12"/>
                </a:lnTo>
                <a:lnTo>
                  <a:pt x="6" y="4"/>
                </a:lnTo>
                <a:lnTo>
                  <a:pt x="8" y="2"/>
                </a:lnTo>
                <a:lnTo>
                  <a:pt x="10" y="0"/>
                </a:lnTo>
                <a:lnTo>
                  <a:pt x="12" y="2"/>
                </a:lnTo>
                <a:lnTo>
                  <a:pt x="14" y="6"/>
                </a:lnTo>
                <a:lnTo>
                  <a:pt x="16" y="10"/>
                </a:lnTo>
                <a:lnTo>
                  <a:pt x="20" y="10"/>
                </a:lnTo>
                <a:lnTo>
                  <a:pt x="22" y="10"/>
                </a:lnTo>
                <a:lnTo>
                  <a:pt x="24" y="8"/>
                </a:lnTo>
                <a:lnTo>
                  <a:pt x="28" y="4"/>
                </a:lnTo>
                <a:lnTo>
                  <a:pt x="28" y="8"/>
                </a:lnTo>
                <a:lnTo>
                  <a:pt x="30" y="12"/>
                </a:lnTo>
                <a:lnTo>
                  <a:pt x="32" y="18"/>
                </a:lnTo>
                <a:lnTo>
                  <a:pt x="34" y="22"/>
                </a:lnTo>
                <a:lnTo>
                  <a:pt x="36" y="30"/>
                </a:lnTo>
                <a:lnTo>
                  <a:pt x="36" y="36"/>
                </a:lnTo>
                <a:lnTo>
                  <a:pt x="36" y="44"/>
                </a:lnTo>
                <a:lnTo>
                  <a:pt x="32" y="48"/>
                </a:lnTo>
                <a:lnTo>
                  <a:pt x="28" y="54"/>
                </a:lnTo>
                <a:lnTo>
                  <a:pt x="26" y="62"/>
                </a:lnTo>
                <a:lnTo>
                  <a:pt x="28" y="70"/>
                </a:lnTo>
                <a:lnTo>
                  <a:pt x="32" y="76"/>
                </a:lnTo>
                <a:lnTo>
                  <a:pt x="36" y="82"/>
                </a:lnTo>
                <a:lnTo>
                  <a:pt x="40" y="86"/>
                </a:lnTo>
                <a:lnTo>
                  <a:pt x="40" y="84"/>
                </a:lnTo>
                <a:lnTo>
                  <a:pt x="42" y="80"/>
                </a:lnTo>
                <a:lnTo>
                  <a:pt x="46" y="80"/>
                </a:lnTo>
                <a:lnTo>
                  <a:pt x="50" y="82"/>
                </a:lnTo>
                <a:lnTo>
                  <a:pt x="54" y="86"/>
                </a:lnTo>
                <a:lnTo>
                  <a:pt x="56" y="90"/>
                </a:lnTo>
                <a:lnTo>
                  <a:pt x="60" y="92"/>
                </a:lnTo>
                <a:lnTo>
                  <a:pt x="62" y="90"/>
                </a:lnTo>
                <a:lnTo>
                  <a:pt x="64" y="88"/>
                </a:lnTo>
                <a:lnTo>
                  <a:pt x="66" y="90"/>
                </a:lnTo>
                <a:lnTo>
                  <a:pt x="64" y="94"/>
                </a:lnTo>
                <a:lnTo>
                  <a:pt x="64" y="96"/>
                </a:lnTo>
                <a:lnTo>
                  <a:pt x="64" y="98"/>
                </a:lnTo>
                <a:lnTo>
                  <a:pt x="66" y="96"/>
                </a:lnTo>
                <a:lnTo>
                  <a:pt x="68" y="100"/>
                </a:lnTo>
                <a:lnTo>
                  <a:pt x="74" y="102"/>
                </a:lnTo>
                <a:lnTo>
                  <a:pt x="74" y="106"/>
                </a:lnTo>
                <a:lnTo>
                  <a:pt x="74" y="110"/>
                </a:lnTo>
                <a:lnTo>
                  <a:pt x="72" y="110"/>
                </a:lnTo>
                <a:lnTo>
                  <a:pt x="70" y="108"/>
                </a:lnTo>
                <a:lnTo>
                  <a:pt x="68" y="106"/>
                </a:lnTo>
                <a:lnTo>
                  <a:pt x="64" y="100"/>
                </a:lnTo>
                <a:lnTo>
                  <a:pt x="60" y="98"/>
                </a:lnTo>
                <a:lnTo>
                  <a:pt x="54" y="94"/>
                </a:lnTo>
                <a:lnTo>
                  <a:pt x="50" y="90"/>
                </a:lnTo>
                <a:lnTo>
                  <a:pt x="48" y="92"/>
                </a:lnTo>
                <a:lnTo>
                  <a:pt x="48" y="96"/>
                </a:lnTo>
                <a:lnTo>
                  <a:pt x="50" y="100"/>
                </a:lnTo>
                <a:lnTo>
                  <a:pt x="44" y="100"/>
                </a:lnTo>
                <a:lnTo>
                  <a:pt x="42" y="94"/>
                </a:lnTo>
                <a:lnTo>
                  <a:pt x="38" y="90"/>
                </a:lnTo>
                <a:lnTo>
                  <a:pt x="34" y="88"/>
                </a:lnTo>
                <a:lnTo>
                  <a:pt x="30" y="90"/>
                </a:lnTo>
                <a:lnTo>
                  <a:pt x="26" y="92"/>
                </a:lnTo>
                <a:lnTo>
                  <a:pt x="22" y="90"/>
                </a:lnTo>
                <a:lnTo>
                  <a:pt x="20" y="88"/>
                </a:lnTo>
                <a:lnTo>
                  <a:pt x="16" y="84"/>
                </a:lnTo>
                <a:lnTo>
                  <a:pt x="18" y="80"/>
                </a:lnTo>
                <a:lnTo>
                  <a:pt x="20" y="76"/>
                </a:lnTo>
                <a:lnTo>
                  <a:pt x="20" y="72"/>
                </a:lnTo>
                <a:lnTo>
                  <a:pt x="16" y="72"/>
                </a:lnTo>
                <a:lnTo>
                  <a:pt x="14" y="74"/>
                </a:lnTo>
                <a:lnTo>
                  <a:pt x="12" y="74"/>
                </a:lnTo>
                <a:lnTo>
                  <a:pt x="6" y="72"/>
                </a:lnTo>
                <a:lnTo>
                  <a:pt x="2" y="70"/>
                </a:lnTo>
                <a:lnTo>
                  <a:pt x="0" y="66"/>
                </a:lnTo>
                <a:lnTo>
                  <a:pt x="0" y="52"/>
                </a:lnTo>
                <a:lnTo>
                  <a:pt x="2" y="46"/>
                </a:lnTo>
                <a:lnTo>
                  <a:pt x="4" y="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5" name="Freeform 235">
            <a:extLst>
              <a:ext uri="{FF2B5EF4-FFF2-40B4-BE49-F238E27FC236}">
                <a16:creationId xmlns:a16="http://schemas.microsoft.com/office/drawing/2014/main" id="{9BF800E2-95B9-4D39-8386-91311D069A93}"/>
              </a:ext>
            </a:extLst>
          </p:cNvPr>
          <p:cNvSpPr>
            <a:spLocks/>
          </p:cNvSpPr>
          <p:nvPr/>
        </p:nvSpPr>
        <p:spPr bwMode="auto">
          <a:xfrm>
            <a:off x="8055764" y="3438736"/>
            <a:ext cx="46177" cy="76303"/>
          </a:xfrm>
          <a:custGeom>
            <a:avLst/>
            <a:gdLst/>
            <a:ahLst/>
            <a:cxnLst>
              <a:cxn ang="0">
                <a:pos x="22" y="28"/>
              </a:cxn>
              <a:cxn ang="0">
                <a:pos x="14" y="28"/>
              </a:cxn>
              <a:cxn ang="0">
                <a:pos x="14" y="36"/>
              </a:cxn>
              <a:cxn ang="0">
                <a:pos x="18" y="40"/>
              </a:cxn>
              <a:cxn ang="0">
                <a:pos x="18" y="42"/>
              </a:cxn>
              <a:cxn ang="0">
                <a:pos x="14" y="42"/>
              </a:cxn>
              <a:cxn ang="0">
                <a:pos x="12" y="42"/>
              </a:cxn>
              <a:cxn ang="0">
                <a:pos x="10" y="42"/>
              </a:cxn>
              <a:cxn ang="0">
                <a:pos x="10" y="38"/>
              </a:cxn>
              <a:cxn ang="0">
                <a:pos x="12" y="36"/>
              </a:cxn>
              <a:cxn ang="0">
                <a:pos x="12" y="32"/>
              </a:cxn>
              <a:cxn ang="0">
                <a:pos x="8" y="32"/>
              </a:cxn>
              <a:cxn ang="0">
                <a:pos x="6" y="30"/>
              </a:cxn>
              <a:cxn ang="0">
                <a:pos x="2" y="24"/>
              </a:cxn>
              <a:cxn ang="0">
                <a:pos x="2" y="22"/>
              </a:cxn>
              <a:cxn ang="0">
                <a:pos x="10" y="22"/>
              </a:cxn>
              <a:cxn ang="0">
                <a:pos x="12" y="20"/>
              </a:cxn>
              <a:cxn ang="0">
                <a:pos x="14" y="18"/>
              </a:cxn>
              <a:cxn ang="0">
                <a:pos x="12" y="14"/>
              </a:cxn>
              <a:cxn ang="0">
                <a:pos x="6" y="10"/>
              </a:cxn>
              <a:cxn ang="0">
                <a:pos x="2" y="6"/>
              </a:cxn>
              <a:cxn ang="0">
                <a:pos x="0" y="2"/>
              </a:cxn>
              <a:cxn ang="0">
                <a:pos x="4" y="0"/>
              </a:cxn>
              <a:cxn ang="0">
                <a:pos x="12" y="0"/>
              </a:cxn>
              <a:cxn ang="0">
                <a:pos x="16" y="2"/>
              </a:cxn>
              <a:cxn ang="0">
                <a:pos x="16" y="8"/>
              </a:cxn>
              <a:cxn ang="0">
                <a:pos x="20" y="8"/>
              </a:cxn>
              <a:cxn ang="0">
                <a:pos x="20" y="16"/>
              </a:cxn>
              <a:cxn ang="0">
                <a:pos x="24" y="22"/>
              </a:cxn>
              <a:cxn ang="0">
                <a:pos x="22" y="28"/>
              </a:cxn>
            </a:cxnLst>
            <a:rect l="0" t="0" r="r" b="b"/>
            <a:pathLst>
              <a:path w="24" h="42">
                <a:moveTo>
                  <a:pt x="22" y="28"/>
                </a:moveTo>
                <a:lnTo>
                  <a:pt x="14" y="28"/>
                </a:lnTo>
                <a:lnTo>
                  <a:pt x="14" y="36"/>
                </a:lnTo>
                <a:lnTo>
                  <a:pt x="18" y="40"/>
                </a:lnTo>
                <a:lnTo>
                  <a:pt x="18" y="42"/>
                </a:lnTo>
                <a:lnTo>
                  <a:pt x="14" y="42"/>
                </a:lnTo>
                <a:lnTo>
                  <a:pt x="12" y="42"/>
                </a:lnTo>
                <a:lnTo>
                  <a:pt x="10" y="42"/>
                </a:lnTo>
                <a:lnTo>
                  <a:pt x="10" y="38"/>
                </a:lnTo>
                <a:lnTo>
                  <a:pt x="12" y="36"/>
                </a:lnTo>
                <a:lnTo>
                  <a:pt x="12" y="32"/>
                </a:lnTo>
                <a:lnTo>
                  <a:pt x="8" y="32"/>
                </a:lnTo>
                <a:lnTo>
                  <a:pt x="6" y="30"/>
                </a:lnTo>
                <a:lnTo>
                  <a:pt x="2" y="24"/>
                </a:lnTo>
                <a:lnTo>
                  <a:pt x="2" y="22"/>
                </a:lnTo>
                <a:lnTo>
                  <a:pt x="10" y="22"/>
                </a:lnTo>
                <a:lnTo>
                  <a:pt x="12" y="20"/>
                </a:lnTo>
                <a:lnTo>
                  <a:pt x="14" y="18"/>
                </a:lnTo>
                <a:lnTo>
                  <a:pt x="12" y="14"/>
                </a:lnTo>
                <a:lnTo>
                  <a:pt x="6" y="10"/>
                </a:lnTo>
                <a:lnTo>
                  <a:pt x="2" y="6"/>
                </a:lnTo>
                <a:lnTo>
                  <a:pt x="0" y="2"/>
                </a:lnTo>
                <a:lnTo>
                  <a:pt x="4" y="0"/>
                </a:lnTo>
                <a:lnTo>
                  <a:pt x="12" y="0"/>
                </a:lnTo>
                <a:lnTo>
                  <a:pt x="16" y="2"/>
                </a:lnTo>
                <a:lnTo>
                  <a:pt x="16" y="8"/>
                </a:lnTo>
                <a:lnTo>
                  <a:pt x="20" y="8"/>
                </a:lnTo>
                <a:lnTo>
                  <a:pt x="20" y="16"/>
                </a:lnTo>
                <a:lnTo>
                  <a:pt x="24" y="22"/>
                </a:lnTo>
                <a:lnTo>
                  <a:pt x="22" y="2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6" name="Freeform 236">
            <a:extLst>
              <a:ext uri="{FF2B5EF4-FFF2-40B4-BE49-F238E27FC236}">
                <a16:creationId xmlns:a16="http://schemas.microsoft.com/office/drawing/2014/main" id="{77CAE698-78BB-494D-AF07-3455115B0EFC}"/>
              </a:ext>
            </a:extLst>
          </p:cNvPr>
          <p:cNvSpPr>
            <a:spLocks/>
          </p:cNvSpPr>
          <p:nvPr/>
        </p:nvSpPr>
        <p:spPr bwMode="auto">
          <a:xfrm>
            <a:off x="7980513" y="3461464"/>
            <a:ext cx="42756" cy="50327"/>
          </a:xfrm>
          <a:custGeom>
            <a:avLst/>
            <a:gdLst/>
            <a:ahLst/>
            <a:cxnLst>
              <a:cxn ang="0">
                <a:pos x="10" y="4"/>
              </a:cxn>
              <a:cxn ang="0">
                <a:pos x="12" y="4"/>
              </a:cxn>
              <a:cxn ang="0">
                <a:pos x="14" y="4"/>
              </a:cxn>
              <a:cxn ang="0">
                <a:pos x="20" y="6"/>
              </a:cxn>
              <a:cxn ang="0">
                <a:pos x="22" y="10"/>
              </a:cxn>
              <a:cxn ang="0">
                <a:pos x="20" y="16"/>
              </a:cxn>
              <a:cxn ang="0">
                <a:pos x="14" y="22"/>
              </a:cxn>
              <a:cxn ang="0">
                <a:pos x="2" y="28"/>
              </a:cxn>
              <a:cxn ang="0">
                <a:pos x="2" y="14"/>
              </a:cxn>
              <a:cxn ang="0">
                <a:pos x="0" y="4"/>
              </a:cxn>
              <a:cxn ang="0">
                <a:pos x="2" y="2"/>
              </a:cxn>
              <a:cxn ang="0">
                <a:pos x="4" y="0"/>
              </a:cxn>
              <a:cxn ang="0">
                <a:pos x="8" y="4"/>
              </a:cxn>
              <a:cxn ang="0">
                <a:pos x="10" y="4"/>
              </a:cxn>
            </a:cxnLst>
            <a:rect l="0" t="0" r="r" b="b"/>
            <a:pathLst>
              <a:path w="22" h="28">
                <a:moveTo>
                  <a:pt x="10" y="4"/>
                </a:moveTo>
                <a:lnTo>
                  <a:pt x="12" y="4"/>
                </a:lnTo>
                <a:lnTo>
                  <a:pt x="14" y="4"/>
                </a:lnTo>
                <a:lnTo>
                  <a:pt x="20" y="6"/>
                </a:lnTo>
                <a:lnTo>
                  <a:pt x="22" y="10"/>
                </a:lnTo>
                <a:lnTo>
                  <a:pt x="20" y="16"/>
                </a:lnTo>
                <a:lnTo>
                  <a:pt x="14" y="22"/>
                </a:lnTo>
                <a:lnTo>
                  <a:pt x="2" y="28"/>
                </a:lnTo>
                <a:lnTo>
                  <a:pt x="2" y="14"/>
                </a:lnTo>
                <a:lnTo>
                  <a:pt x="0" y="4"/>
                </a:lnTo>
                <a:lnTo>
                  <a:pt x="2" y="2"/>
                </a:lnTo>
                <a:lnTo>
                  <a:pt x="4" y="0"/>
                </a:lnTo>
                <a:lnTo>
                  <a:pt x="8" y="4"/>
                </a:lnTo>
                <a:lnTo>
                  <a:pt x="10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7" name="Freeform 237">
            <a:extLst>
              <a:ext uri="{FF2B5EF4-FFF2-40B4-BE49-F238E27FC236}">
                <a16:creationId xmlns:a16="http://schemas.microsoft.com/office/drawing/2014/main" id="{74BA7E4B-C5AC-4FA2-8FD4-DA4231A7C21E}"/>
              </a:ext>
            </a:extLst>
          </p:cNvPr>
          <p:cNvSpPr>
            <a:spLocks/>
          </p:cNvSpPr>
          <p:nvPr/>
        </p:nvSpPr>
        <p:spPr bwMode="auto">
          <a:xfrm>
            <a:off x="7908682" y="3789403"/>
            <a:ext cx="196679" cy="243519"/>
          </a:xfrm>
          <a:custGeom>
            <a:avLst/>
            <a:gdLst/>
            <a:ahLst/>
            <a:cxnLst>
              <a:cxn ang="0">
                <a:pos x="12" y="28"/>
              </a:cxn>
              <a:cxn ang="0">
                <a:pos x="18" y="22"/>
              </a:cxn>
              <a:cxn ang="0">
                <a:pos x="28" y="10"/>
              </a:cxn>
              <a:cxn ang="0">
                <a:pos x="34" y="6"/>
              </a:cxn>
              <a:cxn ang="0">
                <a:pos x="38" y="8"/>
              </a:cxn>
              <a:cxn ang="0">
                <a:pos x="60" y="12"/>
              </a:cxn>
              <a:cxn ang="0">
                <a:pos x="84" y="12"/>
              </a:cxn>
              <a:cxn ang="0">
                <a:pos x="90" y="8"/>
              </a:cxn>
              <a:cxn ang="0">
                <a:pos x="100" y="0"/>
              </a:cxn>
              <a:cxn ang="0">
                <a:pos x="90" y="16"/>
              </a:cxn>
              <a:cxn ang="0">
                <a:pos x="82" y="24"/>
              </a:cxn>
              <a:cxn ang="0">
                <a:pos x="70" y="24"/>
              </a:cxn>
              <a:cxn ang="0">
                <a:pos x="26" y="22"/>
              </a:cxn>
              <a:cxn ang="0">
                <a:pos x="22" y="26"/>
              </a:cxn>
              <a:cxn ang="0">
                <a:pos x="22" y="38"/>
              </a:cxn>
              <a:cxn ang="0">
                <a:pos x="28" y="52"/>
              </a:cxn>
              <a:cxn ang="0">
                <a:pos x="34" y="54"/>
              </a:cxn>
              <a:cxn ang="0">
                <a:pos x="40" y="50"/>
              </a:cxn>
              <a:cxn ang="0">
                <a:pos x="54" y="44"/>
              </a:cxn>
              <a:cxn ang="0">
                <a:pos x="68" y="40"/>
              </a:cxn>
              <a:cxn ang="0">
                <a:pos x="72" y="42"/>
              </a:cxn>
              <a:cxn ang="0">
                <a:pos x="62" y="48"/>
              </a:cxn>
              <a:cxn ang="0">
                <a:pos x="50" y="56"/>
              </a:cxn>
              <a:cxn ang="0">
                <a:pos x="44" y="66"/>
              </a:cxn>
              <a:cxn ang="0">
                <a:pos x="48" y="76"/>
              </a:cxn>
              <a:cxn ang="0">
                <a:pos x="54" y="98"/>
              </a:cxn>
              <a:cxn ang="0">
                <a:pos x="60" y="104"/>
              </a:cxn>
              <a:cxn ang="0">
                <a:pos x="64" y="106"/>
              </a:cxn>
              <a:cxn ang="0">
                <a:pos x="54" y="114"/>
              </a:cxn>
              <a:cxn ang="0">
                <a:pos x="44" y="118"/>
              </a:cxn>
              <a:cxn ang="0">
                <a:pos x="32" y="88"/>
              </a:cxn>
              <a:cxn ang="0">
                <a:pos x="32" y="78"/>
              </a:cxn>
              <a:cxn ang="0">
                <a:pos x="24" y="78"/>
              </a:cxn>
              <a:cxn ang="0">
                <a:pos x="22" y="120"/>
              </a:cxn>
              <a:cxn ang="0">
                <a:pos x="18" y="132"/>
              </a:cxn>
              <a:cxn ang="0">
                <a:pos x="8" y="136"/>
              </a:cxn>
              <a:cxn ang="0">
                <a:pos x="6" y="130"/>
              </a:cxn>
              <a:cxn ang="0">
                <a:pos x="6" y="116"/>
              </a:cxn>
              <a:cxn ang="0">
                <a:pos x="10" y="102"/>
              </a:cxn>
              <a:cxn ang="0">
                <a:pos x="4" y="94"/>
              </a:cxn>
              <a:cxn ang="0">
                <a:pos x="0" y="90"/>
              </a:cxn>
              <a:cxn ang="0">
                <a:pos x="4" y="66"/>
              </a:cxn>
              <a:cxn ang="0">
                <a:pos x="12" y="44"/>
              </a:cxn>
            </a:cxnLst>
            <a:rect l="0" t="0" r="r" b="b"/>
            <a:pathLst>
              <a:path w="100" h="136">
                <a:moveTo>
                  <a:pt x="12" y="46"/>
                </a:moveTo>
                <a:lnTo>
                  <a:pt x="12" y="28"/>
                </a:lnTo>
                <a:lnTo>
                  <a:pt x="16" y="26"/>
                </a:lnTo>
                <a:lnTo>
                  <a:pt x="18" y="22"/>
                </a:lnTo>
                <a:lnTo>
                  <a:pt x="24" y="14"/>
                </a:lnTo>
                <a:lnTo>
                  <a:pt x="28" y="10"/>
                </a:lnTo>
                <a:lnTo>
                  <a:pt x="32" y="8"/>
                </a:lnTo>
                <a:lnTo>
                  <a:pt x="34" y="6"/>
                </a:lnTo>
                <a:lnTo>
                  <a:pt x="36" y="6"/>
                </a:lnTo>
                <a:lnTo>
                  <a:pt x="38" y="8"/>
                </a:lnTo>
                <a:lnTo>
                  <a:pt x="42" y="10"/>
                </a:lnTo>
                <a:lnTo>
                  <a:pt x="60" y="12"/>
                </a:lnTo>
                <a:lnTo>
                  <a:pt x="80" y="14"/>
                </a:lnTo>
                <a:lnTo>
                  <a:pt x="84" y="12"/>
                </a:lnTo>
                <a:lnTo>
                  <a:pt x="88" y="12"/>
                </a:lnTo>
                <a:lnTo>
                  <a:pt x="90" y="8"/>
                </a:lnTo>
                <a:lnTo>
                  <a:pt x="94" y="2"/>
                </a:lnTo>
                <a:lnTo>
                  <a:pt x="100" y="0"/>
                </a:lnTo>
                <a:lnTo>
                  <a:pt x="100" y="6"/>
                </a:lnTo>
                <a:lnTo>
                  <a:pt x="90" y="16"/>
                </a:lnTo>
                <a:lnTo>
                  <a:pt x="86" y="22"/>
                </a:lnTo>
                <a:lnTo>
                  <a:pt x="82" y="24"/>
                </a:lnTo>
                <a:lnTo>
                  <a:pt x="76" y="24"/>
                </a:lnTo>
                <a:lnTo>
                  <a:pt x="70" y="24"/>
                </a:lnTo>
                <a:lnTo>
                  <a:pt x="64" y="22"/>
                </a:lnTo>
                <a:lnTo>
                  <a:pt x="26" y="22"/>
                </a:lnTo>
                <a:lnTo>
                  <a:pt x="22" y="24"/>
                </a:lnTo>
                <a:lnTo>
                  <a:pt x="22" y="26"/>
                </a:lnTo>
                <a:lnTo>
                  <a:pt x="20" y="34"/>
                </a:lnTo>
                <a:lnTo>
                  <a:pt x="22" y="38"/>
                </a:lnTo>
                <a:lnTo>
                  <a:pt x="24" y="46"/>
                </a:lnTo>
                <a:lnTo>
                  <a:pt x="28" y="52"/>
                </a:lnTo>
                <a:lnTo>
                  <a:pt x="32" y="54"/>
                </a:lnTo>
                <a:lnTo>
                  <a:pt x="34" y="54"/>
                </a:lnTo>
                <a:lnTo>
                  <a:pt x="36" y="52"/>
                </a:lnTo>
                <a:lnTo>
                  <a:pt x="40" y="50"/>
                </a:lnTo>
                <a:lnTo>
                  <a:pt x="46" y="46"/>
                </a:lnTo>
                <a:lnTo>
                  <a:pt x="54" y="44"/>
                </a:lnTo>
                <a:lnTo>
                  <a:pt x="62" y="42"/>
                </a:lnTo>
                <a:lnTo>
                  <a:pt x="68" y="40"/>
                </a:lnTo>
                <a:lnTo>
                  <a:pt x="74" y="40"/>
                </a:lnTo>
                <a:lnTo>
                  <a:pt x="72" y="42"/>
                </a:lnTo>
                <a:lnTo>
                  <a:pt x="68" y="44"/>
                </a:lnTo>
                <a:lnTo>
                  <a:pt x="62" y="48"/>
                </a:lnTo>
                <a:lnTo>
                  <a:pt x="56" y="50"/>
                </a:lnTo>
                <a:lnTo>
                  <a:pt x="50" y="56"/>
                </a:lnTo>
                <a:lnTo>
                  <a:pt x="42" y="66"/>
                </a:lnTo>
                <a:lnTo>
                  <a:pt x="44" y="66"/>
                </a:lnTo>
                <a:lnTo>
                  <a:pt x="46" y="70"/>
                </a:lnTo>
                <a:lnTo>
                  <a:pt x="48" y="76"/>
                </a:lnTo>
                <a:lnTo>
                  <a:pt x="54" y="84"/>
                </a:lnTo>
                <a:lnTo>
                  <a:pt x="54" y="98"/>
                </a:lnTo>
                <a:lnTo>
                  <a:pt x="56" y="102"/>
                </a:lnTo>
                <a:lnTo>
                  <a:pt x="60" y="104"/>
                </a:lnTo>
                <a:lnTo>
                  <a:pt x="64" y="104"/>
                </a:lnTo>
                <a:lnTo>
                  <a:pt x="64" y="106"/>
                </a:lnTo>
                <a:lnTo>
                  <a:pt x="60" y="110"/>
                </a:lnTo>
                <a:lnTo>
                  <a:pt x="54" y="114"/>
                </a:lnTo>
                <a:lnTo>
                  <a:pt x="50" y="118"/>
                </a:lnTo>
                <a:lnTo>
                  <a:pt x="44" y="118"/>
                </a:lnTo>
                <a:lnTo>
                  <a:pt x="32" y="92"/>
                </a:lnTo>
                <a:lnTo>
                  <a:pt x="32" y="88"/>
                </a:lnTo>
                <a:lnTo>
                  <a:pt x="34" y="84"/>
                </a:lnTo>
                <a:lnTo>
                  <a:pt x="32" y="78"/>
                </a:lnTo>
                <a:lnTo>
                  <a:pt x="28" y="80"/>
                </a:lnTo>
                <a:lnTo>
                  <a:pt x="24" y="78"/>
                </a:lnTo>
                <a:lnTo>
                  <a:pt x="22" y="106"/>
                </a:lnTo>
                <a:lnTo>
                  <a:pt x="22" y="120"/>
                </a:lnTo>
                <a:lnTo>
                  <a:pt x="20" y="126"/>
                </a:lnTo>
                <a:lnTo>
                  <a:pt x="18" y="132"/>
                </a:lnTo>
                <a:lnTo>
                  <a:pt x="14" y="134"/>
                </a:lnTo>
                <a:lnTo>
                  <a:pt x="8" y="136"/>
                </a:lnTo>
                <a:lnTo>
                  <a:pt x="6" y="134"/>
                </a:lnTo>
                <a:lnTo>
                  <a:pt x="6" y="130"/>
                </a:lnTo>
                <a:lnTo>
                  <a:pt x="6" y="120"/>
                </a:lnTo>
                <a:lnTo>
                  <a:pt x="6" y="116"/>
                </a:lnTo>
                <a:lnTo>
                  <a:pt x="8" y="110"/>
                </a:lnTo>
                <a:lnTo>
                  <a:pt x="10" y="102"/>
                </a:lnTo>
                <a:lnTo>
                  <a:pt x="10" y="94"/>
                </a:lnTo>
                <a:lnTo>
                  <a:pt x="4" y="94"/>
                </a:lnTo>
                <a:lnTo>
                  <a:pt x="0" y="92"/>
                </a:lnTo>
                <a:lnTo>
                  <a:pt x="0" y="90"/>
                </a:lnTo>
                <a:lnTo>
                  <a:pt x="0" y="78"/>
                </a:lnTo>
                <a:lnTo>
                  <a:pt x="4" y="66"/>
                </a:lnTo>
                <a:lnTo>
                  <a:pt x="8" y="54"/>
                </a:lnTo>
                <a:lnTo>
                  <a:pt x="12" y="44"/>
                </a:lnTo>
                <a:lnTo>
                  <a:pt x="12" y="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8" name="Freeform 238">
            <a:extLst>
              <a:ext uri="{FF2B5EF4-FFF2-40B4-BE49-F238E27FC236}">
                <a16:creationId xmlns:a16="http://schemas.microsoft.com/office/drawing/2014/main" id="{4CF261DA-9904-413F-95CF-CBB6A9A4F819}"/>
              </a:ext>
            </a:extLst>
          </p:cNvPr>
          <p:cNvSpPr>
            <a:spLocks/>
          </p:cNvSpPr>
          <p:nvPr/>
        </p:nvSpPr>
        <p:spPr bwMode="auto">
          <a:xfrm>
            <a:off x="7621360" y="3614066"/>
            <a:ext cx="297583" cy="201309"/>
          </a:xfrm>
          <a:custGeom>
            <a:avLst/>
            <a:gdLst/>
            <a:ahLst/>
            <a:cxnLst>
              <a:cxn ang="0">
                <a:pos x="68" y="62"/>
              </a:cxn>
              <a:cxn ang="0">
                <a:pos x="68" y="58"/>
              </a:cxn>
              <a:cxn ang="0">
                <a:pos x="70" y="56"/>
              </a:cxn>
              <a:cxn ang="0">
                <a:pos x="74" y="54"/>
              </a:cxn>
              <a:cxn ang="0">
                <a:pos x="70" y="48"/>
              </a:cxn>
              <a:cxn ang="0">
                <a:pos x="76" y="42"/>
              </a:cxn>
              <a:cxn ang="0">
                <a:pos x="86" y="40"/>
              </a:cxn>
              <a:cxn ang="0">
                <a:pos x="92" y="26"/>
              </a:cxn>
              <a:cxn ang="0">
                <a:pos x="106" y="4"/>
              </a:cxn>
              <a:cxn ang="0">
                <a:pos x="114" y="0"/>
              </a:cxn>
              <a:cxn ang="0">
                <a:pos x="122" y="8"/>
              </a:cxn>
              <a:cxn ang="0">
                <a:pos x="124" y="20"/>
              </a:cxn>
              <a:cxn ang="0">
                <a:pos x="138" y="26"/>
              </a:cxn>
              <a:cxn ang="0">
                <a:pos x="152" y="28"/>
              </a:cxn>
              <a:cxn ang="0">
                <a:pos x="150" y="34"/>
              </a:cxn>
              <a:cxn ang="0">
                <a:pos x="140" y="36"/>
              </a:cxn>
              <a:cxn ang="0">
                <a:pos x="132" y="38"/>
              </a:cxn>
              <a:cxn ang="0">
                <a:pos x="138" y="44"/>
              </a:cxn>
              <a:cxn ang="0">
                <a:pos x="132" y="48"/>
              </a:cxn>
              <a:cxn ang="0">
                <a:pos x="122" y="60"/>
              </a:cxn>
              <a:cxn ang="0">
                <a:pos x="106" y="56"/>
              </a:cxn>
              <a:cxn ang="0">
                <a:pos x="94" y="56"/>
              </a:cxn>
              <a:cxn ang="0">
                <a:pos x="82" y="64"/>
              </a:cxn>
              <a:cxn ang="0">
                <a:pos x="74" y="82"/>
              </a:cxn>
              <a:cxn ang="0">
                <a:pos x="70" y="104"/>
              </a:cxn>
              <a:cxn ang="0">
                <a:pos x="64" y="108"/>
              </a:cxn>
              <a:cxn ang="0">
                <a:pos x="56" y="104"/>
              </a:cxn>
              <a:cxn ang="0">
                <a:pos x="48" y="98"/>
              </a:cxn>
              <a:cxn ang="0">
                <a:pos x="42" y="100"/>
              </a:cxn>
              <a:cxn ang="0">
                <a:pos x="28" y="108"/>
              </a:cxn>
              <a:cxn ang="0">
                <a:pos x="20" y="112"/>
              </a:cxn>
              <a:cxn ang="0">
                <a:pos x="8" y="108"/>
              </a:cxn>
              <a:cxn ang="0">
                <a:pos x="0" y="104"/>
              </a:cxn>
              <a:cxn ang="0">
                <a:pos x="0" y="92"/>
              </a:cxn>
              <a:cxn ang="0">
                <a:pos x="0" y="94"/>
              </a:cxn>
              <a:cxn ang="0">
                <a:pos x="8" y="100"/>
              </a:cxn>
              <a:cxn ang="0">
                <a:pos x="20" y="90"/>
              </a:cxn>
              <a:cxn ang="0">
                <a:pos x="30" y="78"/>
              </a:cxn>
              <a:cxn ang="0">
                <a:pos x="46" y="72"/>
              </a:cxn>
              <a:cxn ang="0">
                <a:pos x="54" y="66"/>
              </a:cxn>
              <a:cxn ang="0">
                <a:pos x="58" y="58"/>
              </a:cxn>
            </a:cxnLst>
            <a:rect l="0" t="0" r="r" b="b"/>
            <a:pathLst>
              <a:path w="152" h="112">
                <a:moveTo>
                  <a:pt x="58" y="58"/>
                </a:moveTo>
                <a:lnTo>
                  <a:pt x="68" y="62"/>
                </a:lnTo>
                <a:lnTo>
                  <a:pt x="70" y="60"/>
                </a:lnTo>
                <a:lnTo>
                  <a:pt x="68" y="58"/>
                </a:lnTo>
                <a:lnTo>
                  <a:pt x="68" y="54"/>
                </a:lnTo>
                <a:lnTo>
                  <a:pt x="70" y="56"/>
                </a:lnTo>
                <a:lnTo>
                  <a:pt x="74" y="58"/>
                </a:lnTo>
                <a:lnTo>
                  <a:pt x="74" y="54"/>
                </a:lnTo>
                <a:lnTo>
                  <a:pt x="70" y="52"/>
                </a:lnTo>
                <a:lnTo>
                  <a:pt x="70" y="48"/>
                </a:lnTo>
                <a:lnTo>
                  <a:pt x="68" y="48"/>
                </a:lnTo>
                <a:lnTo>
                  <a:pt x="76" y="42"/>
                </a:lnTo>
                <a:lnTo>
                  <a:pt x="80" y="40"/>
                </a:lnTo>
                <a:lnTo>
                  <a:pt x="86" y="40"/>
                </a:lnTo>
                <a:lnTo>
                  <a:pt x="88" y="36"/>
                </a:lnTo>
                <a:lnTo>
                  <a:pt x="92" y="26"/>
                </a:lnTo>
                <a:lnTo>
                  <a:pt x="98" y="16"/>
                </a:lnTo>
                <a:lnTo>
                  <a:pt x="106" y="4"/>
                </a:lnTo>
                <a:lnTo>
                  <a:pt x="110" y="0"/>
                </a:lnTo>
                <a:lnTo>
                  <a:pt x="114" y="0"/>
                </a:lnTo>
                <a:lnTo>
                  <a:pt x="118" y="2"/>
                </a:lnTo>
                <a:lnTo>
                  <a:pt x="122" y="8"/>
                </a:lnTo>
                <a:lnTo>
                  <a:pt x="124" y="14"/>
                </a:lnTo>
                <a:lnTo>
                  <a:pt x="124" y="20"/>
                </a:lnTo>
                <a:lnTo>
                  <a:pt x="132" y="22"/>
                </a:lnTo>
                <a:lnTo>
                  <a:pt x="138" y="26"/>
                </a:lnTo>
                <a:lnTo>
                  <a:pt x="144" y="26"/>
                </a:lnTo>
                <a:lnTo>
                  <a:pt x="152" y="28"/>
                </a:lnTo>
                <a:lnTo>
                  <a:pt x="152" y="32"/>
                </a:lnTo>
                <a:lnTo>
                  <a:pt x="150" y="34"/>
                </a:lnTo>
                <a:lnTo>
                  <a:pt x="148" y="36"/>
                </a:lnTo>
                <a:lnTo>
                  <a:pt x="140" y="36"/>
                </a:lnTo>
                <a:lnTo>
                  <a:pt x="134" y="36"/>
                </a:lnTo>
                <a:lnTo>
                  <a:pt x="132" y="38"/>
                </a:lnTo>
                <a:lnTo>
                  <a:pt x="130" y="40"/>
                </a:lnTo>
                <a:lnTo>
                  <a:pt x="138" y="44"/>
                </a:lnTo>
                <a:lnTo>
                  <a:pt x="138" y="46"/>
                </a:lnTo>
                <a:lnTo>
                  <a:pt x="132" y="48"/>
                </a:lnTo>
                <a:lnTo>
                  <a:pt x="124" y="54"/>
                </a:lnTo>
                <a:lnTo>
                  <a:pt x="122" y="60"/>
                </a:lnTo>
                <a:lnTo>
                  <a:pt x="112" y="58"/>
                </a:lnTo>
                <a:lnTo>
                  <a:pt x="106" y="56"/>
                </a:lnTo>
                <a:lnTo>
                  <a:pt x="100" y="56"/>
                </a:lnTo>
                <a:lnTo>
                  <a:pt x="94" y="56"/>
                </a:lnTo>
                <a:lnTo>
                  <a:pt x="88" y="60"/>
                </a:lnTo>
                <a:lnTo>
                  <a:pt x="82" y="64"/>
                </a:lnTo>
                <a:lnTo>
                  <a:pt x="78" y="70"/>
                </a:lnTo>
                <a:lnTo>
                  <a:pt x="74" y="82"/>
                </a:lnTo>
                <a:lnTo>
                  <a:pt x="70" y="96"/>
                </a:lnTo>
                <a:lnTo>
                  <a:pt x="70" y="104"/>
                </a:lnTo>
                <a:lnTo>
                  <a:pt x="68" y="108"/>
                </a:lnTo>
                <a:lnTo>
                  <a:pt x="64" y="108"/>
                </a:lnTo>
                <a:lnTo>
                  <a:pt x="60" y="106"/>
                </a:lnTo>
                <a:lnTo>
                  <a:pt x="56" y="104"/>
                </a:lnTo>
                <a:lnTo>
                  <a:pt x="52" y="100"/>
                </a:lnTo>
                <a:lnTo>
                  <a:pt x="48" y="98"/>
                </a:lnTo>
                <a:lnTo>
                  <a:pt x="44" y="98"/>
                </a:lnTo>
                <a:lnTo>
                  <a:pt x="42" y="100"/>
                </a:lnTo>
                <a:lnTo>
                  <a:pt x="36" y="106"/>
                </a:lnTo>
                <a:lnTo>
                  <a:pt x="28" y="108"/>
                </a:lnTo>
                <a:lnTo>
                  <a:pt x="26" y="110"/>
                </a:lnTo>
                <a:lnTo>
                  <a:pt x="20" y="112"/>
                </a:lnTo>
                <a:lnTo>
                  <a:pt x="14" y="110"/>
                </a:lnTo>
                <a:lnTo>
                  <a:pt x="8" y="108"/>
                </a:lnTo>
                <a:lnTo>
                  <a:pt x="2" y="106"/>
                </a:lnTo>
                <a:lnTo>
                  <a:pt x="0" y="104"/>
                </a:lnTo>
                <a:lnTo>
                  <a:pt x="0" y="102"/>
                </a:lnTo>
                <a:lnTo>
                  <a:pt x="0" y="92"/>
                </a:lnTo>
                <a:lnTo>
                  <a:pt x="0" y="90"/>
                </a:lnTo>
                <a:lnTo>
                  <a:pt x="0" y="94"/>
                </a:lnTo>
                <a:lnTo>
                  <a:pt x="2" y="96"/>
                </a:lnTo>
                <a:lnTo>
                  <a:pt x="8" y="100"/>
                </a:lnTo>
                <a:lnTo>
                  <a:pt x="20" y="100"/>
                </a:lnTo>
                <a:lnTo>
                  <a:pt x="20" y="90"/>
                </a:lnTo>
                <a:lnTo>
                  <a:pt x="26" y="82"/>
                </a:lnTo>
                <a:lnTo>
                  <a:pt x="30" y="78"/>
                </a:lnTo>
                <a:lnTo>
                  <a:pt x="34" y="76"/>
                </a:lnTo>
                <a:lnTo>
                  <a:pt x="46" y="72"/>
                </a:lnTo>
                <a:lnTo>
                  <a:pt x="50" y="70"/>
                </a:lnTo>
                <a:lnTo>
                  <a:pt x="54" y="66"/>
                </a:lnTo>
                <a:lnTo>
                  <a:pt x="60" y="56"/>
                </a:lnTo>
                <a:lnTo>
                  <a:pt x="58" y="5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9" name="Freeform 239">
            <a:extLst>
              <a:ext uri="{FF2B5EF4-FFF2-40B4-BE49-F238E27FC236}">
                <a16:creationId xmlns:a16="http://schemas.microsoft.com/office/drawing/2014/main" id="{01EAFE3E-A919-4DE3-8375-1792B0830802}"/>
              </a:ext>
            </a:extLst>
          </p:cNvPr>
          <p:cNvSpPr>
            <a:spLocks/>
          </p:cNvSpPr>
          <p:nvPr/>
        </p:nvSpPr>
        <p:spPr bwMode="auto">
          <a:xfrm>
            <a:off x="7735947" y="3700110"/>
            <a:ext cx="29075" cy="25975"/>
          </a:xfrm>
          <a:custGeom>
            <a:avLst/>
            <a:gdLst/>
            <a:ahLst/>
            <a:cxnLst>
              <a:cxn ang="0">
                <a:pos x="12" y="0"/>
              </a:cxn>
              <a:cxn ang="0">
                <a:pos x="12" y="4"/>
              </a:cxn>
              <a:cxn ang="0">
                <a:pos x="16" y="6"/>
              </a:cxn>
              <a:cxn ang="0">
                <a:pos x="16" y="10"/>
              </a:cxn>
              <a:cxn ang="0">
                <a:pos x="12" y="8"/>
              </a:cxn>
              <a:cxn ang="0">
                <a:pos x="10" y="6"/>
              </a:cxn>
              <a:cxn ang="0">
                <a:pos x="10" y="10"/>
              </a:cxn>
              <a:cxn ang="0">
                <a:pos x="12" y="12"/>
              </a:cxn>
              <a:cxn ang="0">
                <a:pos x="10" y="14"/>
              </a:cxn>
              <a:cxn ang="0">
                <a:pos x="0" y="10"/>
              </a:cxn>
              <a:cxn ang="0">
                <a:pos x="10" y="0"/>
              </a:cxn>
              <a:cxn ang="0">
                <a:pos x="12" y="0"/>
              </a:cxn>
            </a:cxnLst>
            <a:rect l="0" t="0" r="r" b="b"/>
            <a:pathLst>
              <a:path w="16" h="14">
                <a:moveTo>
                  <a:pt x="12" y="0"/>
                </a:moveTo>
                <a:lnTo>
                  <a:pt x="12" y="4"/>
                </a:lnTo>
                <a:lnTo>
                  <a:pt x="16" y="6"/>
                </a:lnTo>
                <a:lnTo>
                  <a:pt x="16" y="10"/>
                </a:lnTo>
                <a:lnTo>
                  <a:pt x="12" y="8"/>
                </a:lnTo>
                <a:lnTo>
                  <a:pt x="10" y="6"/>
                </a:lnTo>
                <a:lnTo>
                  <a:pt x="10" y="10"/>
                </a:lnTo>
                <a:lnTo>
                  <a:pt x="12" y="12"/>
                </a:lnTo>
                <a:lnTo>
                  <a:pt x="10" y="14"/>
                </a:lnTo>
                <a:lnTo>
                  <a:pt x="0" y="10"/>
                </a:lnTo>
                <a:lnTo>
                  <a:pt x="10" y="0"/>
                </a:lnTo>
                <a:lnTo>
                  <a:pt x="1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0" name="Freeform 240">
            <a:extLst>
              <a:ext uri="{FF2B5EF4-FFF2-40B4-BE49-F238E27FC236}">
                <a16:creationId xmlns:a16="http://schemas.microsoft.com/office/drawing/2014/main" id="{4AFC74A6-B632-439A-806C-ED5114BB8CA1}"/>
              </a:ext>
            </a:extLst>
          </p:cNvPr>
          <p:cNvSpPr>
            <a:spLocks/>
          </p:cNvSpPr>
          <p:nvPr/>
        </p:nvSpPr>
        <p:spPr bwMode="auto">
          <a:xfrm>
            <a:off x="8284936" y="3857588"/>
            <a:ext cx="316396" cy="292223"/>
          </a:xfrm>
          <a:custGeom>
            <a:avLst/>
            <a:gdLst/>
            <a:ahLst/>
            <a:cxnLst>
              <a:cxn ang="0">
                <a:pos x="160" y="114"/>
              </a:cxn>
              <a:cxn ang="0">
                <a:pos x="156" y="122"/>
              </a:cxn>
              <a:cxn ang="0">
                <a:pos x="160" y="164"/>
              </a:cxn>
              <a:cxn ang="0">
                <a:pos x="148" y="158"/>
              </a:cxn>
              <a:cxn ang="0">
                <a:pos x="144" y="144"/>
              </a:cxn>
              <a:cxn ang="0">
                <a:pos x="120" y="148"/>
              </a:cxn>
              <a:cxn ang="0">
                <a:pos x="104" y="148"/>
              </a:cxn>
              <a:cxn ang="0">
                <a:pos x="102" y="144"/>
              </a:cxn>
              <a:cxn ang="0">
                <a:pos x="110" y="134"/>
              </a:cxn>
              <a:cxn ang="0">
                <a:pos x="120" y="126"/>
              </a:cxn>
              <a:cxn ang="0">
                <a:pos x="118" y="112"/>
              </a:cxn>
              <a:cxn ang="0">
                <a:pos x="116" y="100"/>
              </a:cxn>
              <a:cxn ang="0">
                <a:pos x="104" y="90"/>
              </a:cxn>
              <a:cxn ang="0">
                <a:pos x="74" y="80"/>
              </a:cxn>
              <a:cxn ang="0">
                <a:pos x="62" y="70"/>
              </a:cxn>
              <a:cxn ang="0">
                <a:pos x="54" y="66"/>
              </a:cxn>
              <a:cxn ang="0">
                <a:pos x="46" y="60"/>
              </a:cxn>
              <a:cxn ang="0">
                <a:pos x="42" y="66"/>
              </a:cxn>
              <a:cxn ang="0">
                <a:pos x="34" y="72"/>
              </a:cxn>
              <a:cxn ang="0">
                <a:pos x="32" y="66"/>
              </a:cxn>
              <a:cxn ang="0">
                <a:pos x="26" y="54"/>
              </a:cxn>
              <a:cxn ang="0">
                <a:pos x="20" y="48"/>
              </a:cxn>
              <a:cxn ang="0">
                <a:pos x="20" y="42"/>
              </a:cxn>
              <a:cxn ang="0">
                <a:pos x="28" y="42"/>
              </a:cxn>
              <a:cxn ang="0">
                <a:pos x="34" y="42"/>
              </a:cxn>
              <a:cxn ang="0">
                <a:pos x="46" y="40"/>
              </a:cxn>
              <a:cxn ang="0">
                <a:pos x="54" y="36"/>
              </a:cxn>
              <a:cxn ang="0">
                <a:pos x="40" y="36"/>
              </a:cxn>
              <a:cxn ang="0">
                <a:pos x="26" y="38"/>
              </a:cxn>
              <a:cxn ang="0">
                <a:pos x="18" y="32"/>
              </a:cxn>
              <a:cxn ang="0">
                <a:pos x="16" y="28"/>
              </a:cxn>
              <a:cxn ang="0">
                <a:pos x="6" y="22"/>
              </a:cxn>
              <a:cxn ang="0">
                <a:pos x="0" y="12"/>
              </a:cxn>
              <a:cxn ang="0">
                <a:pos x="14" y="4"/>
              </a:cxn>
              <a:cxn ang="0">
                <a:pos x="30" y="0"/>
              </a:cxn>
              <a:cxn ang="0">
                <a:pos x="36" y="2"/>
              </a:cxn>
              <a:cxn ang="0">
                <a:pos x="50" y="4"/>
              </a:cxn>
              <a:cxn ang="0">
                <a:pos x="56" y="16"/>
              </a:cxn>
              <a:cxn ang="0">
                <a:pos x="58" y="38"/>
              </a:cxn>
              <a:cxn ang="0">
                <a:pos x="62" y="40"/>
              </a:cxn>
              <a:cxn ang="0">
                <a:pos x="66" y="54"/>
              </a:cxn>
              <a:cxn ang="0">
                <a:pos x="72" y="54"/>
              </a:cxn>
              <a:cxn ang="0">
                <a:pos x="78" y="48"/>
              </a:cxn>
              <a:cxn ang="0">
                <a:pos x="88" y="38"/>
              </a:cxn>
              <a:cxn ang="0">
                <a:pos x="100" y="28"/>
              </a:cxn>
              <a:cxn ang="0">
                <a:pos x="108" y="20"/>
              </a:cxn>
              <a:cxn ang="0">
                <a:pos x="116" y="20"/>
              </a:cxn>
              <a:cxn ang="0">
                <a:pos x="128" y="26"/>
              </a:cxn>
              <a:cxn ang="0">
                <a:pos x="142" y="34"/>
              </a:cxn>
              <a:cxn ang="0">
                <a:pos x="160" y="38"/>
              </a:cxn>
            </a:cxnLst>
            <a:rect l="0" t="0" r="r" b="b"/>
            <a:pathLst>
              <a:path w="160" h="164">
                <a:moveTo>
                  <a:pt x="160" y="38"/>
                </a:moveTo>
                <a:lnTo>
                  <a:pt x="160" y="114"/>
                </a:lnTo>
                <a:lnTo>
                  <a:pt x="156" y="118"/>
                </a:lnTo>
                <a:lnTo>
                  <a:pt x="156" y="122"/>
                </a:lnTo>
                <a:lnTo>
                  <a:pt x="160" y="126"/>
                </a:lnTo>
                <a:lnTo>
                  <a:pt x="160" y="164"/>
                </a:lnTo>
                <a:lnTo>
                  <a:pt x="154" y="164"/>
                </a:lnTo>
                <a:lnTo>
                  <a:pt x="148" y="158"/>
                </a:lnTo>
                <a:lnTo>
                  <a:pt x="144" y="152"/>
                </a:lnTo>
                <a:lnTo>
                  <a:pt x="144" y="144"/>
                </a:lnTo>
                <a:lnTo>
                  <a:pt x="126" y="144"/>
                </a:lnTo>
                <a:lnTo>
                  <a:pt x="120" y="148"/>
                </a:lnTo>
                <a:lnTo>
                  <a:pt x="112" y="148"/>
                </a:lnTo>
                <a:lnTo>
                  <a:pt x="104" y="148"/>
                </a:lnTo>
                <a:lnTo>
                  <a:pt x="102" y="146"/>
                </a:lnTo>
                <a:lnTo>
                  <a:pt x="102" y="144"/>
                </a:lnTo>
                <a:lnTo>
                  <a:pt x="104" y="138"/>
                </a:lnTo>
                <a:lnTo>
                  <a:pt x="110" y="134"/>
                </a:lnTo>
                <a:lnTo>
                  <a:pt x="116" y="128"/>
                </a:lnTo>
                <a:lnTo>
                  <a:pt x="120" y="126"/>
                </a:lnTo>
                <a:lnTo>
                  <a:pt x="118" y="118"/>
                </a:lnTo>
                <a:lnTo>
                  <a:pt x="118" y="112"/>
                </a:lnTo>
                <a:lnTo>
                  <a:pt x="116" y="106"/>
                </a:lnTo>
                <a:lnTo>
                  <a:pt x="116" y="100"/>
                </a:lnTo>
                <a:lnTo>
                  <a:pt x="112" y="94"/>
                </a:lnTo>
                <a:lnTo>
                  <a:pt x="104" y="90"/>
                </a:lnTo>
                <a:lnTo>
                  <a:pt x="90" y="84"/>
                </a:lnTo>
                <a:lnTo>
                  <a:pt x="74" y="80"/>
                </a:lnTo>
                <a:lnTo>
                  <a:pt x="68" y="74"/>
                </a:lnTo>
                <a:lnTo>
                  <a:pt x="62" y="70"/>
                </a:lnTo>
                <a:lnTo>
                  <a:pt x="58" y="68"/>
                </a:lnTo>
                <a:lnTo>
                  <a:pt x="54" y="66"/>
                </a:lnTo>
                <a:lnTo>
                  <a:pt x="44" y="66"/>
                </a:lnTo>
                <a:lnTo>
                  <a:pt x="46" y="60"/>
                </a:lnTo>
                <a:lnTo>
                  <a:pt x="48" y="58"/>
                </a:lnTo>
                <a:lnTo>
                  <a:pt x="42" y="66"/>
                </a:lnTo>
                <a:lnTo>
                  <a:pt x="38" y="70"/>
                </a:lnTo>
                <a:lnTo>
                  <a:pt x="34" y="72"/>
                </a:lnTo>
                <a:lnTo>
                  <a:pt x="32" y="72"/>
                </a:lnTo>
                <a:lnTo>
                  <a:pt x="32" y="66"/>
                </a:lnTo>
                <a:lnTo>
                  <a:pt x="32" y="64"/>
                </a:lnTo>
                <a:lnTo>
                  <a:pt x="26" y="54"/>
                </a:lnTo>
                <a:lnTo>
                  <a:pt x="24" y="50"/>
                </a:lnTo>
                <a:lnTo>
                  <a:pt x="20" y="48"/>
                </a:lnTo>
                <a:lnTo>
                  <a:pt x="20" y="44"/>
                </a:lnTo>
                <a:lnTo>
                  <a:pt x="20" y="42"/>
                </a:lnTo>
                <a:lnTo>
                  <a:pt x="24" y="42"/>
                </a:lnTo>
                <a:lnTo>
                  <a:pt x="28" y="42"/>
                </a:lnTo>
                <a:lnTo>
                  <a:pt x="32" y="44"/>
                </a:lnTo>
                <a:lnTo>
                  <a:pt x="34" y="42"/>
                </a:lnTo>
                <a:lnTo>
                  <a:pt x="38" y="38"/>
                </a:lnTo>
                <a:lnTo>
                  <a:pt x="46" y="40"/>
                </a:lnTo>
                <a:lnTo>
                  <a:pt x="50" y="38"/>
                </a:lnTo>
                <a:lnTo>
                  <a:pt x="54" y="36"/>
                </a:lnTo>
                <a:lnTo>
                  <a:pt x="50" y="36"/>
                </a:lnTo>
                <a:lnTo>
                  <a:pt x="40" y="36"/>
                </a:lnTo>
                <a:lnTo>
                  <a:pt x="32" y="38"/>
                </a:lnTo>
                <a:lnTo>
                  <a:pt x="26" y="38"/>
                </a:lnTo>
                <a:lnTo>
                  <a:pt x="22" y="36"/>
                </a:lnTo>
                <a:lnTo>
                  <a:pt x="18" y="32"/>
                </a:lnTo>
                <a:lnTo>
                  <a:pt x="18" y="28"/>
                </a:lnTo>
                <a:lnTo>
                  <a:pt x="16" y="28"/>
                </a:lnTo>
                <a:lnTo>
                  <a:pt x="14" y="26"/>
                </a:lnTo>
                <a:lnTo>
                  <a:pt x="6" y="22"/>
                </a:lnTo>
                <a:lnTo>
                  <a:pt x="0" y="16"/>
                </a:lnTo>
                <a:lnTo>
                  <a:pt x="0" y="12"/>
                </a:lnTo>
                <a:lnTo>
                  <a:pt x="6" y="8"/>
                </a:lnTo>
                <a:lnTo>
                  <a:pt x="14" y="4"/>
                </a:lnTo>
                <a:lnTo>
                  <a:pt x="22" y="0"/>
                </a:lnTo>
                <a:lnTo>
                  <a:pt x="30" y="0"/>
                </a:lnTo>
                <a:lnTo>
                  <a:pt x="34" y="0"/>
                </a:lnTo>
                <a:lnTo>
                  <a:pt x="36" y="2"/>
                </a:lnTo>
                <a:lnTo>
                  <a:pt x="44" y="4"/>
                </a:lnTo>
                <a:lnTo>
                  <a:pt x="50" y="4"/>
                </a:lnTo>
                <a:lnTo>
                  <a:pt x="54" y="10"/>
                </a:lnTo>
                <a:lnTo>
                  <a:pt x="56" y="16"/>
                </a:lnTo>
                <a:lnTo>
                  <a:pt x="56" y="32"/>
                </a:lnTo>
                <a:lnTo>
                  <a:pt x="58" y="38"/>
                </a:lnTo>
                <a:lnTo>
                  <a:pt x="60" y="40"/>
                </a:lnTo>
                <a:lnTo>
                  <a:pt x="62" y="40"/>
                </a:lnTo>
                <a:lnTo>
                  <a:pt x="64" y="48"/>
                </a:lnTo>
                <a:lnTo>
                  <a:pt x="66" y="54"/>
                </a:lnTo>
                <a:lnTo>
                  <a:pt x="70" y="54"/>
                </a:lnTo>
                <a:lnTo>
                  <a:pt x="72" y="54"/>
                </a:lnTo>
                <a:lnTo>
                  <a:pt x="76" y="52"/>
                </a:lnTo>
                <a:lnTo>
                  <a:pt x="78" y="48"/>
                </a:lnTo>
                <a:lnTo>
                  <a:pt x="84" y="42"/>
                </a:lnTo>
                <a:lnTo>
                  <a:pt x="88" y="38"/>
                </a:lnTo>
                <a:lnTo>
                  <a:pt x="94" y="34"/>
                </a:lnTo>
                <a:lnTo>
                  <a:pt x="100" y="28"/>
                </a:lnTo>
                <a:lnTo>
                  <a:pt x="106" y="22"/>
                </a:lnTo>
                <a:lnTo>
                  <a:pt x="108" y="20"/>
                </a:lnTo>
                <a:lnTo>
                  <a:pt x="112" y="18"/>
                </a:lnTo>
                <a:lnTo>
                  <a:pt x="116" y="20"/>
                </a:lnTo>
                <a:lnTo>
                  <a:pt x="120" y="22"/>
                </a:lnTo>
                <a:lnTo>
                  <a:pt x="128" y="26"/>
                </a:lnTo>
                <a:lnTo>
                  <a:pt x="136" y="30"/>
                </a:lnTo>
                <a:lnTo>
                  <a:pt x="142" y="34"/>
                </a:lnTo>
                <a:lnTo>
                  <a:pt x="150" y="36"/>
                </a:lnTo>
                <a:lnTo>
                  <a:pt x="160" y="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1" name="Freeform 241">
            <a:extLst>
              <a:ext uri="{FF2B5EF4-FFF2-40B4-BE49-F238E27FC236}">
                <a16:creationId xmlns:a16="http://schemas.microsoft.com/office/drawing/2014/main" id="{E51A6052-7C20-44F9-8CDC-34B0F3462FF1}"/>
              </a:ext>
            </a:extLst>
          </p:cNvPr>
          <p:cNvSpPr>
            <a:spLocks/>
          </p:cNvSpPr>
          <p:nvPr/>
        </p:nvSpPr>
        <p:spPr bwMode="auto">
          <a:xfrm>
            <a:off x="7896711" y="4149810"/>
            <a:ext cx="47887" cy="25975"/>
          </a:xfrm>
          <a:custGeom>
            <a:avLst/>
            <a:gdLst/>
            <a:ahLst/>
            <a:cxnLst>
              <a:cxn ang="0">
                <a:pos x="16" y="12"/>
              </a:cxn>
              <a:cxn ang="0">
                <a:pos x="8" y="8"/>
              </a:cxn>
              <a:cxn ang="0">
                <a:pos x="0" y="2"/>
              </a:cxn>
              <a:cxn ang="0">
                <a:pos x="4" y="0"/>
              </a:cxn>
              <a:cxn ang="0">
                <a:pos x="10" y="0"/>
              </a:cxn>
              <a:cxn ang="0">
                <a:pos x="12" y="0"/>
              </a:cxn>
              <a:cxn ang="0">
                <a:pos x="16" y="0"/>
              </a:cxn>
              <a:cxn ang="0">
                <a:pos x="18" y="4"/>
              </a:cxn>
              <a:cxn ang="0">
                <a:pos x="22" y="4"/>
              </a:cxn>
              <a:cxn ang="0">
                <a:pos x="24" y="10"/>
              </a:cxn>
              <a:cxn ang="0">
                <a:pos x="22" y="12"/>
              </a:cxn>
              <a:cxn ang="0">
                <a:pos x="20" y="14"/>
              </a:cxn>
              <a:cxn ang="0">
                <a:pos x="18" y="14"/>
              </a:cxn>
              <a:cxn ang="0">
                <a:pos x="16" y="12"/>
              </a:cxn>
            </a:cxnLst>
            <a:rect l="0" t="0" r="r" b="b"/>
            <a:pathLst>
              <a:path w="24" h="14">
                <a:moveTo>
                  <a:pt x="16" y="12"/>
                </a:moveTo>
                <a:lnTo>
                  <a:pt x="8" y="8"/>
                </a:lnTo>
                <a:lnTo>
                  <a:pt x="0" y="2"/>
                </a:lnTo>
                <a:lnTo>
                  <a:pt x="4" y="0"/>
                </a:lnTo>
                <a:lnTo>
                  <a:pt x="10" y="0"/>
                </a:lnTo>
                <a:lnTo>
                  <a:pt x="12" y="0"/>
                </a:lnTo>
                <a:lnTo>
                  <a:pt x="16" y="0"/>
                </a:lnTo>
                <a:lnTo>
                  <a:pt x="18" y="4"/>
                </a:lnTo>
                <a:lnTo>
                  <a:pt x="22" y="4"/>
                </a:lnTo>
                <a:lnTo>
                  <a:pt x="24" y="10"/>
                </a:lnTo>
                <a:lnTo>
                  <a:pt x="22" y="12"/>
                </a:lnTo>
                <a:lnTo>
                  <a:pt x="20" y="14"/>
                </a:lnTo>
                <a:lnTo>
                  <a:pt x="18" y="14"/>
                </a:lnTo>
                <a:lnTo>
                  <a:pt x="16" y="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2" name="Freeform 242">
            <a:extLst>
              <a:ext uri="{FF2B5EF4-FFF2-40B4-BE49-F238E27FC236}">
                <a16:creationId xmlns:a16="http://schemas.microsoft.com/office/drawing/2014/main" id="{1709F647-3664-48DD-B55D-51F7EB630106}"/>
              </a:ext>
            </a:extLst>
          </p:cNvPr>
          <p:cNvSpPr>
            <a:spLocks/>
          </p:cNvSpPr>
          <p:nvPr/>
        </p:nvSpPr>
        <p:spPr bwMode="auto">
          <a:xfrm>
            <a:off x="8199426" y="5011864"/>
            <a:ext cx="46177" cy="12988"/>
          </a:xfrm>
          <a:custGeom>
            <a:avLst/>
            <a:gdLst/>
            <a:ahLst/>
            <a:cxnLst>
              <a:cxn ang="0">
                <a:pos x="8" y="2"/>
              </a:cxn>
              <a:cxn ang="0">
                <a:pos x="4" y="2"/>
              </a:cxn>
              <a:cxn ang="0">
                <a:pos x="2" y="4"/>
              </a:cxn>
              <a:cxn ang="0">
                <a:pos x="0" y="6"/>
              </a:cxn>
              <a:cxn ang="0">
                <a:pos x="4" y="8"/>
              </a:cxn>
              <a:cxn ang="0">
                <a:pos x="8" y="8"/>
              </a:cxn>
              <a:cxn ang="0">
                <a:pos x="12" y="8"/>
              </a:cxn>
              <a:cxn ang="0">
                <a:pos x="16" y="6"/>
              </a:cxn>
              <a:cxn ang="0">
                <a:pos x="22" y="2"/>
              </a:cxn>
              <a:cxn ang="0">
                <a:pos x="20" y="0"/>
              </a:cxn>
              <a:cxn ang="0">
                <a:pos x="16" y="0"/>
              </a:cxn>
              <a:cxn ang="0">
                <a:pos x="8" y="2"/>
              </a:cxn>
            </a:cxnLst>
            <a:rect l="0" t="0" r="r" b="b"/>
            <a:pathLst>
              <a:path w="22" h="8">
                <a:moveTo>
                  <a:pt x="8" y="2"/>
                </a:moveTo>
                <a:lnTo>
                  <a:pt x="4" y="2"/>
                </a:lnTo>
                <a:lnTo>
                  <a:pt x="2" y="4"/>
                </a:lnTo>
                <a:lnTo>
                  <a:pt x="0" y="6"/>
                </a:lnTo>
                <a:lnTo>
                  <a:pt x="4" y="8"/>
                </a:lnTo>
                <a:lnTo>
                  <a:pt x="8" y="8"/>
                </a:lnTo>
                <a:lnTo>
                  <a:pt x="12" y="8"/>
                </a:lnTo>
                <a:lnTo>
                  <a:pt x="16" y="6"/>
                </a:lnTo>
                <a:lnTo>
                  <a:pt x="22" y="2"/>
                </a:lnTo>
                <a:lnTo>
                  <a:pt x="20" y="0"/>
                </a:lnTo>
                <a:lnTo>
                  <a:pt x="16" y="0"/>
                </a:lnTo>
                <a:lnTo>
                  <a:pt x="8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3" name="Freeform 243">
            <a:extLst>
              <a:ext uri="{FF2B5EF4-FFF2-40B4-BE49-F238E27FC236}">
                <a16:creationId xmlns:a16="http://schemas.microsoft.com/office/drawing/2014/main" id="{07946253-D6F9-495F-99B7-ACBB340519D6}"/>
              </a:ext>
            </a:extLst>
          </p:cNvPr>
          <p:cNvSpPr>
            <a:spLocks/>
          </p:cNvSpPr>
          <p:nvPr/>
        </p:nvSpPr>
        <p:spPr bwMode="auto">
          <a:xfrm>
            <a:off x="8931412" y="3940383"/>
            <a:ext cx="58148" cy="63315"/>
          </a:xfrm>
          <a:custGeom>
            <a:avLst/>
            <a:gdLst/>
            <a:ahLst/>
            <a:cxnLst>
              <a:cxn ang="0">
                <a:pos x="30" y="26"/>
              </a:cxn>
              <a:cxn ang="0">
                <a:pos x="30" y="36"/>
              </a:cxn>
              <a:cxn ang="0">
                <a:pos x="26" y="36"/>
              </a:cxn>
              <a:cxn ang="0">
                <a:pos x="22" y="32"/>
              </a:cxn>
              <a:cxn ang="0">
                <a:pos x="20" y="26"/>
              </a:cxn>
              <a:cxn ang="0">
                <a:pos x="18" y="18"/>
              </a:cxn>
              <a:cxn ang="0">
                <a:pos x="14" y="14"/>
              </a:cxn>
              <a:cxn ang="0">
                <a:pos x="6" y="8"/>
              </a:cxn>
              <a:cxn ang="0">
                <a:pos x="0" y="6"/>
              </a:cxn>
              <a:cxn ang="0">
                <a:pos x="0" y="0"/>
              </a:cxn>
              <a:cxn ang="0">
                <a:pos x="14" y="12"/>
              </a:cxn>
              <a:cxn ang="0">
                <a:pos x="30" y="26"/>
              </a:cxn>
            </a:cxnLst>
            <a:rect l="0" t="0" r="r" b="b"/>
            <a:pathLst>
              <a:path w="30" h="36">
                <a:moveTo>
                  <a:pt x="30" y="26"/>
                </a:moveTo>
                <a:lnTo>
                  <a:pt x="30" y="36"/>
                </a:lnTo>
                <a:lnTo>
                  <a:pt x="26" y="36"/>
                </a:lnTo>
                <a:lnTo>
                  <a:pt x="22" y="32"/>
                </a:lnTo>
                <a:lnTo>
                  <a:pt x="20" y="26"/>
                </a:lnTo>
                <a:lnTo>
                  <a:pt x="18" y="18"/>
                </a:lnTo>
                <a:lnTo>
                  <a:pt x="14" y="14"/>
                </a:lnTo>
                <a:lnTo>
                  <a:pt x="6" y="8"/>
                </a:lnTo>
                <a:lnTo>
                  <a:pt x="0" y="6"/>
                </a:lnTo>
                <a:lnTo>
                  <a:pt x="0" y="0"/>
                </a:lnTo>
                <a:lnTo>
                  <a:pt x="14" y="12"/>
                </a:lnTo>
                <a:lnTo>
                  <a:pt x="30" y="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4" name="Freeform 244">
            <a:extLst>
              <a:ext uri="{FF2B5EF4-FFF2-40B4-BE49-F238E27FC236}">
                <a16:creationId xmlns:a16="http://schemas.microsoft.com/office/drawing/2014/main" id="{23B7350B-B14E-4D48-8CCA-D92459710E2C}"/>
              </a:ext>
            </a:extLst>
          </p:cNvPr>
          <p:cNvSpPr>
            <a:spLocks/>
          </p:cNvSpPr>
          <p:nvPr/>
        </p:nvSpPr>
        <p:spPr bwMode="auto">
          <a:xfrm>
            <a:off x="8433729" y="3864079"/>
            <a:ext cx="23943" cy="22728"/>
          </a:xfrm>
          <a:custGeom>
            <a:avLst/>
            <a:gdLst/>
            <a:ahLst/>
            <a:cxnLst>
              <a:cxn ang="0">
                <a:pos x="12" y="12"/>
              </a:cxn>
              <a:cxn ang="0">
                <a:pos x="10" y="12"/>
              </a:cxn>
              <a:cxn ang="0">
                <a:pos x="6" y="12"/>
              </a:cxn>
              <a:cxn ang="0">
                <a:pos x="4" y="8"/>
              </a:cxn>
              <a:cxn ang="0">
                <a:pos x="0" y="4"/>
              </a:cxn>
              <a:cxn ang="0">
                <a:pos x="0" y="0"/>
              </a:cxn>
              <a:cxn ang="0">
                <a:pos x="4" y="2"/>
              </a:cxn>
              <a:cxn ang="0">
                <a:pos x="8" y="4"/>
              </a:cxn>
              <a:cxn ang="0">
                <a:pos x="12" y="12"/>
              </a:cxn>
            </a:cxnLst>
            <a:rect l="0" t="0" r="r" b="b"/>
            <a:pathLst>
              <a:path w="12" h="12">
                <a:moveTo>
                  <a:pt x="12" y="12"/>
                </a:moveTo>
                <a:lnTo>
                  <a:pt x="10" y="12"/>
                </a:lnTo>
                <a:lnTo>
                  <a:pt x="6" y="12"/>
                </a:lnTo>
                <a:lnTo>
                  <a:pt x="4" y="8"/>
                </a:lnTo>
                <a:lnTo>
                  <a:pt x="0" y="4"/>
                </a:lnTo>
                <a:lnTo>
                  <a:pt x="0" y="0"/>
                </a:lnTo>
                <a:lnTo>
                  <a:pt x="4" y="2"/>
                </a:lnTo>
                <a:lnTo>
                  <a:pt x="8" y="4"/>
                </a:lnTo>
                <a:lnTo>
                  <a:pt x="12" y="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5" name="Freeform 245">
            <a:extLst>
              <a:ext uri="{FF2B5EF4-FFF2-40B4-BE49-F238E27FC236}">
                <a16:creationId xmlns:a16="http://schemas.microsoft.com/office/drawing/2014/main" id="{50C0CC64-8008-4600-AC3C-7F340156557C}"/>
              </a:ext>
            </a:extLst>
          </p:cNvPr>
          <p:cNvSpPr>
            <a:spLocks/>
          </p:cNvSpPr>
          <p:nvPr/>
        </p:nvSpPr>
        <p:spPr bwMode="auto">
          <a:xfrm>
            <a:off x="8437149" y="3904665"/>
            <a:ext cx="27364" cy="6494"/>
          </a:xfrm>
          <a:custGeom>
            <a:avLst/>
            <a:gdLst/>
            <a:ahLst/>
            <a:cxnLst>
              <a:cxn ang="0">
                <a:pos x="14" y="0"/>
              </a:cxn>
              <a:cxn ang="0">
                <a:pos x="14" y="4"/>
              </a:cxn>
              <a:cxn ang="0">
                <a:pos x="0" y="2"/>
              </a:cxn>
              <a:cxn ang="0">
                <a:pos x="0" y="0"/>
              </a:cxn>
              <a:cxn ang="0">
                <a:pos x="14" y="0"/>
              </a:cxn>
            </a:cxnLst>
            <a:rect l="0" t="0" r="r" b="b"/>
            <a:pathLst>
              <a:path w="14" h="4">
                <a:moveTo>
                  <a:pt x="14" y="0"/>
                </a:moveTo>
                <a:lnTo>
                  <a:pt x="14" y="4"/>
                </a:lnTo>
                <a:lnTo>
                  <a:pt x="0" y="2"/>
                </a:ln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6" name="Freeform 246">
            <a:extLst>
              <a:ext uri="{FF2B5EF4-FFF2-40B4-BE49-F238E27FC236}">
                <a16:creationId xmlns:a16="http://schemas.microsoft.com/office/drawing/2014/main" id="{E6085435-F818-43E2-A9E2-15F8D81493C1}"/>
              </a:ext>
            </a:extLst>
          </p:cNvPr>
          <p:cNvSpPr>
            <a:spLocks/>
          </p:cNvSpPr>
          <p:nvPr/>
        </p:nvSpPr>
        <p:spPr bwMode="auto">
          <a:xfrm>
            <a:off x="8375580" y="4054027"/>
            <a:ext cx="18813" cy="21105"/>
          </a:xfrm>
          <a:custGeom>
            <a:avLst/>
            <a:gdLst/>
            <a:ahLst/>
            <a:cxnLst>
              <a:cxn ang="0">
                <a:pos x="10" y="6"/>
              </a:cxn>
              <a:cxn ang="0">
                <a:pos x="8" y="10"/>
              </a:cxn>
              <a:cxn ang="0">
                <a:pos x="4" y="12"/>
              </a:cxn>
              <a:cxn ang="0">
                <a:pos x="2" y="12"/>
              </a:cxn>
              <a:cxn ang="0">
                <a:pos x="0" y="10"/>
              </a:cxn>
              <a:cxn ang="0">
                <a:pos x="0" y="6"/>
              </a:cxn>
              <a:cxn ang="0">
                <a:pos x="2" y="0"/>
              </a:cxn>
              <a:cxn ang="0">
                <a:pos x="10" y="6"/>
              </a:cxn>
            </a:cxnLst>
            <a:rect l="0" t="0" r="r" b="b"/>
            <a:pathLst>
              <a:path w="10" h="12">
                <a:moveTo>
                  <a:pt x="10" y="6"/>
                </a:moveTo>
                <a:lnTo>
                  <a:pt x="8" y="10"/>
                </a:lnTo>
                <a:lnTo>
                  <a:pt x="4" y="12"/>
                </a:lnTo>
                <a:lnTo>
                  <a:pt x="2" y="12"/>
                </a:lnTo>
                <a:lnTo>
                  <a:pt x="0" y="10"/>
                </a:lnTo>
                <a:lnTo>
                  <a:pt x="0" y="6"/>
                </a:lnTo>
                <a:lnTo>
                  <a:pt x="2" y="0"/>
                </a:lnTo>
                <a:lnTo>
                  <a:pt x="10" y="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7" name="Freeform 247">
            <a:extLst>
              <a:ext uri="{FF2B5EF4-FFF2-40B4-BE49-F238E27FC236}">
                <a16:creationId xmlns:a16="http://schemas.microsoft.com/office/drawing/2014/main" id="{68492741-428A-4BA9-AFBD-C4E282F5FF43}"/>
              </a:ext>
            </a:extLst>
          </p:cNvPr>
          <p:cNvSpPr>
            <a:spLocks/>
          </p:cNvSpPr>
          <p:nvPr/>
        </p:nvSpPr>
        <p:spPr bwMode="auto">
          <a:xfrm>
            <a:off x="8267836" y="3846221"/>
            <a:ext cx="32495" cy="11364"/>
          </a:xfrm>
          <a:custGeom>
            <a:avLst/>
            <a:gdLst/>
            <a:ahLst/>
            <a:cxnLst>
              <a:cxn ang="0">
                <a:pos x="16" y="6"/>
              </a:cxn>
              <a:cxn ang="0">
                <a:pos x="8" y="6"/>
              </a:cxn>
              <a:cxn ang="0">
                <a:pos x="4" y="6"/>
              </a:cxn>
              <a:cxn ang="0">
                <a:pos x="0" y="6"/>
              </a:cxn>
              <a:cxn ang="0">
                <a:pos x="4" y="2"/>
              </a:cxn>
              <a:cxn ang="0">
                <a:pos x="8" y="0"/>
              </a:cxn>
              <a:cxn ang="0">
                <a:pos x="12" y="0"/>
              </a:cxn>
              <a:cxn ang="0">
                <a:pos x="14" y="2"/>
              </a:cxn>
              <a:cxn ang="0">
                <a:pos x="16" y="6"/>
              </a:cxn>
            </a:cxnLst>
            <a:rect l="0" t="0" r="r" b="b"/>
            <a:pathLst>
              <a:path w="16" h="6">
                <a:moveTo>
                  <a:pt x="16" y="6"/>
                </a:moveTo>
                <a:lnTo>
                  <a:pt x="8" y="6"/>
                </a:lnTo>
                <a:lnTo>
                  <a:pt x="4" y="6"/>
                </a:lnTo>
                <a:lnTo>
                  <a:pt x="0" y="6"/>
                </a:lnTo>
                <a:lnTo>
                  <a:pt x="4" y="2"/>
                </a:lnTo>
                <a:lnTo>
                  <a:pt x="8" y="0"/>
                </a:lnTo>
                <a:lnTo>
                  <a:pt x="12" y="0"/>
                </a:lnTo>
                <a:lnTo>
                  <a:pt x="14" y="2"/>
                </a:lnTo>
                <a:lnTo>
                  <a:pt x="16" y="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8" name="Freeform 248">
            <a:extLst>
              <a:ext uri="{FF2B5EF4-FFF2-40B4-BE49-F238E27FC236}">
                <a16:creationId xmlns:a16="http://schemas.microsoft.com/office/drawing/2014/main" id="{784D344F-052D-44B5-9527-8B8ACAC47B2E}"/>
              </a:ext>
            </a:extLst>
          </p:cNvPr>
          <p:cNvSpPr>
            <a:spLocks/>
          </p:cNvSpPr>
          <p:nvPr/>
        </p:nvSpPr>
        <p:spPr bwMode="auto">
          <a:xfrm>
            <a:off x="8081417" y="3907912"/>
            <a:ext cx="20523" cy="6494"/>
          </a:xfrm>
          <a:custGeom>
            <a:avLst/>
            <a:gdLst/>
            <a:ahLst/>
            <a:cxnLst>
              <a:cxn ang="0">
                <a:pos x="10" y="0"/>
              </a:cxn>
              <a:cxn ang="0">
                <a:pos x="8" y="2"/>
              </a:cxn>
              <a:cxn ang="0">
                <a:pos x="4" y="4"/>
              </a:cxn>
              <a:cxn ang="0">
                <a:pos x="2" y="2"/>
              </a:cxn>
              <a:cxn ang="0">
                <a:pos x="0" y="0"/>
              </a:cxn>
              <a:cxn ang="0">
                <a:pos x="6" y="0"/>
              </a:cxn>
              <a:cxn ang="0">
                <a:pos x="10" y="0"/>
              </a:cxn>
            </a:cxnLst>
            <a:rect l="0" t="0" r="r" b="b"/>
            <a:pathLst>
              <a:path w="10" h="4">
                <a:moveTo>
                  <a:pt x="10" y="0"/>
                </a:moveTo>
                <a:lnTo>
                  <a:pt x="8" y="2"/>
                </a:lnTo>
                <a:lnTo>
                  <a:pt x="4" y="4"/>
                </a:lnTo>
                <a:lnTo>
                  <a:pt x="2" y="2"/>
                </a:lnTo>
                <a:lnTo>
                  <a:pt x="0" y="0"/>
                </a:lnTo>
                <a:lnTo>
                  <a:pt x="6" y="0"/>
                </a:lnTo>
                <a:lnTo>
                  <a:pt x="1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9" name="Freeform 249">
            <a:extLst>
              <a:ext uri="{FF2B5EF4-FFF2-40B4-BE49-F238E27FC236}">
                <a16:creationId xmlns:a16="http://schemas.microsoft.com/office/drawing/2014/main" id="{D853D53E-B65B-495B-BFEA-82235E10F0EE}"/>
              </a:ext>
            </a:extLst>
          </p:cNvPr>
          <p:cNvSpPr>
            <a:spLocks/>
          </p:cNvSpPr>
          <p:nvPr/>
        </p:nvSpPr>
        <p:spPr bwMode="auto">
          <a:xfrm>
            <a:off x="8007876" y="3493930"/>
            <a:ext cx="34205" cy="60068"/>
          </a:xfrm>
          <a:custGeom>
            <a:avLst/>
            <a:gdLst/>
            <a:ahLst/>
            <a:cxnLst>
              <a:cxn ang="0">
                <a:pos x="18" y="6"/>
              </a:cxn>
              <a:cxn ang="0">
                <a:pos x="16" y="12"/>
              </a:cxn>
              <a:cxn ang="0">
                <a:pos x="14" y="14"/>
              </a:cxn>
              <a:cxn ang="0">
                <a:pos x="12" y="18"/>
              </a:cxn>
              <a:cxn ang="0">
                <a:pos x="12" y="24"/>
              </a:cxn>
              <a:cxn ang="0">
                <a:pos x="12" y="26"/>
              </a:cxn>
              <a:cxn ang="0">
                <a:pos x="12" y="28"/>
              </a:cxn>
              <a:cxn ang="0">
                <a:pos x="14" y="32"/>
              </a:cxn>
              <a:cxn ang="0">
                <a:pos x="14" y="34"/>
              </a:cxn>
              <a:cxn ang="0">
                <a:pos x="10" y="34"/>
              </a:cxn>
              <a:cxn ang="0">
                <a:pos x="6" y="28"/>
              </a:cxn>
              <a:cxn ang="0">
                <a:pos x="2" y="24"/>
              </a:cxn>
              <a:cxn ang="0">
                <a:pos x="0" y="18"/>
              </a:cxn>
              <a:cxn ang="0">
                <a:pos x="2" y="16"/>
              </a:cxn>
              <a:cxn ang="0">
                <a:pos x="6" y="16"/>
              </a:cxn>
              <a:cxn ang="0">
                <a:pos x="6" y="8"/>
              </a:cxn>
              <a:cxn ang="0">
                <a:pos x="8" y="2"/>
              </a:cxn>
              <a:cxn ang="0">
                <a:pos x="10" y="0"/>
              </a:cxn>
              <a:cxn ang="0">
                <a:pos x="12" y="0"/>
              </a:cxn>
              <a:cxn ang="0">
                <a:pos x="16" y="2"/>
              </a:cxn>
              <a:cxn ang="0">
                <a:pos x="18" y="4"/>
              </a:cxn>
              <a:cxn ang="0">
                <a:pos x="18" y="6"/>
              </a:cxn>
            </a:cxnLst>
            <a:rect l="0" t="0" r="r" b="b"/>
            <a:pathLst>
              <a:path w="18" h="34">
                <a:moveTo>
                  <a:pt x="18" y="6"/>
                </a:moveTo>
                <a:lnTo>
                  <a:pt x="16" y="12"/>
                </a:lnTo>
                <a:lnTo>
                  <a:pt x="14" y="14"/>
                </a:lnTo>
                <a:lnTo>
                  <a:pt x="12" y="18"/>
                </a:lnTo>
                <a:lnTo>
                  <a:pt x="12" y="24"/>
                </a:lnTo>
                <a:lnTo>
                  <a:pt x="12" y="26"/>
                </a:lnTo>
                <a:lnTo>
                  <a:pt x="12" y="28"/>
                </a:lnTo>
                <a:lnTo>
                  <a:pt x="14" y="32"/>
                </a:lnTo>
                <a:lnTo>
                  <a:pt x="14" y="34"/>
                </a:lnTo>
                <a:lnTo>
                  <a:pt x="10" y="34"/>
                </a:lnTo>
                <a:lnTo>
                  <a:pt x="6" y="28"/>
                </a:lnTo>
                <a:lnTo>
                  <a:pt x="2" y="24"/>
                </a:lnTo>
                <a:lnTo>
                  <a:pt x="0" y="18"/>
                </a:lnTo>
                <a:lnTo>
                  <a:pt x="2" y="16"/>
                </a:lnTo>
                <a:lnTo>
                  <a:pt x="6" y="16"/>
                </a:lnTo>
                <a:lnTo>
                  <a:pt x="6" y="8"/>
                </a:lnTo>
                <a:lnTo>
                  <a:pt x="8" y="2"/>
                </a:lnTo>
                <a:lnTo>
                  <a:pt x="10" y="0"/>
                </a:lnTo>
                <a:lnTo>
                  <a:pt x="12" y="0"/>
                </a:lnTo>
                <a:lnTo>
                  <a:pt x="16" y="2"/>
                </a:lnTo>
                <a:lnTo>
                  <a:pt x="18" y="4"/>
                </a:lnTo>
                <a:lnTo>
                  <a:pt x="18" y="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0" name="Freeform 250">
            <a:extLst>
              <a:ext uri="{FF2B5EF4-FFF2-40B4-BE49-F238E27FC236}">
                <a16:creationId xmlns:a16="http://schemas.microsoft.com/office/drawing/2014/main" id="{BB8511AB-5645-414A-96A3-97D934E63925}"/>
              </a:ext>
            </a:extLst>
          </p:cNvPr>
          <p:cNvSpPr>
            <a:spLocks/>
          </p:cNvSpPr>
          <p:nvPr/>
        </p:nvSpPr>
        <p:spPr bwMode="auto">
          <a:xfrm>
            <a:off x="8047213" y="3518282"/>
            <a:ext cx="27364" cy="21105"/>
          </a:xfrm>
          <a:custGeom>
            <a:avLst/>
            <a:gdLst/>
            <a:ahLst/>
            <a:cxnLst>
              <a:cxn ang="0">
                <a:pos x="14" y="0"/>
              </a:cxn>
              <a:cxn ang="0">
                <a:pos x="12" y="4"/>
              </a:cxn>
              <a:cxn ang="0">
                <a:pos x="10" y="8"/>
              </a:cxn>
              <a:cxn ang="0">
                <a:pos x="8" y="10"/>
              </a:cxn>
              <a:cxn ang="0">
                <a:pos x="4" y="12"/>
              </a:cxn>
              <a:cxn ang="0">
                <a:pos x="2" y="10"/>
              </a:cxn>
              <a:cxn ang="0">
                <a:pos x="0" y="8"/>
              </a:cxn>
              <a:cxn ang="0">
                <a:pos x="2" y="4"/>
              </a:cxn>
              <a:cxn ang="0">
                <a:pos x="6" y="0"/>
              </a:cxn>
              <a:cxn ang="0">
                <a:pos x="10" y="0"/>
              </a:cxn>
              <a:cxn ang="0">
                <a:pos x="14" y="0"/>
              </a:cxn>
            </a:cxnLst>
            <a:rect l="0" t="0" r="r" b="b"/>
            <a:pathLst>
              <a:path w="14" h="12">
                <a:moveTo>
                  <a:pt x="14" y="0"/>
                </a:moveTo>
                <a:lnTo>
                  <a:pt x="12" y="4"/>
                </a:lnTo>
                <a:lnTo>
                  <a:pt x="10" y="8"/>
                </a:lnTo>
                <a:lnTo>
                  <a:pt x="8" y="10"/>
                </a:lnTo>
                <a:lnTo>
                  <a:pt x="4" y="12"/>
                </a:lnTo>
                <a:lnTo>
                  <a:pt x="2" y="10"/>
                </a:lnTo>
                <a:lnTo>
                  <a:pt x="0" y="8"/>
                </a:lnTo>
                <a:lnTo>
                  <a:pt x="2" y="4"/>
                </a:lnTo>
                <a:lnTo>
                  <a:pt x="6" y="0"/>
                </a:lnTo>
                <a:lnTo>
                  <a:pt x="10" y="0"/>
                </a:lnTo>
                <a:lnTo>
                  <a:pt x="1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1" name="Freeform 251">
            <a:extLst>
              <a:ext uri="{FF2B5EF4-FFF2-40B4-BE49-F238E27FC236}">
                <a16:creationId xmlns:a16="http://schemas.microsoft.com/office/drawing/2014/main" id="{C909A38D-2883-4CE7-983A-932D091619DD}"/>
              </a:ext>
            </a:extLst>
          </p:cNvPr>
          <p:cNvSpPr>
            <a:spLocks/>
          </p:cNvSpPr>
          <p:nvPr/>
        </p:nvSpPr>
        <p:spPr bwMode="auto">
          <a:xfrm>
            <a:off x="8023269" y="3438733"/>
            <a:ext cx="23943" cy="29222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0" y="0"/>
              </a:cxn>
              <a:cxn ang="0">
                <a:pos x="2" y="0"/>
              </a:cxn>
              <a:cxn ang="0">
                <a:pos x="6" y="4"/>
              </a:cxn>
              <a:cxn ang="0">
                <a:pos x="8" y="6"/>
              </a:cxn>
              <a:cxn ang="0">
                <a:pos x="12" y="10"/>
              </a:cxn>
              <a:cxn ang="0">
                <a:pos x="12" y="14"/>
              </a:cxn>
              <a:cxn ang="0">
                <a:pos x="12" y="16"/>
              </a:cxn>
              <a:cxn ang="0">
                <a:pos x="10" y="14"/>
              </a:cxn>
              <a:cxn ang="0">
                <a:pos x="6" y="8"/>
              </a:cxn>
              <a:cxn ang="0">
                <a:pos x="0" y="8"/>
              </a:cxn>
            </a:cxnLst>
            <a:rect l="0" t="0" r="r" b="b"/>
            <a:pathLst>
              <a:path w="12" h="16">
                <a:moveTo>
                  <a:pt x="0" y="8"/>
                </a:moveTo>
                <a:lnTo>
                  <a:pt x="0" y="0"/>
                </a:lnTo>
                <a:lnTo>
                  <a:pt x="2" y="0"/>
                </a:lnTo>
                <a:lnTo>
                  <a:pt x="6" y="4"/>
                </a:lnTo>
                <a:lnTo>
                  <a:pt x="8" y="6"/>
                </a:lnTo>
                <a:lnTo>
                  <a:pt x="12" y="10"/>
                </a:lnTo>
                <a:lnTo>
                  <a:pt x="12" y="14"/>
                </a:lnTo>
                <a:lnTo>
                  <a:pt x="12" y="16"/>
                </a:lnTo>
                <a:lnTo>
                  <a:pt x="10" y="14"/>
                </a:lnTo>
                <a:lnTo>
                  <a:pt x="6" y="8"/>
                </a:lnTo>
                <a:lnTo>
                  <a:pt x="0" y="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2" name="Freeform 252">
            <a:extLst>
              <a:ext uri="{FF2B5EF4-FFF2-40B4-BE49-F238E27FC236}">
                <a16:creationId xmlns:a16="http://schemas.microsoft.com/office/drawing/2014/main" id="{D0D3FB8A-F15E-4AE5-A385-B72236B5D298}"/>
              </a:ext>
            </a:extLst>
          </p:cNvPr>
          <p:cNvSpPr>
            <a:spLocks/>
          </p:cNvSpPr>
          <p:nvPr/>
        </p:nvSpPr>
        <p:spPr bwMode="auto">
          <a:xfrm>
            <a:off x="7929204" y="3411134"/>
            <a:ext cx="39336" cy="35716"/>
          </a:xfrm>
          <a:custGeom>
            <a:avLst/>
            <a:gdLst/>
            <a:ahLst/>
            <a:cxnLst>
              <a:cxn ang="0">
                <a:pos x="16" y="20"/>
              </a:cxn>
              <a:cxn ang="0">
                <a:pos x="12" y="16"/>
              </a:cxn>
              <a:cxn ang="0">
                <a:pos x="6" y="10"/>
              </a:cxn>
              <a:cxn ang="0">
                <a:pos x="0" y="0"/>
              </a:cxn>
              <a:cxn ang="0">
                <a:pos x="6" y="0"/>
              </a:cxn>
              <a:cxn ang="0">
                <a:pos x="14" y="4"/>
              </a:cxn>
              <a:cxn ang="0">
                <a:pos x="18" y="4"/>
              </a:cxn>
              <a:cxn ang="0">
                <a:pos x="20" y="8"/>
              </a:cxn>
              <a:cxn ang="0">
                <a:pos x="20" y="12"/>
              </a:cxn>
              <a:cxn ang="0">
                <a:pos x="20" y="16"/>
              </a:cxn>
              <a:cxn ang="0">
                <a:pos x="18" y="20"/>
              </a:cxn>
              <a:cxn ang="0">
                <a:pos x="16" y="20"/>
              </a:cxn>
            </a:cxnLst>
            <a:rect l="0" t="0" r="r" b="b"/>
            <a:pathLst>
              <a:path w="20" h="20">
                <a:moveTo>
                  <a:pt x="16" y="20"/>
                </a:moveTo>
                <a:lnTo>
                  <a:pt x="12" y="16"/>
                </a:lnTo>
                <a:lnTo>
                  <a:pt x="6" y="10"/>
                </a:lnTo>
                <a:lnTo>
                  <a:pt x="0" y="0"/>
                </a:lnTo>
                <a:lnTo>
                  <a:pt x="6" y="0"/>
                </a:lnTo>
                <a:lnTo>
                  <a:pt x="14" y="4"/>
                </a:lnTo>
                <a:lnTo>
                  <a:pt x="18" y="4"/>
                </a:lnTo>
                <a:lnTo>
                  <a:pt x="20" y="8"/>
                </a:lnTo>
                <a:lnTo>
                  <a:pt x="20" y="12"/>
                </a:lnTo>
                <a:lnTo>
                  <a:pt x="20" y="16"/>
                </a:lnTo>
                <a:lnTo>
                  <a:pt x="18" y="20"/>
                </a:lnTo>
                <a:lnTo>
                  <a:pt x="16" y="2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mpd="sng">
            <a:solidFill>
              <a:srgbClr val="BBAD8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3" name="Freeform 253">
            <a:extLst>
              <a:ext uri="{FF2B5EF4-FFF2-40B4-BE49-F238E27FC236}">
                <a16:creationId xmlns:a16="http://schemas.microsoft.com/office/drawing/2014/main" id="{67BC73F3-7D7B-49E9-BD22-23E6A0080CB1}"/>
              </a:ext>
            </a:extLst>
          </p:cNvPr>
          <p:cNvSpPr>
            <a:spLocks/>
          </p:cNvSpPr>
          <p:nvPr/>
        </p:nvSpPr>
        <p:spPr bwMode="auto">
          <a:xfrm>
            <a:off x="2639117" y="3669264"/>
            <a:ext cx="106035" cy="123383"/>
          </a:xfrm>
          <a:custGeom>
            <a:avLst/>
            <a:gdLst/>
            <a:ahLst/>
            <a:cxnLst>
              <a:cxn ang="0">
                <a:pos x="0" y="64"/>
              </a:cxn>
              <a:cxn ang="0">
                <a:pos x="7" y="46"/>
              </a:cxn>
              <a:cxn ang="0">
                <a:pos x="6" y="33"/>
              </a:cxn>
              <a:cxn ang="0">
                <a:pos x="0" y="24"/>
              </a:cxn>
              <a:cxn ang="0">
                <a:pos x="9" y="4"/>
              </a:cxn>
              <a:cxn ang="0">
                <a:pos x="25" y="0"/>
              </a:cxn>
              <a:cxn ang="0">
                <a:pos x="54" y="24"/>
              </a:cxn>
              <a:cxn ang="0">
                <a:pos x="45" y="40"/>
              </a:cxn>
              <a:cxn ang="0">
                <a:pos x="21" y="67"/>
              </a:cxn>
              <a:cxn ang="0">
                <a:pos x="0" y="64"/>
              </a:cxn>
            </a:cxnLst>
            <a:rect l="0" t="0" r="r" b="b"/>
            <a:pathLst>
              <a:path w="54" h="67">
                <a:moveTo>
                  <a:pt x="0" y="64"/>
                </a:moveTo>
                <a:lnTo>
                  <a:pt x="7" y="46"/>
                </a:lnTo>
                <a:lnTo>
                  <a:pt x="6" y="33"/>
                </a:lnTo>
                <a:lnTo>
                  <a:pt x="0" y="24"/>
                </a:lnTo>
                <a:lnTo>
                  <a:pt x="9" y="4"/>
                </a:lnTo>
                <a:lnTo>
                  <a:pt x="25" y="0"/>
                </a:lnTo>
                <a:lnTo>
                  <a:pt x="54" y="24"/>
                </a:lnTo>
                <a:lnTo>
                  <a:pt x="45" y="40"/>
                </a:lnTo>
                <a:lnTo>
                  <a:pt x="21" y="67"/>
                </a:lnTo>
                <a:lnTo>
                  <a:pt x="0" y="6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ap="flat" cmpd="sng">
            <a:solidFill>
              <a:srgbClr val="BBAD87"/>
            </a:solidFill>
            <a:prstDash val="solid"/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4" name="Freeform 287">
            <a:extLst>
              <a:ext uri="{FF2B5EF4-FFF2-40B4-BE49-F238E27FC236}">
                <a16:creationId xmlns:a16="http://schemas.microsoft.com/office/drawing/2014/main" id="{EBA30968-DB5B-4234-9964-8BBB348CCCFC}"/>
              </a:ext>
            </a:extLst>
          </p:cNvPr>
          <p:cNvSpPr>
            <a:spLocks/>
          </p:cNvSpPr>
          <p:nvPr/>
        </p:nvSpPr>
        <p:spPr bwMode="auto">
          <a:xfrm>
            <a:off x="6427825" y="2365595"/>
            <a:ext cx="69627" cy="6250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2" y="35"/>
              </a:cxn>
              <a:cxn ang="0">
                <a:pos x="37" y="29"/>
              </a:cxn>
              <a:cxn ang="0">
                <a:pos x="37" y="14"/>
              </a:cxn>
              <a:cxn ang="0">
                <a:pos x="22" y="3"/>
              </a:cxn>
              <a:cxn ang="0">
                <a:pos x="12" y="5"/>
              </a:cxn>
              <a:cxn ang="0">
                <a:pos x="0" y="0"/>
              </a:cxn>
            </a:cxnLst>
            <a:rect l="0" t="0" r="r" b="b"/>
            <a:pathLst>
              <a:path w="37" h="35">
                <a:moveTo>
                  <a:pt x="0" y="0"/>
                </a:moveTo>
                <a:lnTo>
                  <a:pt x="12" y="35"/>
                </a:lnTo>
                <a:lnTo>
                  <a:pt x="37" y="29"/>
                </a:lnTo>
                <a:lnTo>
                  <a:pt x="37" y="14"/>
                </a:lnTo>
                <a:lnTo>
                  <a:pt x="22" y="3"/>
                </a:lnTo>
                <a:lnTo>
                  <a:pt x="12" y="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 cap="flat" cmpd="sng">
            <a:solidFill>
              <a:srgbClr val="ACC6D0"/>
            </a:solidFill>
            <a:prstDash val="solid"/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5" name="Rounded Rectangular Callout 255">
            <a:extLst>
              <a:ext uri="{FF2B5EF4-FFF2-40B4-BE49-F238E27FC236}">
                <a16:creationId xmlns:a16="http://schemas.microsoft.com/office/drawing/2014/main" id="{9070DCA9-4B15-4D0C-B230-BC0ADCC6716A}"/>
              </a:ext>
            </a:extLst>
          </p:cNvPr>
          <p:cNvSpPr/>
          <p:nvPr/>
        </p:nvSpPr>
        <p:spPr>
          <a:xfrm>
            <a:off x="2935655" y="4924200"/>
            <a:ext cx="1411820" cy="942187"/>
          </a:xfrm>
          <a:prstGeom prst="wedgeRoundRectCallout">
            <a:avLst>
              <a:gd name="adj1" fmla="val 71094"/>
              <a:gd name="adj2" fmla="val -121474"/>
              <a:gd name="adj3" fmla="val 1666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Label 1</a:t>
            </a:r>
          </a:p>
        </p:txBody>
      </p:sp>
    </p:spTree>
    <p:extLst>
      <p:ext uri="{BB962C8B-B14F-4D97-AF65-F5344CB8AC3E}">
        <p14:creationId xmlns:p14="http://schemas.microsoft.com/office/powerpoint/2010/main" val="317305464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8869F42-6D93-4C35-8FA5-AE406994C1E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942939B-7B0C-42A5-8BC5-642B253241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2A5EA90-17C9-4BD5-BD0D-74A5419E1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ndard NHSE slide</a:t>
            </a:r>
          </a:p>
        </p:txBody>
      </p:sp>
    </p:spTree>
    <p:extLst>
      <p:ext uri="{BB962C8B-B14F-4D97-AF65-F5344CB8AC3E}">
        <p14:creationId xmlns:p14="http://schemas.microsoft.com/office/powerpoint/2010/main" val="37706646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7E2F5E4-9A4A-430D-935F-0BB0A93336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8E14C6-7F78-483A-831D-45573D0E2A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u="sng" dirty="0"/>
              <a:t>All fonts should be consistent</a:t>
            </a:r>
            <a:r>
              <a:rPr lang="en-GB" b="0" dirty="0"/>
              <a:t> throughout a presentation; the preferred font being </a:t>
            </a:r>
            <a:r>
              <a:rPr lang="en-GB" u="sng" dirty="0"/>
              <a:t>Ari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All slides should aim to have text no smaller than font size 12</a:t>
            </a:r>
          </a:p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558F30D-0422-4144-95E8-0AC861C3F3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it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2AA115-051E-4796-AAE2-9E3F1CEBE6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Always in </a:t>
            </a:r>
            <a:r>
              <a:rPr lang="en-GB" u="sng" dirty="0"/>
              <a:t>font size 2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No more than two lines lo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Remember to update the presentation title at the bottom of the page, or delete the ‘presentation title’ text box</a:t>
            </a:r>
          </a:p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828648-5458-4E4C-A877-EFE01F9D5099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en-GB" dirty="0"/>
              <a:t>Fon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3D4894F-C5D9-410B-A7DD-ADE8DD52FC3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Actual graphs (with editable data) are usually more useful, and look much better (due to a lack of pixilation) than pictures of graphs. </a:t>
            </a:r>
            <a:r>
              <a:rPr lang="en-GB" u="sng" dirty="0"/>
              <a:t>Always endeavour to have the actual graphs in your present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To prevent data being edited or misused by other parties, </a:t>
            </a:r>
            <a:r>
              <a:rPr lang="en-GB" u="sng" dirty="0"/>
              <a:t>email your PowerPoints as PDF</a:t>
            </a:r>
            <a:r>
              <a:rPr lang="en-GB" dirty="0"/>
              <a:t> </a:t>
            </a:r>
            <a:r>
              <a:rPr lang="en-GB" b="0" dirty="0"/>
              <a:t>wherever possibl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Do not use ‘clip art’ or overly detailed charts/tab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Use the NHS colours embedded in this template, found in font colour, shape fill, shape outline etc.</a:t>
            </a:r>
          </a:p>
          <a:p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285904D-A987-44A9-A981-A5A13352CBCF}"/>
              </a:ext>
            </a:extLst>
          </p:cNvPr>
          <p:cNvSpPr>
            <a:spLocks noGrp="1"/>
          </p:cNvSpPr>
          <p:nvPr>
            <p:ph type="body" idx="19"/>
          </p:nvPr>
        </p:nvSpPr>
        <p:spPr/>
        <p:txBody>
          <a:bodyPr/>
          <a:lstStyle/>
          <a:p>
            <a:r>
              <a:rPr lang="en-GB" dirty="0"/>
              <a:t>Graphics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2A6153A-DA12-42FB-9E36-05D339BF26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re are a number of key style guidelines that should be followed at all times</a:t>
            </a:r>
          </a:p>
        </p:txBody>
      </p:sp>
    </p:spTree>
    <p:extLst>
      <p:ext uri="{BB962C8B-B14F-4D97-AF65-F5344CB8AC3E}">
        <p14:creationId xmlns:p14="http://schemas.microsoft.com/office/powerpoint/2010/main" val="13072179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AC8D19-7C5E-4BE1-A48A-DF03CB57AE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996D23-B8D6-4342-AE79-3F52FAC47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51D502-CF87-4BB5-81C6-F8024BE3E37F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83266" y="1628800"/>
            <a:ext cx="7525000" cy="360040"/>
          </a:xfrm>
          <a:noFill/>
        </p:spPr>
        <p:txBody>
          <a:bodyPr/>
          <a:lstStyle/>
          <a:p>
            <a:pPr marL="0" indent="0">
              <a:buNone/>
            </a:pPr>
            <a:r>
              <a:rPr lang="en-GB" dirty="0">
                <a:solidFill>
                  <a:schemeClr val="tx1"/>
                </a:solidFill>
              </a:rPr>
              <a:t>1.  Overview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315FCD-46C2-4266-BC22-FE627820B3D1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solidFill>
            <a:schemeClr val="accent1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2.  Text element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6266D40-4F90-40EE-922D-D067B0E0EEF4}"/>
              </a:ext>
            </a:extLst>
          </p:cNvPr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r>
              <a:rPr lang="en-GB" dirty="0"/>
              <a:t>3.  Charts and graph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F380767-1B25-4604-A7B8-050B601AA9DC}"/>
              </a:ext>
            </a:extLst>
          </p:cNvPr>
          <p:cNvSpPr>
            <a:spLocks noGrp="1"/>
          </p:cNvSpPr>
          <p:nvPr>
            <p:ph type="body" idx="18"/>
          </p:nvPr>
        </p:nvSpPr>
        <p:spPr/>
        <p:txBody>
          <a:bodyPr/>
          <a:lstStyle/>
          <a:p>
            <a:r>
              <a:rPr lang="en-GB" dirty="0"/>
              <a:t>4.  Diagram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094506-9521-44E3-B783-DFC26F12F5C9}"/>
              </a:ext>
            </a:extLst>
          </p:cNvPr>
          <p:cNvSpPr>
            <a:spLocks noGrp="1"/>
          </p:cNvSpPr>
          <p:nvPr>
            <p:ph type="body" idx="19"/>
          </p:nvPr>
        </p:nvSpPr>
        <p:spPr/>
        <p:txBody>
          <a:bodyPr/>
          <a:lstStyle/>
          <a:p>
            <a:r>
              <a:rPr lang="en-GB" dirty="0"/>
              <a:t>5.  Tab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53B1C36-7E2B-4D7E-830B-D40EE54C45C2}"/>
              </a:ext>
            </a:extLst>
          </p:cNvPr>
          <p:cNvSpPr>
            <a:spLocks noGrp="1"/>
          </p:cNvSpPr>
          <p:nvPr>
            <p:ph type="body" idx="20"/>
          </p:nvPr>
        </p:nvSpPr>
        <p:spPr/>
        <p:txBody>
          <a:bodyPr/>
          <a:lstStyle/>
          <a:p>
            <a:r>
              <a:rPr lang="en-GB" dirty="0"/>
              <a:t>6.  Timelin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5707A82-AD0B-4D55-B6FB-BB454CF223C8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noFill/>
        </p:spPr>
        <p:txBody>
          <a:bodyPr/>
          <a:lstStyle/>
          <a:p>
            <a:pPr marL="0" indent="0">
              <a:buNone/>
            </a:pPr>
            <a:r>
              <a:rPr lang="en-GB" dirty="0">
                <a:solidFill>
                  <a:schemeClr val="tx1"/>
                </a:solidFill>
              </a:rPr>
              <a:t>3 - 5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869AC75-AF82-449C-B905-9777235DC350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solidFill>
            <a:schemeClr val="accent1"/>
          </a:solidFill>
          <a:ln>
            <a:noFill/>
          </a:ln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7 - 14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F696C2B-6A1B-443E-B3C1-C00B6CD25D52}"/>
              </a:ext>
            </a:extLst>
          </p:cNvPr>
          <p:cNvSpPr>
            <a:spLocks noGrp="1"/>
          </p:cNvSpPr>
          <p:nvPr>
            <p:ph type="body" idx="23"/>
          </p:nvPr>
        </p:nvSpPr>
        <p:spPr/>
        <p:txBody>
          <a:bodyPr/>
          <a:lstStyle/>
          <a:p>
            <a:r>
              <a:rPr lang="en-GB" dirty="0"/>
              <a:t>16 - 28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7B042C2-290F-4877-8BB2-EBE52AB8F314}"/>
              </a:ext>
            </a:extLst>
          </p:cNvPr>
          <p:cNvSpPr>
            <a:spLocks noGrp="1"/>
          </p:cNvSpPr>
          <p:nvPr>
            <p:ph type="body" idx="24"/>
          </p:nvPr>
        </p:nvSpPr>
        <p:spPr/>
        <p:txBody>
          <a:bodyPr/>
          <a:lstStyle/>
          <a:p>
            <a:r>
              <a:rPr lang="en-GB" dirty="0"/>
              <a:t>30 - 35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DF20364-900C-44B9-8358-3A71195CCF88}"/>
              </a:ext>
            </a:extLst>
          </p:cNvPr>
          <p:cNvSpPr>
            <a:spLocks noGrp="1"/>
          </p:cNvSpPr>
          <p:nvPr>
            <p:ph type="body" idx="25"/>
          </p:nvPr>
        </p:nvSpPr>
        <p:spPr/>
        <p:txBody>
          <a:bodyPr/>
          <a:lstStyle/>
          <a:p>
            <a:r>
              <a:rPr lang="en-GB" dirty="0"/>
              <a:t>37 - 38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412E04B-DAE9-4C90-A9CC-3B82D772B51B}"/>
              </a:ext>
            </a:extLst>
          </p:cNvPr>
          <p:cNvSpPr>
            <a:spLocks noGrp="1"/>
          </p:cNvSpPr>
          <p:nvPr>
            <p:ph type="body" idx="26"/>
          </p:nvPr>
        </p:nvSpPr>
        <p:spPr/>
        <p:txBody>
          <a:bodyPr/>
          <a:lstStyle/>
          <a:p>
            <a:r>
              <a:rPr lang="en-GB" dirty="0"/>
              <a:t>40 - 41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D1B32BE-4739-4C59-9A70-ECCADD16F2DB}"/>
              </a:ext>
            </a:extLst>
          </p:cNvPr>
          <p:cNvSpPr>
            <a:spLocks noGrp="1"/>
          </p:cNvSpPr>
          <p:nvPr>
            <p:ph type="body" idx="2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A1FE6FD-4AF3-4227-9C6B-E088CBC06EA8}"/>
              </a:ext>
            </a:extLst>
          </p:cNvPr>
          <p:cNvSpPr txBox="1">
            <a:spLocks/>
          </p:cNvSpPr>
          <p:nvPr/>
        </p:nvSpPr>
        <p:spPr>
          <a:xfrm>
            <a:off x="188976" y="5652236"/>
            <a:ext cx="7697991" cy="360040"/>
          </a:xfrm>
          <a:prstGeom prst="rect">
            <a:avLst/>
          </a:prstGeom>
          <a:noFill/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7.  Maps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0CBC251A-815C-4B40-AC80-98D97C23DE39}"/>
              </a:ext>
            </a:extLst>
          </p:cNvPr>
          <p:cNvSpPr txBox="1">
            <a:spLocks/>
          </p:cNvSpPr>
          <p:nvPr/>
        </p:nvSpPr>
        <p:spPr>
          <a:xfrm>
            <a:off x="7706885" y="5652236"/>
            <a:ext cx="1248139" cy="360040"/>
          </a:xfrm>
          <a:prstGeom prst="rect">
            <a:avLst/>
          </a:prstGeom>
          <a:noFill/>
        </p:spPr>
        <p:txBody>
          <a:bodyPr anchor="ctr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43 - 45</a:t>
            </a:r>
          </a:p>
        </p:txBody>
      </p:sp>
    </p:spTree>
    <p:extLst>
      <p:ext uri="{BB962C8B-B14F-4D97-AF65-F5344CB8AC3E}">
        <p14:creationId xmlns:p14="http://schemas.microsoft.com/office/powerpoint/2010/main" val="11782717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F9DCE66-3852-44FE-A6E3-2F73BD969E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854AC89-BD18-4373-977D-74A54AA68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yout title: Word Slide (Exec summary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1EA844-3148-4DEF-BC84-205D82E2C4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1</a:t>
            </a:r>
          </a:p>
          <a:p>
            <a:pPr marL="646113" lvl="1" indent="-285750">
              <a:buFont typeface="Courier New" panose="02070309020205020404" pitchFamily="49" charset="0"/>
              <a:buChar char="o"/>
            </a:pPr>
            <a:r>
              <a:rPr lang="en-GB" dirty="0"/>
              <a:t>Sub-bulle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2</a:t>
            </a:r>
          </a:p>
          <a:p>
            <a:pPr marL="646112" lvl="2" indent="-285750"/>
            <a:r>
              <a:rPr lang="en-GB" dirty="0"/>
              <a:t>Sub-bullet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3</a:t>
            </a:r>
          </a:p>
          <a:p>
            <a:pPr marL="646112" lvl="2" indent="-285750"/>
            <a:r>
              <a:rPr lang="en-GB" dirty="0"/>
              <a:t>Sub-bullet 3</a:t>
            </a:r>
          </a:p>
          <a:p>
            <a:endParaRPr lang="en-GB" dirty="0"/>
          </a:p>
        </p:txBody>
      </p:sp>
      <p:sp>
        <p:nvSpPr>
          <p:cNvPr id="5" name="takeaway_box">
            <a:extLst>
              <a:ext uri="{FF2B5EF4-FFF2-40B4-BE49-F238E27FC236}">
                <a16:creationId xmlns:a16="http://schemas.microsoft.com/office/drawing/2014/main" id="{96EBE06B-E984-4ECA-AC1B-C0D27C0A6CD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5754" y="5388863"/>
            <a:ext cx="7892492" cy="9445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y box/transition to next slide (optional)</a:t>
            </a:r>
          </a:p>
        </p:txBody>
      </p:sp>
    </p:spTree>
    <p:extLst>
      <p:ext uri="{BB962C8B-B14F-4D97-AF65-F5344CB8AC3E}">
        <p14:creationId xmlns:p14="http://schemas.microsoft.com/office/powerpoint/2010/main" val="32123782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ED4A81-7245-40C1-9CF9-8E712533AFC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698135-C676-4848-B4D6-0B70ED7FA5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1</a:t>
            </a:r>
          </a:p>
          <a:p>
            <a:pPr marL="646113" lvl="1" indent="-285750">
              <a:buFont typeface="Courier New" panose="02070309020205020404" pitchFamily="49" charset="0"/>
              <a:buChar char="o"/>
            </a:pPr>
            <a:r>
              <a:rPr lang="en-GB" dirty="0"/>
              <a:t>Sub-bulle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2</a:t>
            </a:r>
          </a:p>
          <a:p>
            <a:pPr marL="646112" lvl="2" indent="-285750"/>
            <a:r>
              <a:rPr lang="en-GB" dirty="0"/>
              <a:t>Sub-bullet 2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A8BDBF-80FC-4974-9C3D-A08A63A71C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1</a:t>
            </a:r>
          </a:p>
          <a:p>
            <a:pPr marL="646113" lvl="1" indent="-285750">
              <a:buFont typeface="Courier New" panose="02070309020205020404" pitchFamily="49" charset="0"/>
              <a:buChar char="o"/>
            </a:pPr>
            <a:r>
              <a:rPr lang="en-GB" dirty="0"/>
              <a:t>Sub-bulle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2</a:t>
            </a:r>
          </a:p>
          <a:p>
            <a:pPr marL="646112" lvl="2" indent="-285750"/>
            <a:r>
              <a:rPr lang="en-GB" dirty="0"/>
              <a:t>Sub-bullet 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D66F4F-FE72-4230-A9A8-28EDDF7C70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First subhead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4C2284C-51FA-4957-8BDD-DAA62CC3786D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GB" dirty="0"/>
              <a:t>Second subheading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4688CE2-2338-4F6D-9190-AFB3461C0E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yout title: Two columns </a:t>
            </a:r>
            <a:br>
              <a:rPr lang="en-GB" dirty="0"/>
            </a:br>
            <a:r>
              <a:rPr lang="en-GB" dirty="0"/>
              <a:t>(with optional arrow if it fits the flow)</a:t>
            </a:r>
          </a:p>
        </p:txBody>
      </p:sp>
      <p:sp>
        <p:nvSpPr>
          <p:cNvPr id="8" name="FlowTriangle">
            <a:extLst>
              <a:ext uri="{FF2B5EF4-FFF2-40B4-BE49-F238E27FC236}">
                <a16:creationId xmlns:a16="http://schemas.microsoft.com/office/drawing/2014/main" id="{ED7D6631-8059-41C6-8CD6-9EA57030CE82}"/>
              </a:ext>
            </a:extLst>
          </p:cNvPr>
          <p:cNvSpPr>
            <a:spLocks noChangeArrowheads="1"/>
          </p:cNvSpPr>
          <p:nvPr/>
        </p:nvSpPr>
        <p:spPr bwMode="gray">
          <a:xfrm rot="5400000">
            <a:off x="2819400" y="3284538"/>
            <a:ext cx="3505200" cy="288925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de-DE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01046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09343D7-2982-4AEE-B7A0-0E36879718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owerPoint Style Guide / Supporting Templat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F4AA32-082F-498E-A393-6FA62AD754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1</a:t>
            </a:r>
          </a:p>
          <a:p>
            <a:pPr marL="646113" lvl="1" indent="-285750">
              <a:buFont typeface="Courier New" panose="02070309020205020404" pitchFamily="49" charset="0"/>
              <a:buChar char="o"/>
            </a:pPr>
            <a:r>
              <a:rPr lang="en-GB" dirty="0"/>
              <a:t>Sub-bulle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2</a:t>
            </a:r>
          </a:p>
          <a:p>
            <a:pPr marL="646112" lvl="2" indent="-285750"/>
            <a:r>
              <a:rPr lang="en-GB" dirty="0"/>
              <a:t>Sub-bullet 2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34D5D40-EB1A-4972-8CDF-CE2ACC4E16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First subhead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1DC0EB1-9A30-4FEE-8C2D-E1313EEF46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1</a:t>
            </a:r>
          </a:p>
          <a:p>
            <a:pPr marL="646113" lvl="1" indent="-285750">
              <a:buFont typeface="Courier New" panose="02070309020205020404" pitchFamily="49" charset="0"/>
              <a:buChar char="o"/>
            </a:pPr>
            <a:r>
              <a:rPr lang="en-GB" dirty="0"/>
              <a:t>Sub-bulle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2</a:t>
            </a:r>
          </a:p>
          <a:p>
            <a:pPr marL="646112" lvl="2" indent="-285750"/>
            <a:r>
              <a:rPr lang="en-GB" dirty="0"/>
              <a:t>Sub-bullet 2</a:t>
            </a:r>
          </a:p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6BD62EF-D0F2-4118-AF7F-522076E4B2DC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en-GB" dirty="0"/>
              <a:t>Second subheading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1875F56-4DFE-4890-A06A-399D00F91B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1</a:t>
            </a:r>
          </a:p>
          <a:p>
            <a:pPr marL="646113" lvl="1" indent="-285750">
              <a:buFont typeface="Courier New" panose="02070309020205020404" pitchFamily="49" charset="0"/>
              <a:buChar char="o"/>
            </a:pPr>
            <a:r>
              <a:rPr lang="en-GB" dirty="0"/>
              <a:t>Sub-bullet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ullet 2</a:t>
            </a:r>
          </a:p>
          <a:p>
            <a:pPr marL="646112" lvl="2" indent="-285750"/>
            <a:r>
              <a:rPr lang="en-GB" dirty="0"/>
              <a:t>Sub-bullet 2</a:t>
            </a:r>
          </a:p>
          <a:p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49C4DA8-8056-41D8-907D-20E7B0FCA2C9}"/>
              </a:ext>
            </a:extLst>
          </p:cNvPr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r>
              <a:rPr lang="en-GB" dirty="0"/>
              <a:t>Third subheading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BDC1FE7-DE44-4877-828B-288ABFE357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yout title: Three columns</a:t>
            </a:r>
          </a:p>
        </p:txBody>
      </p:sp>
    </p:spTree>
    <p:extLst>
      <p:ext uri="{BB962C8B-B14F-4D97-AF65-F5344CB8AC3E}">
        <p14:creationId xmlns:p14="http://schemas.microsoft.com/office/powerpoint/2010/main" val="20578482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wTIn85MEOINaf25cmwc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ReRvIJPUK3WW6zUJPHI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msJzX9JUC6dUXzsOc2m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fYXxsAq0ebMfO45_3kd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ReRvIJPUK3WW6zUJPHI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Wxv.mGgEiWm1V4Qk.YN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xDd3okuEqSZ7I3k9XhO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xVs4JoKUelhIv_W5u_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qj5g5YFEm7_Z7QwK.3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UzRiZKCkGX0z.Wk9JH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uvy4GzyU2si4IgwWxu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d1sTyCkUSeNHNr1FxD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djg66CoE2HCDZdP0Cq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GViDXET0C8Lr.1HwhF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jJ_Xcfg0G5uQE80BIZY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fYXxsAq0ebMfO45_3kdQ"/>
</p:tagLst>
</file>

<file path=ppt/theme/theme1.xml><?xml version="1.0" encoding="utf-8"?>
<a:theme xmlns:a="http://schemas.openxmlformats.org/drawingml/2006/main" name="Office Theme">
  <a:themeElements>
    <a:clrScheme name="NHS Improvement">
      <a:dk1>
        <a:srgbClr val="000000"/>
      </a:dk1>
      <a:lt1>
        <a:srgbClr val="FFFFFF"/>
      </a:lt1>
      <a:dk2>
        <a:srgbClr val="003087"/>
      </a:dk2>
      <a:lt2>
        <a:srgbClr val="005EB8"/>
      </a:lt2>
      <a:accent1>
        <a:srgbClr val="005EB8"/>
      </a:accent1>
      <a:accent2>
        <a:srgbClr val="41B6E6"/>
      </a:accent2>
      <a:accent3>
        <a:srgbClr val="768692"/>
      </a:accent3>
      <a:accent4>
        <a:srgbClr val="00A499"/>
      </a:accent4>
      <a:accent5>
        <a:srgbClr val="006747"/>
      </a:accent5>
      <a:accent6>
        <a:srgbClr val="00A9CE"/>
      </a:accent6>
      <a:hlink>
        <a:srgbClr val="0072CE"/>
      </a:hlink>
      <a:folHlink>
        <a:srgbClr val="41B6E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 4.3 plain template.pptx" id="{2F2F0580-1474-4B7A-A11B-8505B61FADB3}" vid="{956D579C-3B86-4FDD-8A79-810CF4E9248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08E40E706C7A346904F58642B7D1969" ma:contentTypeVersion="0" ma:contentTypeDescription="Create a new document." ma:contentTypeScope="" ma:versionID="0ea485b46902d4f7e49967f1b2c25a6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90078a0fe6c183ae62661f67b7399e8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4D9FD49-C1C5-400A-B04D-90A236984D1F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08DD32EF-F09C-4573-9C23-B48EA7D5886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A6333066-D95F-4DC9-8F45-8431A5C3C76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1</TotalTime>
  <Words>2026</Words>
  <Application>Microsoft Office PowerPoint</Application>
  <PresentationFormat>On-screen Show (4:3)</PresentationFormat>
  <Paragraphs>582</Paragraphs>
  <Slides>46</Slides>
  <Notes>37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51" baseType="lpstr">
      <vt:lpstr>Arial</vt:lpstr>
      <vt:lpstr>Calibri</vt:lpstr>
      <vt:lpstr>Courier New</vt:lpstr>
      <vt:lpstr>Wingdings</vt:lpstr>
      <vt:lpstr>Office Theme</vt:lpstr>
      <vt:lpstr>Adapted PowerPoint Style Guide / Supporting Templates</vt:lpstr>
      <vt:lpstr>Agenda</vt:lpstr>
      <vt:lpstr>How to use this guide</vt:lpstr>
      <vt:lpstr>It is crucial to maintain the integrity of this new format</vt:lpstr>
      <vt:lpstr>There are a number of key style guidelines that should be followed at all times</vt:lpstr>
      <vt:lpstr>Agenda</vt:lpstr>
      <vt:lpstr>Layout title: Word Slide (Exec summary)</vt:lpstr>
      <vt:lpstr>Layout title: Two columns  (with optional arrow if it fits the flow)</vt:lpstr>
      <vt:lpstr>Layout title: Three columns</vt:lpstr>
      <vt:lpstr>Layout title: Four columns</vt:lpstr>
      <vt:lpstr>Layout title: Four boxes</vt:lpstr>
      <vt:lpstr>Layout title: Two boxes</vt:lpstr>
      <vt:lpstr>Layout title: Three boxes</vt:lpstr>
      <vt:lpstr>Layout title: Four boxes</vt:lpstr>
      <vt:lpstr>Agenda</vt:lpstr>
      <vt:lpstr>Pie chart</vt:lpstr>
      <vt:lpstr>Doughnut chart</vt:lpstr>
      <vt:lpstr>Stacked bar chart</vt:lpstr>
      <vt:lpstr>Horizonal stacked bar chart</vt:lpstr>
      <vt:lpstr>Explanation and bar chart (Layout: text and graph)</vt:lpstr>
      <vt:lpstr>Bar and line chart</vt:lpstr>
      <vt:lpstr>Bar and line chart 2</vt:lpstr>
      <vt:lpstr>Scatter chart</vt:lpstr>
      <vt:lpstr>Bubble chart</vt:lpstr>
      <vt:lpstr>Waterfall chart</vt:lpstr>
      <vt:lpstr>Stacked % bar chart</vt:lpstr>
      <vt:lpstr>Area chart</vt:lpstr>
      <vt:lpstr>Survey web chart</vt:lpstr>
      <vt:lpstr>Concentric circles with explanation boxes</vt:lpstr>
      <vt:lpstr>Agenda</vt:lpstr>
      <vt:lpstr>2x2 matrix</vt:lpstr>
      <vt:lpstr>Venn diagram</vt:lpstr>
      <vt:lpstr>Feedback loop</vt:lpstr>
      <vt:lpstr>Feedback loop 2</vt:lpstr>
      <vt:lpstr>Decision tree</vt:lpstr>
      <vt:lpstr>Agenda</vt:lpstr>
      <vt:lpstr>PowerPoint Presentation</vt:lpstr>
      <vt:lpstr>Table (numerical content)</vt:lpstr>
      <vt:lpstr>Agenda</vt:lpstr>
      <vt:lpstr>Project timeline</vt:lpstr>
      <vt:lpstr>Project milestone map</vt:lpstr>
      <vt:lpstr>Agenda</vt:lpstr>
      <vt:lpstr>UK country map (click on each country to change colouring to highlight) </vt:lpstr>
      <vt:lpstr>UK county map (click on each county to change colouring to highlight) </vt:lpstr>
      <vt:lpstr>World Map (click on each country to change colouring to highlight) </vt:lpstr>
      <vt:lpstr>Standard NHSE slid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mon Richardson</dc:creator>
  <cp:lastModifiedBy>Will Brooks</cp:lastModifiedBy>
  <cp:revision>33</cp:revision>
  <dcterms:created xsi:type="dcterms:W3CDTF">2020-03-10T11:10:14Z</dcterms:created>
  <dcterms:modified xsi:type="dcterms:W3CDTF">2022-09-20T15:25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08E40E706C7A346904F58642B7D1969</vt:lpwstr>
  </property>
  <property fmtid="{D5CDD505-2E9C-101B-9397-08002B2CF9AE}" pid="3" name="TaxKeyword">
    <vt:lpwstr/>
  </property>
  <property fmtid="{D5CDD505-2E9C-101B-9397-08002B2CF9AE}" pid="4" name="Subject0">
    <vt:lpwstr/>
  </property>
  <property fmtid="{D5CDD505-2E9C-101B-9397-08002B2CF9AE}" pid="5" name="Document type0">
    <vt:lpwstr/>
  </property>
  <property fmtid="{D5CDD505-2E9C-101B-9397-08002B2CF9AE}" pid="6" name="WTTeamSiteDocumentType">
    <vt:lpwstr/>
  </property>
  <property fmtid="{D5CDD505-2E9C-101B-9397-08002B2CF9AE}" pid="7" name="WTTeamSiteDocumentTypeTaxHTField0">
    <vt:lpwstr/>
  </property>
  <property fmtid="{D5CDD505-2E9C-101B-9397-08002B2CF9AE}" pid="8" name="cebceaf3e3574cdab9f9dab6bbd34ddb">
    <vt:lpwstr/>
  </property>
  <property fmtid="{D5CDD505-2E9C-101B-9397-08002B2CF9AE}" pid="9" name="n2fe4ed80ae84f2cbc880662fe0a8735">
    <vt:lpwstr/>
  </property>
  <property fmtid="{D5CDD505-2E9C-101B-9397-08002B2CF9AE}" pid="10" name="TaxCatchAll">
    <vt:lpwstr/>
  </property>
  <property fmtid="{D5CDD505-2E9C-101B-9397-08002B2CF9AE}" pid="11" name="TaxKeywordTaxHTField">
    <vt:lpwstr/>
  </property>
</Properties>
</file>